
<file path=[Content_Types].xml><?xml version="1.0" encoding="utf-8"?>
<Types xmlns="http://schemas.openxmlformats.org/package/2006/content-types">
  <Default Extension="png" ContentType="image/png"/>
  <Default Extension="emf" ContentType="image/x-emf"/>
  <Default Extension="jpeg" ContentType="image/jpeg"/>
  <Default Extension="vml" ContentType="application/vnd.openxmlformats-officedocument.vmlDrawing"/>
  <Default Extension="rels" ContentType="application/vnd.openxmlformats-package.relationships+xml"/>
  <Default Extension="bin" ContentType="application/vnd.openxmlformats-officedocument.oleObject"/>
  <Default Extension="xlsx" ContentType="application/vnd.openxmlformats-officedocument.spreadsheetml.sheet"/>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Generated by Aspose.Slides for .NET 8.4.2.0-->
<p:presentation xmlns:a="http://schemas.openxmlformats.org/drawingml/2006/main" xmlns:r="http://schemas.openxmlformats.org/officeDocument/2006/relationships" xmlns:p="http://schemas.openxmlformats.org/presentationml/2006/main" showSpecialPlsOnTitleSld="0" saveSubsetFonts="1">
  <p:sldMasterIdLst>
    <p:sldMasterId r:id="rId4" id="2147483693"/>
  </p:sldMasterIdLst>
  <p:notesMasterIdLst>
    <p:notesMasterId r:id="rId21"/>
  </p:notesMasterIdLst>
  <p:handoutMasterIdLst>
    <p:handoutMasterId r:id="rId22"/>
  </p:handoutMasterIdLst>
  <p:sldIdLst>
    <p:sldId r:id="rId5" id="309"/>
    <p:sldId r:id="rId6" id="265"/>
    <p:sldId r:id="rId7" id="313"/>
    <p:sldId r:id="rId8" id="322"/>
    <p:sldId r:id="rId9" id="327"/>
    <p:sldId r:id="rId10" id="328"/>
    <p:sldId r:id="rId11" id="329"/>
    <p:sldId r:id="rId12" id="318"/>
    <p:sldId r:id="rId13" id="325"/>
    <p:sldId r:id="rId14" id="314"/>
    <p:sldId r:id="rId15" id="326"/>
    <p:sldId r:id="rId16" id="315"/>
    <p:sldId r:id="rId17" id="316"/>
    <p:sldId r:id="rId18" id="320"/>
    <p:sldId r:id="rId19" id="317"/>
    <p:sldId r:id="rId20" id="293"/>
  </p:sldIdLst>
  <p:sldSz cx="9144000" cy="5143500" type="screen16x9"/>
  <p:notesSz cx="9236075" cy="7010400"/>
  <p:custDataLst>
    <p:tags r:id="rId23"/>
  </p:custDataLst>
  <p:defaultText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defaultTextStyle>
  <p:extLst>
    <p:ext uri="{2D200454-40CA-4A62-9FC3-DE9A4176ACB9}">
      <p15:notesGuideLst xmlns:p15="http://schemas.microsoft.com/office/powerpoint/2012/main">
        <p15:guide id="1" orient="horz" pos="2208" userDrawn="1">
          <p15:clr>
            <a:srgbClr val="A4A3A4"/>
          </p15:clr>
        </p15:guide>
        <p15:guide id="2" pos="2909" userDrawn="1">
          <p15:clr>
            <a:srgbClr val="A4A3A4"/>
          </p15:clr>
        </p15:guide>
      </p15:notesGuideLst>
    </p:ext>
    <p:ext uri="{521415D9-36F7-43E2-AB2F-B90AF26B5E84}">
      <p14:sectionLst xmlns:p14="http://schemas.microsoft.com/office/powerpoint/2010/main">
        <p14:section name="Slide Templates" id="{0FBA94D1-1510-4EEB-AB49-8E13B2C0B0B1}">
          <p14:sldIdLst>
            <p14:sldId id="309"/>
            <p14:sldId id="265"/>
            <p14:sldId id="313"/>
            <p14:sldId id="322"/>
            <p14:sldId id="327"/>
            <p14:sldId id="328"/>
            <p14:sldId id="329"/>
            <p14:sldId id="318"/>
            <p14:sldId id="325"/>
            <p14:sldId id="314"/>
            <p14:sldId id="326"/>
            <p14:sldId id="315"/>
            <p14:sldId id="316"/>
            <p14:sldId id="320"/>
            <p14:sldId id="317"/>
            <p14:sldId id="293"/>
          </p14:sldIdLst>
        </p14:section>
        <p14:section name="Sample Charts and Graphs" id="{6FDFE2A3-32EC-410B-8702-EB471E69FF9A}">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46"/>
    <a:srgbClr val="96B1CC"/>
    <a:srgbClr val="5482AB"/>
    <a:srgbClr val="FFFFFF"/>
    <a:srgbClr val="96B1D0"/>
    <a:srgbClr val="7090F0"/>
    <a:srgbClr val="D3DD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fill>
          <a:solidFill>
            <a:schemeClr val="dk1">
              <a:tint val="20000"/>
            </a:schemeClr>
          </a:solidFill>
        </a:fill>
      </a:tcStyle>
    </a:band1H>
    <a:band1V>
      <a:tcStyle>
        <a:fill>
          <a:solidFill>
            <a:schemeClr val="dk1">
              <a:tint val="20000"/>
            </a:schemeClr>
          </a:solidFill>
        </a:fill>
      </a:tcStyle>
    </a:band1V>
    <a:lastCol>
      <a:tcTxStyle b="on">
        <a:fontRef idx="minor">
          <a:scrgbClr r="0" g="0" b="0"/>
        </a:fontRef>
        <a:schemeClr val="lt1"/>
      </a:tcTxStyle>
      <a:tcStyle>
        <a:fill>
          <a:solidFill>
            <a:schemeClr val="accent1"/>
          </a:solidFill>
        </a:fill>
      </a:tcStyle>
    </a:lastCol>
    <a:firstCol>
      <a:tcTxStyle b="on">
        <a:fontRef idx="minor">
          <a:scrgbClr r="0" g="0" b="0"/>
        </a:fontRef>
        <a:schemeClr val="lt1"/>
      </a:tcTxStyle>
      <a:tcStyle>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seCell>
    <a:swCell>
      <a:tcTxStyle b="on">
        <a:fontRef idx="minor">
          <a:scrgbClr r="0" g="0" b="0"/>
        </a:fontRef>
        <a:schemeClr val="dk1"/>
      </a:tcTx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0" autoAdjust="0"/>
    <p:restoredTop sz="95969" autoAdjust="0"/>
  </p:normalViewPr>
  <p:slideViewPr>
    <p:cSldViewPr snapToGrid="0" showGuides="1">
      <p:cViewPr varScale="1">
        <p:scale>
          <a:sx n="101" d="100"/>
          <a:sy n="101" d="100"/>
        </p:scale>
        <p:origin x="72" y="546"/>
      </p:cViewPr>
      <p:guideLst/>
    </p:cSldViewPr>
  </p:slideViewPr>
  <p:outlineViewPr>
    <p:cViewPr>
      <p:scale>
        <a:sx n="33" d="100"/>
        <a:sy n="33" d="100"/>
      </p:scale>
      <p:origin x="0" y="-2538"/>
    </p:cViewPr>
  </p:outlineViewPr>
  <p:notesTextViewPr>
    <p:cViewPr>
      <p:scale>
        <a:sx n="3" d="2"/>
        <a:sy n="3" d="2"/>
      </p:scale>
      <p:origin x="0" y="0"/>
    </p:cViewPr>
  </p:notesTextViewPr>
  <p:sorterViewPr>
    <p:cViewPr>
      <p:scale>
        <a:sx n="120" d="100"/>
        <a:sy n="120" d="100"/>
      </p:scale>
      <p:origin x="0" y="0"/>
    </p:cViewPr>
  </p:sorterViewPr>
  <p:notesViewPr>
    <p:cSldViewPr snapToGrid="0">
      <p:cViewPr varScale="1">
        <p:scale>
          <a:sx n="68" d="100"/>
          <a:sy n="68" d="100"/>
        </p:scale>
        <p:origin x="2076" y="54"/>
      </p:cViewPr>
      <p:guideLst>
        <p:guide orient="horz" pos="2208"/>
        <p:guide pos="2909"/>
      </p:guideLst>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customXml" Target="../customXml/item2.xml" /><Relationship Id="rId20" Type="http://schemas.openxmlformats.org/officeDocument/2006/relationships/slide" Target="slides/slide16.xml" /><Relationship Id="rId21" Type="http://schemas.openxmlformats.org/officeDocument/2006/relationships/notesMaster" Target="notesMasters/notesMaster1.xml" /><Relationship Id="rId22" Type="http://schemas.openxmlformats.org/officeDocument/2006/relationships/handoutMaster" Target="handoutMasters/handoutMaster1.xml" /><Relationship Id="rId23" Type="http://schemas.openxmlformats.org/officeDocument/2006/relationships/tags" Target="tags/tag37.xml" /><Relationship Id="rId24" Type="http://schemas.openxmlformats.org/officeDocument/2006/relationships/presProps" Target="presProps.xml" /><Relationship Id="rId25" Type="http://schemas.openxmlformats.org/officeDocument/2006/relationships/viewProps" Target="viewProps.xml" /><Relationship Id="rId26" Type="http://schemas.openxmlformats.org/officeDocument/2006/relationships/theme" Target="theme/theme3.xml" /><Relationship Id="rId27" Type="http://schemas.openxmlformats.org/officeDocument/2006/relationships/tableStyles" Target="tableStyles.xml" /><Relationship Id="rId3" Type="http://schemas.openxmlformats.org/officeDocument/2006/relationships/customXml" Target="../customXml/item3.xml" /><Relationship Id="rId4" Type="http://schemas.openxmlformats.org/officeDocument/2006/relationships/slideMaster" Target="slideMasters/slideMaster1.xml" /><Relationship Id="rId5" Type="http://schemas.openxmlformats.org/officeDocument/2006/relationships/slide" Target="slides/slide1.xml" /><Relationship Id="rId6" Type="http://schemas.openxmlformats.org/officeDocument/2006/relationships/slide" Target="slides/slide2.xml" /><Relationship Id="rId7" Type="http://schemas.openxmlformats.org/officeDocument/2006/relationships/slide" Target="slides/slide3.xml" /><Relationship Id="rId8" Type="http://schemas.openxmlformats.org/officeDocument/2006/relationships/slide" Target="slides/slide4.xml" /><Relationship Id="rId9" Type="http://schemas.openxmlformats.org/officeDocument/2006/relationships/slide" Target="slides/slide5.xml" /></Relationships>
</file>

<file path=ppt/charts/_rels/chart1.xml.rels>&#65279;<?xml version="1.0" encoding="utf-8" standalone="yes"?><Relationships xmlns="http://schemas.openxmlformats.org/package/2006/relationships"><Relationship Id="rId1" Type="http://schemas.microsoft.com/office/2011/relationships/chartStyle" Target="style1.xml" /><Relationship Id="rId2" Type="http://schemas.microsoft.com/office/2011/relationships/chartColorStyle" Target="colors1.xml" /><Relationship Id="rId3" Type="http://schemas.openxmlformats.org/officeDocument/2006/relationships/oleObject" Target="file:///C:\Users\llam\Desktop\Markit%20iBoxx%20China%20Real%20Estate%20USD%20High%20Yield%20Total%20Return%20Index.xlsx" TargetMode="External" /></Relationships>
</file>

<file path=ppt/charts/_rels/chart2.xml.rels>&#65279;<?xml version="1.0" encoding="utf-8" standalone="yes"?><Relationships xmlns="http://schemas.openxmlformats.org/package/2006/relationships"><Relationship Id="rId1" Type="http://schemas.microsoft.com/office/2011/relationships/chartStyle" Target="style2.xml" /><Relationship Id="rId2" Type="http://schemas.microsoft.com/office/2011/relationships/chartColorStyle" Target="colors2.xml" /><Relationship Id="rId3" Type="http://schemas.openxmlformats.org/officeDocument/2006/relationships/themeOverride" Target="../theme/themeOverride1.xml" /><Relationship Id="rId4" Type="http://schemas.openxmlformats.org/officeDocument/2006/relationships/package" Target="../embeddings/Microsoft_Excel_Worksheet.xlsx" /></Relationships>
</file>

<file path=ppt/charts/_rels/chart3.xml.rels>&#65279;<?xml version="1.0" encoding="utf-8" standalone="yes"?><Relationships xmlns="http://schemas.openxmlformats.org/package/2006/relationships"><Relationship Id="rId1" Type="http://schemas.microsoft.com/office/2011/relationships/chartStyle" Target="style3.xml" /><Relationship Id="rId2" Type="http://schemas.microsoft.com/office/2011/relationships/chartColorStyle" Target="colors3.xml" /><Relationship Id="rId3" Type="http://schemas.openxmlformats.org/officeDocument/2006/relationships/themeOverride" Target="../theme/themeOverride2.xml" /><Relationship Id="rId4" Type="http://schemas.openxmlformats.org/officeDocument/2006/relationships/package" Target="../embeddings/Microsoft_Excel_Worksheet1.xlsx" /></Relationships>
</file>

<file path=ppt/charts/_rels/chart4.xml.rels>&#65279;<?xml version="1.0" encoding="utf-8" standalone="yes"?><Relationships xmlns="http://schemas.openxmlformats.org/package/2006/relationships"><Relationship Id="rId1" Type="http://schemas.microsoft.com/office/2011/relationships/chartStyle" Target="style4.xml" /><Relationship Id="rId2" Type="http://schemas.microsoft.com/office/2011/relationships/chartColorStyle" Target="colors4.xml" /><Relationship Id="rId3" Type="http://schemas.openxmlformats.org/officeDocument/2006/relationships/package" Target="../embeddings/Microsoft_Excel_Worksheet2.xlsx" /></Relationships>
</file>

<file path=ppt/charts/_rels/chart5.xml.rels>&#65279;<?xml version="1.0" encoding="utf-8" standalone="yes"?><Relationships xmlns="http://schemas.openxmlformats.org/package/2006/relationships"><Relationship Id="rId1" Type="http://schemas.microsoft.com/office/2011/relationships/chartStyle" Target="style5.xml" /><Relationship Id="rId2" Type="http://schemas.microsoft.com/office/2011/relationships/chartColorStyle" Target="colors5.xml" /><Relationship Id="rId3" Type="http://schemas.openxmlformats.org/officeDocument/2006/relationships/package" Target="../embeddings/Microsoft_Excel_Worksheet3.xlsx"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17756"/>
          <c:y val="0.07207188"/>
          <c:w val="0.6310056"/>
          <c:h val="0.423628122"/>
        </c:manualLayout>
      </c:layout>
      <c:lineChart>
        <c:dLbls>
          <c:showLegendKey val="0"/>
          <c:showVal val="0"/>
          <c:showCatName val="0"/>
          <c:showSerName val="0"/>
          <c:showPercent val="0"/>
          <c:showBubbleSize val="0"/>
          <c:showLeaderLines val="0"/>
        </c:dLbls>
        <c:axId val="79574319"/>
        <c:axId val="79573487"/>
        <c:grouping val="standard"/>
        <c:varyColors val="0"/>
        <c:ser>
          <c:idx val="0"/>
          <c:order val="0"/>
          <c:spPr>
            <a:ln w="28575" cap="rnd">
              <a:solidFill>
                <a:schemeClr val="accent1"/>
              </a:solidFill>
              <a:round/>
            </a:ln>
            <a:effectLst/>
          </c:spPr>
          <c:marker>
            <c:symbol val="none"/>
          </c:marker>
          <c:cat>
            <c:numRef>
              <c:f>Worksheet!$A$3:$A$933</c:f>
              <c:numCache>
                <c:formatCode>m/d/yyyy</c:formatCode>
                <c:ptCount val="931"/>
                <c:pt idx="0">
                  <c:v>43465</c:v>
                </c:pt>
                <c:pt idx="1">
                  <c:v>43467</c:v>
                </c:pt>
                <c:pt idx="2">
                  <c:v>43468</c:v>
                </c:pt>
                <c:pt idx="3">
                  <c:v>43469</c:v>
                </c:pt>
                <c:pt idx="4">
                  <c:v>43472</c:v>
                </c:pt>
                <c:pt idx="5">
                  <c:v>43473</c:v>
                </c:pt>
                <c:pt idx="6">
                  <c:v>43474</c:v>
                </c:pt>
                <c:pt idx="7">
                  <c:v>43475</c:v>
                </c:pt>
                <c:pt idx="8">
                  <c:v>43476</c:v>
                </c:pt>
                <c:pt idx="9">
                  <c:v>43479</c:v>
                </c:pt>
                <c:pt idx="10">
                  <c:v>43480</c:v>
                </c:pt>
                <c:pt idx="11">
                  <c:v>43481</c:v>
                </c:pt>
                <c:pt idx="12">
                  <c:v>43482</c:v>
                </c:pt>
                <c:pt idx="13">
                  <c:v>43483</c:v>
                </c:pt>
                <c:pt idx="14">
                  <c:v>43487</c:v>
                </c:pt>
                <c:pt idx="15">
                  <c:v>43488</c:v>
                </c:pt>
                <c:pt idx="16">
                  <c:v>43489</c:v>
                </c:pt>
                <c:pt idx="17">
                  <c:v>43490</c:v>
                </c:pt>
                <c:pt idx="18">
                  <c:v>43493</c:v>
                </c:pt>
                <c:pt idx="19">
                  <c:v>43494</c:v>
                </c:pt>
                <c:pt idx="20">
                  <c:v>43495</c:v>
                </c:pt>
                <c:pt idx="21">
                  <c:v>43496</c:v>
                </c:pt>
                <c:pt idx="22">
                  <c:v>43497</c:v>
                </c:pt>
                <c:pt idx="23">
                  <c:v>43500</c:v>
                </c:pt>
                <c:pt idx="24">
                  <c:v>43501</c:v>
                </c:pt>
                <c:pt idx="25">
                  <c:v>43502</c:v>
                </c:pt>
                <c:pt idx="26">
                  <c:v>43503</c:v>
                </c:pt>
                <c:pt idx="27">
                  <c:v>43504</c:v>
                </c:pt>
                <c:pt idx="28">
                  <c:v>43507</c:v>
                </c:pt>
                <c:pt idx="29">
                  <c:v>43508</c:v>
                </c:pt>
                <c:pt idx="30">
                  <c:v>43509</c:v>
                </c:pt>
                <c:pt idx="31">
                  <c:v>43510</c:v>
                </c:pt>
                <c:pt idx="32">
                  <c:v>43511</c:v>
                </c:pt>
                <c:pt idx="33">
                  <c:v>43515</c:v>
                </c:pt>
                <c:pt idx="34">
                  <c:v>43516</c:v>
                </c:pt>
                <c:pt idx="35">
                  <c:v>43517</c:v>
                </c:pt>
                <c:pt idx="36">
                  <c:v>43518</c:v>
                </c:pt>
                <c:pt idx="37">
                  <c:v>43521</c:v>
                </c:pt>
                <c:pt idx="38">
                  <c:v>43522</c:v>
                </c:pt>
                <c:pt idx="39">
                  <c:v>43523</c:v>
                </c:pt>
                <c:pt idx="40">
                  <c:v>43524</c:v>
                </c:pt>
                <c:pt idx="41">
                  <c:v>43525</c:v>
                </c:pt>
                <c:pt idx="42">
                  <c:v>43528</c:v>
                </c:pt>
                <c:pt idx="43">
                  <c:v>43529</c:v>
                </c:pt>
                <c:pt idx="44">
                  <c:v>43530</c:v>
                </c:pt>
                <c:pt idx="45">
                  <c:v>43531</c:v>
                </c:pt>
                <c:pt idx="46">
                  <c:v>43532</c:v>
                </c:pt>
                <c:pt idx="47">
                  <c:v>43535</c:v>
                </c:pt>
                <c:pt idx="48">
                  <c:v>43536</c:v>
                </c:pt>
                <c:pt idx="49">
                  <c:v>43537</c:v>
                </c:pt>
                <c:pt idx="50">
                  <c:v>43538</c:v>
                </c:pt>
                <c:pt idx="51">
                  <c:v>43539</c:v>
                </c:pt>
                <c:pt idx="52">
                  <c:v>43542</c:v>
                </c:pt>
                <c:pt idx="53">
                  <c:v>43543</c:v>
                </c:pt>
                <c:pt idx="54">
                  <c:v>43544</c:v>
                </c:pt>
                <c:pt idx="55">
                  <c:v>43545</c:v>
                </c:pt>
                <c:pt idx="56">
                  <c:v>43546</c:v>
                </c:pt>
                <c:pt idx="57">
                  <c:v>43549</c:v>
                </c:pt>
                <c:pt idx="58">
                  <c:v>43550</c:v>
                </c:pt>
                <c:pt idx="59">
                  <c:v>43551</c:v>
                </c:pt>
                <c:pt idx="60">
                  <c:v>43552</c:v>
                </c:pt>
                <c:pt idx="61">
                  <c:v>43553</c:v>
                </c:pt>
                <c:pt idx="62">
                  <c:v>43556</c:v>
                </c:pt>
                <c:pt idx="63">
                  <c:v>43557</c:v>
                </c:pt>
                <c:pt idx="64">
                  <c:v>43558</c:v>
                </c:pt>
                <c:pt idx="65">
                  <c:v>43559</c:v>
                </c:pt>
                <c:pt idx="66">
                  <c:v>43560</c:v>
                </c:pt>
                <c:pt idx="67">
                  <c:v>43563</c:v>
                </c:pt>
                <c:pt idx="68">
                  <c:v>43564</c:v>
                </c:pt>
                <c:pt idx="69">
                  <c:v>43565</c:v>
                </c:pt>
                <c:pt idx="70">
                  <c:v>43566</c:v>
                </c:pt>
                <c:pt idx="71">
                  <c:v>43567</c:v>
                </c:pt>
                <c:pt idx="72">
                  <c:v>43570</c:v>
                </c:pt>
                <c:pt idx="73">
                  <c:v>43571</c:v>
                </c:pt>
                <c:pt idx="74">
                  <c:v>43572</c:v>
                </c:pt>
                <c:pt idx="75">
                  <c:v>43573</c:v>
                </c:pt>
                <c:pt idx="76">
                  <c:v>43577</c:v>
                </c:pt>
                <c:pt idx="77">
                  <c:v>43578</c:v>
                </c:pt>
                <c:pt idx="78">
                  <c:v>43579</c:v>
                </c:pt>
                <c:pt idx="79">
                  <c:v>43580</c:v>
                </c:pt>
                <c:pt idx="80">
                  <c:v>43581</c:v>
                </c:pt>
                <c:pt idx="81">
                  <c:v>43584</c:v>
                </c:pt>
                <c:pt idx="82">
                  <c:v>43585</c:v>
                </c:pt>
                <c:pt idx="83">
                  <c:v>43586</c:v>
                </c:pt>
                <c:pt idx="84">
                  <c:v>43587</c:v>
                </c:pt>
                <c:pt idx="85">
                  <c:v>43588</c:v>
                </c:pt>
                <c:pt idx="86">
                  <c:v>43591</c:v>
                </c:pt>
                <c:pt idx="87">
                  <c:v>43592</c:v>
                </c:pt>
                <c:pt idx="88">
                  <c:v>43593</c:v>
                </c:pt>
                <c:pt idx="89">
                  <c:v>43594</c:v>
                </c:pt>
                <c:pt idx="90">
                  <c:v>43595</c:v>
                </c:pt>
                <c:pt idx="91">
                  <c:v>43598</c:v>
                </c:pt>
                <c:pt idx="92">
                  <c:v>43599</c:v>
                </c:pt>
                <c:pt idx="93">
                  <c:v>43600</c:v>
                </c:pt>
                <c:pt idx="94">
                  <c:v>43601</c:v>
                </c:pt>
                <c:pt idx="95">
                  <c:v>43602</c:v>
                </c:pt>
                <c:pt idx="96">
                  <c:v>43605</c:v>
                </c:pt>
                <c:pt idx="97">
                  <c:v>43606</c:v>
                </c:pt>
                <c:pt idx="98">
                  <c:v>43607</c:v>
                </c:pt>
                <c:pt idx="99">
                  <c:v>43608</c:v>
                </c:pt>
                <c:pt idx="100">
                  <c:v>43609</c:v>
                </c:pt>
                <c:pt idx="101">
                  <c:v>43613</c:v>
                </c:pt>
                <c:pt idx="102">
                  <c:v>43614</c:v>
                </c:pt>
                <c:pt idx="103">
                  <c:v>43615</c:v>
                </c:pt>
                <c:pt idx="104">
                  <c:v>43616</c:v>
                </c:pt>
                <c:pt idx="105">
                  <c:v>43619</c:v>
                </c:pt>
                <c:pt idx="106">
                  <c:v>43620</c:v>
                </c:pt>
                <c:pt idx="107">
                  <c:v>43621</c:v>
                </c:pt>
                <c:pt idx="108">
                  <c:v>43622</c:v>
                </c:pt>
                <c:pt idx="109">
                  <c:v>43623</c:v>
                </c:pt>
                <c:pt idx="110">
                  <c:v>43626</c:v>
                </c:pt>
                <c:pt idx="111">
                  <c:v>43627</c:v>
                </c:pt>
                <c:pt idx="112">
                  <c:v>43628</c:v>
                </c:pt>
                <c:pt idx="113">
                  <c:v>43629</c:v>
                </c:pt>
                <c:pt idx="114">
                  <c:v>43630</c:v>
                </c:pt>
                <c:pt idx="115">
                  <c:v>43633</c:v>
                </c:pt>
                <c:pt idx="116">
                  <c:v>43634</c:v>
                </c:pt>
                <c:pt idx="117">
                  <c:v>43635</c:v>
                </c:pt>
                <c:pt idx="118">
                  <c:v>43636</c:v>
                </c:pt>
                <c:pt idx="119">
                  <c:v>43637</c:v>
                </c:pt>
                <c:pt idx="120">
                  <c:v>43640</c:v>
                </c:pt>
                <c:pt idx="121">
                  <c:v>43641</c:v>
                </c:pt>
                <c:pt idx="122">
                  <c:v>43642</c:v>
                </c:pt>
                <c:pt idx="123">
                  <c:v>43643</c:v>
                </c:pt>
                <c:pt idx="124">
                  <c:v>43644</c:v>
                </c:pt>
                <c:pt idx="125">
                  <c:v>43647</c:v>
                </c:pt>
                <c:pt idx="126">
                  <c:v>43648</c:v>
                </c:pt>
                <c:pt idx="127">
                  <c:v>43649</c:v>
                </c:pt>
                <c:pt idx="128">
                  <c:v>43651</c:v>
                </c:pt>
                <c:pt idx="129">
                  <c:v>43654</c:v>
                </c:pt>
                <c:pt idx="130">
                  <c:v>43655</c:v>
                </c:pt>
                <c:pt idx="131">
                  <c:v>43656</c:v>
                </c:pt>
                <c:pt idx="132">
                  <c:v>43657</c:v>
                </c:pt>
                <c:pt idx="133">
                  <c:v>43658</c:v>
                </c:pt>
                <c:pt idx="134">
                  <c:v>43661</c:v>
                </c:pt>
                <c:pt idx="135">
                  <c:v>43662</c:v>
                </c:pt>
                <c:pt idx="136">
                  <c:v>43663</c:v>
                </c:pt>
                <c:pt idx="137">
                  <c:v>43664</c:v>
                </c:pt>
                <c:pt idx="138">
                  <c:v>43665</c:v>
                </c:pt>
                <c:pt idx="139">
                  <c:v>43668</c:v>
                </c:pt>
                <c:pt idx="140">
                  <c:v>43669</c:v>
                </c:pt>
                <c:pt idx="141">
                  <c:v>43670</c:v>
                </c:pt>
                <c:pt idx="142">
                  <c:v>43671</c:v>
                </c:pt>
                <c:pt idx="143">
                  <c:v>43672</c:v>
                </c:pt>
                <c:pt idx="144">
                  <c:v>43675</c:v>
                </c:pt>
                <c:pt idx="145">
                  <c:v>43676</c:v>
                </c:pt>
                <c:pt idx="146">
                  <c:v>43677</c:v>
                </c:pt>
                <c:pt idx="147">
                  <c:v>43678</c:v>
                </c:pt>
                <c:pt idx="148">
                  <c:v>43679</c:v>
                </c:pt>
                <c:pt idx="149">
                  <c:v>43682</c:v>
                </c:pt>
                <c:pt idx="150">
                  <c:v>43683</c:v>
                </c:pt>
                <c:pt idx="151">
                  <c:v>43684</c:v>
                </c:pt>
                <c:pt idx="152">
                  <c:v>43685</c:v>
                </c:pt>
                <c:pt idx="153">
                  <c:v>43686</c:v>
                </c:pt>
                <c:pt idx="154">
                  <c:v>43689</c:v>
                </c:pt>
                <c:pt idx="155">
                  <c:v>43690</c:v>
                </c:pt>
                <c:pt idx="156">
                  <c:v>43691</c:v>
                </c:pt>
                <c:pt idx="157">
                  <c:v>43692</c:v>
                </c:pt>
                <c:pt idx="158">
                  <c:v>43693</c:v>
                </c:pt>
                <c:pt idx="159">
                  <c:v>43696</c:v>
                </c:pt>
                <c:pt idx="160">
                  <c:v>43697</c:v>
                </c:pt>
                <c:pt idx="161">
                  <c:v>43698</c:v>
                </c:pt>
                <c:pt idx="162">
                  <c:v>43699</c:v>
                </c:pt>
                <c:pt idx="163">
                  <c:v>43700</c:v>
                </c:pt>
                <c:pt idx="164">
                  <c:v>43703</c:v>
                </c:pt>
                <c:pt idx="165">
                  <c:v>43704</c:v>
                </c:pt>
                <c:pt idx="166">
                  <c:v>43705</c:v>
                </c:pt>
                <c:pt idx="167">
                  <c:v>43706</c:v>
                </c:pt>
                <c:pt idx="168">
                  <c:v>43707</c:v>
                </c:pt>
                <c:pt idx="169">
                  <c:v>43710</c:v>
                </c:pt>
                <c:pt idx="170">
                  <c:v>43711</c:v>
                </c:pt>
                <c:pt idx="171">
                  <c:v>43712</c:v>
                </c:pt>
                <c:pt idx="172">
                  <c:v>43713</c:v>
                </c:pt>
                <c:pt idx="173">
                  <c:v>43714</c:v>
                </c:pt>
                <c:pt idx="174">
                  <c:v>43717</c:v>
                </c:pt>
                <c:pt idx="175">
                  <c:v>43718</c:v>
                </c:pt>
                <c:pt idx="176">
                  <c:v>43719</c:v>
                </c:pt>
                <c:pt idx="177">
                  <c:v>43720</c:v>
                </c:pt>
                <c:pt idx="178">
                  <c:v>43721</c:v>
                </c:pt>
                <c:pt idx="179">
                  <c:v>43724</c:v>
                </c:pt>
                <c:pt idx="180">
                  <c:v>43725</c:v>
                </c:pt>
                <c:pt idx="181">
                  <c:v>43726</c:v>
                </c:pt>
                <c:pt idx="182">
                  <c:v>43727</c:v>
                </c:pt>
                <c:pt idx="183">
                  <c:v>43728</c:v>
                </c:pt>
                <c:pt idx="184">
                  <c:v>43731</c:v>
                </c:pt>
                <c:pt idx="185">
                  <c:v>43732</c:v>
                </c:pt>
                <c:pt idx="186">
                  <c:v>43733</c:v>
                </c:pt>
                <c:pt idx="187">
                  <c:v>43734</c:v>
                </c:pt>
                <c:pt idx="188">
                  <c:v>43735</c:v>
                </c:pt>
                <c:pt idx="189">
                  <c:v>43738</c:v>
                </c:pt>
                <c:pt idx="190">
                  <c:v>43739</c:v>
                </c:pt>
                <c:pt idx="191">
                  <c:v>43740</c:v>
                </c:pt>
                <c:pt idx="192">
                  <c:v>43741</c:v>
                </c:pt>
                <c:pt idx="193">
                  <c:v>43742</c:v>
                </c:pt>
                <c:pt idx="194">
                  <c:v>43745</c:v>
                </c:pt>
                <c:pt idx="195">
                  <c:v>43746</c:v>
                </c:pt>
                <c:pt idx="196">
                  <c:v>43747</c:v>
                </c:pt>
                <c:pt idx="197">
                  <c:v>43748</c:v>
                </c:pt>
                <c:pt idx="198">
                  <c:v>43749</c:v>
                </c:pt>
                <c:pt idx="199">
                  <c:v>43753</c:v>
                </c:pt>
                <c:pt idx="200">
                  <c:v>43754</c:v>
                </c:pt>
                <c:pt idx="201">
                  <c:v>43755</c:v>
                </c:pt>
                <c:pt idx="202">
                  <c:v>43756</c:v>
                </c:pt>
                <c:pt idx="203">
                  <c:v>43759</c:v>
                </c:pt>
                <c:pt idx="204">
                  <c:v>43760</c:v>
                </c:pt>
                <c:pt idx="205">
                  <c:v>43761</c:v>
                </c:pt>
                <c:pt idx="206">
                  <c:v>43762</c:v>
                </c:pt>
                <c:pt idx="207">
                  <c:v>43763</c:v>
                </c:pt>
                <c:pt idx="208">
                  <c:v>43766</c:v>
                </c:pt>
                <c:pt idx="209">
                  <c:v>43767</c:v>
                </c:pt>
                <c:pt idx="210">
                  <c:v>43768</c:v>
                </c:pt>
                <c:pt idx="211">
                  <c:v>43769</c:v>
                </c:pt>
                <c:pt idx="212">
                  <c:v>43770</c:v>
                </c:pt>
                <c:pt idx="213">
                  <c:v>43773</c:v>
                </c:pt>
                <c:pt idx="214">
                  <c:v>43774</c:v>
                </c:pt>
                <c:pt idx="215">
                  <c:v>43775</c:v>
                </c:pt>
                <c:pt idx="216">
                  <c:v>43776</c:v>
                </c:pt>
                <c:pt idx="217">
                  <c:v>43777</c:v>
                </c:pt>
                <c:pt idx="218">
                  <c:v>43781</c:v>
                </c:pt>
                <c:pt idx="219">
                  <c:v>43782</c:v>
                </c:pt>
                <c:pt idx="220">
                  <c:v>43783</c:v>
                </c:pt>
                <c:pt idx="221">
                  <c:v>43784</c:v>
                </c:pt>
                <c:pt idx="222">
                  <c:v>43787</c:v>
                </c:pt>
                <c:pt idx="223">
                  <c:v>43788</c:v>
                </c:pt>
                <c:pt idx="224">
                  <c:v>43789</c:v>
                </c:pt>
                <c:pt idx="225">
                  <c:v>43790</c:v>
                </c:pt>
                <c:pt idx="226">
                  <c:v>43791</c:v>
                </c:pt>
                <c:pt idx="227">
                  <c:v>43794</c:v>
                </c:pt>
                <c:pt idx="228">
                  <c:v>43795</c:v>
                </c:pt>
                <c:pt idx="229">
                  <c:v>43796</c:v>
                </c:pt>
                <c:pt idx="230">
                  <c:v>43798</c:v>
                </c:pt>
                <c:pt idx="231">
                  <c:v>43801</c:v>
                </c:pt>
                <c:pt idx="232">
                  <c:v>43802</c:v>
                </c:pt>
                <c:pt idx="233">
                  <c:v>43803</c:v>
                </c:pt>
                <c:pt idx="234">
                  <c:v>43804</c:v>
                </c:pt>
                <c:pt idx="235">
                  <c:v>43805</c:v>
                </c:pt>
                <c:pt idx="236">
                  <c:v>43808</c:v>
                </c:pt>
                <c:pt idx="237">
                  <c:v>43809</c:v>
                </c:pt>
                <c:pt idx="238">
                  <c:v>43810</c:v>
                </c:pt>
                <c:pt idx="239">
                  <c:v>43811</c:v>
                </c:pt>
                <c:pt idx="240">
                  <c:v>43812</c:v>
                </c:pt>
                <c:pt idx="241">
                  <c:v>43815</c:v>
                </c:pt>
                <c:pt idx="242">
                  <c:v>43816</c:v>
                </c:pt>
                <c:pt idx="243">
                  <c:v>43817</c:v>
                </c:pt>
                <c:pt idx="244">
                  <c:v>43818</c:v>
                </c:pt>
                <c:pt idx="245">
                  <c:v>43819</c:v>
                </c:pt>
                <c:pt idx="246">
                  <c:v>43822</c:v>
                </c:pt>
                <c:pt idx="247">
                  <c:v>43823</c:v>
                </c:pt>
                <c:pt idx="248">
                  <c:v>43825</c:v>
                </c:pt>
                <c:pt idx="249">
                  <c:v>43826</c:v>
                </c:pt>
                <c:pt idx="250">
                  <c:v>43829</c:v>
                </c:pt>
                <c:pt idx="251">
                  <c:v>43830</c:v>
                </c:pt>
                <c:pt idx="252">
                  <c:v>43832</c:v>
                </c:pt>
                <c:pt idx="253">
                  <c:v>43833</c:v>
                </c:pt>
                <c:pt idx="254">
                  <c:v>43836</c:v>
                </c:pt>
                <c:pt idx="255">
                  <c:v>43837</c:v>
                </c:pt>
                <c:pt idx="256">
                  <c:v>43838</c:v>
                </c:pt>
                <c:pt idx="257">
                  <c:v>43839</c:v>
                </c:pt>
                <c:pt idx="258">
                  <c:v>43840</c:v>
                </c:pt>
                <c:pt idx="259">
                  <c:v>43843</c:v>
                </c:pt>
                <c:pt idx="260">
                  <c:v>43844</c:v>
                </c:pt>
                <c:pt idx="261">
                  <c:v>43845</c:v>
                </c:pt>
                <c:pt idx="262">
                  <c:v>43846</c:v>
                </c:pt>
                <c:pt idx="263">
                  <c:v>43847</c:v>
                </c:pt>
                <c:pt idx="264">
                  <c:v>43851</c:v>
                </c:pt>
                <c:pt idx="265">
                  <c:v>43852</c:v>
                </c:pt>
                <c:pt idx="266">
                  <c:v>43853</c:v>
                </c:pt>
                <c:pt idx="267">
                  <c:v>43854</c:v>
                </c:pt>
                <c:pt idx="268">
                  <c:v>43857</c:v>
                </c:pt>
                <c:pt idx="269">
                  <c:v>43858</c:v>
                </c:pt>
                <c:pt idx="270">
                  <c:v>43859</c:v>
                </c:pt>
                <c:pt idx="271">
                  <c:v>43860</c:v>
                </c:pt>
                <c:pt idx="272">
                  <c:v>43861</c:v>
                </c:pt>
                <c:pt idx="273">
                  <c:v>43864</c:v>
                </c:pt>
                <c:pt idx="274">
                  <c:v>43865</c:v>
                </c:pt>
                <c:pt idx="275">
                  <c:v>43866</c:v>
                </c:pt>
                <c:pt idx="276">
                  <c:v>43867</c:v>
                </c:pt>
                <c:pt idx="277">
                  <c:v>43868</c:v>
                </c:pt>
                <c:pt idx="278">
                  <c:v>43871</c:v>
                </c:pt>
                <c:pt idx="279">
                  <c:v>43872</c:v>
                </c:pt>
                <c:pt idx="280">
                  <c:v>43873</c:v>
                </c:pt>
                <c:pt idx="281">
                  <c:v>43874</c:v>
                </c:pt>
                <c:pt idx="282">
                  <c:v>43875</c:v>
                </c:pt>
                <c:pt idx="283">
                  <c:v>43879</c:v>
                </c:pt>
                <c:pt idx="284">
                  <c:v>43880</c:v>
                </c:pt>
                <c:pt idx="285">
                  <c:v>43881</c:v>
                </c:pt>
                <c:pt idx="286">
                  <c:v>43882</c:v>
                </c:pt>
                <c:pt idx="287">
                  <c:v>43885</c:v>
                </c:pt>
                <c:pt idx="288">
                  <c:v>43886</c:v>
                </c:pt>
                <c:pt idx="289">
                  <c:v>43887</c:v>
                </c:pt>
                <c:pt idx="290">
                  <c:v>43888</c:v>
                </c:pt>
                <c:pt idx="291">
                  <c:v>43889</c:v>
                </c:pt>
                <c:pt idx="292">
                  <c:v>43892</c:v>
                </c:pt>
                <c:pt idx="293">
                  <c:v>43893</c:v>
                </c:pt>
                <c:pt idx="294">
                  <c:v>43894</c:v>
                </c:pt>
                <c:pt idx="295">
                  <c:v>43895</c:v>
                </c:pt>
                <c:pt idx="296">
                  <c:v>43896</c:v>
                </c:pt>
                <c:pt idx="297">
                  <c:v>43899</c:v>
                </c:pt>
                <c:pt idx="298">
                  <c:v>43900</c:v>
                </c:pt>
                <c:pt idx="299">
                  <c:v>43901</c:v>
                </c:pt>
                <c:pt idx="300">
                  <c:v>43902</c:v>
                </c:pt>
                <c:pt idx="301">
                  <c:v>43903</c:v>
                </c:pt>
                <c:pt idx="302">
                  <c:v>43906</c:v>
                </c:pt>
                <c:pt idx="303">
                  <c:v>43907</c:v>
                </c:pt>
                <c:pt idx="304">
                  <c:v>43908</c:v>
                </c:pt>
                <c:pt idx="305">
                  <c:v>43909</c:v>
                </c:pt>
                <c:pt idx="306">
                  <c:v>43910</c:v>
                </c:pt>
                <c:pt idx="307">
                  <c:v>43913</c:v>
                </c:pt>
                <c:pt idx="308">
                  <c:v>43914</c:v>
                </c:pt>
                <c:pt idx="309">
                  <c:v>43915</c:v>
                </c:pt>
                <c:pt idx="310">
                  <c:v>43916</c:v>
                </c:pt>
                <c:pt idx="311">
                  <c:v>43917</c:v>
                </c:pt>
                <c:pt idx="312">
                  <c:v>43920</c:v>
                </c:pt>
                <c:pt idx="313">
                  <c:v>43921</c:v>
                </c:pt>
                <c:pt idx="314">
                  <c:v>43922</c:v>
                </c:pt>
                <c:pt idx="315">
                  <c:v>43923</c:v>
                </c:pt>
                <c:pt idx="316">
                  <c:v>43924</c:v>
                </c:pt>
                <c:pt idx="317">
                  <c:v>43927</c:v>
                </c:pt>
                <c:pt idx="318">
                  <c:v>43928</c:v>
                </c:pt>
                <c:pt idx="319">
                  <c:v>43929</c:v>
                </c:pt>
                <c:pt idx="320">
                  <c:v>43930</c:v>
                </c:pt>
                <c:pt idx="321">
                  <c:v>43934</c:v>
                </c:pt>
                <c:pt idx="322">
                  <c:v>43935</c:v>
                </c:pt>
                <c:pt idx="323">
                  <c:v>43936</c:v>
                </c:pt>
                <c:pt idx="324">
                  <c:v>43937</c:v>
                </c:pt>
                <c:pt idx="325">
                  <c:v>43938</c:v>
                </c:pt>
                <c:pt idx="326">
                  <c:v>43941</c:v>
                </c:pt>
                <c:pt idx="327">
                  <c:v>43942</c:v>
                </c:pt>
                <c:pt idx="328">
                  <c:v>43943</c:v>
                </c:pt>
                <c:pt idx="329">
                  <c:v>43944</c:v>
                </c:pt>
                <c:pt idx="330">
                  <c:v>43945</c:v>
                </c:pt>
                <c:pt idx="331">
                  <c:v>43948</c:v>
                </c:pt>
                <c:pt idx="332">
                  <c:v>43949</c:v>
                </c:pt>
                <c:pt idx="333">
                  <c:v>43950</c:v>
                </c:pt>
                <c:pt idx="334">
                  <c:v>43951</c:v>
                </c:pt>
                <c:pt idx="335">
                  <c:v>43952</c:v>
                </c:pt>
                <c:pt idx="336">
                  <c:v>43955</c:v>
                </c:pt>
                <c:pt idx="337">
                  <c:v>43956</c:v>
                </c:pt>
                <c:pt idx="338">
                  <c:v>43957</c:v>
                </c:pt>
                <c:pt idx="339">
                  <c:v>43958</c:v>
                </c:pt>
                <c:pt idx="340">
                  <c:v>43959</c:v>
                </c:pt>
                <c:pt idx="341">
                  <c:v>43962</c:v>
                </c:pt>
                <c:pt idx="342">
                  <c:v>43963</c:v>
                </c:pt>
                <c:pt idx="343">
                  <c:v>43964</c:v>
                </c:pt>
                <c:pt idx="344">
                  <c:v>43965</c:v>
                </c:pt>
                <c:pt idx="345">
                  <c:v>43966</c:v>
                </c:pt>
                <c:pt idx="346">
                  <c:v>43969</c:v>
                </c:pt>
                <c:pt idx="347">
                  <c:v>43970</c:v>
                </c:pt>
                <c:pt idx="348">
                  <c:v>43971</c:v>
                </c:pt>
                <c:pt idx="349">
                  <c:v>43972</c:v>
                </c:pt>
                <c:pt idx="350">
                  <c:v>43973</c:v>
                </c:pt>
                <c:pt idx="351">
                  <c:v>43977</c:v>
                </c:pt>
                <c:pt idx="352">
                  <c:v>43978</c:v>
                </c:pt>
                <c:pt idx="353">
                  <c:v>43979</c:v>
                </c:pt>
                <c:pt idx="354">
                  <c:v>43980</c:v>
                </c:pt>
                <c:pt idx="355">
                  <c:v>43983</c:v>
                </c:pt>
                <c:pt idx="356">
                  <c:v>43984</c:v>
                </c:pt>
                <c:pt idx="357">
                  <c:v>43985</c:v>
                </c:pt>
                <c:pt idx="358">
                  <c:v>43986</c:v>
                </c:pt>
                <c:pt idx="359">
                  <c:v>43987</c:v>
                </c:pt>
                <c:pt idx="360">
                  <c:v>43990</c:v>
                </c:pt>
                <c:pt idx="361">
                  <c:v>43991</c:v>
                </c:pt>
                <c:pt idx="362">
                  <c:v>43992</c:v>
                </c:pt>
                <c:pt idx="363">
                  <c:v>43993</c:v>
                </c:pt>
                <c:pt idx="364">
                  <c:v>43994</c:v>
                </c:pt>
                <c:pt idx="365">
                  <c:v>43997</c:v>
                </c:pt>
                <c:pt idx="366">
                  <c:v>43998</c:v>
                </c:pt>
                <c:pt idx="367">
                  <c:v>43999</c:v>
                </c:pt>
                <c:pt idx="368">
                  <c:v>44000</c:v>
                </c:pt>
                <c:pt idx="369">
                  <c:v>44001</c:v>
                </c:pt>
                <c:pt idx="370">
                  <c:v>44004</c:v>
                </c:pt>
                <c:pt idx="371">
                  <c:v>44005</c:v>
                </c:pt>
                <c:pt idx="372">
                  <c:v>44006</c:v>
                </c:pt>
                <c:pt idx="373">
                  <c:v>44007</c:v>
                </c:pt>
                <c:pt idx="374">
                  <c:v>44008</c:v>
                </c:pt>
                <c:pt idx="375">
                  <c:v>44011</c:v>
                </c:pt>
                <c:pt idx="376">
                  <c:v>44012</c:v>
                </c:pt>
                <c:pt idx="377">
                  <c:v>44013</c:v>
                </c:pt>
                <c:pt idx="378">
                  <c:v>44014</c:v>
                </c:pt>
                <c:pt idx="379">
                  <c:v>44018</c:v>
                </c:pt>
                <c:pt idx="380">
                  <c:v>44019</c:v>
                </c:pt>
                <c:pt idx="381">
                  <c:v>44020</c:v>
                </c:pt>
                <c:pt idx="382">
                  <c:v>44021</c:v>
                </c:pt>
                <c:pt idx="383">
                  <c:v>44022</c:v>
                </c:pt>
                <c:pt idx="384">
                  <c:v>44025</c:v>
                </c:pt>
                <c:pt idx="385">
                  <c:v>44026</c:v>
                </c:pt>
                <c:pt idx="386">
                  <c:v>44027</c:v>
                </c:pt>
                <c:pt idx="387">
                  <c:v>44028</c:v>
                </c:pt>
                <c:pt idx="388">
                  <c:v>44029</c:v>
                </c:pt>
                <c:pt idx="389">
                  <c:v>44032</c:v>
                </c:pt>
                <c:pt idx="390">
                  <c:v>44033</c:v>
                </c:pt>
                <c:pt idx="391">
                  <c:v>44034</c:v>
                </c:pt>
                <c:pt idx="392">
                  <c:v>44035</c:v>
                </c:pt>
                <c:pt idx="393">
                  <c:v>44036</c:v>
                </c:pt>
                <c:pt idx="394">
                  <c:v>44039</c:v>
                </c:pt>
                <c:pt idx="395">
                  <c:v>44040</c:v>
                </c:pt>
                <c:pt idx="396">
                  <c:v>44041</c:v>
                </c:pt>
                <c:pt idx="397">
                  <c:v>44042</c:v>
                </c:pt>
                <c:pt idx="398">
                  <c:v>44043</c:v>
                </c:pt>
                <c:pt idx="399">
                  <c:v>44046</c:v>
                </c:pt>
                <c:pt idx="400">
                  <c:v>44047</c:v>
                </c:pt>
                <c:pt idx="401">
                  <c:v>44048</c:v>
                </c:pt>
                <c:pt idx="402">
                  <c:v>44049</c:v>
                </c:pt>
                <c:pt idx="403">
                  <c:v>44050</c:v>
                </c:pt>
                <c:pt idx="404">
                  <c:v>44053</c:v>
                </c:pt>
                <c:pt idx="405">
                  <c:v>44054</c:v>
                </c:pt>
                <c:pt idx="406">
                  <c:v>44055</c:v>
                </c:pt>
                <c:pt idx="407">
                  <c:v>44056</c:v>
                </c:pt>
                <c:pt idx="408">
                  <c:v>44057</c:v>
                </c:pt>
                <c:pt idx="409">
                  <c:v>44060</c:v>
                </c:pt>
                <c:pt idx="410">
                  <c:v>44061</c:v>
                </c:pt>
                <c:pt idx="411">
                  <c:v>44062</c:v>
                </c:pt>
                <c:pt idx="412">
                  <c:v>44063</c:v>
                </c:pt>
                <c:pt idx="413">
                  <c:v>44064</c:v>
                </c:pt>
                <c:pt idx="414">
                  <c:v>44067</c:v>
                </c:pt>
                <c:pt idx="415">
                  <c:v>44068</c:v>
                </c:pt>
                <c:pt idx="416">
                  <c:v>44069</c:v>
                </c:pt>
                <c:pt idx="417">
                  <c:v>44070</c:v>
                </c:pt>
                <c:pt idx="418">
                  <c:v>44071</c:v>
                </c:pt>
                <c:pt idx="419">
                  <c:v>44074</c:v>
                </c:pt>
                <c:pt idx="420">
                  <c:v>44075</c:v>
                </c:pt>
                <c:pt idx="421">
                  <c:v>44076</c:v>
                </c:pt>
                <c:pt idx="422">
                  <c:v>44077</c:v>
                </c:pt>
                <c:pt idx="423">
                  <c:v>44078</c:v>
                </c:pt>
                <c:pt idx="424">
                  <c:v>44082</c:v>
                </c:pt>
                <c:pt idx="425">
                  <c:v>44083</c:v>
                </c:pt>
                <c:pt idx="426">
                  <c:v>44084</c:v>
                </c:pt>
                <c:pt idx="427">
                  <c:v>44085</c:v>
                </c:pt>
                <c:pt idx="428">
                  <c:v>44088</c:v>
                </c:pt>
                <c:pt idx="429">
                  <c:v>44089</c:v>
                </c:pt>
                <c:pt idx="430">
                  <c:v>44090</c:v>
                </c:pt>
                <c:pt idx="431">
                  <c:v>44091</c:v>
                </c:pt>
                <c:pt idx="432">
                  <c:v>44092</c:v>
                </c:pt>
                <c:pt idx="433">
                  <c:v>44095</c:v>
                </c:pt>
                <c:pt idx="434">
                  <c:v>44096</c:v>
                </c:pt>
                <c:pt idx="435">
                  <c:v>44097</c:v>
                </c:pt>
                <c:pt idx="436">
                  <c:v>44098</c:v>
                </c:pt>
                <c:pt idx="437">
                  <c:v>44099</c:v>
                </c:pt>
                <c:pt idx="438">
                  <c:v>44102</c:v>
                </c:pt>
                <c:pt idx="439">
                  <c:v>44103</c:v>
                </c:pt>
                <c:pt idx="440">
                  <c:v>44104</c:v>
                </c:pt>
                <c:pt idx="441">
                  <c:v>44105</c:v>
                </c:pt>
                <c:pt idx="442">
                  <c:v>44106</c:v>
                </c:pt>
                <c:pt idx="443">
                  <c:v>44109</c:v>
                </c:pt>
                <c:pt idx="444">
                  <c:v>44110</c:v>
                </c:pt>
                <c:pt idx="445">
                  <c:v>44111</c:v>
                </c:pt>
                <c:pt idx="446">
                  <c:v>44112</c:v>
                </c:pt>
                <c:pt idx="447">
                  <c:v>44113</c:v>
                </c:pt>
                <c:pt idx="448">
                  <c:v>44117</c:v>
                </c:pt>
                <c:pt idx="449">
                  <c:v>44118</c:v>
                </c:pt>
                <c:pt idx="450">
                  <c:v>44119</c:v>
                </c:pt>
                <c:pt idx="451">
                  <c:v>44120</c:v>
                </c:pt>
                <c:pt idx="452">
                  <c:v>44123</c:v>
                </c:pt>
                <c:pt idx="453">
                  <c:v>44124</c:v>
                </c:pt>
                <c:pt idx="454">
                  <c:v>44125</c:v>
                </c:pt>
                <c:pt idx="455">
                  <c:v>44126</c:v>
                </c:pt>
                <c:pt idx="456">
                  <c:v>44127</c:v>
                </c:pt>
                <c:pt idx="457">
                  <c:v>44130</c:v>
                </c:pt>
                <c:pt idx="458">
                  <c:v>44131</c:v>
                </c:pt>
                <c:pt idx="459">
                  <c:v>44132</c:v>
                </c:pt>
                <c:pt idx="460">
                  <c:v>44133</c:v>
                </c:pt>
                <c:pt idx="461">
                  <c:v>44134</c:v>
                </c:pt>
                <c:pt idx="462">
                  <c:v>44137</c:v>
                </c:pt>
                <c:pt idx="463">
                  <c:v>44138</c:v>
                </c:pt>
                <c:pt idx="464">
                  <c:v>44139</c:v>
                </c:pt>
                <c:pt idx="465">
                  <c:v>44140</c:v>
                </c:pt>
                <c:pt idx="466">
                  <c:v>44141</c:v>
                </c:pt>
                <c:pt idx="467">
                  <c:v>44144</c:v>
                </c:pt>
                <c:pt idx="468">
                  <c:v>44145</c:v>
                </c:pt>
                <c:pt idx="469">
                  <c:v>44147</c:v>
                </c:pt>
                <c:pt idx="470">
                  <c:v>44148</c:v>
                </c:pt>
                <c:pt idx="471">
                  <c:v>44151</c:v>
                </c:pt>
                <c:pt idx="472">
                  <c:v>44152</c:v>
                </c:pt>
                <c:pt idx="473">
                  <c:v>44153</c:v>
                </c:pt>
                <c:pt idx="474">
                  <c:v>44154</c:v>
                </c:pt>
                <c:pt idx="475">
                  <c:v>44155</c:v>
                </c:pt>
                <c:pt idx="476">
                  <c:v>44158</c:v>
                </c:pt>
                <c:pt idx="477">
                  <c:v>44159</c:v>
                </c:pt>
                <c:pt idx="478">
                  <c:v>44160</c:v>
                </c:pt>
                <c:pt idx="479">
                  <c:v>44162</c:v>
                </c:pt>
                <c:pt idx="480">
                  <c:v>44165</c:v>
                </c:pt>
                <c:pt idx="481">
                  <c:v>44166</c:v>
                </c:pt>
                <c:pt idx="482">
                  <c:v>44167</c:v>
                </c:pt>
                <c:pt idx="483">
                  <c:v>44168</c:v>
                </c:pt>
                <c:pt idx="484">
                  <c:v>44169</c:v>
                </c:pt>
                <c:pt idx="485">
                  <c:v>44172</c:v>
                </c:pt>
                <c:pt idx="486">
                  <c:v>44173</c:v>
                </c:pt>
                <c:pt idx="487">
                  <c:v>44174</c:v>
                </c:pt>
                <c:pt idx="488">
                  <c:v>44175</c:v>
                </c:pt>
                <c:pt idx="489">
                  <c:v>44176</c:v>
                </c:pt>
                <c:pt idx="490">
                  <c:v>44179</c:v>
                </c:pt>
                <c:pt idx="491">
                  <c:v>44180</c:v>
                </c:pt>
                <c:pt idx="492">
                  <c:v>44181</c:v>
                </c:pt>
                <c:pt idx="493">
                  <c:v>44182</c:v>
                </c:pt>
                <c:pt idx="494">
                  <c:v>44183</c:v>
                </c:pt>
                <c:pt idx="495">
                  <c:v>44186</c:v>
                </c:pt>
                <c:pt idx="496">
                  <c:v>44187</c:v>
                </c:pt>
                <c:pt idx="497">
                  <c:v>44188</c:v>
                </c:pt>
                <c:pt idx="498">
                  <c:v>44189</c:v>
                </c:pt>
                <c:pt idx="499">
                  <c:v>44193</c:v>
                </c:pt>
                <c:pt idx="500">
                  <c:v>44194</c:v>
                </c:pt>
                <c:pt idx="501">
                  <c:v>44195</c:v>
                </c:pt>
                <c:pt idx="502">
                  <c:v>44196</c:v>
                </c:pt>
                <c:pt idx="503">
                  <c:v>44200</c:v>
                </c:pt>
                <c:pt idx="504">
                  <c:v>44201</c:v>
                </c:pt>
                <c:pt idx="505">
                  <c:v>44202</c:v>
                </c:pt>
                <c:pt idx="506">
                  <c:v>44203</c:v>
                </c:pt>
                <c:pt idx="507">
                  <c:v>44204</c:v>
                </c:pt>
                <c:pt idx="508">
                  <c:v>44207</c:v>
                </c:pt>
                <c:pt idx="509">
                  <c:v>44208</c:v>
                </c:pt>
                <c:pt idx="510">
                  <c:v>44209</c:v>
                </c:pt>
                <c:pt idx="511">
                  <c:v>44210</c:v>
                </c:pt>
                <c:pt idx="512">
                  <c:v>44211</c:v>
                </c:pt>
                <c:pt idx="513">
                  <c:v>44215</c:v>
                </c:pt>
                <c:pt idx="514">
                  <c:v>44216</c:v>
                </c:pt>
                <c:pt idx="515">
                  <c:v>44217</c:v>
                </c:pt>
                <c:pt idx="516">
                  <c:v>44218</c:v>
                </c:pt>
                <c:pt idx="517">
                  <c:v>44221</c:v>
                </c:pt>
                <c:pt idx="518">
                  <c:v>44222</c:v>
                </c:pt>
                <c:pt idx="519">
                  <c:v>44223</c:v>
                </c:pt>
                <c:pt idx="520">
                  <c:v>44224</c:v>
                </c:pt>
                <c:pt idx="521">
                  <c:v>44225</c:v>
                </c:pt>
                <c:pt idx="522">
                  <c:v>44228</c:v>
                </c:pt>
                <c:pt idx="523">
                  <c:v>44229</c:v>
                </c:pt>
                <c:pt idx="524">
                  <c:v>44230</c:v>
                </c:pt>
                <c:pt idx="525">
                  <c:v>44231</c:v>
                </c:pt>
                <c:pt idx="526">
                  <c:v>44232</c:v>
                </c:pt>
                <c:pt idx="527">
                  <c:v>44235</c:v>
                </c:pt>
                <c:pt idx="528">
                  <c:v>44236</c:v>
                </c:pt>
                <c:pt idx="529">
                  <c:v>44237</c:v>
                </c:pt>
                <c:pt idx="530">
                  <c:v>44238</c:v>
                </c:pt>
                <c:pt idx="531">
                  <c:v>44239</c:v>
                </c:pt>
                <c:pt idx="532">
                  <c:v>44243</c:v>
                </c:pt>
                <c:pt idx="533">
                  <c:v>44244</c:v>
                </c:pt>
                <c:pt idx="534">
                  <c:v>44245</c:v>
                </c:pt>
                <c:pt idx="535">
                  <c:v>44246</c:v>
                </c:pt>
                <c:pt idx="536">
                  <c:v>44249</c:v>
                </c:pt>
                <c:pt idx="537">
                  <c:v>44250</c:v>
                </c:pt>
                <c:pt idx="538">
                  <c:v>44251</c:v>
                </c:pt>
                <c:pt idx="539">
                  <c:v>44252</c:v>
                </c:pt>
                <c:pt idx="540">
                  <c:v>44253</c:v>
                </c:pt>
                <c:pt idx="541">
                  <c:v>44256</c:v>
                </c:pt>
                <c:pt idx="542">
                  <c:v>44257</c:v>
                </c:pt>
                <c:pt idx="543">
                  <c:v>44258</c:v>
                </c:pt>
                <c:pt idx="544">
                  <c:v>44259</c:v>
                </c:pt>
                <c:pt idx="545">
                  <c:v>44260</c:v>
                </c:pt>
                <c:pt idx="546">
                  <c:v>44263</c:v>
                </c:pt>
                <c:pt idx="547">
                  <c:v>44264</c:v>
                </c:pt>
                <c:pt idx="548">
                  <c:v>44265</c:v>
                </c:pt>
                <c:pt idx="549">
                  <c:v>44266</c:v>
                </c:pt>
                <c:pt idx="550">
                  <c:v>44267</c:v>
                </c:pt>
                <c:pt idx="551">
                  <c:v>44270</c:v>
                </c:pt>
                <c:pt idx="552">
                  <c:v>44271</c:v>
                </c:pt>
                <c:pt idx="553">
                  <c:v>44272</c:v>
                </c:pt>
                <c:pt idx="554">
                  <c:v>44273</c:v>
                </c:pt>
                <c:pt idx="555">
                  <c:v>44274</c:v>
                </c:pt>
                <c:pt idx="556">
                  <c:v>44277</c:v>
                </c:pt>
                <c:pt idx="557">
                  <c:v>44278</c:v>
                </c:pt>
                <c:pt idx="558">
                  <c:v>44279</c:v>
                </c:pt>
                <c:pt idx="559">
                  <c:v>44280</c:v>
                </c:pt>
                <c:pt idx="560">
                  <c:v>44281</c:v>
                </c:pt>
                <c:pt idx="561">
                  <c:v>44284</c:v>
                </c:pt>
                <c:pt idx="562">
                  <c:v>44285</c:v>
                </c:pt>
                <c:pt idx="563">
                  <c:v>44286</c:v>
                </c:pt>
                <c:pt idx="564">
                  <c:v>44287</c:v>
                </c:pt>
                <c:pt idx="565">
                  <c:v>44288</c:v>
                </c:pt>
                <c:pt idx="566">
                  <c:v>44291</c:v>
                </c:pt>
                <c:pt idx="567">
                  <c:v>44292</c:v>
                </c:pt>
                <c:pt idx="568">
                  <c:v>44293</c:v>
                </c:pt>
                <c:pt idx="569">
                  <c:v>44294</c:v>
                </c:pt>
                <c:pt idx="570">
                  <c:v>44295</c:v>
                </c:pt>
                <c:pt idx="571">
                  <c:v>44298</c:v>
                </c:pt>
                <c:pt idx="572">
                  <c:v>44299</c:v>
                </c:pt>
                <c:pt idx="573">
                  <c:v>44300</c:v>
                </c:pt>
                <c:pt idx="574">
                  <c:v>44301</c:v>
                </c:pt>
                <c:pt idx="575">
                  <c:v>44302</c:v>
                </c:pt>
                <c:pt idx="576">
                  <c:v>44305</c:v>
                </c:pt>
                <c:pt idx="577">
                  <c:v>44306</c:v>
                </c:pt>
                <c:pt idx="578">
                  <c:v>44307</c:v>
                </c:pt>
                <c:pt idx="579">
                  <c:v>44308</c:v>
                </c:pt>
                <c:pt idx="580">
                  <c:v>44309</c:v>
                </c:pt>
                <c:pt idx="581">
                  <c:v>44312</c:v>
                </c:pt>
                <c:pt idx="582">
                  <c:v>44313</c:v>
                </c:pt>
                <c:pt idx="583">
                  <c:v>44314</c:v>
                </c:pt>
                <c:pt idx="584">
                  <c:v>44315</c:v>
                </c:pt>
                <c:pt idx="585">
                  <c:v>44316</c:v>
                </c:pt>
                <c:pt idx="586">
                  <c:v>44319</c:v>
                </c:pt>
                <c:pt idx="587">
                  <c:v>44320</c:v>
                </c:pt>
                <c:pt idx="588">
                  <c:v>44321</c:v>
                </c:pt>
                <c:pt idx="589">
                  <c:v>44322</c:v>
                </c:pt>
                <c:pt idx="590">
                  <c:v>44323</c:v>
                </c:pt>
                <c:pt idx="591">
                  <c:v>44326</c:v>
                </c:pt>
                <c:pt idx="592">
                  <c:v>44327</c:v>
                </c:pt>
                <c:pt idx="593">
                  <c:v>44328</c:v>
                </c:pt>
                <c:pt idx="594">
                  <c:v>44329</c:v>
                </c:pt>
                <c:pt idx="595">
                  <c:v>44330</c:v>
                </c:pt>
                <c:pt idx="596">
                  <c:v>44333</c:v>
                </c:pt>
                <c:pt idx="597">
                  <c:v>44334</c:v>
                </c:pt>
                <c:pt idx="598">
                  <c:v>44335</c:v>
                </c:pt>
                <c:pt idx="599">
                  <c:v>44336</c:v>
                </c:pt>
                <c:pt idx="600">
                  <c:v>44337</c:v>
                </c:pt>
                <c:pt idx="601">
                  <c:v>44340</c:v>
                </c:pt>
                <c:pt idx="602">
                  <c:v>44341</c:v>
                </c:pt>
                <c:pt idx="603">
                  <c:v>44342</c:v>
                </c:pt>
                <c:pt idx="604">
                  <c:v>44343</c:v>
                </c:pt>
                <c:pt idx="605">
                  <c:v>44344</c:v>
                </c:pt>
                <c:pt idx="606">
                  <c:v>44347</c:v>
                </c:pt>
                <c:pt idx="607">
                  <c:v>44348</c:v>
                </c:pt>
                <c:pt idx="608">
                  <c:v>44349</c:v>
                </c:pt>
                <c:pt idx="609">
                  <c:v>44350</c:v>
                </c:pt>
                <c:pt idx="610">
                  <c:v>44351</c:v>
                </c:pt>
                <c:pt idx="611">
                  <c:v>44354</c:v>
                </c:pt>
                <c:pt idx="612">
                  <c:v>44355</c:v>
                </c:pt>
                <c:pt idx="613">
                  <c:v>44356</c:v>
                </c:pt>
                <c:pt idx="614">
                  <c:v>44357</c:v>
                </c:pt>
                <c:pt idx="615">
                  <c:v>44358</c:v>
                </c:pt>
                <c:pt idx="616">
                  <c:v>44361</c:v>
                </c:pt>
                <c:pt idx="617">
                  <c:v>44362</c:v>
                </c:pt>
                <c:pt idx="618">
                  <c:v>44363</c:v>
                </c:pt>
                <c:pt idx="619">
                  <c:v>44364</c:v>
                </c:pt>
                <c:pt idx="620">
                  <c:v>44365</c:v>
                </c:pt>
                <c:pt idx="621">
                  <c:v>44368</c:v>
                </c:pt>
                <c:pt idx="622">
                  <c:v>44369</c:v>
                </c:pt>
                <c:pt idx="623">
                  <c:v>44370</c:v>
                </c:pt>
                <c:pt idx="624">
                  <c:v>44371</c:v>
                </c:pt>
                <c:pt idx="625">
                  <c:v>44372</c:v>
                </c:pt>
                <c:pt idx="626">
                  <c:v>44375</c:v>
                </c:pt>
                <c:pt idx="627">
                  <c:v>44376</c:v>
                </c:pt>
                <c:pt idx="628">
                  <c:v>44377</c:v>
                </c:pt>
                <c:pt idx="629">
                  <c:v>44378</c:v>
                </c:pt>
                <c:pt idx="630">
                  <c:v>44379</c:v>
                </c:pt>
                <c:pt idx="631">
                  <c:v>44382</c:v>
                </c:pt>
                <c:pt idx="632">
                  <c:v>44383</c:v>
                </c:pt>
                <c:pt idx="633">
                  <c:v>44384</c:v>
                </c:pt>
                <c:pt idx="634">
                  <c:v>44385</c:v>
                </c:pt>
                <c:pt idx="635">
                  <c:v>44386</c:v>
                </c:pt>
                <c:pt idx="636">
                  <c:v>44389</c:v>
                </c:pt>
                <c:pt idx="637">
                  <c:v>44390</c:v>
                </c:pt>
                <c:pt idx="638">
                  <c:v>44391</c:v>
                </c:pt>
                <c:pt idx="639">
                  <c:v>44392</c:v>
                </c:pt>
                <c:pt idx="640">
                  <c:v>44393</c:v>
                </c:pt>
                <c:pt idx="641">
                  <c:v>44396</c:v>
                </c:pt>
                <c:pt idx="642">
                  <c:v>44397</c:v>
                </c:pt>
                <c:pt idx="643">
                  <c:v>44398</c:v>
                </c:pt>
                <c:pt idx="644">
                  <c:v>44399</c:v>
                </c:pt>
                <c:pt idx="645">
                  <c:v>44400</c:v>
                </c:pt>
                <c:pt idx="646">
                  <c:v>44403</c:v>
                </c:pt>
                <c:pt idx="647">
                  <c:v>44404</c:v>
                </c:pt>
                <c:pt idx="648">
                  <c:v>44405</c:v>
                </c:pt>
                <c:pt idx="649">
                  <c:v>44406</c:v>
                </c:pt>
                <c:pt idx="650">
                  <c:v>44407</c:v>
                </c:pt>
                <c:pt idx="651">
                  <c:v>44410</c:v>
                </c:pt>
                <c:pt idx="652">
                  <c:v>44411</c:v>
                </c:pt>
                <c:pt idx="653">
                  <c:v>44412</c:v>
                </c:pt>
                <c:pt idx="654">
                  <c:v>44413</c:v>
                </c:pt>
                <c:pt idx="655">
                  <c:v>44414</c:v>
                </c:pt>
                <c:pt idx="656">
                  <c:v>44417</c:v>
                </c:pt>
                <c:pt idx="657">
                  <c:v>44418</c:v>
                </c:pt>
                <c:pt idx="658">
                  <c:v>44419</c:v>
                </c:pt>
                <c:pt idx="659">
                  <c:v>44420</c:v>
                </c:pt>
                <c:pt idx="660">
                  <c:v>44421</c:v>
                </c:pt>
                <c:pt idx="661">
                  <c:v>44424</c:v>
                </c:pt>
                <c:pt idx="662">
                  <c:v>44425</c:v>
                </c:pt>
                <c:pt idx="663">
                  <c:v>44426</c:v>
                </c:pt>
                <c:pt idx="664">
                  <c:v>44427</c:v>
                </c:pt>
                <c:pt idx="665">
                  <c:v>44428</c:v>
                </c:pt>
                <c:pt idx="666">
                  <c:v>44431</c:v>
                </c:pt>
                <c:pt idx="667">
                  <c:v>44432</c:v>
                </c:pt>
                <c:pt idx="668">
                  <c:v>44433</c:v>
                </c:pt>
                <c:pt idx="669">
                  <c:v>44434</c:v>
                </c:pt>
                <c:pt idx="670">
                  <c:v>44435</c:v>
                </c:pt>
                <c:pt idx="671">
                  <c:v>44438</c:v>
                </c:pt>
                <c:pt idx="672">
                  <c:v>44439</c:v>
                </c:pt>
                <c:pt idx="673">
                  <c:v>44440</c:v>
                </c:pt>
                <c:pt idx="674">
                  <c:v>44441</c:v>
                </c:pt>
                <c:pt idx="675">
                  <c:v>44442</c:v>
                </c:pt>
                <c:pt idx="676">
                  <c:v>44445</c:v>
                </c:pt>
                <c:pt idx="677">
                  <c:v>44446</c:v>
                </c:pt>
                <c:pt idx="678">
                  <c:v>44447</c:v>
                </c:pt>
                <c:pt idx="679">
                  <c:v>44448</c:v>
                </c:pt>
                <c:pt idx="680">
                  <c:v>44449</c:v>
                </c:pt>
                <c:pt idx="681">
                  <c:v>44452</c:v>
                </c:pt>
                <c:pt idx="682">
                  <c:v>44453</c:v>
                </c:pt>
                <c:pt idx="683">
                  <c:v>44454</c:v>
                </c:pt>
                <c:pt idx="684">
                  <c:v>44455</c:v>
                </c:pt>
                <c:pt idx="685">
                  <c:v>44456</c:v>
                </c:pt>
                <c:pt idx="686">
                  <c:v>44459</c:v>
                </c:pt>
                <c:pt idx="687">
                  <c:v>44460</c:v>
                </c:pt>
                <c:pt idx="688">
                  <c:v>44461</c:v>
                </c:pt>
                <c:pt idx="689">
                  <c:v>44462</c:v>
                </c:pt>
                <c:pt idx="690">
                  <c:v>44463</c:v>
                </c:pt>
                <c:pt idx="691">
                  <c:v>44466</c:v>
                </c:pt>
                <c:pt idx="692">
                  <c:v>44467</c:v>
                </c:pt>
                <c:pt idx="693">
                  <c:v>44468</c:v>
                </c:pt>
                <c:pt idx="694">
                  <c:v>44469</c:v>
                </c:pt>
                <c:pt idx="695">
                  <c:v>44470</c:v>
                </c:pt>
                <c:pt idx="696">
                  <c:v>44473</c:v>
                </c:pt>
                <c:pt idx="697">
                  <c:v>44474</c:v>
                </c:pt>
                <c:pt idx="698">
                  <c:v>44475</c:v>
                </c:pt>
                <c:pt idx="699">
                  <c:v>44476</c:v>
                </c:pt>
                <c:pt idx="700">
                  <c:v>44477</c:v>
                </c:pt>
                <c:pt idx="701">
                  <c:v>44480</c:v>
                </c:pt>
                <c:pt idx="702">
                  <c:v>44481</c:v>
                </c:pt>
                <c:pt idx="703">
                  <c:v>44482</c:v>
                </c:pt>
                <c:pt idx="704">
                  <c:v>44483</c:v>
                </c:pt>
                <c:pt idx="705">
                  <c:v>44484</c:v>
                </c:pt>
                <c:pt idx="706">
                  <c:v>44487</c:v>
                </c:pt>
                <c:pt idx="707">
                  <c:v>44488</c:v>
                </c:pt>
                <c:pt idx="708">
                  <c:v>44489</c:v>
                </c:pt>
                <c:pt idx="709">
                  <c:v>44490</c:v>
                </c:pt>
                <c:pt idx="710">
                  <c:v>44491</c:v>
                </c:pt>
                <c:pt idx="711">
                  <c:v>44494</c:v>
                </c:pt>
                <c:pt idx="712">
                  <c:v>44495</c:v>
                </c:pt>
                <c:pt idx="713">
                  <c:v>44496</c:v>
                </c:pt>
                <c:pt idx="714">
                  <c:v>44497</c:v>
                </c:pt>
                <c:pt idx="715">
                  <c:v>44498</c:v>
                </c:pt>
                <c:pt idx="716">
                  <c:v>44501</c:v>
                </c:pt>
                <c:pt idx="717">
                  <c:v>44502</c:v>
                </c:pt>
                <c:pt idx="718">
                  <c:v>44503</c:v>
                </c:pt>
                <c:pt idx="719">
                  <c:v>44504</c:v>
                </c:pt>
                <c:pt idx="720">
                  <c:v>44505</c:v>
                </c:pt>
                <c:pt idx="721">
                  <c:v>44508</c:v>
                </c:pt>
                <c:pt idx="722">
                  <c:v>44509</c:v>
                </c:pt>
                <c:pt idx="723">
                  <c:v>44510</c:v>
                </c:pt>
                <c:pt idx="724">
                  <c:v>44511</c:v>
                </c:pt>
                <c:pt idx="725">
                  <c:v>44512</c:v>
                </c:pt>
                <c:pt idx="726">
                  <c:v>44515</c:v>
                </c:pt>
                <c:pt idx="727">
                  <c:v>44516</c:v>
                </c:pt>
                <c:pt idx="728">
                  <c:v>44517</c:v>
                </c:pt>
                <c:pt idx="729">
                  <c:v>44518</c:v>
                </c:pt>
                <c:pt idx="730">
                  <c:v>44519</c:v>
                </c:pt>
                <c:pt idx="731">
                  <c:v>44522</c:v>
                </c:pt>
                <c:pt idx="732">
                  <c:v>44523</c:v>
                </c:pt>
                <c:pt idx="733">
                  <c:v>44524</c:v>
                </c:pt>
                <c:pt idx="734">
                  <c:v>44525</c:v>
                </c:pt>
                <c:pt idx="735">
                  <c:v>44526</c:v>
                </c:pt>
                <c:pt idx="736">
                  <c:v>44529</c:v>
                </c:pt>
                <c:pt idx="737">
                  <c:v>44530</c:v>
                </c:pt>
                <c:pt idx="738">
                  <c:v>44531</c:v>
                </c:pt>
                <c:pt idx="739">
                  <c:v>44532</c:v>
                </c:pt>
                <c:pt idx="740">
                  <c:v>44533</c:v>
                </c:pt>
                <c:pt idx="741">
                  <c:v>44536</c:v>
                </c:pt>
                <c:pt idx="742">
                  <c:v>44537</c:v>
                </c:pt>
                <c:pt idx="743">
                  <c:v>44538</c:v>
                </c:pt>
                <c:pt idx="744">
                  <c:v>44539</c:v>
                </c:pt>
                <c:pt idx="745">
                  <c:v>44540</c:v>
                </c:pt>
                <c:pt idx="746">
                  <c:v>44543</c:v>
                </c:pt>
                <c:pt idx="747">
                  <c:v>44544</c:v>
                </c:pt>
                <c:pt idx="748">
                  <c:v>44545</c:v>
                </c:pt>
                <c:pt idx="749">
                  <c:v>44546</c:v>
                </c:pt>
                <c:pt idx="750">
                  <c:v>44547</c:v>
                </c:pt>
                <c:pt idx="751">
                  <c:v>44550</c:v>
                </c:pt>
                <c:pt idx="752">
                  <c:v>44551</c:v>
                </c:pt>
                <c:pt idx="753">
                  <c:v>44552</c:v>
                </c:pt>
                <c:pt idx="754">
                  <c:v>44553</c:v>
                </c:pt>
                <c:pt idx="755">
                  <c:v>44554</c:v>
                </c:pt>
                <c:pt idx="756">
                  <c:v>44557</c:v>
                </c:pt>
                <c:pt idx="757">
                  <c:v>44558</c:v>
                </c:pt>
                <c:pt idx="758">
                  <c:v>44559</c:v>
                </c:pt>
                <c:pt idx="759">
                  <c:v>44560</c:v>
                </c:pt>
                <c:pt idx="760">
                  <c:v>44561</c:v>
                </c:pt>
                <c:pt idx="761">
                  <c:v>44564</c:v>
                </c:pt>
                <c:pt idx="762">
                  <c:v>44565</c:v>
                </c:pt>
                <c:pt idx="763">
                  <c:v>44566</c:v>
                </c:pt>
                <c:pt idx="764">
                  <c:v>44567</c:v>
                </c:pt>
                <c:pt idx="765">
                  <c:v>44568</c:v>
                </c:pt>
                <c:pt idx="766">
                  <c:v>44571</c:v>
                </c:pt>
                <c:pt idx="767">
                  <c:v>44572</c:v>
                </c:pt>
                <c:pt idx="768">
                  <c:v>44573</c:v>
                </c:pt>
                <c:pt idx="769">
                  <c:v>44574</c:v>
                </c:pt>
                <c:pt idx="770">
                  <c:v>44575</c:v>
                </c:pt>
                <c:pt idx="771">
                  <c:v>44578</c:v>
                </c:pt>
                <c:pt idx="772">
                  <c:v>44579</c:v>
                </c:pt>
                <c:pt idx="773">
                  <c:v>44580</c:v>
                </c:pt>
                <c:pt idx="774">
                  <c:v>44581</c:v>
                </c:pt>
                <c:pt idx="775">
                  <c:v>44582</c:v>
                </c:pt>
                <c:pt idx="776">
                  <c:v>44585</c:v>
                </c:pt>
                <c:pt idx="777">
                  <c:v>44586</c:v>
                </c:pt>
                <c:pt idx="778">
                  <c:v>44587</c:v>
                </c:pt>
                <c:pt idx="779">
                  <c:v>44588</c:v>
                </c:pt>
                <c:pt idx="780">
                  <c:v>44589</c:v>
                </c:pt>
                <c:pt idx="781">
                  <c:v>44592</c:v>
                </c:pt>
                <c:pt idx="782">
                  <c:v>44593</c:v>
                </c:pt>
                <c:pt idx="783">
                  <c:v>44594</c:v>
                </c:pt>
                <c:pt idx="784">
                  <c:v>44595</c:v>
                </c:pt>
                <c:pt idx="785">
                  <c:v>44596</c:v>
                </c:pt>
                <c:pt idx="786">
                  <c:v>44599</c:v>
                </c:pt>
                <c:pt idx="787">
                  <c:v>44600</c:v>
                </c:pt>
                <c:pt idx="788">
                  <c:v>44601</c:v>
                </c:pt>
                <c:pt idx="789">
                  <c:v>44602</c:v>
                </c:pt>
                <c:pt idx="790">
                  <c:v>44603</c:v>
                </c:pt>
                <c:pt idx="791">
                  <c:v>44606</c:v>
                </c:pt>
                <c:pt idx="792">
                  <c:v>44607</c:v>
                </c:pt>
                <c:pt idx="793">
                  <c:v>44608</c:v>
                </c:pt>
                <c:pt idx="794">
                  <c:v>44609</c:v>
                </c:pt>
                <c:pt idx="795">
                  <c:v>44610</c:v>
                </c:pt>
                <c:pt idx="796">
                  <c:v>44613</c:v>
                </c:pt>
                <c:pt idx="797">
                  <c:v>44614</c:v>
                </c:pt>
                <c:pt idx="798">
                  <c:v>44615</c:v>
                </c:pt>
                <c:pt idx="799">
                  <c:v>44616</c:v>
                </c:pt>
                <c:pt idx="800">
                  <c:v>44617</c:v>
                </c:pt>
                <c:pt idx="801">
                  <c:v>44620</c:v>
                </c:pt>
                <c:pt idx="802">
                  <c:v>44621</c:v>
                </c:pt>
                <c:pt idx="803">
                  <c:v>44622</c:v>
                </c:pt>
                <c:pt idx="804">
                  <c:v>44623</c:v>
                </c:pt>
                <c:pt idx="805">
                  <c:v>44624</c:v>
                </c:pt>
                <c:pt idx="806">
                  <c:v>44627</c:v>
                </c:pt>
                <c:pt idx="807">
                  <c:v>44628</c:v>
                </c:pt>
                <c:pt idx="808">
                  <c:v>44629</c:v>
                </c:pt>
                <c:pt idx="809">
                  <c:v>44630</c:v>
                </c:pt>
                <c:pt idx="810">
                  <c:v>44631</c:v>
                </c:pt>
                <c:pt idx="811">
                  <c:v>44634</c:v>
                </c:pt>
                <c:pt idx="812">
                  <c:v>44635</c:v>
                </c:pt>
                <c:pt idx="813">
                  <c:v>44636</c:v>
                </c:pt>
                <c:pt idx="814">
                  <c:v>44637</c:v>
                </c:pt>
                <c:pt idx="815">
                  <c:v>44638</c:v>
                </c:pt>
                <c:pt idx="816">
                  <c:v>44641</c:v>
                </c:pt>
                <c:pt idx="817">
                  <c:v>44642</c:v>
                </c:pt>
                <c:pt idx="818">
                  <c:v>44643</c:v>
                </c:pt>
                <c:pt idx="819">
                  <c:v>44644</c:v>
                </c:pt>
                <c:pt idx="820">
                  <c:v>44645</c:v>
                </c:pt>
                <c:pt idx="821">
                  <c:v>44648</c:v>
                </c:pt>
                <c:pt idx="822">
                  <c:v>44649</c:v>
                </c:pt>
                <c:pt idx="823">
                  <c:v>44650</c:v>
                </c:pt>
                <c:pt idx="824">
                  <c:v>44651</c:v>
                </c:pt>
                <c:pt idx="825">
                  <c:v>44652</c:v>
                </c:pt>
                <c:pt idx="826">
                  <c:v>44655</c:v>
                </c:pt>
                <c:pt idx="827">
                  <c:v>44656</c:v>
                </c:pt>
                <c:pt idx="828">
                  <c:v>44657</c:v>
                </c:pt>
                <c:pt idx="829">
                  <c:v>44658</c:v>
                </c:pt>
                <c:pt idx="830">
                  <c:v>44659</c:v>
                </c:pt>
                <c:pt idx="831">
                  <c:v>44662</c:v>
                </c:pt>
                <c:pt idx="832">
                  <c:v>44663</c:v>
                </c:pt>
                <c:pt idx="833">
                  <c:v>44664</c:v>
                </c:pt>
                <c:pt idx="834">
                  <c:v>44665</c:v>
                </c:pt>
                <c:pt idx="835">
                  <c:v>44666</c:v>
                </c:pt>
                <c:pt idx="836">
                  <c:v>44669</c:v>
                </c:pt>
                <c:pt idx="837">
                  <c:v>44670</c:v>
                </c:pt>
                <c:pt idx="838">
                  <c:v>44671</c:v>
                </c:pt>
                <c:pt idx="839">
                  <c:v>44672</c:v>
                </c:pt>
                <c:pt idx="840">
                  <c:v>44673</c:v>
                </c:pt>
                <c:pt idx="841">
                  <c:v>44676</c:v>
                </c:pt>
                <c:pt idx="842">
                  <c:v>44677</c:v>
                </c:pt>
                <c:pt idx="843">
                  <c:v>44678</c:v>
                </c:pt>
                <c:pt idx="844">
                  <c:v>44679</c:v>
                </c:pt>
                <c:pt idx="845">
                  <c:v>44680</c:v>
                </c:pt>
                <c:pt idx="846">
                  <c:v>44683</c:v>
                </c:pt>
                <c:pt idx="847">
                  <c:v>44684</c:v>
                </c:pt>
                <c:pt idx="848">
                  <c:v>44685</c:v>
                </c:pt>
                <c:pt idx="849">
                  <c:v>44686</c:v>
                </c:pt>
                <c:pt idx="850">
                  <c:v>44687</c:v>
                </c:pt>
                <c:pt idx="851">
                  <c:v>44690</c:v>
                </c:pt>
                <c:pt idx="852">
                  <c:v>44691</c:v>
                </c:pt>
                <c:pt idx="853">
                  <c:v>44692</c:v>
                </c:pt>
                <c:pt idx="854">
                  <c:v>44693</c:v>
                </c:pt>
                <c:pt idx="855">
                  <c:v>44694</c:v>
                </c:pt>
                <c:pt idx="856">
                  <c:v>44697</c:v>
                </c:pt>
                <c:pt idx="857">
                  <c:v>44698</c:v>
                </c:pt>
                <c:pt idx="858">
                  <c:v>44699</c:v>
                </c:pt>
                <c:pt idx="859">
                  <c:v>44700</c:v>
                </c:pt>
                <c:pt idx="860">
                  <c:v>44701</c:v>
                </c:pt>
                <c:pt idx="861">
                  <c:v>44704</c:v>
                </c:pt>
                <c:pt idx="862">
                  <c:v>44705</c:v>
                </c:pt>
                <c:pt idx="863">
                  <c:v>44706</c:v>
                </c:pt>
                <c:pt idx="864">
                  <c:v>44707</c:v>
                </c:pt>
                <c:pt idx="865">
                  <c:v>44708</c:v>
                </c:pt>
                <c:pt idx="866">
                  <c:v>44711</c:v>
                </c:pt>
                <c:pt idx="867">
                  <c:v>44712</c:v>
                </c:pt>
                <c:pt idx="868">
                  <c:v>44713</c:v>
                </c:pt>
                <c:pt idx="869">
                  <c:v>44714</c:v>
                </c:pt>
                <c:pt idx="870">
                  <c:v>44715</c:v>
                </c:pt>
                <c:pt idx="871">
                  <c:v>44718</c:v>
                </c:pt>
                <c:pt idx="872">
                  <c:v>44719</c:v>
                </c:pt>
                <c:pt idx="873">
                  <c:v>44720</c:v>
                </c:pt>
                <c:pt idx="874">
                  <c:v>44721</c:v>
                </c:pt>
                <c:pt idx="875">
                  <c:v>44722</c:v>
                </c:pt>
                <c:pt idx="876">
                  <c:v>44725</c:v>
                </c:pt>
                <c:pt idx="877">
                  <c:v>44726</c:v>
                </c:pt>
                <c:pt idx="878">
                  <c:v>44727</c:v>
                </c:pt>
                <c:pt idx="879">
                  <c:v>44728</c:v>
                </c:pt>
                <c:pt idx="880">
                  <c:v>44729</c:v>
                </c:pt>
                <c:pt idx="881">
                  <c:v>44732</c:v>
                </c:pt>
                <c:pt idx="882">
                  <c:v>44733</c:v>
                </c:pt>
                <c:pt idx="883">
                  <c:v>44734</c:v>
                </c:pt>
                <c:pt idx="884">
                  <c:v>44735</c:v>
                </c:pt>
                <c:pt idx="885">
                  <c:v>44736</c:v>
                </c:pt>
                <c:pt idx="886">
                  <c:v>44739</c:v>
                </c:pt>
                <c:pt idx="887">
                  <c:v>44740</c:v>
                </c:pt>
                <c:pt idx="888">
                  <c:v>44741</c:v>
                </c:pt>
                <c:pt idx="889">
                  <c:v>44742</c:v>
                </c:pt>
                <c:pt idx="890">
                  <c:v>44743</c:v>
                </c:pt>
                <c:pt idx="891">
                  <c:v>44746</c:v>
                </c:pt>
                <c:pt idx="892">
                  <c:v>44747</c:v>
                </c:pt>
                <c:pt idx="893">
                  <c:v>44748</c:v>
                </c:pt>
                <c:pt idx="894">
                  <c:v>44749</c:v>
                </c:pt>
                <c:pt idx="895">
                  <c:v>44750</c:v>
                </c:pt>
                <c:pt idx="896">
                  <c:v>44753</c:v>
                </c:pt>
                <c:pt idx="897">
                  <c:v>44754</c:v>
                </c:pt>
                <c:pt idx="898">
                  <c:v>44755</c:v>
                </c:pt>
                <c:pt idx="899">
                  <c:v>44756</c:v>
                </c:pt>
                <c:pt idx="900">
                  <c:v>44757</c:v>
                </c:pt>
                <c:pt idx="901">
                  <c:v>44760</c:v>
                </c:pt>
                <c:pt idx="902">
                  <c:v>44761</c:v>
                </c:pt>
                <c:pt idx="903">
                  <c:v>44762</c:v>
                </c:pt>
                <c:pt idx="904">
                  <c:v>44763</c:v>
                </c:pt>
                <c:pt idx="905">
                  <c:v>44764</c:v>
                </c:pt>
                <c:pt idx="906">
                  <c:v>44767</c:v>
                </c:pt>
                <c:pt idx="907">
                  <c:v>44768</c:v>
                </c:pt>
                <c:pt idx="908">
                  <c:v>44769</c:v>
                </c:pt>
                <c:pt idx="909">
                  <c:v>44770</c:v>
                </c:pt>
                <c:pt idx="910">
                  <c:v>44771</c:v>
                </c:pt>
                <c:pt idx="911">
                  <c:v>44774</c:v>
                </c:pt>
                <c:pt idx="912">
                  <c:v>44775</c:v>
                </c:pt>
                <c:pt idx="913">
                  <c:v>44776</c:v>
                </c:pt>
                <c:pt idx="914">
                  <c:v>44777</c:v>
                </c:pt>
                <c:pt idx="915">
                  <c:v>44778</c:v>
                </c:pt>
                <c:pt idx="916">
                  <c:v>44781</c:v>
                </c:pt>
                <c:pt idx="917">
                  <c:v>44782</c:v>
                </c:pt>
                <c:pt idx="918">
                  <c:v>44783</c:v>
                </c:pt>
                <c:pt idx="919">
                  <c:v>44784</c:v>
                </c:pt>
                <c:pt idx="920">
                  <c:v>44785</c:v>
                </c:pt>
                <c:pt idx="921">
                  <c:v>44788</c:v>
                </c:pt>
                <c:pt idx="922">
                  <c:v>44789</c:v>
                </c:pt>
                <c:pt idx="923">
                  <c:v>44790</c:v>
                </c:pt>
                <c:pt idx="924">
                  <c:v>44791</c:v>
                </c:pt>
                <c:pt idx="925">
                  <c:v>44792</c:v>
                </c:pt>
                <c:pt idx="926">
                  <c:v>44795</c:v>
                </c:pt>
                <c:pt idx="927">
                  <c:v>44796</c:v>
                </c:pt>
                <c:pt idx="928">
                  <c:v>44797</c:v>
                </c:pt>
                <c:pt idx="929">
                  <c:v>44798</c:v>
                </c:pt>
                <c:pt idx="930">
                  <c:v>44799</c:v>
                </c:pt>
              </c:numCache>
            </c:numRef>
          </c:cat>
          <c:val>
            <c:numRef>
              <c:f>Worksheet!$B$3:$B$933</c:f>
              <c:numCache>
                <c:formatCode>General</c:formatCode>
                <c:ptCount val="931"/>
                <c:pt idx="0">
                  <c:v>320.50020000000001</c:v>
                </c:pt>
                <c:pt idx="1">
                  <c:v>320.75830000000002</c:v>
                </c:pt>
                <c:pt idx="2">
                  <c:v>319.98849999999999</c:v>
                </c:pt>
                <c:pt idx="3">
                  <c:v>320.0419</c:v>
                </c:pt>
                <c:pt idx="4">
                  <c:v>321.49689999999998</c:v>
                </c:pt>
                <c:pt idx="5">
                  <c:v>322.536</c:v>
                </c:pt>
                <c:pt idx="6">
                  <c:v>324.0958</c:v>
                </c:pt>
                <c:pt idx="7">
                  <c:v>323.87920000000003</c:v>
                </c:pt>
                <c:pt idx="8">
                  <c:v>324.21960000000001</c:v>
                </c:pt>
                <c:pt idx="9">
                  <c:v>324.89510000000001</c:v>
                </c:pt>
                <c:pt idx="10">
                  <c:v>325.82530000000003</c:v>
                </c:pt>
                <c:pt idx="11">
                  <c:v>326.14780000000002</c:v>
                </c:pt>
                <c:pt idx="12">
                  <c:v>325.79469999999998</c:v>
                </c:pt>
                <c:pt idx="13">
                  <c:v>325.80689999999998</c:v>
                </c:pt>
                <c:pt idx="14">
                  <c:v>325.76459999999997</c:v>
                </c:pt>
                <c:pt idx="15">
                  <c:v>326.84109999999998</c:v>
                </c:pt>
                <c:pt idx="16">
                  <c:v>328.37950000000001</c:v>
                </c:pt>
                <c:pt idx="17">
                  <c:v>330.0992</c:v>
                </c:pt>
                <c:pt idx="18">
                  <c:v>331.20530000000002</c:v>
                </c:pt>
                <c:pt idx="19">
                  <c:v>330.21899999999999</c:v>
                </c:pt>
                <c:pt idx="20">
                  <c:v>331.03410000000002</c:v>
                </c:pt>
                <c:pt idx="21">
                  <c:v>332.5899</c:v>
                </c:pt>
                <c:pt idx="22">
                  <c:v>332.54570000000001</c:v>
                </c:pt>
                <c:pt idx="23">
                  <c:v>332.91489999999999</c:v>
                </c:pt>
                <c:pt idx="24">
                  <c:v>333.00959999999998</c:v>
                </c:pt>
                <c:pt idx="25">
                  <c:v>332.98410000000001</c:v>
                </c:pt>
                <c:pt idx="26">
                  <c:v>333.18990000000002</c:v>
                </c:pt>
                <c:pt idx="27">
                  <c:v>333.49279999999999</c:v>
                </c:pt>
                <c:pt idx="28">
                  <c:v>333.99340000000001</c:v>
                </c:pt>
                <c:pt idx="29">
                  <c:v>334.68349999999998</c:v>
                </c:pt>
                <c:pt idx="30">
                  <c:v>335.05509999999998</c:v>
                </c:pt>
                <c:pt idx="31">
                  <c:v>335.25510000000003</c:v>
                </c:pt>
                <c:pt idx="32">
                  <c:v>335.553</c:v>
                </c:pt>
                <c:pt idx="33">
                  <c:v>337.7373</c:v>
                </c:pt>
                <c:pt idx="34">
                  <c:v>337.48880000000003</c:v>
                </c:pt>
                <c:pt idx="35">
                  <c:v>337.1979</c:v>
                </c:pt>
                <c:pt idx="36">
                  <c:v>336.06970000000001</c:v>
                </c:pt>
                <c:pt idx="37">
                  <c:v>336.4015</c:v>
                </c:pt>
                <c:pt idx="38">
                  <c:v>336.55279999999999</c:v>
                </c:pt>
                <c:pt idx="39">
                  <c:v>337.31889999999999</c:v>
                </c:pt>
                <c:pt idx="40">
                  <c:v>337.87329999999997</c:v>
                </c:pt>
                <c:pt idx="41">
                  <c:v>338.61779999999999</c:v>
                </c:pt>
                <c:pt idx="42">
                  <c:v>339.55349999999999</c:v>
                </c:pt>
                <c:pt idx="43">
                  <c:v>340.37380000000002</c:v>
                </c:pt>
                <c:pt idx="44">
                  <c:v>340.8322</c:v>
                </c:pt>
                <c:pt idx="45">
                  <c:v>340.87389999999999</c:v>
                </c:pt>
                <c:pt idx="46">
                  <c:v>340.00349999999997</c:v>
                </c:pt>
                <c:pt idx="47">
                  <c:v>340.90350000000001</c:v>
                </c:pt>
                <c:pt idx="48">
                  <c:v>342.11799999999999</c:v>
                </c:pt>
                <c:pt idx="49">
                  <c:v>343.48899999999998</c:v>
                </c:pt>
                <c:pt idx="50">
                  <c:v>344.71170000000001</c:v>
                </c:pt>
                <c:pt idx="51">
                  <c:v>345.60539999999997</c:v>
                </c:pt>
                <c:pt idx="52">
                  <c:v>347.38639999999998</c:v>
                </c:pt>
                <c:pt idx="53">
                  <c:v>347.35500000000002</c:v>
                </c:pt>
                <c:pt idx="54">
                  <c:v>347.30579999999998</c:v>
                </c:pt>
                <c:pt idx="55">
                  <c:v>348.8098</c:v>
                </c:pt>
                <c:pt idx="56">
                  <c:v>349.24169999999998</c:v>
                </c:pt>
                <c:pt idx="57">
                  <c:v>349.22230000000002</c:v>
                </c:pt>
                <c:pt idx="58">
                  <c:v>349.69200000000001</c:v>
                </c:pt>
                <c:pt idx="59">
                  <c:v>348.83359999999999</c:v>
                </c:pt>
                <c:pt idx="60">
                  <c:v>348.50900000000001</c:v>
                </c:pt>
                <c:pt idx="61">
                  <c:v>348.31970000000001</c:v>
                </c:pt>
                <c:pt idx="62">
                  <c:v>348.24079999999998</c:v>
                </c:pt>
                <c:pt idx="63">
                  <c:v>347.56720000000001</c:v>
                </c:pt>
                <c:pt idx="64">
                  <c:v>348.30970000000002</c:v>
                </c:pt>
                <c:pt idx="65">
                  <c:v>348.32470000000001</c:v>
                </c:pt>
                <c:pt idx="66">
                  <c:v>348.19970000000001</c:v>
                </c:pt>
                <c:pt idx="67">
                  <c:v>347.66160000000002</c:v>
                </c:pt>
                <c:pt idx="68">
                  <c:v>347.96629999999999</c:v>
                </c:pt>
                <c:pt idx="69">
                  <c:v>347.95260000000002</c:v>
                </c:pt>
                <c:pt idx="70">
                  <c:v>347.93389999999999</c:v>
                </c:pt>
                <c:pt idx="71">
                  <c:v>347.99400000000003</c:v>
                </c:pt>
                <c:pt idx="72">
                  <c:v>348.26139999999998</c:v>
                </c:pt>
                <c:pt idx="73">
                  <c:v>348.33539999999999</c:v>
                </c:pt>
                <c:pt idx="74">
                  <c:v>348.54669999999999</c:v>
                </c:pt>
                <c:pt idx="75">
                  <c:v>348.63659999999999</c:v>
                </c:pt>
                <c:pt idx="76">
                  <c:v>348.90339999999998</c:v>
                </c:pt>
                <c:pt idx="77">
                  <c:v>348.87650000000002</c:v>
                </c:pt>
                <c:pt idx="78">
                  <c:v>348.99369999999999</c:v>
                </c:pt>
                <c:pt idx="79">
                  <c:v>349.02760000000001</c:v>
                </c:pt>
                <c:pt idx="80">
                  <c:v>348.87979999999999</c:v>
                </c:pt>
                <c:pt idx="81">
                  <c:v>349.21519999999998</c:v>
                </c:pt>
                <c:pt idx="82">
                  <c:v>349.49700000000001</c:v>
                </c:pt>
                <c:pt idx="83">
                  <c:v>349.39339999999999</c:v>
                </c:pt>
                <c:pt idx="84">
                  <c:v>349.57479999999998</c:v>
                </c:pt>
                <c:pt idx="85">
                  <c:v>349.9083</c:v>
                </c:pt>
                <c:pt idx="86">
                  <c:v>349.36090000000002</c:v>
                </c:pt>
                <c:pt idx="87">
                  <c:v>349.70400000000001</c:v>
                </c:pt>
                <c:pt idx="88">
                  <c:v>349.55720000000002</c:v>
                </c:pt>
                <c:pt idx="89">
                  <c:v>349.0736</c:v>
                </c:pt>
                <c:pt idx="90">
                  <c:v>348.67779999999999</c:v>
                </c:pt>
                <c:pt idx="91">
                  <c:v>348.78539999999998</c:v>
                </c:pt>
                <c:pt idx="92">
                  <c:v>347.95460000000003</c:v>
                </c:pt>
                <c:pt idx="93">
                  <c:v>348.45359999999999</c:v>
                </c:pt>
                <c:pt idx="94">
                  <c:v>348.70179999999999</c:v>
                </c:pt>
                <c:pt idx="95">
                  <c:v>349.24130000000002</c:v>
                </c:pt>
                <c:pt idx="96">
                  <c:v>349.36439999999999</c:v>
                </c:pt>
                <c:pt idx="97">
                  <c:v>349.4178</c:v>
                </c:pt>
                <c:pt idx="98">
                  <c:v>349.55220000000003</c:v>
                </c:pt>
                <c:pt idx="99">
                  <c:v>349.64679999999998</c:v>
                </c:pt>
                <c:pt idx="100">
                  <c:v>349.35109999999997</c:v>
                </c:pt>
                <c:pt idx="101">
                  <c:v>349.97649999999999</c:v>
                </c:pt>
                <c:pt idx="102">
                  <c:v>350.33179999999999</c:v>
                </c:pt>
                <c:pt idx="103">
                  <c:v>350.46080000000001</c:v>
                </c:pt>
                <c:pt idx="104">
                  <c:v>350.30549999999999</c:v>
                </c:pt>
                <c:pt idx="105">
                  <c:v>349.96890000000002</c:v>
                </c:pt>
                <c:pt idx="106">
                  <c:v>349.32810000000001</c:v>
                </c:pt>
                <c:pt idx="107">
                  <c:v>349.56670000000003</c:v>
                </c:pt>
                <c:pt idx="108">
                  <c:v>349.70280000000002</c:v>
                </c:pt>
                <c:pt idx="109">
                  <c:v>350.00150000000002</c:v>
                </c:pt>
                <c:pt idx="110">
                  <c:v>350.7149</c:v>
                </c:pt>
                <c:pt idx="111">
                  <c:v>351.3811</c:v>
                </c:pt>
                <c:pt idx="112">
                  <c:v>351.56760000000003</c:v>
                </c:pt>
                <c:pt idx="113">
                  <c:v>351.68400000000003</c:v>
                </c:pt>
                <c:pt idx="114">
                  <c:v>351.73250000000002</c:v>
                </c:pt>
                <c:pt idx="115">
                  <c:v>351.9255</c:v>
                </c:pt>
                <c:pt idx="116">
                  <c:v>352.23450000000003</c:v>
                </c:pt>
                <c:pt idx="117">
                  <c:v>352.6875</c:v>
                </c:pt>
                <c:pt idx="118">
                  <c:v>354.10950000000003</c:v>
                </c:pt>
                <c:pt idx="119">
                  <c:v>353.65550000000002</c:v>
                </c:pt>
                <c:pt idx="120">
                  <c:v>353.78129999999999</c:v>
                </c:pt>
                <c:pt idx="121">
                  <c:v>353.8177</c:v>
                </c:pt>
                <c:pt idx="122">
                  <c:v>353.8528</c:v>
                </c:pt>
                <c:pt idx="123">
                  <c:v>354.2901</c:v>
                </c:pt>
                <c:pt idx="124">
                  <c:v>354.5831</c:v>
                </c:pt>
                <c:pt idx="125">
                  <c:v>355.47320000000002</c:v>
                </c:pt>
                <c:pt idx="126">
                  <c:v>356.10879999999997</c:v>
                </c:pt>
                <c:pt idx="127">
                  <c:v>356.05040000000002</c:v>
                </c:pt>
                <c:pt idx="128">
                  <c:v>355.7525</c:v>
                </c:pt>
                <c:pt idx="129">
                  <c:v>356.08589999999998</c:v>
                </c:pt>
                <c:pt idx="130">
                  <c:v>355.99169999999998</c:v>
                </c:pt>
                <c:pt idx="131">
                  <c:v>355.6216</c:v>
                </c:pt>
                <c:pt idx="132">
                  <c:v>355.66980000000001</c:v>
                </c:pt>
                <c:pt idx="133">
                  <c:v>355.53160000000003</c:v>
                </c:pt>
                <c:pt idx="134">
                  <c:v>355.7697</c:v>
                </c:pt>
                <c:pt idx="135">
                  <c:v>355.55</c:v>
                </c:pt>
                <c:pt idx="136">
                  <c:v>355.3338</c:v>
                </c:pt>
                <c:pt idx="137">
                  <c:v>355.2697</c:v>
                </c:pt>
                <c:pt idx="138">
                  <c:v>355.45760000000001</c:v>
                </c:pt>
                <c:pt idx="139">
                  <c:v>355.62169999999998</c:v>
                </c:pt>
                <c:pt idx="140">
                  <c:v>356.09050000000002</c:v>
                </c:pt>
                <c:pt idx="141">
                  <c:v>356.2688</c:v>
                </c:pt>
                <c:pt idx="142">
                  <c:v>356.63589999999999</c:v>
                </c:pt>
                <c:pt idx="143">
                  <c:v>356.77629999999999</c:v>
                </c:pt>
                <c:pt idx="144">
                  <c:v>357.14609999999999</c:v>
                </c:pt>
                <c:pt idx="145">
                  <c:v>357.22370000000001</c:v>
                </c:pt>
                <c:pt idx="146">
                  <c:v>357.12099999999998</c:v>
                </c:pt>
                <c:pt idx="147">
                  <c:v>356.63830000000002</c:v>
                </c:pt>
                <c:pt idx="148">
                  <c:v>355.84539999999998</c:v>
                </c:pt>
                <c:pt idx="149">
                  <c:v>353.92860000000002</c:v>
                </c:pt>
                <c:pt idx="150">
                  <c:v>352.51589999999999</c:v>
                </c:pt>
                <c:pt idx="151">
                  <c:v>353.5129</c:v>
                </c:pt>
                <c:pt idx="152">
                  <c:v>354.2362</c:v>
                </c:pt>
                <c:pt idx="153">
                  <c:v>354.3229</c:v>
                </c:pt>
                <c:pt idx="154">
                  <c:v>353.59309999999999</c:v>
                </c:pt>
                <c:pt idx="155">
                  <c:v>352.34199999999998</c:v>
                </c:pt>
                <c:pt idx="156">
                  <c:v>352.2013</c:v>
                </c:pt>
                <c:pt idx="157">
                  <c:v>349.9513</c:v>
                </c:pt>
                <c:pt idx="158">
                  <c:v>350.09899999999999</c:v>
                </c:pt>
                <c:pt idx="159">
                  <c:v>351.0018</c:v>
                </c:pt>
                <c:pt idx="160">
                  <c:v>351.50099999999998</c:v>
                </c:pt>
                <c:pt idx="161">
                  <c:v>351.81650000000002</c:v>
                </c:pt>
                <c:pt idx="162">
                  <c:v>352.30419999999998</c:v>
                </c:pt>
                <c:pt idx="163">
                  <c:v>352.48579999999998</c:v>
                </c:pt>
                <c:pt idx="164">
                  <c:v>351.3947</c:v>
                </c:pt>
                <c:pt idx="165">
                  <c:v>351.58539999999999</c:v>
                </c:pt>
                <c:pt idx="166">
                  <c:v>351.37779999999998</c:v>
                </c:pt>
                <c:pt idx="167">
                  <c:v>351.16230000000002</c:v>
                </c:pt>
                <c:pt idx="168">
                  <c:v>350.89609999999999</c:v>
                </c:pt>
                <c:pt idx="169">
                  <c:v>350.8981</c:v>
                </c:pt>
                <c:pt idx="170">
                  <c:v>350.19940000000003</c:v>
                </c:pt>
                <c:pt idx="171">
                  <c:v>349.22609999999997</c:v>
                </c:pt>
                <c:pt idx="172">
                  <c:v>349.37189999999998</c:v>
                </c:pt>
                <c:pt idx="173">
                  <c:v>350.26620000000003</c:v>
                </c:pt>
                <c:pt idx="174">
                  <c:v>351.66180000000003</c:v>
                </c:pt>
                <c:pt idx="175">
                  <c:v>352.17140000000001</c:v>
                </c:pt>
                <c:pt idx="176">
                  <c:v>352.46190000000001</c:v>
                </c:pt>
                <c:pt idx="177">
                  <c:v>353.41759999999999</c:v>
                </c:pt>
                <c:pt idx="178">
                  <c:v>354.1558</c:v>
                </c:pt>
                <c:pt idx="179">
                  <c:v>354.27839999999998</c:v>
                </c:pt>
                <c:pt idx="180">
                  <c:v>354.51830000000001</c:v>
                </c:pt>
                <c:pt idx="181">
                  <c:v>354.43540000000002</c:v>
                </c:pt>
                <c:pt idx="182">
                  <c:v>353.3356</c:v>
                </c:pt>
                <c:pt idx="183">
                  <c:v>353.63159999999999</c:v>
                </c:pt>
                <c:pt idx="184">
                  <c:v>353.23500000000001</c:v>
                </c:pt>
                <c:pt idx="185">
                  <c:v>353.20179999999999</c:v>
                </c:pt>
                <c:pt idx="186">
                  <c:v>353.11410000000001</c:v>
                </c:pt>
                <c:pt idx="187">
                  <c:v>352.87819999999999</c:v>
                </c:pt>
                <c:pt idx="188">
                  <c:v>352.58190000000002</c:v>
                </c:pt>
                <c:pt idx="189">
                  <c:v>352.49509999999998</c:v>
                </c:pt>
                <c:pt idx="190">
                  <c:v>352.5856</c:v>
                </c:pt>
                <c:pt idx="191">
                  <c:v>352.94650000000001</c:v>
                </c:pt>
                <c:pt idx="192">
                  <c:v>353.3415</c:v>
                </c:pt>
                <c:pt idx="193">
                  <c:v>353.69189999999998</c:v>
                </c:pt>
                <c:pt idx="194">
                  <c:v>354.05880000000002</c:v>
                </c:pt>
                <c:pt idx="195">
                  <c:v>354.38690000000003</c:v>
                </c:pt>
                <c:pt idx="196">
                  <c:v>354.40249999999997</c:v>
                </c:pt>
                <c:pt idx="197">
                  <c:v>354.5521</c:v>
                </c:pt>
                <c:pt idx="198">
                  <c:v>355.50009999999997</c:v>
                </c:pt>
                <c:pt idx="199">
                  <c:v>356.53050000000002</c:v>
                </c:pt>
                <c:pt idx="200">
                  <c:v>356.72710000000001</c:v>
                </c:pt>
                <c:pt idx="201">
                  <c:v>357.06</c:v>
                </c:pt>
                <c:pt idx="202">
                  <c:v>357.16879999999998</c:v>
                </c:pt>
                <c:pt idx="203">
                  <c:v>358.06439999999998</c:v>
                </c:pt>
                <c:pt idx="204">
                  <c:v>359.2045</c:v>
                </c:pt>
                <c:pt idx="205">
                  <c:v>359.38650000000001</c:v>
                </c:pt>
                <c:pt idx="206">
                  <c:v>359.47089999999997</c:v>
                </c:pt>
                <c:pt idx="207">
                  <c:v>359.3784</c:v>
                </c:pt>
                <c:pt idx="208">
                  <c:v>360.0385</c:v>
                </c:pt>
                <c:pt idx="209">
                  <c:v>360.43560000000002</c:v>
                </c:pt>
                <c:pt idx="210">
                  <c:v>360.49900000000002</c:v>
                </c:pt>
                <c:pt idx="211">
                  <c:v>360.52050000000003</c:v>
                </c:pt>
                <c:pt idx="212">
                  <c:v>360.36610000000002</c:v>
                </c:pt>
                <c:pt idx="213">
                  <c:v>360.64859999999999</c:v>
                </c:pt>
                <c:pt idx="214">
                  <c:v>361.02460000000002</c:v>
                </c:pt>
                <c:pt idx="215">
                  <c:v>360.98660000000001</c:v>
                </c:pt>
                <c:pt idx="216">
                  <c:v>361.2072</c:v>
                </c:pt>
                <c:pt idx="217">
                  <c:v>361.58850000000001</c:v>
                </c:pt>
                <c:pt idx="218">
                  <c:v>361.77940000000001</c:v>
                </c:pt>
                <c:pt idx="219">
                  <c:v>361.81360000000001</c:v>
                </c:pt>
                <c:pt idx="220">
                  <c:v>361.86939999999998</c:v>
                </c:pt>
                <c:pt idx="221">
                  <c:v>361.9255</c:v>
                </c:pt>
                <c:pt idx="222">
                  <c:v>362.25049999999999</c:v>
                </c:pt>
                <c:pt idx="223">
                  <c:v>362.55509999999998</c:v>
                </c:pt>
                <c:pt idx="224">
                  <c:v>362.7287</c:v>
                </c:pt>
                <c:pt idx="225">
                  <c:v>362.84640000000002</c:v>
                </c:pt>
                <c:pt idx="226">
                  <c:v>363.02480000000003</c:v>
                </c:pt>
                <c:pt idx="227">
                  <c:v>363.26249999999999</c:v>
                </c:pt>
                <c:pt idx="228">
                  <c:v>363.57780000000002</c:v>
                </c:pt>
                <c:pt idx="229">
                  <c:v>363.73739999999998</c:v>
                </c:pt>
                <c:pt idx="230">
                  <c:v>364.11790000000002</c:v>
                </c:pt>
                <c:pt idx="231">
                  <c:v>364.44099999999997</c:v>
                </c:pt>
                <c:pt idx="232">
                  <c:v>364.38330000000002</c:v>
                </c:pt>
                <c:pt idx="233">
                  <c:v>363.73840000000001</c:v>
                </c:pt>
                <c:pt idx="234">
                  <c:v>363.15989999999999</c:v>
                </c:pt>
                <c:pt idx="235">
                  <c:v>362.61770000000001</c:v>
                </c:pt>
                <c:pt idx="236">
                  <c:v>362.31970000000001</c:v>
                </c:pt>
                <c:pt idx="237">
                  <c:v>361.97789999999998</c:v>
                </c:pt>
                <c:pt idx="238">
                  <c:v>362.08589999999998</c:v>
                </c:pt>
                <c:pt idx="239">
                  <c:v>362.84840000000003</c:v>
                </c:pt>
                <c:pt idx="240">
                  <c:v>364.00880000000001</c:v>
                </c:pt>
                <c:pt idx="241">
                  <c:v>364.6601</c:v>
                </c:pt>
                <c:pt idx="242">
                  <c:v>365.46159999999998</c:v>
                </c:pt>
                <c:pt idx="243">
                  <c:v>365.95530000000002</c:v>
                </c:pt>
                <c:pt idx="244">
                  <c:v>366.44529999999997</c:v>
                </c:pt>
                <c:pt idx="245">
                  <c:v>366.8963</c:v>
                </c:pt>
                <c:pt idx="246">
                  <c:v>367.14510000000001</c:v>
                </c:pt>
                <c:pt idx="247">
                  <c:v>367.34789999999998</c:v>
                </c:pt>
                <c:pt idx="248">
                  <c:v>367.45600000000002</c:v>
                </c:pt>
                <c:pt idx="249">
                  <c:v>367.49779999999998</c:v>
                </c:pt>
                <c:pt idx="250">
                  <c:v>368.01909999999998</c:v>
                </c:pt>
                <c:pt idx="251">
                  <c:v>368.209</c:v>
                </c:pt>
                <c:pt idx="252">
                  <c:v>369.85700000000003</c:v>
                </c:pt>
                <c:pt idx="253">
                  <c:v>371.11270000000002</c:v>
                </c:pt>
                <c:pt idx="254">
                  <c:v>372.23239999999998</c:v>
                </c:pt>
                <c:pt idx="255">
                  <c:v>371.91410000000002</c:v>
                </c:pt>
                <c:pt idx="256">
                  <c:v>371.56830000000002</c:v>
                </c:pt>
                <c:pt idx="257">
                  <c:v>372.154</c:v>
                </c:pt>
                <c:pt idx="258">
                  <c:v>372.22640000000001</c:v>
                </c:pt>
                <c:pt idx="259">
                  <c:v>372.81180000000001</c:v>
                </c:pt>
                <c:pt idx="260">
                  <c:v>373.41800000000001</c:v>
                </c:pt>
                <c:pt idx="261">
                  <c:v>373.00360000000001</c:v>
                </c:pt>
                <c:pt idx="262">
                  <c:v>373.8193</c:v>
                </c:pt>
                <c:pt idx="263">
                  <c:v>374.31400000000002</c:v>
                </c:pt>
                <c:pt idx="264">
                  <c:v>373.91160000000002</c:v>
                </c:pt>
                <c:pt idx="265">
                  <c:v>374.06279999999998</c:v>
                </c:pt>
                <c:pt idx="266">
                  <c:v>373.72539999999998</c:v>
                </c:pt>
                <c:pt idx="267">
                  <c:v>373.79579999999999</c:v>
                </c:pt>
                <c:pt idx="268">
                  <c:v>373.65710000000001</c:v>
                </c:pt>
                <c:pt idx="269">
                  <c:v>373.69600000000003</c:v>
                </c:pt>
                <c:pt idx="270">
                  <c:v>371.89030000000002</c:v>
                </c:pt>
                <c:pt idx="271">
                  <c:v>369.49400000000003</c:v>
                </c:pt>
                <c:pt idx="272">
                  <c:v>370.26990000000001</c:v>
                </c:pt>
                <c:pt idx="273">
                  <c:v>369.5917</c:v>
                </c:pt>
                <c:pt idx="274">
                  <c:v>371.0933</c:v>
                </c:pt>
                <c:pt idx="275">
                  <c:v>372.60199999999998</c:v>
                </c:pt>
                <c:pt idx="276">
                  <c:v>373.60899999999998</c:v>
                </c:pt>
                <c:pt idx="277">
                  <c:v>373.23129999999998</c:v>
                </c:pt>
                <c:pt idx="278">
                  <c:v>373.51369999999997</c:v>
                </c:pt>
                <c:pt idx="279">
                  <c:v>374.02609999999999</c:v>
                </c:pt>
                <c:pt idx="280">
                  <c:v>374.86200000000002</c:v>
                </c:pt>
                <c:pt idx="281">
                  <c:v>375.03410000000002</c:v>
                </c:pt>
                <c:pt idx="282">
                  <c:v>376.0376</c:v>
                </c:pt>
                <c:pt idx="283">
                  <c:v>376.4024</c:v>
                </c:pt>
                <c:pt idx="284">
                  <c:v>376.33519999999999</c:v>
                </c:pt>
                <c:pt idx="285">
                  <c:v>376.57010000000002</c:v>
                </c:pt>
                <c:pt idx="286">
                  <c:v>376.18669999999997</c:v>
                </c:pt>
                <c:pt idx="287">
                  <c:v>375.22129999999999</c:v>
                </c:pt>
                <c:pt idx="288">
                  <c:v>375.11829999999998</c:v>
                </c:pt>
                <c:pt idx="289">
                  <c:v>374.49400000000003</c:v>
                </c:pt>
                <c:pt idx="290">
                  <c:v>374.16809999999998</c:v>
                </c:pt>
                <c:pt idx="291">
                  <c:v>372.23599999999999</c:v>
                </c:pt>
                <c:pt idx="292">
                  <c:v>373.07139999999998</c:v>
                </c:pt>
                <c:pt idx="293">
                  <c:v>374.01319999999998</c:v>
                </c:pt>
                <c:pt idx="294">
                  <c:v>374.31830000000002</c:v>
                </c:pt>
                <c:pt idx="295">
                  <c:v>375.23660000000001</c:v>
                </c:pt>
                <c:pt idx="296">
                  <c:v>374.35860000000002</c:v>
                </c:pt>
                <c:pt idx="297">
                  <c:v>369.41460000000001</c:v>
                </c:pt>
                <c:pt idx="298">
                  <c:v>369.75830000000002</c:v>
                </c:pt>
                <c:pt idx="299">
                  <c:v>369.04910000000001</c:v>
                </c:pt>
                <c:pt idx="300">
                  <c:v>361.16180000000003</c:v>
                </c:pt>
                <c:pt idx="301">
                  <c:v>352.82769999999999</c:v>
                </c:pt>
                <c:pt idx="302">
                  <c:v>344.86700000000002</c:v>
                </c:pt>
                <c:pt idx="303">
                  <c:v>336.78910000000002</c:v>
                </c:pt>
                <c:pt idx="304">
                  <c:v>327.25040000000001</c:v>
                </c:pt>
                <c:pt idx="305">
                  <c:v>315.77600000000001</c:v>
                </c:pt>
                <c:pt idx="306">
                  <c:v>320.113</c:v>
                </c:pt>
                <c:pt idx="307">
                  <c:v>314.95530000000002</c:v>
                </c:pt>
                <c:pt idx="308">
                  <c:v>316.92399999999998</c:v>
                </c:pt>
                <c:pt idx="309">
                  <c:v>322.63979999999998</c:v>
                </c:pt>
                <c:pt idx="310">
                  <c:v>332.41050000000001</c:v>
                </c:pt>
                <c:pt idx="311">
                  <c:v>339.63440000000003</c:v>
                </c:pt>
                <c:pt idx="312">
                  <c:v>336.7296</c:v>
                </c:pt>
                <c:pt idx="313">
                  <c:v>337.81060000000002</c:v>
                </c:pt>
                <c:pt idx="314">
                  <c:v>338.45949999999999</c:v>
                </c:pt>
                <c:pt idx="315">
                  <c:v>338.39159999999998</c:v>
                </c:pt>
                <c:pt idx="316">
                  <c:v>338.58710000000002</c:v>
                </c:pt>
                <c:pt idx="317">
                  <c:v>339.02330000000001</c:v>
                </c:pt>
                <c:pt idx="318">
                  <c:v>340.87650000000002</c:v>
                </c:pt>
                <c:pt idx="319">
                  <c:v>341.52859999999998</c:v>
                </c:pt>
                <c:pt idx="320">
                  <c:v>346.41829999999999</c:v>
                </c:pt>
                <c:pt idx="321">
                  <c:v>347.2593</c:v>
                </c:pt>
                <c:pt idx="322">
                  <c:v>352.97559999999999</c:v>
                </c:pt>
                <c:pt idx="323">
                  <c:v>357.28620000000001</c:v>
                </c:pt>
                <c:pt idx="324">
                  <c:v>357.16800000000001</c:v>
                </c:pt>
                <c:pt idx="325">
                  <c:v>358.72719999999998</c:v>
                </c:pt>
                <c:pt idx="326">
                  <c:v>359.94760000000002</c:v>
                </c:pt>
                <c:pt idx="327">
                  <c:v>356.54579999999999</c:v>
                </c:pt>
                <c:pt idx="328">
                  <c:v>353.6422</c:v>
                </c:pt>
                <c:pt idx="329">
                  <c:v>353.90269999999998</c:v>
                </c:pt>
                <c:pt idx="330">
                  <c:v>354.34460000000001</c:v>
                </c:pt>
                <c:pt idx="331">
                  <c:v>355.49310000000003</c:v>
                </c:pt>
                <c:pt idx="332">
                  <c:v>356.66500000000002</c:v>
                </c:pt>
                <c:pt idx="333">
                  <c:v>358.18770000000001</c:v>
                </c:pt>
                <c:pt idx="334">
                  <c:v>359.02199999999999</c:v>
                </c:pt>
                <c:pt idx="335">
                  <c:v>358.90300000000002</c:v>
                </c:pt>
                <c:pt idx="336">
                  <c:v>357.70830000000001</c:v>
                </c:pt>
                <c:pt idx="337">
                  <c:v>358.1823</c:v>
                </c:pt>
                <c:pt idx="338">
                  <c:v>359.15769999999998</c:v>
                </c:pt>
                <c:pt idx="339">
                  <c:v>360.42259999999999</c:v>
                </c:pt>
                <c:pt idx="340">
                  <c:v>361.57549999999998</c:v>
                </c:pt>
                <c:pt idx="341">
                  <c:v>364.5283</c:v>
                </c:pt>
                <c:pt idx="342">
                  <c:v>366.02530000000002</c:v>
                </c:pt>
                <c:pt idx="343">
                  <c:v>365.99740000000003</c:v>
                </c:pt>
                <c:pt idx="344">
                  <c:v>365.72269999999997</c:v>
                </c:pt>
                <c:pt idx="345">
                  <c:v>366.1848</c:v>
                </c:pt>
                <c:pt idx="346">
                  <c:v>365.80340000000001</c:v>
                </c:pt>
                <c:pt idx="347">
                  <c:v>367.149</c:v>
                </c:pt>
                <c:pt idx="348">
                  <c:v>367.4033</c:v>
                </c:pt>
                <c:pt idx="349">
                  <c:v>368.85</c:v>
                </c:pt>
                <c:pt idx="350">
                  <c:v>367.38119999999998</c:v>
                </c:pt>
                <c:pt idx="351">
                  <c:v>367.0677</c:v>
                </c:pt>
                <c:pt idx="352">
                  <c:v>367.56509999999997</c:v>
                </c:pt>
                <c:pt idx="353">
                  <c:v>367.40019999999998</c:v>
                </c:pt>
                <c:pt idx="354">
                  <c:v>366.70659999999998</c:v>
                </c:pt>
                <c:pt idx="355">
                  <c:v>367.79730000000001</c:v>
                </c:pt>
                <c:pt idx="356">
                  <c:v>369.11360000000002</c:v>
                </c:pt>
                <c:pt idx="357">
                  <c:v>371.6071</c:v>
                </c:pt>
                <c:pt idx="358">
                  <c:v>371.84289999999999</c:v>
                </c:pt>
                <c:pt idx="359">
                  <c:v>372.53640000000001</c:v>
                </c:pt>
                <c:pt idx="360">
                  <c:v>374.99349999999998</c:v>
                </c:pt>
                <c:pt idx="361">
                  <c:v>374.41649999999998</c:v>
                </c:pt>
                <c:pt idx="362">
                  <c:v>374.74419999999998</c:v>
                </c:pt>
                <c:pt idx="363">
                  <c:v>374.58330000000001</c:v>
                </c:pt>
                <c:pt idx="364">
                  <c:v>373.34719999999999</c:v>
                </c:pt>
                <c:pt idx="365">
                  <c:v>373.09500000000003</c:v>
                </c:pt>
                <c:pt idx="366">
                  <c:v>374.12700000000001</c:v>
                </c:pt>
                <c:pt idx="367">
                  <c:v>374.88909999999998</c:v>
                </c:pt>
                <c:pt idx="368">
                  <c:v>375.09269999999998</c:v>
                </c:pt>
                <c:pt idx="369">
                  <c:v>376.01069999999999</c:v>
                </c:pt>
                <c:pt idx="370">
                  <c:v>376.84359999999998</c:v>
                </c:pt>
                <c:pt idx="371">
                  <c:v>377.56189999999998</c:v>
                </c:pt>
                <c:pt idx="372">
                  <c:v>377.43290000000002</c:v>
                </c:pt>
                <c:pt idx="373">
                  <c:v>377.3184</c:v>
                </c:pt>
                <c:pt idx="374">
                  <c:v>377.053</c:v>
                </c:pt>
                <c:pt idx="375">
                  <c:v>376.90890000000002</c:v>
                </c:pt>
                <c:pt idx="376">
                  <c:v>376.63780000000003</c:v>
                </c:pt>
                <c:pt idx="377">
                  <c:v>376.61320000000001</c:v>
                </c:pt>
                <c:pt idx="378">
                  <c:v>377.83949999999999</c:v>
                </c:pt>
                <c:pt idx="379">
                  <c:v>379.69900000000001</c:v>
                </c:pt>
                <c:pt idx="380">
                  <c:v>380.04539999999997</c:v>
                </c:pt>
                <c:pt idx="381">
                  <c:v>379.68540000000002</c:v>
                </c:pt>
                <c:pt idx="382">
                  <c:v>379.601</c:v>
                </c:pt>
                <c:pt idx="383">
                  <c:v>379.29219999999998</c:v>
                </c:pt>
                <c:pt idx="384">
                  <c:v>379.48430000000002</c:v>
                </c:pt>
                <c:pt idx="385">
                  <c:v>379.39609999999999</c:v>
                </c:pt>
                <c:pt idx="386">
                  <c:v>379.60059999999999</c:v>
                </c:pt>
                <c:pt idx="387">
                  <c:v>380.02719999999999</c:v>
                </c:pt>
                <c:pt idx="388">
                  <c:v>380.54410000000001</c:v>
                </c:pt>
                <c:pt idx="389">
                  <c:v>380.98989999999998</c:v>
                </c:pt>
                <c:pt idx="390">
                  <c:v>382.0659</c:v>
                </c:pt>
                <c:pt idx="391">
                  <c:v>383.04059999999998</c:v>
                </c:pt>
                <c:pt idx="392">
                  <c:v>383.97699999999998</c:v>
                </c:pt>
                <c:pt idx="393">
                  <c:v>383.67840000000001</c:v>
                </c:pt>
                <c:pt idx="394">
                  <c:v>383.47840000000002</c:v>
                </c:pt>
                <c:pt idx="395">
                  <c:v>383.45330000000001</c:v>
                </c:pt>
                <c:pt idx="396">
                  <c:v>383.65359999999998</c:v>
                </c:pt>
                <c:pt idx="397">
                  <c:v>383.96420000000001</c:v>
                </c:pt>
                <c:pt idx="398">
                  <c:v>383.91230000000002</c:v>
                </c:pt>
                <c:pt idx="399">
                  <c:v>384.25630000000001</c:v>
                </c:pt>
                <c:pt idx="400">
                  <c:v>384.85320000000002</c:v>
                </c:pt>
                <c:pt idx="401">
                  <c:v>385.19319999999999</c:v>
                </c:pt>
                <c:pt idx="402">
                  <c:v>385.66520000000003</c:v>
                </c:pt>
                <c:pt idx="403">
                  <c:v>385.71</c:v>
                </c:pt>
                <c:pt idx="404">
                  <c:v>386.12049999999999</c:v>
                </c:pt>
                <c:pt idx="405">
                  <c:v>386.74169999999998</c:v>
                </c:pt>
                <c:pt idx="406">
                  <c:v>386.71039999999999</c:v>
                </c:pt>
                <c:pt idx="407">
                  <c:v>386.44</c:v>
                </c:pt>
                <c:pt idx="408">
                  <c:v>386.83260000000001</c:v>
                </c:pt>
                <c:pt idx="409">
                  <c:v>386.92579999999998</c:v>
                </c:pt>
                <c:pt idx="410">
                  <c:v>386.77030000000002</c:v>
                </c:pt>
                <c:pt idx="411">
                  <c:v>386.7183</c:v>
                </c:pt>
                <c:pt idx="412">
                  <c:v>386.27379999999999</c:v>
                </c:pt>
                <c:pt idx="413">
                  <c:v>386.40750000000003</c:v>
                </c:pt>
                <c:pt idx="414">
                  <c:v>386.93009999999998</c:v>
                </c:pt>
                <c:pt idx="415">
                  <c:v>387.89690000000002</c:v>
                </c:pt>
                <c:pt idx="416">
                  <c:v>388.26830000000001</c:v>
                </c:pt>
                <c:pt idx="417">
                  <c:v>388.75420000000003</c:v>
                </c:pt>
                <c:pt idx="418">
                  <c:v>389.75200000000001</c:v>
                </c:pt>
                <c:pt idx="419">
                  <c:v>390.04160000000002</c:v>
                </c:pt>
                <c:pt idx="420">
                  <c:v>390.2253</c:v>
                </c:pt>
                <c:pt idx="421">
                  <c:v>390.49720000000002</c:v>
                </c:pt>
                <c:pt idx="422">
                  <c:v>390.69979999999998</c:v>
                </c:pt>
                <c:pt idx="423">
                  <c:v>389.7869</c:v>
                </c:pt>
                <c:pt idx="424">
                  <c:v>389.13099999999997</c:v>
                </c:pt>
                <c:pt idx="425">
                  <c:v>388.08049999999997</c:v>
                </c:pt>
                <c:pt idx="426">
                  <c:v>387.33769999999998</c:v>
                </c:pt>
                <c:pt idx="427">
                  <c:v>387.233</c:v>
                </c:pt>
                <c:pt idx="428">
                  <c:v>387.5675</c:v>
                </c:pt>
                <c:pt idx="429">
                  <c:v>387.9151</c:v>
                </c:pt>
                <c:pt idx="430">
                  <c:v>388.88159999999999</c:v>
                </c:pt>
                <c:pt idx="431">
                  <c:v>388.97719999999998</c:v>
                </c:pt>
                <c:pt idx="432">
                  <c:v>389.14159999999998</c:v>
                </c:pt>
                <c:pt idx="433">
                  <c:v>389.24880000000002</c:v>
                </c:pt>
                <c:pt idx="434">
                  <c:v>389.32490000000001</c:v>
                </c:pt>
                <c:pt idx="435">
                  <c:v>389.38529999999997</c:v>
                </c:pt>
                <c:pt idx="436">
                  <c:v>385.53100000000001</c:v>
                </c:pt>
                <c:pt idx="437">
                  <c:v>377.43110000000001</c:v>
                </c:pt>
                <c:pt idx="438">
                  <c:v>376.7165</c:v>
                </c:pt>
                <c:pt idx="439">
                  <c:v>381.899</c:v>
                </c:pt>
                <c:pt idx="440">
                  <c:v>382.58659999999998</c:v>
                </c:pt>
                <c:pt idx="441">
                  <c:v>382.8999</c:v>
                </c:pt>
                <c:pt idx="442">
                  <c:v>382.85989999999998</c:v>
                </c:pt>
                <c:pt idx="443">
                  <c:v>384.16730000000001</c:v>
                </c:pt>
                <c:pt idx="444">
                  <c:v>385.5616</c:v>
                </c:pt>
                <c:pt idx="445">
                  <c:v>385.42090000000002</c:v>
                </c:pt>
                <c:pt idx="446">
                  <c:v>385.57409999999999</c:v>
                </c:pt>
                <c:pt idx="447">
                  <c:v>386.3039</c:v>
                </c:pt>
                <c:pt idx="448">
                  <c:v>386.55860000000001</c:v>
                </c:pt>
                <c:pt idx="449">
                  <c:v>384.34350000000001</c:v>
                </c:pt>
                <c:pt idx="450">
                  <c:v>381.38990000000001</c:v>
                </c:pt>
                <c:pt idx="451">
                  <c:v>381.44279999999998</c:v>
                </c:pt>
                <c:pt idx="452">
                  <c:v>382.8578</c:v>
                </c:pt>
                <c:pt idx="453">
                  <c:v>383.01799999999997</c:v>
                </c:pt>
                <c:pt idx="454">
                  <c:v>383.42</c:v>
                </c:pt>
                <c:pt idx="455">
                  <c:v>383.19670000000002</c:v>
                </c:pt>
                <c:pt idx="456">
                  <c:v>383.10809999999998</c:v>
                </c:pt>
                <c:pt idx="457">
                  <c:v>383.35480000000001</c:v>
                </c:pt>
                <c:pt idx="458">
                  <c:v>383.32530000000003</c:v>
                </c:pt>
                <c:pt idx="459">
                  <c:v>383.60579999999999</c:v>
                </c:pt>
                <c:pt idx="460">
                  <c:v>383.28410000000002</c:v>
                </c:pt>
                <c:pt idx="461">
                  <c:v>383.2998</c:v>
                </c:pt>
                <c:pt idx="462">
                  <c:v>383.94110000000001</c:v>
                </c:pt>
                <c:pt idx="463">
                  <c:v>384.22550000000001</c:v>
                </c:pt>
                <c:pt idx="464">
                  <c:v>384.77530000000002</c:v>
                </c:pt>
                <c:pt idx="465">
                  <c:v>386.20710000000003</c:v>
                </c:pt>
                <c:pt idx="466">
                  <c:v>386.8537</c:v>
                </c:pt>
                <c:pt idx="467">
                  <c:v>387.40800000000002</c:v>
                </c:pt>
                <c:pt idx="468">
                  <c:v>388.01760000000002</c:v>
                </c:pt>
                <c:pt idx="469">
                  <c:v>387.48599999999999</c:v>
                </c:pt>
                <c:pt idx="470">
                  <c:v>386.46089999999998</c:v>
                </c:pt>
                <c:pt idx="471">
                  <c:v>386.79660000000001</c:v>
                </c:pt>
                <c:pt idx="472">
                  <c:v>386.57499999999999</c:v>
                </c:pt>
                <c:pt idx="473">
                  <c:v>386.0822</c:v>
                </c:pt>
                <c:pt idx="474">
                  <c:v>384.67500000000001</c:v>
                </c:pt>
                <c:pt idx="475">
                  <c:v>384.39</c:v>
                </c:pt>
                <c:pt idx="476">
                  <c:v>386.2183</c:v>
                </c:pt>
                <c:pt idx="477">
                  <c:v>387.86399999999998</c:v>
                </c:pt>
                <c:pt idx="478">
                  <c:v>389.06760000000003</c:v>
                </c:pt>
                <c:pt idx="479">
                  <c:v>389.8467</c:v>
                </c:pt>
                <c:pt idx="480">
                  <c:v>390.64839999999998</c:v>
                </c:pt>
                <c:pt idx="481">
                  <c:v>392.8186</c:v>
                </c:pt>
                <c:pt idx="482">
                  <c:v>393.48399999999998</c:v>
                </c:pt>
                <c:pt idx="483">
                  <c:v>394.07130000000001</c:v>
                </c:pt>
                <c:pt idx="484">
                  <c:v>394.3193</c:v>
                </c:pt>
                <c:pt idx="485">
                  <c:v>394.89609999999999</c:v>
                </c:pt>
                <c:pt idx="486">
                  <c:v>394.74329999999998</c:v>
                </c:pt>
                <c:pt idx="487">
                  <c:v>394.92450000000002</c:v>
                </c:pt>
                <c:pt idx="488">
                  <c:v>395.0369</c:v>
                </c:pt>
                <c:pt idx="489">
                  <c:v>395.35969999999998</c:v>
                </c:pt>
                <c:pt idx="490">
                  <c:v>395.9024</c:v>
                </c:pt>
                <c:pt idx="491">
                  <c:v>396.25560000000002</c:v>
                </c:pt>
                <c:pt idx="492">
                  <c:v>396.6277</c:v>
                </c:pt>
                <c:pt idx="493">
                  <c:v>397.56029999999998</c:v>
                </c:pt>
                <c:pt idx="494">
                  <c:v>398.24290000000002</c:v>
                </c:pt>
                <c:pt idx="495">
                  <c:v>399.88729999999998</c:v>
                </c:pt>
                <c:pt idx="496">
                  <c:v>399.64710000000002</c:v>
                </c:pt>
                <c:pt idx="497">
                  <c:v>399.71559999999999</c:v>
                </c:pt>
                <c:pt idx="498">
                  <c:v>399.73520000000002</c:v>
                </c:pt>
                <c:pt idx="499">
                  <c:v>399.81639999999999</c:v>
                </c:pt>
                <c:pt idx="500">
                  <c:v>399.90199999999999</c:v>
                </c:pt>
                <c:pt idx="501">
                  <c:v>400.17840000000001</c:v>
                </c:pt>
                <c:pt idx="502">
                  <c:v>400.30630000000002</c:v>
                </c:pt>
                <c:pt idx="503">
                  <c:v>401.08600000000001</c:v>
                </c:pt>
                <c:pt idx="504">
                  <c:v>400.96550000000002</c:v>
                </c:pt>
                <c:pt idx="505">
                  <c:v>398.96030000000002</c:v>
                </c:pt>
                <c:pt idx="506">
                  <c:v>397.8125</c:v>
                </c:pt>
                <c:pt idx="507">
                  <c:v>395.8424</c:v>
                </c:pt>
                <c:pt idx="508">
                  <c:v>395.09710000000001</c:v>
                </c:pt>
                <c:pt idx="509">
                  <c:v>392.56659999999999</c:v>
                </c:pt>
                <c:pt idx="510">
                  <c:v>392.50569999999999</c:v>
                </c:pt>
                <c:pt idx="511">
                  <c:v>395.27199999999999</c:v>
                </c:pt>
                <c:pt idx="512">
                  <c:v>396.95690000000002</c:v>
                </c:pt>
                <c:pt idx="513">
                  <c:v>396.87700000000001</c:v>
                </c:pt>
                <c:pt idx="514">
                  <c:v>397.50940000000003</c:v>
                </c:pt>
                <c:pt idx="515">
                  <c:v>397.82089999999999</c:v>
                </c:pt>
                <c:pt idx="516">
                  <c:v>397.89530000000002</c:v>
                </c:pt>
                <c:pt idx="517">
                  <c:v>399.22840000000002</c:v>
                </c:pt>
                <c:pt idx="518">
                  <c:v>397.63240000000002</c:v>
                </c:pt>
                <c:pt idx="519">
                  <c:v>397.19720000000001</c:v>
                </c:pt>
                <c:pt idx="520">
                  <c:v>396.17649999999998</c:v>
                </c:pt>
                <c:pt idx="521">
                  <c:v>395.90949999999998</c:v>
                </c:pt>
                <c:pt idx="522">
                  <c:v>397.29289999999997</c:v>
                </c:pt>
                <c:pt idx="523">
                  <c:v>397.11239999999998</c:v>
                </c:pt>
                <c:pt idx="524">
                  <c:v>395.12389999999999</c:v>
                </c:pt>
                <c:pt idx="525">
                  <c:v>394.74900000000002</c:v>
                </c:pt>
                <c:pt idx="526">
                  <c:v>394.11689999999999</c:v>
                </c:pt>
                <c:pt idx="527">
                  <c:v>390.79719999999998</c:v>
                </c:pt>
                <c:pt idx="528">
                  <c:v>392.15069999999997</c:v>
                </c:pt>
                <c:pt idx="529">
                  <c:v>391.43180000000001</c:v>
                </c:pt>
                <c:pt idx="530">
                  <c:v>392.00749999999999</c:v>
                </c:pt>
                <c:pt idx="531">
                  <c:v>392.1549</c:v>
                </c:pt>
                <c:pt idx="532">
                  <c:v>394.47230000000002</c:v>
                </c:pt>
                <c:pt idx="533">
                  <c:v>395.42739999999998</c:v>
                </c:pt>
                <c:pt idx="534">
                  <c:v>397.03089999999997</c:v>
                </c:pt>
                <c:pt idx="535">
                  <c:v>397.7484</c:v>
                </c:pt>
                <c:pt idx="536">
                  <c:v>397.44540000000001</c:v>
                </c:pt>
                <c:pt idx="537">
                  <c:v>397.27859999999998</c:v>
                </c:pt>
                <c:pt idx="538">
                  <c:v>397.26510000000002</c:v>
                </c:pt>
                <c:pt idx="539">
                  <c:v>397.09969999999998</c:v>
                </c:pt>
                <c:pt idx="540">
                  <c:v>396.52080000000001</c:v>
                </c:pt>
                <c:pt idx="541">
                  <c:v>396.97030000000001</c:v>
                </c:pt>
                <c:pt idx="542">
                  <c:v>396.42149999999998</c:v>
                </c:pt>
                <c:pt idx="543">
                  <c:v>395.22660000000002</c:v>
                </c:pt>
                <c:pt idx="544">
                  <c:v>395.07990000000001</c:v>
                </c:pt>
                <c:pt idx="545">
                  <c:v>393.77850000000001</c:v>
                </c:pt>
                <c:pt idx="546">
                  <c:v>391.29790000000003</c:v>
                </c:pt>
                <c:pt idx="547">
                  <c:v>391.39499999999998</c:v>
                </c:pt>
                <c:pt idx="548">
                  <c:v>392.54219999999998</c:v>
                </c:pt>
                <c:pt idx="549">
                  <c:v>394.56200000000001</c:v>
                </c:pt>
                <c:pt idx="550">
                  <c:v>394.18290000000002</c:v>
                </c:pt>
                <c:pt idx="551">
                  <c:v>395.12810000000002</c:v>
                </c:pt>
                <c:pt idx="552">
                  <c:v>396.93509999999998</c:v>
                </c:pt>
                <c:pt idx="553">
                  <c:v>397.06630000000001</c:v>
                </c:pt>
                <c:pt idx="554">
                  <c:v>398.58519999999999</c:v>
                </c:pt>
                <c:pt idx="555">
                  <c:v>399.11829999999998</c:v>
                </c:pt>
                <c:pt idx="556">
                  <c:v>399.38470000000001</c:v>
                </c:pt>
                <c:pt idx="557">
                  <c:v>398.46039999999999</c:v>
                </c:pt>
                <c:pt idx="558">
                  <c:v>396.94499999999999</c:v>
                </c:pt>
                <c:pt idx="559">
                  <c:v>397.03160000000003</c:v>
                </c:pt>
                <c:pt idx="560">
                  <c:v>392.91379999999998</c:v>
                </c:pt>
                <c:pt idx="561">
                  <c:v>394.0523</c:v>
                </c:pt>
                <c:pt idx="562">
                  <c:v>393.03910000000002</c:v>
                </c:pt>
                <c:pt idx="563">
                  <c:v>394.22469999999998</c:v>
                </c:pt>
                <c:pt idx="564">
                  <c:v>395.83069999999998</c:v>
                </c:pt>
                <c:pt idx="565">
                  <c:v>395.9221</c:v>
                </c:pt>
                <c:pt idx="566">
                  <c:v>395.99939999999998</c:v>
                </c:pt>
                <c:pt idx="567">
                  <c:v>396.4375</c:v>
                </c:pt>
                <c:pt idx="568">
                  <c:v>397.00760000000002</c:v>
                </c:pt>
                <c:pt idx="569">
                  <c:v>396.1123</c:v>
                </c:pt>
                <c:pt idx="570">
                  <c:v>396.15710000000001</c:v>
                </c:pt>
                <c:pt idx="571">
                  <c:v>395.8143</c:v>
                </c:pt>
                <c:pt idx="572">
                  <c:v>394.25439999999998</c:v>
                </c:pt>
                <c:pt idx="573">
                  <c:v>393.33879999999999</c:v>
                </c:pt>
                <c:pt idx="574">
                  <c:v>393.1422</c:v>
                </c:pt>
                <c:pt idx="575">
                  <c:v>395.28649999999999</c:v>
                </c:pt>
                <c:pt idx="576">
                  <c:v>396.84480000000002</c:v>
                </c:pt>
                <c:pt idx="577">
                  <c:v>396.86799999999999</c:v>
                </c:pt>
                <c:pt idx="578">
                  <c:v>397.44049999999999</c:v>
                </c:pt>
                <c:pt idx="579">
                  <c:v>398.05160000000001</c:v>
                </c:pt>
                <c:pt idx="580">
                  <c:v>398.29599999999999</c:v>
                </c:pt>
                <c:pt idx="581">
                  <c:v>397.75049999999999</c:v>
                </c:pt>
                <c:pt idx="582">
                  <c:v>398.31990000000002</c:v>
                </c:pt>
                <c:pt idx="583">
                  <c:v>398.3399</c:v>
                </c:pt>
                <c:pt idx="584">
                  <c:v>398.77780000000001</c:v>
                </c:pt>
                <c:pt idx="585">
                  <c:v>399.49160000000001</c:v>
                </c:pt>
                <c:pt idx="586">
                  <c:v>400.00900000000001</c:v>
                </c:pt>
                <c:pt idx="587">
                  <c:v>401.28120000000001</c:v>
                </c:pt>
                <c:pt idx="588">
                  <c:v>400.76420000000002</c:v>
                </c:pt>
                <c:pt idx="589">
                  <c:v>400.5908</c:v>
                </c:pt>
                <c:pt idx="590">
                  <c:v>400.767</c:v>
                </c:pt>
                <c:pt idx="591">
                  <c:v>400.88119999999998</c:v>
                </c:pt>
                <c:pt idx="592">
                  <c:v>400.53930000000003</c:v>
                </c:pt>
                <c:pt idx="593">
                  <c:v>400.2715</c:v>
                </c:pt>
                <c:pt idx="594">
                  <c:v>399.91370000000001</c:v>
                </c:pt>
                <c:pt idx="595">
                  <c:v>399.89179999999999</c:v>
                </c:pt>
                <c:pt idx="596">
                  <c:v>400.13580000000002</c:v>
                </c:pt>
                <c:pt idx="597">
                  <c:v>400.48450000000003</c:v>
                </c:pt>
                <c:pt idx="598">
                  <c:v>400.46190000000001</c:v>
                </c:pt>
                <c:pt idx="599">
                  <c:v>400.82619999999997</c:v>
                </c:pt>
                <c:pt idx="600">
                  <c:v>401.32299999999998</c:v>
                </c:pt>
                <c:pt idx="601">
                  <c:v>401.84100000000001</c:v>
                </c:pt>
                <c:pt idx="602">
                  <c:v>402.89319999999998</c:v>
                </c:pt>
                <c:pt idx="603">
                  <c:v>403.57470000000001</c:v>
                </c:pt>
                <c:pt idx="604">
                  <c:v>402.01960000000003</c:v>
                </c:pt>
                <c:pt idx="605">
                  <c:v>401.21050000000002</c:v>
                </c:pt>
                <c:pt idx="606">
                  <c:v>401.39440000000002</c:v>
                </c:pt>
                <c:pt idx="607">
                  <c:v>399.14580000000001</c:v>
                </c:pt>
                <c:pt idx="608">
                  <c:v>399.43860000000001</c:v>
                </c:pt>
                <c:pt idx="609">
                  <c:v>396.82440000000003</c:v>
                </c:pt>
                <c:pt idx="610">
                  <c:v>395.9914</c:v>
                </c:pt>
                <c:pt idx="611">
                  <c:v>396.01319999999998</c:v>
                </c:pt>
                <c:pt idx="612">
                  <c:v>396.09050000000002</c:v>
                </c:pt>
                <c:pt idx="613">
                  <c:v>394.76420000000002</c:v>
                </c:pt>
                <c:pt idx="614">
                  <c:v>390.88630000000001</c:v>
                </c:pt>
                <c:pt idx="615">
                  <c:v>391.2688</c:v>
                </c:pt>
                <c:pt idx="616">
                  <c:v>391.89069999999998</c:v>
                </c:pt>
                <c:pt idx="617">
                  <c:v>390.54219999999998</c:v>
                </c:pt>
                <c:pt idx="618">
                  <c:v>390.822</c:v>
                </c:pt>
                <c:pt idx="619">
                  <c:v>391.5727</c:v>
                </c:pt>
                <c:pt idx="620">
                  <c:v>392.11200000000002</c:v>
                </c:pt>
                <c:pt idx="621">
                  <c:v>392.75490000000002</c:v>
                </c:pt>
                <c:pt idx="622">
                  <c:v>391.79880000000003</c:v>
                </c:pt>
                <c:pt idx="623">
                  <c:v>390.59190000000001</c:v>
                </c:pt>
                <c:pt idx="624">
                  <c:v>390.14490000000001</c:v>
                </c:pt>
                <c:pt idx="625">
                  <c:v>388.89729999999997</c:v>
                </c:pt>
                <c:pt idx="626">
                  <c:v>389.48599999999999</c:v>
                </c:pt>
                <c:pt idx="627">
                  <c:v>387.86759999999998</c:v>
                </c:pt>
                <c:pt idx="628">
                  <c:v>385.75380000000001</c:v>
                </c:pt>
                <c:pt idx="629">
                  <c:v>386.0675</c:v>
                </c:pt>
                <c:pt idx="630">
                  <c:v>385.36840000000001</c:v>
                </c:pt>
                <c:pt idx="631">
                  <c:v>385.6447</c:v>
                </c:pt>
                <c:pt idx="632">
                  <c:v>377.34129999999999</c:v>
                </c:pt>
                <c:pt idx="633">
                  <c:v>377.21460000000002</c:v>
                </c:pt>
                <c:pt idx="634">
                  <c:v>378.60550000000001</c:v>
                </c:pt>
                <c:pt idx="635">
                  <c:v>381.59280000000001</c:v>
                </c:pt>
                <c:pt idx="636">
                  <c:v>384.19900000000001</c:v>
                </c:pt>
                <c:pt idx="637">
                  <c:v>384.71030000000002</c:v>
                </c:pt>
                <c:pt idx="638">
                  <c:v>385.41120000000001</c:v>
                </c:pt>
                <c:pt idx="639">
                  <c:v>385.64150000000001</c:v>
                </c:pt>
                <c:pt idx="640">
                  <c:v>386.87630000000001</c:v>
                </c:pt>
                <c:pt idx="641">
                  <c:v>382.40640000000002</c:v>
                </c:pt>
                <c:pt idx="642">
                  <c:v>378.85550000000001</c:v>
                </c:pt>
                <c:pt idx="643">
                  <c:v>373.56889999999999</c:v>
                </c:pt>
                <c:pt idx="644">
                  <c:v>373.9024</c:v>
                </c:pt>
                <c:pt idx="645">
                  <c:v>374.29289999999997</c:v>
                </c:pt>
                <c:pt idx="646">
                  <c:v>370.22579999999999</c:v>
                </c:pt>
                <c:pt idx="647">
                  <c:v>361.61759999999998</c:v>
                </c:pt>
                <c:pt idx="648">
                  <c:v>358.3338</c:v>
                </c:pt>
                <c:pt idx="649">
                  <c:v>354.32119999999998</c:v>
                </c:pt>
                <c:pt idx="650">
                  <c:v>350.09449999999998</c:v>
                </c:pt>
                <c:pt idx="651">
                  <c:v>353.32069999999999</c:v>
                </c:pt>
                <c:pt idx="652">
                  <c:v>358.16640000000001</c:v>
                </c:pt>
                <c:pt idx="653">
                  <c:v>361.98880000000003</c:v>
                </c:pt>
                <c:pt idx="654">
                  <c:v>358.4477</c:v>
                </c:pt>
                <c:pt idx="655">
                  <c:v>357.04820000000001</c:v>
                </c:pt>
                <c:pt idx="656">
                  <c:v>358.04950000000002</c:v>
                </c:pt>
                <c:pt idx="657">
                  <c:v>361.3347</c:v>
                </c:pt>
                <c:pt idx="658">
                  <c:v>364.38409999999999</c:v>
                </c:pt>
                <c:pt idx="659">
                  <c:v>364.82749999999999</c:v>
                </c:pt>
                <c:pt idx="660">
                  <c:v>363.97629999999998</c:v>
                </c:pt>
                <c:pt idx="661">
                  <c:v>364.36169999999998</c:v>
                </c:pt>
                <c:pt idx="662">
                  <c:v>361.38069999999999</c:v>
                </c:pt>
                <c:pt idx="663">
                  <c:v>359.68869999999998</c:v>
                </c:pt>
                <c:pt idx="664">
                  <c:v>357.54680000000002</c:v>
                </c:pt>
                <c:pt idx="665">
                  <c:v>358.61590000000001</c:v>
                </c:pt>
                <c:pt idx="666">
                  <c:v>359.21600000000001</c:v>
                </c:pt>
                <c:pt idx="667">
                  <c:v>360.26080000000002</c:v>
                </c:pt>
                <c:pt idx="668">
                  <c:v>361.94119999999998</c:v>
                </c:pt>
                <c:pt idx="669">
                  <c:v>360.8734</c:v>
                </c:pt>
                <c:pt idx="670">
                  <c:v>359.97089999999997</c:v>
                </c:pt>
                <c:pt idx="671">
                  <c:v>361.24160000000001</c:v>
                </c:pt>
                <c:pt idx="672">
                  <c:v>360.87290000000002</c:v>
                </c:pt>
                <c:pt idx="673">
                  <c:v>354.86130000000003</c:v>
                </c:pt>
                <c:pt idx="674">
                  <c:v>350.94389999999999</c:v>
                </c:pt>
                <c:pt idx="675">
                  <c:v>347.23590000000002</c:v>
                </c:pt>
                <c:pt idx="676">
                  <c:v>347.51440000000002</c:v>
                </c:pt>
                <c:pt idx="677">
                  <c:v>345.1028</c:v>
                </c:pt>
                <c:pt idx="678">
                  <c:v>344.29759999999999</c:v>
                </c:pt>
                <c:pt idx="679">
                  <c:v>345.01799999999997</c:v>
                </c:pt>
                <c:pt idx="680">
                  <c:v>349.05739999999997</c:v>
                </c:pt>
                <c:pt idx="681">
                  <c:v>347.98320000000001</c:v>
                </c:pt>
                <c:pt idx="682">
                  <c:v>343.54300000000001</c:v>
                </c:pt>
                <c:pt idx="683">
                  <c:v>339.17489999999998</c:v>
                </c:pt>
                <c:pt idx="684">
                  <c:v>333.95030000000003</c:v>
                </c:pt>
                <c:pt idx="685">
                  <c:v>329.28710000000001</c:v>
                </c:pt>
                <c:pt idx="686">
                  <c:v>324.20940000000002</c:v>
                </c:pt>
                <c:pt idx="687">
                  <c:v>325.0138</c:v>
                </c:pt>
                <c:pt idx="688">
                  <c:v>329.03230000000002</c:v>
                </c:pt>
                <c:pt idx="689">
                  <c:v>331.3879</c:v>
                </c:pt>
                <c:pt idx="690">
                  <c:v>328.69670000000002</c:v>
                </c:pt>
                <c:pt idx="691">
                  <c:v>325.02260000000001</c:v>
                </c:pt>
                <c:pt idx="692">
                  <c:v>325.81920000000002</c:v>
                </c:pt>
                <c:pt idx="693">
                  <c:v>320.5806</c:v>
                </c:pt>
                <c:pt idx="694">
                  <c:v>321.64659999999998</c:v>
                </c:pt>
                <c:pt idx="695">
                  <c:v>321.67829999999998</c:v>
                </c:pt>
                <c:pt idx="696">
                  <c:v>313.74509999999998</c:v>
                </c:pt>
                <c:pt idx="697">
                  <c:v>303.53210000000001</c:v>
                </c:pt>
                <c:pt idx="698">
                  <c:v>299.09690000000001</c:v>
                </c:pt>
                <c:pt idx="699">
                  <c:v>288.4649</c:v>
                </c:pt>
                <c:pt idx="700">
                  <c:v>277.83999999999997</c:v>
                </c:pt>
                <c:pt idx="701">
                  <c:v>278.06909999999999</c:v>
                </c:pt>
                <c:pt idx="702">
                  <c:v>264.55250000000001</c:v>
                </c:pt>
                <c:pt idx="703">
                  <c:v>261.50850000000003</c:v>
                </c:pt>
                <c:pt idx="704">
                  <c:v>261.2654</c:v>
                </c:pt>
                <c:pt idx="705">
                  <c:v>272.66770000000002</c:v>
                </c:pt>
                <c:pt idx="706">
                  <c:v>285.2518</c:v>
                </c:pt>
                <c:pt idx="707">
                  <c:v>285.98660000000001</c:v>
                </c:pt>
                <c:pt idx="708">
                  <c:v>285.3263</c:v>
                </c:pt>
                <c:pt idx="709">
                  <c:v>279.89080000000001</c:v>
                </c:pt>
                <c:pt idx="710">
                  <c:v>280.18020000000001</c:v>
                </c:pt>
                <c:pt idx="711">
                  <c:v>277.7758</c:v>
                </c:pt>
                <c:pt idx="712">
                  <c:v>273.04160000000002</c:v>
                </c:pt>
                <c:pt idx="713">
                  <c:v>273.0684</c:v>
                </c:pt>
                <c:pt idx="714">
                  <c:v>267.17880000000002</c:v>
                </c:pt>
                <c:pt idx="715">
                  <c:v>264.57459999999998</c:v>
                </c:pt>
                <c:pt idx="716">
                  <c:v>253.703</c:v>
                </c:pt>
                <c:pt idx="717">
                  <c:v>248.3689</c:v>
                </c:pt>
                <c:pt idx="718">
                  <c:v>248.8706</c:v>
                </c:pt>
                <c:pt idx="719">
                  <c:v>238.92259999999999</c:v>
                </c:pt>
                <c:pt idx="720">
                  <c:v>236.00069999999999</c:v>
                </c:pt>
                <c:pt idx="721">
                  <c:v>226.953</c:v>
                </c:pt>
                <c:pt idx="722">
                  <c:v>219.3981</c:v>
                </c:pt>
                <c:pt idx="723">
                  <c:v>229.55789999999999</c:v>
                </c:pt>
                <c:pt idx="724">
                  <c:v>229.6344</c:v>
                </c:pt>
                <c:pt idx="725">
                  <c:v>254.84450000000001</c:v>
                </c:pt>
                <c:pt idx="726">
                  <c:v>265.5582</c:v>
                </c:pt>
                <c:pt idx="727">
                  <c:v>261.12290000000002</c:v>
                </c:pt>
                <c:pt idx="728">
                  <c:v>260.80720000000002</c:v>
                </c:pt>
                <c:pt idx="729">
                  <c:v>263.57490000000001</c:v>
                </c:pt>
                <c:pt idx="730">
                  <c:v>267.4547</c:v>
                </c:pt>
                <c:pt idx="731">
                  <c:v>269.43200000000002</c:v>
                </c:pt>
                <c:pt idx="732">
                  <c:v>268.3578</c:v>
                </c:pt>
                <c:pt idx="733">
                  <c:v>265.47379999999998</c:v>
                </c:pt>
                <c:pt idx="734">
                  <c:v>265.5394</c:v>
                </c:pt>
                <c:pt idx="735">
                  <c:v>257.53140000000002</c:v>
                </c:pt>
                <c:pt idx="736">
                  <c:v>254.02699999999999</c:v>
                </c:pt>
                <c:pt idx="737">
                  <c:v>254.14490000000001</c:v>
                </c:pt>
                <c:pt idx="738">
                  <c:v>249.74440000000001</c:v>
                </c:pt>
                <c:pt idx="739">
                  <c:v>248.8168</c:v>
                </c:pt>
                <c:pt idx="740">
                  <c:v>245.15979999999999</c:v>
                </c:pt>
                <c:pt idx="741">
                  <c:v>246.5384</c:v>
                </c:pt>
                <c:pt idx="742">
                  <c:v>254.34790000000001</c:v>
                </c:pt>
                <c:pt idx="743">
                  <c:v>256.87040000000002</c:v>
                </c:pt>
                <c:pt idx="744">
                  <c:v>261.22770000000003</c:v>
                </c:pt>
                <c:pt idx="745">
                  <c:v>264.64449999999999</c:v>
                </c:pt>
                <c:pt idx="746">
                  <c:v>261.05110000000002</c:v>
                </c:pt>
                <c:pt idx="747">
                  <c:v>256.2552</c:v>
                </c:pt>
                <c:pt idx="748">
                  <c:v>253.08430000000001</c:v>
                </c:pt>
                <c:pt idx="749">
                  <c:v>252.9426</c:v>
                </c:pt>
                <c:pt idx="750">
                  <c:v>253.1842</c:v>
                </c:pt>
                <c:pt idx="751">
                  <c:v>251.90039999999999</c:v>
                </c:pt>
                <c:pt idx="752">
                  <c:v>251.5804</c:v>
                </c:pt>
                <c:pt idx="753">
                  <c:v>251.101</c:v>
                </c:pt>
                <c:pt idx="754">
                  <c:v>250.83170000000001</c:v>
                </c:pt>
                <c:pt idx="755">
                  <c:v>250.9014</c:v>
                </c:pt>
                <c:pt idx="756">
                  <c:v>251.2516</c:v>
                </c:pt>
                <c:pt idx="757">
                  <c:v>250.89529999999999</c:v>
                </c:pt>
                <c:pt idx="758">
                  <c:v>250.17599999999999</c:v>
                </c:pt>
                <c:pt idx="759">
                  <c:v>249.90809999999999</c:v>
                </c:pt>
                <c:pt idx="760">
                  <c:v>251.2261</c:v>
                </c:pt>
                <c:pt idx="761">
                  <c:v>250.9819</c:v>
                </c:pt>
                <c:pt idx="762">
                  <c:v>246.86189999999999</c:v>
                </c:pt>
                <c:pt idx="763">
                  <c:v>242.9623</c:v>
                </c:pt>
                <c:pt idx="764">
                  <c:v>231.82</c:v>
                </c:pt>
                <c:pt idx="765">
                  <c:v>228.54769999999999</c:v>
                </c:pt>
                <c:pt idx="766">
                  <c:v>226.28100000000001</c:v>
                </c:pt>
                <c:pt idx="767">
                  <c:v>221.60169999999999</c:v>
                </c:pt>
                <c:pt idx="768">
                  <c:v>215.19030000000001</c:v>
                </c:pt>
                <c:pt idx="769">
                  <c:v>208.24870000000001</c:v>
                </c:pt>
                <c:pt idx="770">
                  <c:v>201.5093</c:v>
                </c:pt>
                <c:pt idx="771">
                  <c:v>201.6995</c:v>
                </c:pt>
                <c:pt idx="772">
                  <c:v>194.21019999999999</c:v>
                </c:pt>
                <c:pt idx="773">
                  <c:v>211.88140000000001</c:v>
                </c:pt>
                <c:pt idx="774">
                  <c:v>216.5883</c:v>
                </c:pt>
                <c:pt idx="775">
                  <c:v>223.6704</c:v>
                </c:pt>
                <c:pt idx="776">
                  <c:v>225.78729999999999</c:v>
                </c:pt>
                <c:pt idx="777">
                  <c:v>228.44040000000001</c:v>
                </c:pt>
                <c:pt idx="778">
                  <c:v>231.6198</c:v>
                </c:pt>
                <c:pt idx="779">
                  <c:v>228.673</c:v>
                </c:pt>
                <c:pt idx="780">
                  <c:v>224.1035</c:v>
                </c:pt>
                <c:pt idx="781">
                  <c:v>224.95259999999999</c:v>
                </c:pt>
                <c:pt idx="782">
                  <c:v>225.62970000000001</c:v>
                </c:pt>
                <c:pt idx="783">
                  <c:v>226.06229999999999</c:v>
                </c:pt>
                <c:pt idx="784">
                  <c:v>225.26849999999999</c:v>
                </c:pt>
                <c:pt idx="785">
                  <c:v>223.98009999999999</c:v>
                </c:pt>
                <c:pt idx="786">
                  <c:v>222.14500000000001</c:v>
                </c:pt>
                <c:pt idx="787">
                  <c:v>219.3201</c:v>
                </c:pt>
                <c:pt idx="788">
                  <c:v>221.99770000000001</c:v>
                </c:pt>
                <c:pt idx="789">
                  <c:v>225.12129999999999</c:v>
                </c:pt>
                <c:pt idx="790">
                  <c:v>225.71530000000001</c:v>
                </c:pt>
                <c:pt idx="791">
                  <c:v>219.5992</c:v>
                </c:pt>
                <c:pt idx="792">
                  <c:v>214.577</c:v>
                </c:pt>
                <c:pt idx="793">
                  <c:v>212.4153</c:v>
                </c:pt>
                <c:pt idx="794">
                  <c:v>209.6534</c:v>
                </c:pt>
                <c:pt idx="795">
                  <c:v>213.45359999999999</c:v>
                </c:pt>
                <c:pt idx="796">
                  <c:v>213.65199999999999</c:v>
                </c:pt>
                <c:pt idx="797">
                  <c:v>212.15880000000001</c:v>
                </c:pt>
                <c:pt idx="798">
                  <c:v>211.92490000000001</c:v>
                </c:pt>
                <c:pt idx="799">
                  <c:v>202.55680000000001</c:v>
                </c:pt>
                <c:pt idx="800">
                  <c:v>196.7346</c:v>
                </c:pt>
                <c:pt idx="801">
                  <c:v>192.70820000000001</c:v>
                </c:pt>
                <c:pt idx="802">
                  <c:v>187.3826</c:v>
                </c:pt>
                <c:pt idx="803">
                  <c:v>180.56700000000001</c:v>
                </c:pt>
                <c:pt idx="804">
                  <c:v>175.0232</c:v>
                </c:pt>
                <c:pt idx="805">
                  <c:v>171.8313</c:v>
                </c:pt>
                <c:pt idx="806">
                  <c:v>167.8272</c:v>
                </c:pt>
                <c:pt idx="807">
                  <c:v>160.08099999999999</c:v>
                </c:pt>
                <c:pt idx="808">
                  <c:v>154.9622</c:v>
                </c:pt>
                <c:pt idx="809">
                  <c:v>153.7346</c:v>
                </c:pt>
                <c:pt idx="810">
                  <c:v>149.79589999999999</c:v>
                </c:pt>
                <c:pt idx="811">
                  <c:v>144.25540000000001</c:v>
                </c:pt>
                <c:pt idx="812">
                  <c:v>133.63999999999999</c:v>
                </c:pt>
                <c:pt idx="813">
                  <c:v>138.2303</c:v>
                </c:pt>
                <c:pt idx="814">
                  <c:v>150.21019999999999</c:v>
                </c:pt>
                <c:pt idx="815">
                  <c:v>151.31809999999999</c:v>
                </c:pt>
                <c:pt idx="816">
                  <c:v>153.9975</c:v>
                </c:pt>
                <c:pt idx="817">
                  <c:v>154.82939999999999</c:v>
                </c:pt>
                <c:pt idx="818">
                  <c:v>157.11770000000001</c:v>
                </c:pt>
                <c:pt idx="819">
                  <c:v>156.9178</c:v>
                </c:pt>
                <c:pt idx="820">
                  <c:v>157.81880000000001</c:v>
                </c:pt>
                <c:pt idx="821">
                  <c:v>162.5778</c:v>
                </c:pt>
                <c:pt idx="822">
                  <c:v>168.6412</c:v>
                </c:pt>
                <c:pt idx="823">
                  <c:v>177.80850000000001</c:v>
                </c:pt>
                <c:pt idx="824">
                  <c:v>182.64689999999999</c:v>
                </c:pt>
                <c:pt idx="825">
                  <c:v>183.3947</c:v>
                </c:pt>
                <c:pt idx="826">
                  <c:v>193.33500000000001</c:v>
                </c:pt>
                <c:pt idx="827">
                  <c:v>193.60230000000001</c:v>
                </c:pt>
                <c:pt idx="828">
                  <c:v>202.08459999999999</c:v>
                </c:pt>
                <c:pt idx="829">
                  <c:v>199.67760000000001</c:v>
                </c:pt>
                <c:pt idx="830">
                  <c:v>199.31800000000001</c:v>
                </c:pt>
                <c:pt idx="831">
                  <c:v>192.73740000000001</c:v>
                </c:pt>
                <c:pt idx="832">
                  <c:v>187.90309999999999</c:v>
                </c:pt>
                <c:pt idx="833">
                  <c:v>187.34469999999999</c:v>
                </c:pt>
                <c:pt idx="834">
                  <c:v>187.37119999999999</c:v>
                </c:pt>
                <c:pt idx="835">
                  <c:v>187.43530000000001</c:v>
                </c:pt>
                <c:pt idx="836">
                  <c:v>188.07660000000001</c:v>
                </c:pt>
                <c:pt idx="837">
                  <c:v>186.3689</c:v>
                </c:pt>
                <c:pt idx="838">
                  <c:v>184.67959999999999</c:v>
                </c:pt>
                <c:pt idx="839">
                  <c:v>182.00479999999999</c:v>
                </c:pt>
                <c:pt idx="840">
                  <c:v>181.04249999999999</c:v>
                </c:pt>
                <c:pt idx="841">
                  <c:v>178.12569999999999</c:v>
                </c:pt>
                <c:pt idx="842">
                  <c:v>178.2424</c:v>
                </c:pt>
                <c:pt idx="843">
                  <c:v>178.2347</c:v>
                </c:pt>
                <c:pt idx="844">
                  <c:v>180.28559999999999</c:v>
                </c:pt>
                <c:pt idx="845">
                  <c:v>183.93870000000001</c:v>
                </c:pt>
                <c:pt idx="846">
                  <c:v>184.5634</c:v>
                </c:pt>
                <c:pt idx="847">
                  <c:v>184.61539999999999</c:v>
                </c:pt>
                <c:pt idx="848">
                  <c:v>184.88740000000001</c:v>
                </c:pt>
                <c:pt idx="849">
                  <c:v>183.46680000000001</c:v>
                </c:pt>
                <c:pt idx="850">
                  <c:v>180.69739999999999</c:v>
                </c:pt>
                <c:pt idx="851">
                  <c:v>181.2242</c:v>
                </c:pt>
                <c:pt idx="852">
                  <c:v>177.64109999999999</c:v>
                </c:pt>
                <c:pt idx="853">
                  <c:v>176.09819999999999</c:v>
                </c:pt>
                <c:pt idx="854">
                  <c:v>172.78909999999999</c:v>
                </c:pt>
                <c:pt idx="855">
                  <c:v>171.32320000000001</c:v>
                </c:pt>
                <c:pt idx="856">
                  <c:v>172.98609999999999</c:v>
                </c:pt>
                <c:pt idx="857">
                  <c:v>171.88290000000001</c:v>
                </c:pt>
                <c:pt idx="858">
                  <c:v>171.00280000000001</c:v>
                </c:pt>
                <c:pt idx="859">
                  <c:v>171.43620000000001</c:v>
                </c:pt>
                <c:pt idx="860">
                  <c:v>172.45740000000001</c:v>
                </c:pt>
                <c:pt idx="861">
                  <c:v>172.81610000000001</c:v>
                </c:pt>
                <c:pt idx="862">
                  <c:v>172.5659</c:v>
                </c:pt>
                <c:pt idx="863">
                  <c:v>170.07230000000001</c:v>
                </c:pt>
                <c:pt idx="864">
                  <c:v>168.04929999999999</c:v>
                </c:pt>
                <c:pt idx="865">
                  <c:v>164.83109999999999</c:v>
                </c:pt>
                <c:pt idx="866">
                  <c:v>165.0093</c:v>
                </c:pt>
                <c:pt idx="867">
                  <c:v>163.20419999999999</c:v>
                </c:pt>
                <c:pt idx="868">
                  <c:v>161.38159999999999</c:v>
                </c:pt>
                <c:pt idx="869">
                  <c:v>162.38550000000001</c:v>
                </c:pt>
                <c:pt idx="870">
                  <c:v>162.56030000000001</c:v>
                </c:pt>
                <c:pt idx="871">
                  <c:v>162.1103</c:v>
                </c:pt>
                <c:pt idx="872">
                  <c:v>162.05410000000001</c:v>
                </c:pt>
                <c:pt idx="873">
                  <c:v>161.75460000000001</c:v>
                </c:pt>
                <c:pt idx="874">
                  <c:v>162.36330000000001</c:v>
                </c:pt>
                <c:pt idx="875">
                  <c:v>159.90719999999999</c:v>
                </c:pt>
                <c:pt idx="876">
                  <c:v>156.54310000000001</c:v>
                </c:pt>
                <c:pt idx="877">
                  <c:v>154.41130000000001</c:v>
                </c:pt>
                <c:pt idx="878">
                  <c:v>156.35599999999999</c:v>
                </c:pt>
                <c:pt idx="879">
                  <c:v>155.65180000000001</c:v>
                </c:pt>
                <c:pt idx="880">
                  <c:v>152.3492</c:v>
                </c:pt>
                <c:pt idx="881">
                  <c:v>152.53489999999999</c:v>
                </c:pt>
                <c:pt idx="882">
                  <c:v>154.0008</c:v>
                </c:pt>
                <c:pt idx="883">
                  <c:v>152.5882</c:v>
                </c:pt>
                <c:pt idx="884">
                  <c:v>150.3074</c:v>
                </c:pt>
                <c:pt idx="885">
                  <c:v>148.18940000000001</c:v>
                </c:pt>
                <c:pt idx="886">
                  <c:v>148.4187</c:v>
                </c:pt>
                <c:pt idx="887">
                  <c:v>145.93029999999999</c:v>
                </c:pt>
                <c:pt idx="888">
                  <c:v>142.73089999999999</c:v>
                </c:pt>
                <c:pt idx="889">
                  <c:v>140.91390000000001</c:v>
                </c:pt>
                <c:pt idx="890">
                  <c:v>141.3613</c:v>
                </c:pt>
                <c:pt idx="891">
                  <c:v>141.53800000000001</c:v>
                </c:pt>
                <c:pt idx="892">
                  <c:v>137.41130000000001</c:v>
                </c:pt>
                <c:pt idx="893">
                  <c:v>134.91800000000001</c:v>
                </c:pt>
                <c:pt idx="894">
                  <c:v>132.5035</c:v>
                </c:pt>
                <c:pt idx="895">
                  <c:v>131.078</c:v>
                </c:pt>
                <c:pt idx="896">
                  <c:v>127.29089999999999</c:v>
                </c:pt>
                <c:pt idx="897">
                  <c:v>120.10509999999999</c:v>
                </c:pt>
                <c:pt idx="898">
                  <c:v>118.777</c:v>
                </c:pt>
                <c:pt idx="899">
                  <c:v>118.90900000000001</c:v>
                </c:pt>
                <c:pt idx="900">
                  <c:v>116.8075</c:v>
                </c:pt>
                <c:pt idx="901">
                  <c:v>116.6153</c:v>
                </c:pt>
                <c:pt idx="902">
                  <c:v>113.67489999999999</c:v>
                </c:pt>
                <c:pt idx="903">
                  <c:v>112.7303</c:v>
                </c:pt>
                <c:pt idx="904">
                  <c:v>113.61620000000001</c:v>
                </c:pt>
                <c:pt idx="905">
                  <c:v>113.0684</c:v>
                </c:pt>
                <c:pt idx="906">
                  <c:v>115.35039999999999</c:v>
                </c:pt>
                <c:pt idx="907">
                  <c:v>117.4603</c:v>
                </c:pt>
                <c:pt idx="908">
                  <c:v>116.36069999999999</c:v>
                </c:pt>
                <c:pt idx="909">
                  <c:v>118.14700000000001</c:v>
                </c:pt>
                <c:pt idx="910">
                  <c:v>117.6576</c:v>
                </c:pt>
                <c:pt idx="911">
                  <c:v>116.60429999999999</c:v>
                </c:pt>
                <c:pt idx="912">
                  <c:v>115.1622</c:v>
                </c:pt>
                <c:pt idx="913">
                  <c:v>113.43510000000001</c:v>
                </c:pt>
                <c:pt idx="914">
                  <c:v>111.6181</c:v>
                </c:pt>
                <c:pt idx="915">
                  <c:v>110.7714</c:v>
                </c:pt>
                <c:pt idx="916">
                  <c:v>109.4729</c:v>
                </c:pt>
                <c:pt idx="917">
                  <c:v>107.5031</c:v>
                </c:pt>
                <c:pt idx="918">
                  <c:v>105.8672</c:v>
                </c:pt>
                <c:pt idx="919">
                  <c:v>104.70569999999999</c:v>
                </c:pt>
                <c:pt idx="920">
                  <c:v>104.798</c:v>
                </c:pt>
                <c:pt idx="921">
                  <c:v>105.2062</c:v>
                </c:pt>
                <c:pt idx="922">
                  <c:v>111.83759999999999</c:v>
                </c:pt>
                <c:pt idx="923">
                  <c:v>111.12439999999999</c:v>
                </c:pt>
                <c:pt idx="924">
                  <c:v>111.7632</c:v>
                </c:pt>
                <c:pt idx="925">
                  <c:v>114.0457</c:v>
                </c:pt>
                <c:pt idx="926">
                  <c:v>117.6204</c:v>
                </c:pt>
                <c:pt idx="927">
                  <c:v>120.5797</c:v>
                </c:pt>
                <c:pt idx="928">
                  <c:v>124.60550000000001</c:v>
                </c:pt>
                <c:pt idx="929">
                  <c:v>131.8425</c:v>
                </c:pt>
                <c:pt idx="930">
                  <c:v>137.61619999999999</c:v>
                </c:pt>
              </c:numCache>
            </c:numRef>
          </c:val>
          <c:smooth val="0"/>
          <c:extLst>
            <c:ext xmlns:c16="http://schemas.microsoft.com/office/drawing/2014/chart" uri="{C3380CC4-5D6E-409C-BE32-E72D297353CC}">
              <c16:uniqueId val="{00000000-A42A-4752-8D2D-12DC6810626E}"/>
            </c:ext>
          </c:extLst>
        </c:ser>
        <c:smooth val="0"/>
      </c:lineChart>
      <c:dateAx>
        <c:axId val="79574319"/>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573487"/>
        <c:crosses val="autoZero"/>
        <c:auto val="1"/>
        <c:lblOffset val="100"/>
        <c:baseTimeUnit/>
      </c:dateAx>
      <c:valAx>
        <c:axId val="79573487"/>
        <c:scaling>
          <c:orientation val="minMax"/>
        </c:scaling>
        <c:delete val="0"/>
        <c:axPos val="l"/>
        <c:majorGridlines>
          <c:spPr>
            <a:ln w="9525" cap="flat" cmpd="sng" algn="ctr">
              <a:solidFill>
                <a:schemeClr val="tx1">
                  <a:lumMod val="15000"/>
                  <a:lumOff val="85000"/>
                </a:schemeClr>
              </a:solidFill>
              <a:round/>
            </a:ln>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57431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accent1="accent1" accent2="accent2" accent3="accent3" accent4="accent4" accent5="accent5" accent6="accent6" bg1="lt1" bg2="lt2" folHlink="folHlink" hlink="hlink" tx1="dk1" tx2="dk2"/>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1" smtClean="0">
                <a:solidFill>
                  <a:schemeClr val="tx1"/>
                </a:solidFill>
              </a:rPr>
              <a:t>December </a:t>
            </a:r>
            <a:r>
              <a:rPr lang="en-US" dirty="1">
                <a:solidFill>
                  <a:schemeClr val="tx1"/>
                </a:solidFill>
              </a:rPr>
              <a:t>2021</a:t>
            </a:r>
          </a:p>
        </c:rich>
      </c:tx>
      <c:layout>
        <c:manualLayout>
          <c:xMode val="edge"/>
          <c:yMode val="edge"/>
          <c:x val="0.333249956"/>
          <c:y val="0.01171868"/>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dLbls>
          <c:dLblPos val="ctr"/>
          <c:showLegendKey val="0"/>
          <c:showVal val="0"/>
          <c:showCatName val="0"/>
          <c:showSerName val="0"/>
          <c:showPercent val="1"/>
          <c:showBubbleSize val="0"/>
          <c:showLeaderLines val="1"/>
        </c:dLbls>
        <c:varyColors val="1"/>
        <c:ser>
          <c:idx val="0"/>
          <c:order val="0"/>
          <c:tx>
            <c:strRef>
              <c:f>Sheet1!$B$1</c:f>
              <c:strCache>
                <c:ptCount val="1"/>
                <c:pt idx="0">
                  <c:v>December, 2021</c:v>
                </c:pt>
              </c:strCache>
            </c:strRef>
          </c:tx>
          <c:dLbls>
            <c:dLbl>
              <c:idx val="2"/>
              <c:layout>
                <c:manualLayout>
                  <c:x val="0.07495104"/>
                  <c:y val="0.115469709"/>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1FB-43D4-BDA9-3AF78FF3645A}"/>
                </c:ext>
              </c:extLst>
            </c:dLbl>
            <c:dLbl>
              <c:idx val="3"/>
              <c:layout>
                <c:manualLayout>
                  <c:x val="0.02648894"/>
                  <c:y val="0.11398498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31FB-43D4-BDA9-3AF78FF3645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80 and above</c:v>
                </c:pt>
                <c:pt idx="1">
                  <c:v>50-80</c:v>
                </c:pt>
                <c:pt idx="2">
                  <c:v>30-50</c:v>
                </c:pt>
                <c:pt idx="3">
                  <c:v>Under 30</c:v>
                </c:pt>
              </c:strCache>
            </c:strRef>
          </c:cat>
          <c:val>
            <c:numRef>
              <c:f>Sheet1!$B$2:$B$5</c:f>
              <c:numCache>
                <c:formatCode>General</c:formatCode>
                <c:ptCount val="4"/>
                <c:pt idx="0">
                  <c:v>42</c:v>
                </c:pt>
                <c:pt idx="1">
                  <c:v>43</c:v>
                </c:pt>
                <c:pt idx="2">
                  <c:v>9</c:v>
                </c:pt>
                <c:pt idx="3">
                  <c:v>6</c:v>
                </c:pt>
              </c:numCache>
            </c:numRef>
          </c:val>
          <c:extLst>
            <c:ext xmlns:c16="http://schemas.microsoft.com/office/drawing/2014/chart" uri="{C3380CC4-5D6E-409C-BE32-E72D297353CC}">
              <c16:uniqueId val="{00000008-31FB-43D4-BDA9-3AF78FF3645A}"/>
            </c:ext>
          </c:extLst>
          <c:dPt>
            <c:idx val="0"/>
            <c:bubble3D val="0"/>
            <c:spPr>
              <a:solidFill>
                <a:schemeClr val="accent5">
                  <a:tint val="58000"/>
                </a:schemeClr>
              </a:solidFill>
              <a:ln w="19050">
                <a:solidFill>
                  <a:schemeClr val="lt1"/>
                </a:solidFill>
              </a:ln>
              <a:effectLst/>
            </c:spPr>
            <c:extLst>
              <c:ext xmlns:c16="http://schemas.microsoft.com/office/drawing/2014/chart" uri="{C3380CC4-5D6E-409C-BE32-E72D297353CC}">
                <c16:uniqueId val="{00000001-31FB-43D4-BDA9-3AF78FF3645A}"/>
              </c:ext>
            </c:extLst>
          </c:dPt>
          <c:dPt>
            <c:idx val="1"/>
            <c:bubble3D val="0"/>
            <c:spPr>
              <a:solidFill>
                <a:schemeClr val="accent5">
                  <a:tint val="86000"/>
                </a:schemeClr>
              </a:solidFill>
              <a:ln w="19050">
                <a:solidFill>
                  <a:schemeClr val="lt1"/>
                </a:solidFill>
              </a:ln>
              <a:effectLst/>
            </c:spPr>
            <c:extLst>
              <c:ext xmlns:c16="http://schemas.microsoft.com/office/drawing/2014/chart" uri="{C3380CC4-5D6E-409C-BE32-E72D297353CC}">
                <c16:uniqueId val="{00000003-31FB-43D4-BDA9-3AF78FF3645A}"/>
              </c:ext>
            </c:extLst>
          </c:dPt>
          <c:dPt>
            <c:idx val="2"/>
            <c:bubble3D val="0"/>
            <c:spPr>
              <a:solidFill>
                <a:schemeClr val="accent5">
                  <a:shade val="86000"/>
                </a:schemeClr>
              </a:solidFill>
              <a:ln w="19050">
                <a:solidFill>
                  <a:schemeClr val="lt1"/>
                </a:solidFill>
              </a:ln>
              <a:effectLst/>
            </c:spPr>
            <c:extLst>
              <c:ext xmlns:c16="http://schemas.microsoft.com/office/drawing/2014/chart" uri="{C3380CC4-5D6E-409C-BE32-E72D297353CC}">
                <c16:uniqueId val="{00000005-31FB-43D4-BDA9-3AF78FF3645A}"/>
              </c:ext>
            </c:extLst>
          </c:dPt>
          <c:dPt>
            <c:idx val="3"/>
            <c:bubble3D val="0"/>
            <c:spPr>
              <a:solidFill>
                <a:schemeClr val="accent5">
                  <a:shade val="58000"/>
                </a:schemeClr>
              </a:solidFill>
              <a:ln w="19050">
                <a:solidFill>
                  <a:schemeClr val="lt1"/>
                </a:solidFill>
              </a:ln>
              <a:effectLst/>
            </c:spPr>
            <c:extLst>
              <c:ext xmlns:c16="http://schemas.microsoft.com/office/drawing/2014/chart" uri="{C3380CC4-5D6E-409C-BE32-E72D297353CC}">
                <c16:uniqueId val="{00000007-31FB-43D4-BDA9-3AF78FF3645A}"/>
              </c:ext>
            </c:extLst>
          </c:dPt>
        </c:ser>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accent1="accent1" accent2="accent2" accent3="accent3" accent4="accent4" accent5="accent5" accent6="accent6" bg1="lt1" bg2="lt2" folHlink="folHlink" hlink="hlink" tx1="dk1" tx2="dk2"/>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1">
                <a:solidFill>
                  <a:schemeClr val="tx1"/>
                </a:solidFill>
              </a:rPr>
              <a:t>May 2022</a:t>
            </a:r>
          </a:p>
        </c:rich>
      </c:tx>
      <c:layout>
        <c:manualLayout>
          <c:xMode val="edge"/>
          <c:yMode val="edge"/>
          <c:x val="0.380236"/>
          <c:y val="0.00438815774"/>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dLbls>
          <c:showLegendKey val="0"/>
          <c:showVal val="0"/>
          <c:showCatName val="0"/>
          <c:showSerName val="0"/>
          <c:showPercent val="0"/>
          <c:showBubbleSize val="0"/>
          <c:showLeaderLines val="1"/>
        </c:dLbls>
        <c:varyColors val="1"/>
        <c:ser>
          <c:idx val="0"/>
          <c:order val="0"/>
          <c:tx>
            <c:strRef>
              <c:f>Sheet1!$B$1</c:f>
              <c:strCache>
                <c:ptCount val="1"/>
                <c:pt idx="0">
                  <c:v>May 2022</c:v>
                </c:pt>
              </c:strCache>
            </c:strRef>
          </c:tx>
          <c:dLbls>
            <c:dLbl>
              <c:idx val="0"/>
              <c:tx>
                <c:rich>
                  <a:bodyPr/>
                  <a:lstStyle/>
                  <a:p>
                    <a:fld id="{38C47480-C7E2-465D-B954-6F4474FC6C59}" type="VALUE">
                      <a:rPr lang="en-US" smtClean="0">
                        <a:solidFill>
                          <a:schemeClr val="bg1"/>
                        </a:solidFill>
                      </a:rPr>
                      <a:t>[VALUE]</a:t>
                    </a:fld>
                    <a:r>
                      <a:rPr lang="en-US" dirty="1" smtClean="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C96-48FB-B71C-5CACA173B189}"/>
                </c:ext>
              </c:extLst>
            </c:dLbl>
            <c:dLbl>
              <c:idx val="1"/>
              <c:tx>
                <c:rich>
                  <a:bodyPr/>
                  <a:lstStyle/>
                  <a:p>
                    <a:fld id="{0C93D259-3CC2-4627-9BA8-174B35F74C17}" type="VALUE">
                      <a:rPr lang="en-US" smtClean="0">
                        <a:solidFill>
                          <a:schemeClr val="bg1"/>
                        </a:solidFill>
                      </a:rPr>
                      <a:t>[VALUE]</a:t>
                    </a:fld>
                    <a:r>
                      <a:rPr lang="en-US" dirty="1" smtClean="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C96-48FB-B71C-5CACA173B189}"/>
                </c:ext>
              </c:extLst>
            </c:dLbl>
            <c:dLbl>
              <c:idx val="2"/>
              <c:tx>
                <c:rich>
                  <a:bodyPr/>
                  <a:lstStyle/>
                  <a:p>
                    <a:fld id="{C23879E7-6302-4445-B220-32BFE8FFF5FC}" type="VALUE">
                      <a:rPr lang="en-US" smtClean="0">
                        <a:solidFill>
                          <a:schemeClr val="bg1"/>
                        </a:solidFill>
                      </a:rPr>
                      <a:t>[VALUE]</a:t>
                    </a:fld>
                    <a:r>
                      <a:rPr lang="en-US" dirty="1" smtClean="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C96-48FB-B71C-5CACA173B189}"/>
                </c:ext>
              </c:extLst>
            </c:dLbl>
            <c:dLbl>
              <c:idx val="3"/>
              <c:tx>
                <c:rich>
                  <a:bodyPr/>
                  <a:lstStyle/>
                  <a:p>
                    <a:fld id="{500FD358-AE14-4836-85C6-854D213060F9}" type="VALUE">
                      <a:rPr lang="en-US" smtClean="0">
                        <a:solidFill>
                          <a:schemeClr val="bg1"/>
                        </a:solidFill>
                      </a:rPr>
                      <a:t>[VALUE]</a:t>
                    </a:fld>
                    <a:r>
                      <a:rPr lang="en-US" dirty="1" smtClean="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C96-48FB-B71C-5CACA173B18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80 and above</c:v>
                </c:pt>
                <c:pt idx="1">
                  <c:v>50-80</c:v>
                </c:pt>
                <c:pt idx="2">
                  <c:v>30-50</c:v>
                </c:pt>
                <c:pt idx="3">
                  <c:v>Under 30</c:v>
                </c:pt>
              </c:strCache>
            </c:strRef>
          </c:cat>
          <c:val>
            <c:numRef>
              <c:f>Sheet1!$B$2:$B$5</c:f>
              <c:numCache>
                <c:formatCode>General</c:formatCode>
                <c:ptCount val="4"/>
                <c:pt idx="0">
                  <c:v>21</c:v>
                </c:pt>
                <c:pt idx="1">
                  <c:v>17</c:v>
                </c:pt>
                <c:pt idx="2">
                  <c:v>21</c:v>
                </c:pt>
                <c:pt idx="3">
                  <c:v>40</c:v>
                </c:pt>
              </c:numCache>
            </c:numRef>
          </c:val>
          <c:extLst>
            <c:ext xmlns:c16="http://schemas.microsoft.com/office/drawing/2014/chart" uri="{C3380CC4-5D6E-409C-BE32-E72D297353CC}">
              <c16:uniqueId val="{00000008-7C96-48FB-B71C-5CACA173B189}"/>
            </c:ext>
          </c:extLst>
          <c:dPt>
            <c:idx val="0"/>
            <c:bubble3D val="0"/>
            <c:spPr>
              <a:solidFill>
                <a:schemeClr val="accent5">
                  <a:tint val="58000"/>
                </a:schemeClr>
              </a:solidFill>
              <a:ln w="19050">
                <a:solidFill>
                  <a:schemeClr val="lt1"/>
                </a:solidFill>
              </a:ln>
              <a:effectLst/>
            </c:spPr>
            <c:extLst>
              <c:ext xmlns:c16="http://schemas.microsoft.com/office/drawing/2014/chart" uri="{C3380CC4-5D6E-409C-BE32-E72D297353CC}">
                <c16:uniqueId val="{00000001-7C96-48FB-B71C-5CACA173B189}"/>
              </c:ext>
            </c:extLst>
          </c:dPt>
          <c:dPt>
            <c:idx val="1"/>
            <c:bubble3D val="0"/>
            <c:spPr>
              <a:solidFill>
                <a:schemeClr val="accent5">
                  <a:tint val="86000"/>
                </a:schemeClr>
              </a:solidFill>
              <a:ln w="19050">
                <a:solidFill>
                  <a:schemeClr val="lt1"/>
                </a:solidFill>
              </a:ln>
              <a:effectLst/>
            </c:spPr>
            <c:extLst>
              <c:ext xmlns:c16="http://schemas.microsoft.com/office/drawing/2014/chart" uri="{C3380CC4-5D6E-409C-BE32-E72D297353CC}">
                <c16:uniqueId val="{00000003-7C96-48FB-B71C-5CACA173B189}"/>
              </c:ext>
            </c:extLst>
          </c:dPt>
          <c:dPt>
            <c:idx val="2"/>
            <c:bubble3D val="0"/>
            <c:spPr>
              <a:solidFill>
                <a:schemeClr val="accent5">
                  <a:shade val="86000"/>
                </a:schemeClr>
              </a:solidFill>
              <a:ln w="19050">
                <a:solidFill>
                  <a:schemeClr val="lt1"/>
                </a:solidFill>
              </a:ln>
              <a:effectLst/>
            </c:spPr>
            <c:extLst>
              <c:ext xmlns:c16="http://schemas.microsoft.com/office/drawing/2014/chart" uri="{C3380CC4-5D6E-409C-BE32-E72D297353CC}">
                <c16:uniqueId val="{00000005-7C96-48FB-B71C-5CACA173B189}"/>
              </c:ext>
            </c:extLst>
          </c:dPt>
          <c:dPt>
            <c:idx val="3"/>
            <c:bubble3D val="0"/>
            <c:spPr>
              <a:solidFill>
                <a:schemeClr val="accent5">
                  <a:shade val="58000"/>
                </a:schemeClr>
              </a:solidFill>
              <a:ln w="19050">
                <a:solidFill>
                  <a:schemeClr val="lt1"/>
                </a:solidFill>
              </a:ln>
              <a:effectLst/>
            </c:spPr>
            <c:extLst>
              <c:ext xmlns:c16="http://schemas.microsoft.com/office/drawing/2014/chart" uri="{C3380CC4-5D6E-409C-BE32-E72D297353CC}">
                <c16:uniqueId val="{00000007-7C96-48FB-B71C-5CACA173B189}"/>
              </c:ext>
            </c:extLst>
          </c:dPt>
        </c:ser>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dLbls>
          <c:dLblPos val="outEnd"/>
          <c:showLegendKey val="0"/>
          <c:showVal val="0"/>
          <c:showCatName val="0"/>
          <c:showSerName val="0"/>
          <c:showPercent val="1"/>
          <c:showBubbleSize val="0"/>
          <c:showLeaderLines val="1"/>
        </c:dLbls>
        <c:varyColors val="1"/>
        <c:ser>
          <c:idx val="0"/>
          <c:order val="0"/>
          <c:tx>
            <c:strRef>
              <c:f>Sheet1!$B$1</c:f>
              <c:strCache>
                <c:ptCount val="1"/>
                <c:pt idx="0">
                  <c:v>Column1</c:v>
                </c:pt>
              </c:strCache>
            </c:strRef>
          </c:tx>
          <c:explosion val="1"/>
          <c:dLbls>
            <c:dLbl>
              <c:idx val="0"/>
              <c:layout>
                <c:manualLayout>
                  <c:x val="-0.191850647"/>
                  <c:y val="0.1223944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r>
                      <a:rPr lang="en-US" dirty="1" smtClean="0">
                        <a:solidFill>
                          <a:schemeClr val="bg1"/>
                        </a:solidFill>
                      </a:rPr>
                      <a:t>China Real Estate</a:t>
                    </a:r>
                    <a:endParaRPr lang="en-US" baseline="0">
                      <a:solidFill>
                        <a:schemeClr val="bg1"/>
                      </a:solidFill>
                    </a:endParaRPr>
                  </a:p>
                  <a:p>
                    <a:pPr>
                      <a:defRPr sz="1330" b="1" i="0" u="none" strike="noStrike" kern="1200" spc="0" baseline="0">
                        <a:solidFill>
                          <a:schemeClr val="accent1"/>
                        </a:solidFill>
                        <a:latin typeface="+mn-lt"/>
                        <a:ea typeface="+mn-ea"/>
                        <a:cs typeface="+mn-cs"/>
                      </a:defRPr>
                    </a:pPr>
                    <a:fld id="{8E990F42-C7DE-4F43-89F9-F281257DC9F3}" type="PERCENTAGE">
                      <a:rPr lang="en-US" baseline="0">
                        <a:solidFill>
                          <a:schemeClr val="bg1"/>
                        </a:solidFill>
                      </a:rPr>
                      <a:t>[PERCENTAGE]</a:t>
                    </a:fld>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927-4619-9331-6EC7577D2F84}"/>
                </c:ext>
              </c:extLst>
            </c:dLbl>
            <c:dLbl>
              <c:idx val="1"/>
              <c:layout>
                <c:manualLayout>
                  <c:x val="-0.0317725874"/>
                  <c:y val="-0.13833423"/>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345273AC-F9B0-4183-BEBA-00DD43ACD49D}" type="CATEGORYNAME">
                      <a:rPr lang="en-US">
                        <a:solidFill>
                          <a:schemeClr val="bg1"/>
                        </a:solidFill>
                      </a:rPr>
                      <a:t>[CATEGORY NAME]</a:t>
                    </a:fld>
                    <a:endParaRPr lang="en-US" baseline="0">
                      <a:solidFill>
                        <a:schemeClr val="bg1"/>
                      </a:solidFill>
                    </a:endParaRPr>
                  </a:p>
                  <a:p>
                    <a:pPr>
                      <a:defRPr sz="1330" b="1" i="0" u="none" strike="noStrike" kern="1200" spc="0" baseline="0">
                        <a:solidFill>
                          <a:schemeClr val="accent1"/>
                        </a:solidFill>
                        <a:latin typeface="+mn-lt"/>
                        <a:ea typeface="+mn-ea"/>
                        <a:cs typeface="+mn-cs"/>
                      </a:defRPr>
                    </a:pPr>
                    <a:fld id="{80CC6527-549D-4F72-BC99-D42C749BE85A}" type="PERCENTAGE">
                      <a:rPr lang="en-US" baseline="0">
                        <a:solidFill>
                          <a:schemeClr val="bg1"/>
                        </a:solidFill>
                      </a:rPr>
                      <a:t>[PERCENTAGE]</a:t>
                    </a:fld>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927-4619-9331-6EC7577D2F84}"/>
                </c:ext>
              </c:extLst>
            </c:dLbl>
            <c:dLbl>
              <c:idx val="2"/>
              <c:layout>
                <c:manualLayout>
                  <c:x val="0.140993863"/>
                  <c:y val="-0.157930389"/>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bg1"/>
                        </a:solidFill>
                        <a:latin typeface="+mn-lt"/>
                        <a:ea typeface="+mn-ea"/>
                        <a:cs typeface="+mn-cs"/>
                      </a:defRPr>
                    </a:pPr>
                    <a:fld id="{BCE2C0C1-BA1F-4889-A599-F9AD9BE812FB}" type="CATEGORYNAME">
                      <a:rPr lang="en-US">
                        <a:solidFill>
                          <a:schemeClr val="bg1"/>
                        </a:solidFill>
                      </a:rPr>
                      <a:t>[CATEGORY NAME]</a:t>
                    </a:fld>
                    <a:endParaRPr lang="en-US" baseline="0">
                      <a:solidFill>
                        <a:schemeClr val="bg1"/>
                      </a:solidFill>
                    </a:endParaRPr>
                  </a:p>
                  <a:p>
                    <a:pPr>
                      <a:defRPr sz="1330" b="1" i="0" u="none" strike="noStrike" kern="1200" spc="0" baseline="0">
                        <a:solidFill>
                          <a:schemeClr val="bg1"/>
                        </a:solidFill>
                        <a:latin typeface="+mn-lt"/>
                        <a:ea typeface="+mn-ea"/>
                        <a:cs typeface="+mn-cs"/>
                      </a:defRPr>
                    </a:pPr>
                    <a:fld id="{F9397A82-1BB5-4F2E-843E-4A4EA5E25B8C}" type="PERCENTAGE">
                      <a:rPr lang="en-US" baseline="0">
                        <a:solidFill>
                          <a:schemeClr val="bg1"/>
                        </a:solidFill>
                      </a:rPr>
                      <a:t>[PERCENTAGE]</a:t>
                    </a:fld>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bg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927-4619-9331-6EC7577D2F84}"/>
                </c:ext>
              </c:extLst>
            </c:dLbl>
            <c:dLbl>
              <c:idx val="3"/>
              <c:layout>
                <c:manualLayout>
                  <c:x val="0.182384819"/>
                  <c:y val="0.0227272734"/>
                </c:manualLayout>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fld id="{C0652070-B84B-4FDB-B40D-8F6139166045}" type="CATEGORYNAME">
                      <a:rPr lang="en-US" sz="1000"/>
                      <a:t>[CATEGORY NAME]</a:t>
                    </a:fld>
                    <a:endParaRPr lang="en-US" sz="1000" baseline="0"/>
                  </a:p>
                  <a:p>
                    <a:pPr>
                      <a:defRPr sz="1200" b="1" i="0" u="none" strike="noStrike" kern="1200" spc="0" baseline="0">
                        <a:solidFill>
                          <a:schemeClr val="bg1"/>
                        </a:solidFill>
                        <a:latin typeface="+mn-lt"/>
                        <a:ea typeface="+mn-ea"/>
                        <a:cs typeface="+mn-cs"/>
                      </a:defRPr>
                    </a:pPr>
                    <a:fld id="{98BE8A77-26FD-4FC3-B160-759BF811A9EF}" type="PERCENTAGE">
                      <a:rPr lang="en-US" sz="1000" baseline="0"/>
                      <a:t>[PERCENTAGE]</a:t>
                    </a:fld>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bg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927-4619-9331-6EC7577D2F84}"/>
                </c:ext>
              </c:extLst>
            </c:dLbl>
            <c:dLbl>
              <c:idx val="4"/>
              <c:layout>
                <c:manualLayout>
                  <c:x val="0"/>
                  <c:y val="0.0568181835"/>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7F860741-FD56-4988-A60C-9D8B8D04E3D8}" type="CATEGORYNAME">
                      <a:rPr lang="en-US">
                        <a:solidFill>
                          <a:schemeClr val="tx1">
                            <a:lumMod val="90000"/>
                            <a:lumOff val="10000"/>
                          </a:schemeClr>
                        </a:solidFill>
                      </a:rPr>
                      <a:t>[CATEGORY NAME]</a:t>
                    </a:fld>
                    <a:endParaRPr lang="en-US" baseline="0">
                      <a:solidFill>
                        <a:schemeClr val="tx1">
                          <a:lumMod val="90000"/>
                          <a:lumOff val="10000"/>
                        </a:schemeClr>
                      </a:solidFill>
                    </a:endParaRPr>
                  </a:p>
                  <a:p>
                    <a:pPr>
                      <a:defRPr sz="1330" b="1" i="0" u="none" strike="noStrike" kern="1200" spc="0" baseline="0">
                        <a:solidFill>
                          <a:schemeClr val="accent1"/>
                        </a:solidFill>
                        <a:latin typeface="+mn-lt"/>
                        <a:ea typeface="+mn-ea"/>
                        <a:cs typeface="+mn-cs"/>
                      </a:defRPr>
                    </a:pPr>
                    <a:fld id="{2917701D-2092-4BEE-A2B4-B0C1B997FFDE}" type="PERCENTAGE">
                      <a:rPr lang="en-US" baseline="0">
                        <a:solidFill>
                          <a:schemeClr val="tx1">
                            <a:lumMod val="90000"/>
                            <a:lumOff val="10000"/>
                          </a:schemeClr>
                        </a:solidFill>
                      </a:rPr>
                      <a:t>[PERCENTAGE]</a:t>
                    </a:fld>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927-4619-9331-6EC7577D2F84}"/>
                </c:ext>
              </c:extLst>
            </c:dLbl>
            <c:dLbl>
              <c:idx val="5"/>
              <c:layout>
                <c:manualLayout>
                  <c:x val="0.008639309"/>
                  <c:y val="0"/>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34F82913-B7E5-4E51-9372-34B3556C6F10}" type="CATEGORYNAME">
                      <a:rPr lang="en-US" sz="1050"/>
                      <a:t>[CATEGORY NAME]</a:t>
                    </a:fld>
                    <a:endParaRPr lang="en-US" sz="1050" baseline="0"/>
                  </a:p>
                  <a:p>
                    <a:pPr>
                      <a:defRPr sz="1330" b="1" i="0" u="none" strike="noStrike" kern="1200" spc="0" baseline="0">
                        <a:solidFill>
                          <a:schemeClr val="accent1"/>
                        </a:solidFill>
                        <a:latin typeface="+mn-lt"/>
                        <a:ea typeface="+mn-ea"/>
                        <a:cs typeface="+mn-cs"/>
                      </a:defRPr>
                    </a:pPr>
                    <a:fld id="{80440748-F565-4E8B-8B12-C0F660981FA0}" type="PERCENTAGE">
                      <a:rPr lang="en-US" sz="1050" baseline="0"/>
                      <a:t>[PERCENTAGE]</a:t>
                    </a:fld>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927-4619-9331-6EC7577D2F84}"/>
                </c:ext>
              </c:extLst>
            </c:dLbl>
            <c:dLbl>
              <c:idx val="6"/>
              <c:layout>
                <c:manualLayout>
                  <c:x val="0.0151187908"/>
                  <c:y val="0"/>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tx1">
                            <a:lumMod val="90000"/>
                            <a:lumOff val="10000"/>
                          </a:schemeClr>
                        </a:solidFill>
                        <a:latin typeface="+mn-lt"/>
                        <a:ea typeface="+mn-ea"/>
                        <a:cs typeface="+mn-cs"/>
                      </a:defRPr>
                    </a:pPr>
                    <a:fld id="{5460072C-8441-47CD-B887-FC6F58BA557F}" type="CATEGORYNAME">
                      <a:rPr lang="en-US" sz="1100"/>
                      <a:t>[CATEGORY NAME]</a:t>
                    </a:fld>
                    <a:endParaRPr lang="en-US" sz="1100" baseline="0"/>
                  </a:p>
                  <a:p>
                    <a:pPr>
                      <a:defRPr sz="1330" b="1" i="0" u="none" strike="noStrike" kern="1200" spc="0" baseline="0">
                        <a:solidFill>
                          <a:schemeClr val="tx1">
                            <a:lumMod val="90000"/>
                            <a:lumOff val="10000"/>
                          </a:schemeClr>
                        </a:solidFill>
                        <a:latin typeface="+mn-lt"/>
                        <a:ea typeface="+mn-ea"/>
                        <a:cs typeface="+mn-cs"/>
                      </a:defRPr>
                    </a:pPr>
                    <a:fld id="{3A2C217C-8502-4E23-95F9-E44ADFD46A18}" type="PERCENTAGE">
                      <a:rPr lang="en-US" sz="1100" baseline="0"/>
                      <a:t>[PERCENTAGE]</a:t>
                    </a:fld>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tx1">
                          <a:lumMod val="90000"/>
                          <a:lumOff val="1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9927-4619-9331-6EC7577D2F84}"/>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China Property</c:v>
                </c:pt>
                <c:pt idx="1">
                  <c:v>India Corporates</c:v>
                </c:pt>
                <c:pt idx="2">
                  <c:v>Sovereign</c:v>
                </c:pt>
                <c:pt idx="3">
                  <c:v>Macau Gaming</c:v>
                </c:pt>
                <c:pt idx="4">
                  <c:v>Financials</c:v>
                </c:pt>
                <c:pt idx="5">
                  <c:v>Indonesia Corporates</c:v>
                </c:pt>
                <c:pt idx="6">
                  <c:v>Others</c:v>
                </c:pt>
              </c:strCache>
            </c:strRef>
          </c:cat>
          <c:val>
            <c:numRef>
              <c:f>Sheet1!$B$2:$B$8</c:f>
              <c:numCache>
                <c:formatCode>General</c:formatCode>
                <c:ptCount val="7"/>
                <c:pt idx="0">
                  <c:v>39</c:v>
                </c:pt>
                <c:pt idx="1">
                  <c:v>18</c:v>
                </c:pt>
                <c:pt idx="2">
                  <c:v>13</c:v>
                </c:pt>
                <c:pt idx="3">
                  <c:v>10</c:v>
                </c:pt>
                <c:pt idx="4">
                  <c:v>8</c:v>
                </c:pt>
                <c:pt idx="5">
                  <c:v>6</c:v>
                </c:pt>
                <c:pt idx="6">
                  <c:v>5</c:v>
                </c:pt>
              </c:numCache>
            </c:numRef>
          </c:val>
          <c:extLst>
            <c:ext xmlns:c16="http://schemas.microsoft.com/office/drawing/2014/chart" uri="{C3380CC4-5D6E-409C-BE32-E72D297353CC}">
              <c16:uniqueId val="{00000000-9927-4619-9331-6EC7577D2F84}"/>
            </c:ext>
          </c:extLst>
          <c:dPt>
            <c:idx val="0"/>
            <c:bubble3D val="0"/>
            <c:spPr>
              <a:solidFill>
                <a:schemeClr val="tx2">
                  <a:lumMod val="5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9927-4619-9331-6EC7577D2F84}"/>
              </c:ext>
            </c:extLst>
          </c:dPt>
          <c:dPt>
            <c:idx val="1"/>
            <c:bubble3D val="0"/>
            <c:spPr>
              <a:solidFill>
                <a:schemeClr val="tx2">
                  <a:lumMod val="9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9927-4619-9331-6EC7577D2F84}"/>
              </c:ext>
            </c:extLst>
          </c:dPt>
          <c:dPt>
            <c:idx val="2"/>
            <c:bubble3D val="0"/>
            <c:spPr>
              <a:solidFill>
                <a:schemeClr val="bg2">
                  <a:lumMod val="5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9927-4619-9331-6EC7577D2F84}"/>
              </c:ext>
            </c:extLst>
          </c:dPt>
          <c:dPt>
            <c:idx val="3"/>
            <c:bubble3D val="0"/>
            <c:spPr>
              <a:solidFill>
                <a:srgbClr val="96B1D0"/>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9927-4619-9331-6EC7577D2F84}"/>
              </c:ext>
            </c:extLst>
          </c:dPt>
          <c:dPt>
            <c:idx val="4"/>
            <c:bubble3D val="0"/>
            <c:spPr>
              <a:solidFill>
                <a:srgbClr val="009A4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9927-4619-9331-6EC7577D2F84}"/>
              </c:ext>
            </c:extLst>
          </c:dPt>
          <c:dPt>
            <c:idx val="5"/>
            <c:bubble3D val="0"/>
            <c:spPr>
              <a:solidFill>
                <a:srgbClr val="92D050"/>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9927-4619-9331-6EC7577D2F84}"/>
              </c:ext>
            </c:extLst>
          </c:dPt>
          <c:dPt>
            <c:idx val="6"/>
            <c:bubble3D val="0"/>
            <c:spPr>
              <a:solidFill>
                <a:schemeClr val="bg2">
                  <a:lumMod val="75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9927-4619-9331-6EC7577D2F84}"/>
              </c:ext>
            </c:extLst>
          </c:dPt>
        </c:ser>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dLbls>
          <c:dLblPos val="outEnd"/>
          <c:showLegendKey val="0"/>
          <c:showVal val="0"/>
          <c:showCatName val="0"/>
          <c:showSerName val="0"/>
          <c:showPercent val="1"/>
          <c:showBubbleSize val="0"/>
          <c:showLeaderLines val="1"/>
        </c:dLbls>
        <c:varyColors val="1"/>
        <c:ser>
          <c:idx val="0"/>
          <c:order val="0"/>
          <c:tx>
            <c:strRef>
              <c:f>Sheet1!$B$1</c:f>
              <c:strCache>
                <c:ptCount val="1"/>
                <c:pt idx="0">
                  <c:v>Column1</c:v>
                </c:pt>
              </c:strCache>
            </c:strRef>
          </c:tx>
          <c:dLbls>
            <c:dLbl>
              <c:idx val="0"/>
              <c:layout>
                <c:manualLayout>
                  <c:x val="-0.161956549"/>
                  <c:y val="0.189150646"/>
                </c:manualLayout>
              </c:layout>
              <c:tx>
                <c:rich>
                  <a:bodyPr/>
                  <a:lstStyle/>
                  <a:p>
                    <a:r>
                      <a:rPr lang="it-IT" b="1" dirty="1" smtClean="0">
                        <a:solidFill>
                          <a:schemeClr val="bg1"/>
                        </a:solidFill>
                      </a:rPr>
                      <a:t>China non Real</a:t>
                    </a:r>
                    <a:r>
                      <a:rPr lang="it-IT" b="1" baseline="0" dirty="1" smtClean="0">
                        <a:solidFill>
                          <a:schemeClr val="bg1"/>
                        </a:solidFill>
                      </a:rPr>
                      <a:t> Estate</a:t>
                    </a:r>
                    <a:endParaRPr lang="it-IT" b="1" smtClean="0">
                      <a:solidFill>
                        <a:schemeClr val="bg1"/>
                      </a:solidFill>
                    </a:endParaRPr>
                  </a:p>
                  <a:p>
                    <a:fld id="{52039ADE-C505-429F-82E7-7BEBBDB8E6E2}" type="VALUE">
                      <a:rPr lang="it-IT" b="1" smtClean="0">
                        <a:solidFill>
                          <a:schemeClr val="bg1"/>
                        </a:solidFill>
                      </a:rPr>
                      <a:t>[VALUE]</a:t>
                    </a:fld>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5A9-4BB8-9B2E-7921D8BBE10C}"/>
                </c:ext>
              </c:extLst>
            </c:dLbl>
            <c:dLbl>
              <c:idx val="1"/>
              <c:layout>
                <c:manualLayout>
                  <c:x val="-0.14930369"/>
                  <c:y val="-0.203700691"/>
                </c:manualLayout>
              </c:layout>
              <c:tx>
                <c:rich>
                  <a:bodyPr/>
                  <a:lstStyle/>
                  <a:p>
                    <a:r>
                      <a:rPr lang="en-US" b="1" dirty="1">
                        <a:solidFill>
                          <a:schemeClr val="bg1"/>
                        </a:solidFill>
                      </a:rPr>
                      <a:t>China </a:t>
                    </a:r>
                    <a:r>
                      <a:rPr lang="en-US" b="1" dirty="1" smtClean="0">
                        <a:solidFill>
                          <a:schemeClr val="bg1"/>
                        </a:solidFill>
                      </a:rPr>
                      <a:t>Real</a:t>
                    </a:r>
                    <a:r>
                      <a:rPr lang="en-US" b="1" baseline="0" dirty="1" smtClean="0">
                        <a:solidFill>
                          <a:schemeClr val="bg1"/>
                        </a:solidFill>
                      </a:rPr>
                      <a:t> Estate</a:t>
                    </a:r>
                    <a:endParaRPr lang="en-US" b="1">
                      <a:solidFill>
                        <a:schemeClr val="bg1"/>
                      </a:solidFill>
                    </a:endParaRPr>
                  </a:p>
                  <a:p>
                    <a:fld id="{6FD487C5-687D-4F10-9FC6-6E546E45CE05}" type="VALUE">
                      <a:rPr lang="en-US" b="1">
                        <a:solidFill>
                          <a:schemeClr val="bg1"/>
                        </a:solidFill>
                      </a:rPr>
                      <a:t>[VALUE]</a:t>
                    </a:fld>
                    <a:endParaRPr lang="en-US"/>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5A9-4BB8-9B2E-7921D8BBE10C}"/>
                </c:ext>
              </c:extLst>
            </c:dLbl>
            <c:dLbl>
              <c:idx val="2"/>
              <c:tx>
                <c:rich>
                  <a:bodyPr/>
                  <a:lstStyle/>
                  <a:p>
                    <a:r>
                      <a:rPr lang="en-US" b="1" dirty="1" smtClean="0">
                        <a:solidFill>
                          <a:schemeClr val="tx1"/>
                        </a:solidFill>
                      </a:rPr>
                      <a:t>India</a:t>
                    </a:r>
                    <a:endParaRPr lang="en-US" b="1">
                      <a:solidFill>
                        <a:schemeClr val="tx1"/>
                      </a:solidFill>
                    </a:endParaRPr>
                  </a:p>
                  <a:p>
                    <a:fld id="{D42E5960-A52B-464D-9FC4-7F433D513029}" type="VALUE">
                      <a:rPr lang="en-US" b="1">
                        <a:solidFill>
                          <a:schemeClr val="tx1"/>
                        </a:solidFill>
                      </a:rPr>
                      <a:t>[VALUE]</a:t>
                    </a:fld>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5A9-4BB8-9B2E-7921D8BBE10C}"/>
                </c:ext>
              </c:extLst>
            </c:dLbl>
            <c:dLbl>
              <c:idx val="3"/>
              <c:tx>
                <c:rich>
                  <a:bodyPr/>
                  <a:lstStyle/>
                  <a:p>
                    <a:r>
                      <a:rPr lang="en-US" b="1" dirty="1" smtClean="0">
                        <a:solidFill>
                          <a:schemeClr val="tx1"/>
                        </a:solidFill>
                      </a:rPr>
                      <a:t>Indonesia</a:t>
                    </a:r>
                    <a:endParaRPr lang="en-US" b="1">
                      <a:solidFill>
                        <a:schemeClr val="tx1"/>
                      </a:solidFill>
                    </a:endParaRPr>
                  </a:p>
                  <a:p>
                    <a:fld id="{460615E2-212C-406A-A7FE-21054062B79F}" type="VALUE">
                      <a:rPr lang="en-US" b="1">
                        <a:solidFill>
                          <a:schemeClr val="tx1"/>
                        </a:solidFill>
                      </a:rPr>
                      <a:t>[VALUE]</a:t>
                    </a:fld>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5A9-4BB8-9B2E-7921D8BBE10C}"/>
                </c:ext>
              </c:extLst>
            </c:dLbl>
            <c:dLbl>
              <c:idx val="4"/>
              <c:layout>
                <c:manualLayout>
                  <c:x val="0.0202445686"/>
                  <c:y val="0.018187562"/>
                </c:manualLayout>
              </c:layout>
              <c:tx>
                <c:rich>
                  <a:bodyPr/>
                  <a:lstStyle/>
                  <a:p>
                    <a:r>
                      <a:rPr lang="en-US" b="1" dirty="1" smtClean="0">
                        <a:solidFill>
                          <a:schemeClr val="tx1"/>
                        </a:solidFill>
                      </a:rPr>
                      <a:t>Other</a:t>
                    </a:r>
                    <a:endParaRPr lang="en-US" b="1">
                      <a:solidFill>
                        <a:schemeClr val="tx1"/>
                      </a:solidFill>
                    </a:endParaRPr>
                  </a:p>
                  <a:p>
                    <a:fld id="{FAEF5A49-BE80-42DB-86A7-93FA501A86CA}" type="VALUE">
                      <a:rPr lang="en-US" b="1">
                        <a:solidFill>
                          <a:schemeClr val="tx1"/>
                        </a:solidFill>
                      </a:rPr>
                      <a:t>[VALUE]</a:t>
                    </a:fld>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5A9-4BB8-9B2E-7921D8BBE1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China non property</c:v>
                </c:pt>
                <c:pt idx="1">
                  <c:v>China Property</c:v>
                </c:pt>
                <c:pt idx="2">
                  <c:v>India corp</c:v>
                </c:pt>
                <c:pt idx="3">
                  <c:v>Indonesia corp</c:v>
                </c:pt>
                <c:pt idx="4">
                  <c:v>Other corp</c:v>
                </c:pt>
              </c:strCache>
            </c:strRef>
          </c:cat>
          <c:val>
            <c:numRef>
              <c:f>Sheet1!$B$2:$B$6</c:f>
              <c:numCache>
                <c:formatCode>0%</c:formatCode>
                <c:ptCount val="5"/>
                <c:pt idx="0">
                  <c:v>0.19</c:v>
                </c:pt>
                <c:pt idx="1">
                  <c:v>0.49</c:v>
                </c:pt>
                <c:pt idx="2">
                  <c:v>0.13</c:v>
                </c:pt>
                <c:pt idx="3">
                  <c:v>0.05</c:v>
                </c:pt>
                <c:pt idx="4">
                  <c:v>0.14000000000000001</c:v>
                </c:pt>
              </c:numCache>
            </c:numRef>
          </c:val>
          <c:extLst>
            <c:ext xmlns:c16="http://schemas.microsoft.com/office/drawing/2014/chart" uri="{C3380CC4-5D6E-409C-BE32-E72D297353CC}">
              <c16:uniqueId val="{00000000-E5A9-4BB8-9B2E-7921D8BBE10C}"/>
            </c:ext>
          </c:extLst>
          <c:dPt>
            <c:idx val="0"/>
            <c:bubble3D val="0"/>
            <c:spPr>
              <a:solidFill>
                <a:srgbClr val="96B1CC"/>
              </a:solidFill>
              <a:ln w="19050">
                <a:solidFill>
                  <a:schemeClr val="lt1"/>
                </a:solidFill>
              </a:ln>
              <a:effectLst/>
            </c:spPr>
            <c:extLst>
              <c:ext xmlns:c16="http://schemas.microsoft.com/office/drawing/2014/chart" uri="{C3380CC4-5D6E-409C-BE32-E72D297353CC}">
                <c16:uniqueId val="{00000002-E5A9-4BB8-9B2E-7921D8BBE10C}"/>
              </c:ext>
            </c:extLst>
          </c:dPt>
          <c:dPt>
            <c:idx val="1"/>
            <c:bubble3D val="0"/>
            <c:spPr>
              <a:solidFill>
                <a:srgbClr val="5482AB"/>
              </a:solidFill>
              <a:ln w="19050">
                <a:solidFill>
                  <a:schemeClr val="lt1"/>
                </a:solidFill>
              </a:ln>
              <a:effectLst/>
            </c:spPr>
            <c:extLst>
              <c:ext xmlns:c16="http://schemas.microsoft.com/office/drawing/2014/chart" uri="{C3380CC4-5D6E-409C-BE32-E72D297353CC}">
                <c16:uniqueId val="{00000003-E5A9-4BB8-9B2E-7921D8BBE10C}"/>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4-E5A9-4BB8-9B2E-7921D8BBE10C}"/>
              </c:ext>
            </c:extLst>
          </c:dPt>
          <c:dPt>
            <c:idx val="3"/>
            <c:bubble3D val="0"/>
            <c:spPr>
              <a:solidFill>
                <a:srgbClr val="009A46"/>
              </a:solidFill>
              <a:ln w="19050">
                <a:solidFill>
                  <a:schemeClr val="lt1"/>
                </a:solidFill>
              </a:ln>
              <a:effectLst/>
            </c:spPr>
            <c:extLst>
              <c:ext xmlns:c16="http://schemas.microsoft.com/office/drawing/2014/chart" uri="{C3380CC4-5D6E-409C-BE32-E72D297353CC}">
                <c16:uniqueId val="{00000005-E5A9-4BB8-9B2E-7921D8BBE10C}"/>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6-E5A9-4BB8-9B2E-7921D8BBE10C}"/>
              </c:ext>
            </c:extLst>
          </c:dPt>
        </c:ser>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5">
  <a:schemeClr val="accent5"/>
</cs:colorStyle>
</file>

<file path=ppt/charts/colors3.xml><?xml version="1.0" encoding="utf-8"?>
<cs:colorStyle xmlns:cs="http://schemas.microsoft.com/office/drawing/2012/chartStyle" xmlns:a="http://schemas.openxmlformats.org/drawingml/2006/main" meth="withinLinearReversed" id="25">
  <a:schemeClr val="accent5"/>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0.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7.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8.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9.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0.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7.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8.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9.vml.rels>&#65279;<?xml version="1.0" encoding="utf-8" standalone="yes"?><Relationships xmlns="http://schemas.openxmlformats.org/package/2006/relationships"><Relationship Id="rId1" Type="http://schemas.openxmlformats.org/officeDocument/2006/relationships/image" Target="../media/image1.emf"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1.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p:spPr>
        <p:txBody>
          <a:bodyPr vert="horz" lIns="92830" tIns="46415" rIns="92830" bIns="46415" rtlCol="0"/>
          <a:lstStyle>
            <a:lvl1pPr algn="l">
              <a:defRPr sz="1200"/>
            </a:lvl1pPr>
          </a:lstStyle>
          <a:p>
            <a:endParaRPr lang="en-US"/>
          </a:p>
        </p:txBody>
      </p:sp>
      <p:sp>
        <p:nvSpPr>
          <p:cNvPr id="3" name="Date Placeholder 2"/>
          <p:cNvSpPr>
            <a:spLocks noGrp="1"/>
          </p:cNvSpPr>
          <p:nvPr>
            <p:ph type="dt" sz="quarter" idx="1"/>
          </p:nvPr>
        </p:nvSpPr>
        <p:spPr>
          <a:xfrm>
            <a:off x="5231639" y="0"/>
            <a:ext cx="4002299" cy="350520"/>
          </a:xfrm>
          <a:prstGeom prst="rect"/>
        </p:spPr>
        <p:txBody>
          <a:bodyPr vert="horz" lIns="92830" tIns="46415" rIns="92830" bIns="46415" rtlCol="0"/>
          <a:lstStyle>
            <a:lvl1pPr algn="r">
              <a:defRPr sz="1200"/>
            </a:lvl1pPr>
          </a:lstStyle>
          <a:p>
            <a:fld id="{45DBA155-9C5A-49D0-93B0-F2AAC286F311}" type="datetimeFigureOut">
              <a:rPr lang="en-US" smtClean="0"/>
              <a:t>8/31/2022</a:t>
            </a:fld>
            <a:endParaRPr lang="en-US"/>
          </a:p>
        </p:txBody>
      </p:sp>
      <p:sp>
        <p:nvSpPr>
          <p:cNvPr id="4" name="Footer Placeholder 3"/>
          <p:cNvSpPr>
            <a:spLocks noGrp="1"/>
          </p:cNvSpPr>
          <p:nvPr>
            <p:ph type="ftr" sz="quarter" idx="2"/>
          </p:nvPr>
        </p:nvSpPr>
        <p:spPr>
          <a:xfrm>
            <a:off x="0" y="6658663"/>
            <a:ext cx="4002299" cy="350520"/>
          </a:xfrm>
          <a:prstGeom prst="rect"/>
        </p:spPr>
        <p:txBody>
          <a:bodyPr vert="horz" lIns="92830" tIns="46415" rIns="92830" bIns="46415" rtlCol="0" anchor="b"/>
          <a:lstStyle>
            <a:lvl1pPr algn="l">
              <a:defRPr sz="1200"/>
            </a:lvl1pPr>
          </a:lstStyle>
          <a:p>
            <a:endParaRPr lang="en-US"/>
          </a:p>
        </p:txBody>
      </p:sp>
      <p:sp>
        <p:nvSpPr>
          <p:cNvPr id="5" name="Slide Number Placeholder 4"/>
          <p:cNvSpPr>
            <a:spLocks noGrp="1"/>
          </p:cNvSpPr>
          <p:nvPr>
            <p:ph type="sldNum" sz="quarter" idx="3"/>
          </p:nvPr>
        </p:nvSpPr>
        <p:spPr>
          <a:xfrm>
            <a:off x="5231639" y="6658663"/>
            <a:ext cx="4002299" cy="350520"/>
          </a:xfrm>
          <a:prstGeom prst="rect"/>
        </p:spPr>
        <p:txBody>
          <a:bodyPr vert="horz" lIns="92830" tIns="46415" rIns="92830" bIns="46415" rtlCol="0" anchor="b"/>
          <a:lstStyle>
            <a:lvl1pPr algn="r">
              <a:defRPr sz="1200"/>
            </a:lvl1pPr>
          </a:lstStyle>
          <a:p>
            <a:fld id="{13FC6C68-72CF-4881-89E0-79A7D5446461}" type="slidenum">
              <a:rPr lang="en-US" smtClean="0"/>
              <a:t>‹#›</a:t>
            </a:fld>
            <a:endParaRPr lang="en-US"/>
          </a:p>
        </p:txBody>
      </p:sp>
    </p:spTree>
    <p:extLst>
      <p:ext uri="{BB962C8B-B14F-4D97-AF65-F5344CB8AC3E}">
        <p14:creationId xmlns:p14="http://schemas.microsoft.com/office/powerpoint/2010/main" val="4214360135"/>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5231639" y="0"/>
            <a:ext cx="4002299" cy="350520"/>
          </a:xfrm>
          <a:prstGeom prst="rect"/>
        </p:spPr>
        <p:txBody>
          <a:bodyPr vert="horz" lIns="92830" tIns="46415" rIns="92830" bIns="46415" rtlCol="0"/>
          <a:lstStyle>
            <a:lvl1pPr algn="r">
              <a:defRPr sz="1200"/>
            </a:lvl1pPr>
          </a:lstStyle>
          <a:p>
            <a:fld id="{16168F76-3A78-46B8-BD35-ACAB9D9AD6C8}" type="datetimeFigureOut">
              <a:rPr lang="en-US" smtClean="0"/>
              <a:t>8/31/2022</a:t>
            </a:fld>
            <a:endParaRPr lang="en-US"/>
          </a:p>
        </p:txBody>
      </p:sp>
      <p:sp>
        <p:nvSpPr>
          <p:cNvPr id="4" name="Slide Image Placeholder 3"/>
          <p:cNvSpPr>
            <a:spLocks noGrp="1" noRot="1" noChangeAspect="1"/>
          </p:cNvSpPr>
          <p:nvPr>
            <p:ph type="sldImg" idx="2"/>
          </p:nvPr>
        </p:nvSpPr>
        <p:spPr>
          <a:xfrm>
            <a:off x="2281238" y="525463"/>
            <a:ext cx="4673600" cy="2628900"/>
          </a:xfrm>
          <a:prstGeom prst="rect"/>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923608" y="3329940"/>
            <a:ext cx="7388860" cy="3154680"/>
          </a:xfrm>
          <a:prstGeom prst="rect"/>
        </p:spPr>
        <p:txBody>
          <a:bodyPr vert="horz" lIns="92830" tIns="46415" rIns="92830" bIns="46415" rtlCol="0">
            <a:normAutofit/>
          </a:body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6" name="Footer Placeholder 5"/>
          <p:cNvSpPr>
            <a:spLocks noGrp="1"/>
          </p:cNvSpPr>
          <p:nvPr>
            <p:ph type="ftr" sz="quarter" idx="4"/>
          </p:nvPr>
        </p:nvSpPr>
        <p:spPr>
          <a:xfrm>
            <a:off x="0" y="6658663"/>
            <a:ext cx="4002299" cy="350520"/>
          </a:xfrm>
          <a:prstGeom prst="rect"/>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5231639" y="6658663"/>
            <a:ext cx="4002299" cy="350520"/>
          </a:xfrm>
          <a:prstGeom prst="rect"/>
        </p:spPr>
        <p:txBody>
          <a:bodyPr vert="horz" lIns="92830" tIns="46415" rIns="92830" bIns="46415" rtlCol="0" anchor="b"/>
          <a:lstStyle>
            <a:lvl1pPr algn="r">
              <a:defRPr sz="1200"/>
            </a:lvl1pPr>
          </a:lstStyle>
          <a:p>
            <a:fld id="{B72F64D8-8738-4E21-B2D6-DF4A3DF0A84B}" type="slidenum">
              <a:rPr lang="en-US" smtClean="0"/>
              <a:t>‹#›</a:t>
            </a:fld>
            <a:endParaRPr lang="en-US"/>
          </a:p>
        </p:txBody>
      </p:sp>
    </p:spTree>
    <p:extLst>
      <p:ext uri="{BB962C8B-B14F-4D97-AF65-F5344CB8AC3E}">
        <p14:creationId xmlns:p14="http://schemas.microsoft.com/office/powerpoint/2010/main" val="3969003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65279;<?xml version="1.0" encoding="utf-8" standalone="yes"?><Relationships xmlns="http://schemas.openxmlformats.org/package/2006/relationships"><Relationship Id="rId1" Type="http://schemas.openxmlformats.org/officeDocument/2006/relationships/vmlDrawing" Target="../drawings/vmlDrawing2.vml" /><Relationship Id="rId2" Type="http://schemas.openxmlformats.org/officeDocument/2006/relationships/tags" Target="../tags/tag21.xml" /><Relationship Id="rId3" Type="http://schemas.openxmlformats.org/officeDocument/2006/relationships/tags" Target="../tags/tag43.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2.bin" TargetMode="Internal" /></Relationships>
</file>

<file path=ppt/slideLayouts/_rels/slideLayout10.xml.rels>&#65279;<?xml version="1.0" encoding="utf-8" standalone="yes"?><Relationships xmlns="http://schemas.openxmlformats.org/package/2006/relationships"><Relationship Id="rId1" Type="http://schemas.openxmlformats.org/officeDocument/2006/relationships/vmlDrawing" Target="../drawings/vmlDrawing11.vml" /><Relationship Id="rId2" Type="http://schemas.openxmlformats.org/officeDocument/2006/relationships/tags" Target="../tags/tag11.xml" /><Relationship Id="rId3" Type="http://schemas.openxmlformats.org/officeDocument/2006/relationships/tags" Target="../tags/tag44.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1.bin" TargetMode="Internal" /></Relationships>
</file>

<file path=ppt/slideLayouts/_rels/slideLayout11.xml.rels>&#65279;<?xml version="1.0" encoding="utf-8" standalone="yes"?><Relationships xmlns="http://schemas.openxmlformats.org/package/2006/relationships"><Relationship Id="rId1" Type="http://schemas.openxmlformats.org/officeDocument/2006/relationships/vmlDrawing" Target="../drawings/vmlDrawing12.vml" /><Relationship Id="rId2" Type="http://schemas.openxmlformats.org/officeDocument/2006/relationships/tags" Target="../tags/tag27.xml" /><Relationship Id="rId3" Type="http://schemas.openxmlformats.org/officeDocument/2006/relationships/tags" Target="../tags/tag8.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2.bin" TargetMode="Internal" /></Relationships>
</file>

<file path=ppt/slideLayouts/_rels/slideLayout12.xml.rels>&#65279;<?xml version="1.0" encoding="utf-8" standalone="yes"?><Relationships xmlns="http://schemas.openxmlformats.org/package/2006/relationships"><Relationship Id="rId1" Type="http://schemas.openxmlformats.org/officeDocument/2006/relationships/vmlDrawing" Target="../drawings/vmlDrawing13.vml" /><Relationship Id="rId2" Type="http://schemas.openxmlformats.org/officeDocument/2006/relationships/tags" Target="../tags/tag18.xml" /><Relationship Id="rId3" Type="http://schemas.openxmlformats.org/officeDocument/2006/relationships/tags" Target="../tags/tag25.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3.bin" TargetMode="Internal" /></Relationships>
</file>

<file path=ppt/slideLayouts/_rels/slideLayout13.xml.rels>&#65279;<?xml version="1.0" encoding="utf-8" standalone="yes"?><Relationships xmlns="http://schemas.openxmlformats.org/package/2006/relationships"><Relationship Id="rId1" Type="http://schemas.openxmlformats.org/officeDocument/2006/relationships/vmlDrawing" Target="../drawings/vmlDrawing14.vml" /><Relationship Id="rId2" Type="http://schemas.openxmlformats.org/officeDocument/2006/relationships/tags" Target="../tags/tag28.xml" /><Relationship Id="rId3" Type="http://schemas.openxmlformats.org/officeDocument/2006/relationships/tags" Target="../tags/tag35.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4.bin" TargetMode="Internal" /></Relationships>
</file>

<file path=ppt/slideLayouts/_rels/slideLayout14.xml.rels>&#65279;<?xml version="1.0" encoding="utf-8" standalone="yes"?><Relationships xmlns="http://schemas.openxmlformats.org/package/2006/relationships"><Relationship Id="rId1" Type="http://schemas.openxmlformats.org/officeDocument/2006/relationships/vmlDrawing" Target="../drawings/vmlDrawing15.vml" /><Relationship Id="rId2" Type="http://schemas.openxmlformats.org/officeDocument/2006/relationships/tags" Target="../tags/tag33.xml" /><Relationship Id="rId3" Type="http://schemas.openxmlformats.org/officeDocument/2006/relationships/tags" Target="../tags/tag6.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5.bin" TargetMode="Internal" /></Relationships>
</file>

<file path=ppt/slideLayouts/_rels/slideLayout15.xml.rels>&#65279;<?xml version="1.0" encoding="utf-8" standalone="yes"?><Relationships xmlns="http://schemas.openxmlformats.org/package/2006/relationships"><Relationship Id="rId1" Type="http://schemas.openxmlformats.org/officeDocument/2006/relationships/vmlDrawing" Target="../drawings/vmlDrawing16.vml" /><Relationship Id="rId2" Type="http://schemas.openxmlformats.org/officeDocument/2006/relationships/tags" Target="../tags/tag24.xml" /><Relationship Id="rId3" Type="http://schemas.openxmlformats.org/officeDocument/2006/relationships/tags" Target="../tags/tag16.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6.bin" TargetMode="Internal" /></Relationships>
</file>

<file path=ppt/slideLayouts/_rels/slideLayout16.xml.rels>&#65279;<?xml version="1.0" encoding="utf-8" standalone="yes"?><Relationships xmlns="http://schemas.openxmlformats.org/package/2006/relationships"><Relationship Id="rId1" Type="http://schemas.openxmlformats.org/officeDocument/2006/relationships/vmlDrawing" Target="../drawings/vmlDrawing17.vml" /><Relationship Id="rId2" Type="http://schemas.openxmlformats.org/officeDocument/2006/relationships/tags" Target="../tags/tag36.xml" /><Relationship Id="rId3" Type="http://schemas.openxmlformats.org/officeDocument/2006/relationships/tags" Target="../tags/tag13.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7.bin" TargetMode="Internal" /></Relationships>
</file>

<file path=ppt/slideLayouts/_rels/slideLayout17.xml.rels>&#65279;<?xml version="1.0" encoding="utf-8" standalone="yes"?><Relationships xmlns="http://schemas.openxmlformats.org/package/2006/relationships"><Relationship Id="rId1" Type="http://schemas.openxmlformats.org/officeDocument/2006/relationships/vmlDrawing" Target="../drawings/vmlDrawing18.vml" /><Relationship Id="rId2" Type="http://schemas.openxmlformats.org/officeDocument/2006/relationships/tags" Target="../tags/tag1.xml" /><Relationship Id="rId3" Type="http://schemas.openxmlformats.org/officeDocument/2006/relationships/tags" Target="../tags/tag23.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8.bin" TargetMode="Internal" /></Relationships>
</file>

<file path=ppt/slideLayouts/_rels/slideLayout18.xml.rels>&#65279;<?xml version="1.0" encoding="utf-8" standalone="yes"?><Relationships xmlns="http://schemas.openxmlformats.org/package/2006/relationships"><Relationship Id="rId1" Type="http://schemas.openxmlformats.org/officeDocument/2006/relationships/vmlDrawing" Target="../drawings/vmlDrawing19.vml" /><Relationship Id="rId2" Type="http://schemas.openxmlformats.org/officeDocument/2006/relationships/tags" Target="../tags/tag40.xml" /><Relationship Id="rId3" Type="http://schemas.openxmlformats.org/officeDocument/2006/relationships/tags" Target="../tags/tag30.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9.bin" TargetMode="Internal" /></Relationships>
</file>

<file path=ppt/slideLayouts/_rels/slideLayout19.xml.rels>&#65279;<?xml version="1.0" encoding="utf-8" standalone="yes"?><Relationships xmlns="http://schemas.openxmlformats.org/package/2006/relationships"><Relationship Id="rId1" Type="http://schemas.openxmlformats.org/officeDocument/2006/relationships/vmlDrawing" Target="../drawings/vmlDrawing20.vml" /><Relationship Id="rId2" Type="http://schemas.openxmlformats.org/officeDocument/2006/relationships/tags" Target="../tags/tag17.xml" /><Relationship Id="rId3" Type="http://schemas.openxmlformats.org/officeDocument/2006/relationships/tags" Target="../tags/tag29.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20.bin" TargetMode="Internal" /></Relationships>
</file>

<file path=ppt/slideLayouts/_rels/slideLayout2.xml.rels>&#65279;<?xml version="1.0" encoding="utf-8" standalone="yes"?><Relationships xmlns="http://schemas.openxmlformats.org/package/2006/relationships"><Relationship Id="rId1" Type="http://schemas.openxmlformats.org/officeDocument/2006/relationships/vmlDrawing" Target="../drawings/vmlDrawing3.vml" /><Relationship Id="rId2" Type="http://schemas.openxmlformats.org/officeDocument/2006/relationships/tags" Target="../tags/tag15.xml" /><Relationship Id="rId3" Type="http://schemas.openxmlformats.org/officeDocument/2006/relationships/tags" Target="../tags/tag9.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3.bin" TargetMode="Internal" /></Relationships>
</file>

<file path=ppt/slideLayouts/_rels/slideLayout2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6.xml.rels>&#65279;<?xml version="1.0" encoding="utf-8" standalone="yes"?><Relationships xmlns="http://schemas.openxmlformats.org/package/2006/relationships"><Relationship Id="rId1" Type="http://schemas.openxmlformats.org/officeDocument/2006/relationships/vmlDrawing" Target="../drawings/vmlDrawing21.vml" /><Relationship Id="rId2" Type="http://schemas.openxmlformats.org/officeDocument/2006/relationships/tags" Target="../tags/tag3.xml" /><Relationship Id="rId3" Type="http://schemas.openxmlformats.org/officeDocument/2006/relationships/tags" Target="../tags/tag12.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21.bin" TargetMode="Internal" /></Relationships>
</file>

<file path=ppt/slideLayouts/_rels/slideLayout2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8.xml.rels>&#65279;<?xml version="1.0" encoding="utf-8" standalone="yes"?><Relationships xmlns="http://schemas.openxmlformats.org/package/2006/relationships"><Relationship Id="rId1" Type="http://schemas.openxmlformats.org/officeDocument/2006/relationships/vmlDrawing" Target="../drawings/vmlDrawing22.vml" /><Relationship Id="rId2" Type="http://schemas.openxmlformats.org/officeDocument/2006/relationships/tags" Target="../tags/tag26.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oleObject" Target="../embeddings/oleObject22.bin" TargetMode="Internal" /></Relationships>
</file>

<file path=ppt/slideLayouts/_rels/slideLayout3.xml.rels>&#65279;<?xml version="1.0" encoding="utf-8" standalone="yes"?><Relationships xmlns="http://schemas.openxmlformats.org/package/2006/relationships"><Relationship Id="rId1" Type="http://schemas.openxmlformats.org/officeDocument/2006/relationships/vmlDrawing" Target="../drawings/vmlDrawing4.vml" /><Relationship Id="rId2" Type="http://schemas.openxmlformats.org/officeDocument/2006/relationships/tags" Target="../tags/tag41.xml" /><Relationship Id="rId3" Type="http://schemas.openxmlformats.org/officeDocument/2006/relationships/tags" Target="../tags/tag7.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4.bin" TargetMode="Internal" /></Relationships>
</file>

<file path=ppt/slideLayouts/_rels/slideLayout4.xml.rels>&#65279;<?xml version="1.0" encoding="utf-8" standalone="yes"?><Relationships xmlns="http://schemas.openxmlformats.org/package/2006/relationships"><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tags" Target="../tags/tag22.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5.bin" TargetMode="Internal" /></Relationships>
</file>

<file path=ppt/slideLayouts/_rels/slideLayout5.xml.rels>&#65279;<?xml version="1.0" encoding="utf-8" standalone="yes"?><Relationships xmlns="http://schemas.openxmlformats.org/package/2006/relationships"><Relationship Id="rId1" Type="http://schemas.openxmlformats.org/officeDocument/2006/relationships/vmlDrawing" Target="../drawings/vmlDrawing6.vml" /><Relationship Id="rId2" Type="http://schemas.openxmlformats.org/officeDocument/2006/relationships/tags" Target="../tags/tag38.xml" /><Relationship Id="rId3" Type="http://schemas.openxmlformats.org/officeDocument/2006/relationships/tags" Target="../tags/tag20.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6.bin" TargetMode="Internal" /></Relationships>
</file>

<file path=ppt/slideLayouts/_rels/slideLayout6.xml.rels>&#65279;<?xml version="1.0" encoding="utf-8" standalone="yes"?><Relationships xmlns="http://schemas.openxmlformats.org/package/2006/relationships"><Relationship Id="rId1" Type="http://schemas.openxmlformats.org/officeDocument/2006/relationships/vmlDrawing" Target="../drawings/vmlDrawing7.vml" /><Relationship Id="rId2" Type="http://schemas.openxmlformats.org/officeDocument/2006/relationships/tags" Target="../tags/tag39.xml" /><Relationship Id="rId3" Type="http://schemas.openxmlformats.org/officeDocument/2006/relationships/tags" Target="../tags/tag42.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7.bin" TargetMode="Internal" /></Relationships>
</file>

<file path=ppt/slideLayouts/_rels/slideLayout7.xml.rels>&#65279;<?xml version="1.0" encoding="utf-8" standalone="yes"?><Relationships xmlns="http://schemas.openxmlformats.org/package/2006/relationships"><Relationship Id="rId1" Type="http://schemas.openxmlformats.org/officeDocument/2006/relationships/vmlDrawing" Target="../drawings/vmlDrawing8.vml" /><Relationship Id="rId2" Type="http://schemas.openxmlformats.org/officeDocument/2006/relationships/tags" Target="../tags/tag34.xml" /><Relationship Id="rId3" Type="http://schemas.openxmlformats.org/officeDocument/2006/relationships/tags" Target="../tags/tag4.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8.bin" TargetMode="Internal" /></Relationships>
</file>

<file path=ppt/slideLayouts/_rels/slideLayout8.xml.rels>&#65279;<?xml version="1.0" encoding="utf-8" standalone="yes"?><Relationships xmlns="http://schemas.openxmlformats.org/package/2006/relationships"><Relationship Id="rId1" Type="http://schemas.openxmlformats.org/officeDocument/2006/relationships/vmlDrawing" Target="../drawings/vmlDrawing9.vml" /><Relationship Id="rId2" Type="http://schemas.openxmlformats.org/officeDocument/2006/relationships/tags" Target="../tags/tag10.xml" /><Relationship Id="rId3" Type="http://schemas.openxmlformats.org/officeDocument/2006/relationships/tags" Target="../tags/tag45.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9.bin" TargetMode="Internal" /></Relationships>
</file>

<file path=ppt/slideLayouts/_rels/slideLayout9.xml.rels>&#65279;<?xml version="1.0" encoding="utf-8" standalone="yes"?><Relationships xmlns="http://schemas.openxmlformats.org/package/2006/relationships"><Relationship Id="rId1" Type="http://schemas.openxmlformats.org/officeDocument/2006/relationships/vmlDrawing" Target="../drawings/vmlDrawing10.vml" /><Relationship Id="rId2" Type="http://schemas.openxmlformats.org/officeDocument/2006/relationships/tags" Target="../tags/tag14.xml" /><Relationship Id="rId3" Type="http://schemas.openxmlformats.org/officeDocument/2006/relationships/tags" Target="../tags/tag31.xml" /><Relationship Id="rId4" Type="http://schemas.openxmlformats.org/officeDocument/2006/relationships/slideMaster" Target="../slideMasters/slideMaster1.xml" /><Relationship Id="rId6" Type="http://schemas.openxmlformats.org/officeDocument/2006/relationships/image" Target="../media/image1.emf" /><Relationship Id="rId7" Type="http://schemas.openxmlformats.org/officeDocument/2006/relationships/oleObject" Target="../embeddings/oleObject10.bin" TargetMode="Interna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ttorney Work Product 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0">
                  <p:embed/>
                </p:oleObj>
              </mc:Choice>
              <mc:Fallback>
                <p:oleObj name="think-cell Slide" progId="TCLayout.ActiveDocument.1" r:id="rId7" spid="_x0000_s1040">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13" name="Title 1"/>
          <p:cNvSpPr>
            <a:spLocks noGrp="1"/>
          </p:cNvSpPr>
          <p:nvPr>
            <p:ph type="ctrTitle"/>
          </p:nvPr>
        </p:nvSpPr>
        <p:spPr>
          <a:xfrm>
            <a:off x="2557219" y="1965363"/>
            <a:ext cx="6244825" cy="1488186"/>
          </a:xfrm>
        </p:spPr>
        <p:txBody>
          <a:bodyPr lIns="0" rIns="0" anchor="t">
            <a:noAutofit/>
          </a:bodyPr>
          <a:lstStyle>
            <a:lvl1pPr>
              <a:defRPr sz="3200">
                <a:solidFill>
                  <a:schemeClr val="tx1"/>
                </a:solidFill>
              </a:defRPr>
            </a:lvl1pPr>
          </a:lstStyle>
          <a:p>
            <a:r>
              <a:rPr lang="en-US" dirty="1" smtClean="0"/>
              <a:t>Click to edit Master title style</a:t>
            </a:r>
            <a:endParaRPr lang="en-US"/>
          </a:p>
        </p:txBody>
      </p:sp>
      <p:sp>
        <p:nvSpPr>
          <p:cNvPr id="14" name="Rectangle 13"/>
          <p:cNvSpPr/>
          <p:nvPr userDrawn="1"/>
        </p:nvSpPr>
        <p:spPr>
          <a:xfrm>
            <a:off x="2557219" y="4743476"/>
            <a:ext cx="2993473" cy="146304"/>
          </a:xfrm>
          <a:prstGeom prst="rect"/>
        </p:spPr>
        <p:txBody>
          <a:bodyPr wrap="square" lIns="0" tIns="18288" rIns="0" bIns="18288">
            <a:noAutofit/>
          </a:bodyPr>
          <a:lstStyle/>
          <a:p>
            <a:r>
              <a:rPr lang="en-US" sz="800" dirty="1" smtClean="0">
                <a:solidFill>
                  <a:schemeClr val="bg1">
                    <a:lumMod val="50000"/>
                  </a:schemeClr>
                </a:solidFill>
                <a:latin typeface="Arial" panose="020b0604020202020204" pitchFamily="34" charset="0"/>
                <a:cs typeface="Arial" panose="020b0604020202020204" pitchFamily="34" charset="0"/>
              </a:rPr>
              <a:t>© 2022 Kirkland</a:t>
            </a:r>
            <a:r>
              <a:rPr lang="en-US" sz="800" baseline="0" dirty="1" smtClean="0">
                <a:solidFill>
                  <a:schemeClr val="bg1">
                    <a:lumMod val="50000"/>
                  </a:schemeClr>
                </a:solidFill>
                <a:latin typeface="Arial" panose="020b0604020202020204" pitchFamily="34" charset="0"/>
                <a:cs typeface="Arial" panose="020b0604020202020204" pitchFamily="34" charset="0"/>
              </a:rPr>
              <a:t> &amp; Ellis. All rights reserved.</a:t>
            </a:r>
            <a:endParaRPr lang="en-US" sz="800">
              <a:solidFill>
                <a:schemeClr val="bg1">
                  <a:lumMod val="50000"/>
                </a:schemeClr>
              </a:solidFill>
              <a:latin typeface="Arial" panose="020b0604020202020204" pitchFamily="34" charset="0"/>
              <a:cs typeface="Arial" panose="020b0604020202020204" pitchFamily="34" charset="0"/>
            </a:endParaRPr>
          </a:p>
        </p:txBody>
      </p:sp>
      <p:sp>
        <p:nvSpPr>
          <p:cNvPr id="15" name="Rectangle 14"/>
          <p:cNvSpPr/>
          <p:nvPr userDrawn="1"/>
        </p:nvSpPr>
        <p:spPr>
          <a:xfrm>
            <a:off x="7446986" y="4918963"/>
            <a:ext cx="1468414" cy="144655"/>
          </a:xfrm>
          <a:prstGeom prst="rect"/>
        </p:spPr>
        <p:txBody>
          <a:bodyPr wrap="none" lIns="0" tIns="18288" rIns="0" bIns="18288">
            <a:spAutoFit/>
          </a:bodyPr>
          <a:lstStyle/>
          <a:p>
            <a:pPr algn="r"/>
            <a:r>
              <a:rPr lang="en-US" sz="700" cap="all" baseline="0" dirty="1" smtClean="0">
                <a:solidFill>
                  <a:schemeClr val="bg1">
                    <a:lumMod val="50000"/>
                  </a:schemeClr>
                </a:solidFill>
              </a:rPr>
              <a:t>PRIVILEGED AND Confidential</a:t>
            </a:r>
            <a:endParaRPr lang="en-US" sz="700" cap="all" baseline="0">
              <a:solidFill>
                <a:schemeClr val="bg1">
                  <a:lumMod val="50000"/>
                </a:schemeClr>
              </a:solidFill>
            </a:endParaRPr>
          </a:p>
        </p:txBody>
      </p:sp>
      <p:sp>
        <p:nvSpPr>
          <p:cNvPr id="17" name="Rectangle 16"/>
          <p:cNvSpPr/>
          <p:nvPr userDrawn="1"/>
        </p:nvSpPr>
        <p:spPr>
          <a:xfrm>
            <a:off x="2557219" y="4918963"/>
            <a:ext cx="1673600" cy="144655"/>
          </a:xfrm>
          <a:prstGeom prst="rect"/>
        </p:spPr>
        <p:txBody>
          <a:bodyPr wrap="none" lIns="0" tIns="18288" rIns="0" bIns="18288">
            <a:spAutoFit/>
          </a:bodyPr>
          <a:lstStyle/>
          <a:p>
            <a:pPr algn="l"/>
            <a:r>
              <a:rPr lang="en-US" sz="700" cap="all" baseline="0" dirty="1" smtClean="0">
                <a:solidFill>
                  <a:schemeClr val="bg1">
                    <a:lumMod val="50000"/>
                  </a:schemeClr>
                </a:solidFill>
              </a:rPr>
              <a:t>Attorney-Client communication</a:t>
            </a:r>
            <a:endParaRPr lang="en-US" sz="700" cap="all" baseline="0">
              <a:solidFill>
                <a:schemeClr val="bg1">
                  <a:lumMod val="50000"/>
                </a:schemeClr>
              </a:solidFill>
            </a:endParaRPr>
          </a:p>
        </p:txBody>
      </p:sp>
      <p:sp>
        <p:nvSpPr>
          <p:cNvPr id="18" name="Text Placeholder 7"/>
          <p:cNvSpPr>
            <a:spLocks noGrp="1"/>
          </p:cNvSpPr>
          <p:nvPr>
            <p:ph type="body" sz="quarter" idx="17" hasCustomPrompt="1"/>
          </p:nvPr>
        </p:nvSpPr>
        <p:spPr>
          <a:xfrm>
            <a:off x="2557219" y="1584521"/>
            <a:ext cx="6244825" cy="374617"/>
          </a:xfrm>
        </p:spPr>
        <p:txBody>
          <a:bodyPr lIns="0" rIns="0" anchor="ctr"/>
          <a:lstStyle>
            <a:lvl1pPr marL="0" indent="0">
              <a:buFontTx/>
              <a:buNone/>
              <a:defRPr sz="1200" b="1" cap="all" spc="100" baseline="0">
                <a:solidFill>
                  <a:schemeClr val="accent1"/>
                </a:solidFill>
              </a:defRPr>
            </a:lvl1pPr>
            <a:lvl2pPr marL="339725" indent="0">
              <a:buFontTx/>
              <a:buNone/>
              <a:defRPr sz="1600">
                <a:solidFill>
                  <a:schemeClr val="accent2"/>
                </a:solidFill>
              </a:defRPr>
            </a:lvl2pPr>
            <a:lvl3pPr marL="690562" indent="0">
              <a:buFontTx/>
              <a:buNone/>
              <a:defRPr sz="1400">
                <a:solidFill>
                  <a:schemeClr val="accent2"/>
                </a:solidFill>
              </a:defRPr>
            </a:lvl3pPr>
            <a:lvl4pPr marL="1031875" indent="0">
              <a:buFontTx/>
              <a:buNone/>
              <a:defRPr sz="1200">
                <a:solidFill>
                  <a:schemeClr val="accent2"/>
                </a:solidFill>
              </a:defRPr>
            </a:lvl4pPr>
            <a:lvl5pPr marL="1319212" indent="0">
              <a:buFontTx/>
              <a:buNone/>
              <a:defRPr sz="1100">
                <a:solidFill>
                  <a:schemeClr val="accent2"/>
                </a:solidFill>
              </a:defRPr>
            </a:lvl5pPr>
          </a:lstStyle>
          <a:p>
            <a:pPr lvl="0"/>
            <a:r>
              <a:rPr lang="en-US" dirty="1" smtClean="0"/>
              <a:t>Presentation to:</a:t>
            </a:r>
          </a:p>
        </p:txBody>
      </p:sp>
      <p:sp>
        <p:nvSpPr>
          <p:cNvPr id="23" name="Subtitle 2"/>
          <p:cNvSpPr>
            <a:spLocks noGrp="1"/>
          </p:cNvSpPr>
          <p:nvPr>
            <p:ph type="subTitle" idx="1" hasCustomPrompt="1"/>
          </p:nvPr>
        </p:nvSpPr>
        <p:spPr>
          <a:xfrm>
            <a:off x="2557219" y="3622341"/>
            <a:ext cx="6244825" cy="355851"/>
          </a:xfrm>
        </p:spPr>
        <p:txBody>
          <a:bodyPr lIns="0" rIns="0">
            <a:noAutofit/>
          </a:bodyPr>
          <a:lstStyle>
            <a:lvl1pPr marL="0" indent="0" algn="l">
              <a:buNone/>
              <a:defRPr sz="14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dirty="1" smtClean="0"/>
              <a:t>Date | Presenters</a:t>
            </a:r>
            <a:endParaRPr lang="en-US"/>
          </a:p>
        </p:txBody>
      </p:sp>
      <p:sp>
        <p:nvSpPr>
          <p:cNvPr id="24" name="Freeform 6"/>
          <p:cNvSpPr>
            <a:spLocks noEditPoints="1"/>
          </p:cNvSpPr>
          <p:nvPr userDrawn="1"/>
        </p:nvSpPr>
        <p:spPr>
          <a:xfrm>
            <a:off x="6562641" y="301345"/>
            <a:ext cx="2216555" cy="192380"/>
          </a:xfrm>
          <a:custGeom>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91440" tIns="45720" rIns="91440" bIns="45720" numCol="1" anchor="t" anchorCtr="0" compatLnSpc="1">
            <a:prstTxWarp prst="textNoShape"/>
          </a:bodyPr>
          <a:lstStyle/>
          <a:p>
            <a:endParaRPr lang="en-US"/>
          </a:p>
        </p:txBody>
      </p:sp>
      <p:sp>
        <p:nvSpPr>
          <p:cNvPr id="28" name="Rectangle 27"/>
          <p:cNvSpPr/>
          <p:nvPr userDrawn="1"/>
        </p:nvSpPr>
        <p:spPr>
          <a:xfrm>
            <a:off x="5197961" y="4918963"/>
            <a:ext cx="1293687" cy="144655"/>
          </a:xfrm>
          <a:prstGeom prst="rect"/>
        </p:spPr>
        <p:txBody>
          <a:bodyPr wrap="none" lIns="0" tIns="18288" rIns="0" bIns="18288">
            <a:spAutoFit/>
          </a:bodyPr>
          <a:lstStyle/>
          <a:p>
            <a:pPr algn="ctr"/>
            <a:r>
              <a:rPr lang="en-US" sz="700" cap="all" baseline="0" dirty="1" smtClean="0">
                <a:solidFill>
                  <a:schemeClr val="bg1">
                    <a:lumMod val="50000"/>
                  </a:schemeClr>
                </a:solidFill>
              </a:rPr>
              <a:t>ATTORNEY WORK PRODUCT</a:t>
            </a:r>
            <a:endParaRPr lang="en-US" sz="700" cap="all" baseline="0">
              <a:solidFill>
                <a:schemeClr val="bg1">
                  <a:lumMod val="50000"/>
                </a:schemeClr>
              </a:solidFill>
            </a:endParaRPr>
          </a:p>
        </p:txBody>
      </p:sp>
      <p:sp>
        <p:nvSpPr>
          <p:cNvPr id="29" name="Freeform 11"/>
          <p:cNvSpPr/>
          <p:nvPr userDrawn="1"/>
        </p:nvSpPr>
        <p:spPr>
          <a:xfrm>
            <a:off x="751568" y="-10553"/>
            <a:ext cx="1212112" cy="5169358"/>
          </a:xfrm>
          <a:custGeom>
            <a:gdLst>
              <a:gd name="T0" fmla="*/ 0 w 1152"/>
              <a:gd name="T1" fmla="*/ 4913 h 4913"/>
              <a:gd name="T2" fmla="*/ 1152 w 1152"/>
              <a:gd name="T3" fmla="*/ 875 h 4913"/>
              <a:gd name="T4" fmla="*/ 903 w 1152"/>
              <a:gd name="T5" fmla="*/ 0 h 4913"/>
            </a:gd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bodyPr>
          <a:lstStyle/>
          <a:p>
            <a:endParaRPr lang="en-US"/>
          </a:p>
        </p:txBody>
      </p:sp>
      <p:sp>
        <p:nvSpPr>
          <p:cNvPr id="16" name="Picture Placeholder 6"/>
          <p:cNvSpPr>
            <a:spLocks noGrp="1"/>
          </p:cNvSpPr>
          <p:nvPr>
            <p:ph type="pic" sz="quarter" idx="19" hasCustomPrompt="1"/>
          </p:nvPr>
        </p:nvSpPr>
        <p:spPr>
          <a:xfrm>
            <a:off x="0" y="-7263"/>
            <a:ext cx="1772230" cy="5158026"/>
          </a:xfrm>
          <a:custGeom>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dup0" fmla="*/ 0 w 914400"/>
              <a:gd name="connsiteY0dup0" fmla="*/ 0 h 7799388"/>
              <a:gd name="connsiteX1dup0" fmla="*/ 914400 w 914400"/>
              <a:gd name="connsiteY1dup0" fmla="*/ 0 h 7799388"/>
              <a:gd name="connsiteX2dup0" fmla="*/ 898358 w 914400"/>
              <a:gd name="connsiteY2dup0" fmla="*/ 972051 h 7799388"/>
              <a:gd name="connsiteX3dup0" fmla="*/ 914400 w 914400"/>
              <a:gd name="connsiteY3dup0" fmla="*/ 7799388 h 7799388"/>
              <a:gd name="connsiteX4dup0" fmla="*/ 0 w 914400"/>
              <a:gd name="connsiteY4dup0" fmla="*/ 7799388 h 7799388"/>
              <a:gd name="connsiteX5" fmla="*/ 0 w 914400"/>
              <a:gd name="connsiteY5" fmla="*/ 0 h 7799388"/>
              <a:gd name="connsiteX0dup0dup1" fmla="*/ 0 w 2486539"/>
              <a:gd name="connsiteY0dup0dup1" fmla="*/ 0 h 7799388"/>
              <a:gd name="connsiteX1dup0dup1" fmla="*/ 914400 w 2486539"/>
              <a:gd name="connsiteY1dup0dup1" fmla="*/ 0 h 7799388"/>
              <a:gd name="connsiteX2dup0dup1" fmla="*/ 2486526 w 2486539"/>
              <a:gd name="connsiteY2dup0dup1" fmla="*/ 1373104 h 7799388"/>
              <a:gd name="connsiteX3dup0dup1" fmla="*/ 914400 w 2486539"/>
              <a:gd name="connsiteY3dup0dup1" fmla="*/ 7799388 h 7799388"/>
              <a:gd name="connsiteX4dup0dup1" fmla="*/ 0 w 2486539"/>
              <a:gd name="connsiteY4dup0dup1" fmla="*/ 7799388 h 7799388"/>
              <a:gd name="connsiteX5dup0" fmla="*/ 0 w 2486539"/>
              <a:gd name="connsiteY5dup0" fmla="*/ 0 h 7799388"/>
              <a:gd name="connsiteX0dup0dup1dup2" fmla="*/ 0 w 2486547"/>
              <a:gd name="connsiteY0dup0dup1dup2" fmla="*/ 0 h 7799388"/>
              <a:gd name="connsiteX1dup0dup1dup2" fmla="*/ 914400 w 2486547"/>
              <a:gd name="connsiteY1dup0dup1dup2" fmla="*/ 0 h 7799388"/>
              <a:gd name="connsiteX2dup0dup1dup2" fmla="*/ 2486526 w 2486547"/>
              <a:gd name="connsiteY2dup0dup1dup2" fmla="*/ 1373104 h 7799388"/>
              <a:gd name="connsiteX3dup0dup1dup2" fmla="*/ 914400 w 2486547"/>
              <a:gd name="connsiteY3dup0dup1dup2" fmla="*/ 7799388 h 7799388"/>
              <a:gd name="connsiteX4dup0dup1dup2" fmla="*/ 0 w 2486547"/>
              <a:gd name="connsiteY4dup0dup1dup2" fmla="*/ 7799388 h 7799388"/>
              <a:gd name="connsiteX5dup0dup1" fmla="*/ 0 w 2486547"/>
              <a:gd name="connsiteY5dup0dup1" fmla="*/ 0 h 7799388"/>
              <a:gd name="connsiteX0dup0dup1dup2dup3" fmla="*/ 0 w 2550713"/>
              <a:gd name="connsiteY0dup0dup1dup2dup3" fmla="*/ 0 h 7799388"/>
              <a:gd name="connsiteX1dup0dup1dup2dup3" fmla="*/ 914400 w 2550713"/>
              <a:gd name="connsiteY1dup0dup1dup2dup3" fmla="*/ 0 h 7799388"/>
              <a:gd name="connsiteX2dup0dup1dup2dup3" fmla="*/ 2550694 w 2550713"/>
              <a:gd name="connsiteY2dup0dup1dup2dup3" fmla="*/ 1405188 h 7799388"/>
              <a:gd name="connsiteX3dup0dup1dup2dup3" fmla="*/ 914400 w 2550713"/>
              <a:gd name="connsiteY3dup0dup1dup2dup3" fmla="*/ 7799388 h 7799388"/>
              <a:gd name="connsiteX4dup0dup1dup2dup3" fmla="*/ 0 w 2550713"/>
              <a:gd name="connsiteY4dup0dup1dup2dup3" fmla="*/ 7799388 h 7799388"/>
              <a:gd name="connsiteX5dup0dup1dup2" fmla="*/ 0 w 2550713"/>
              <a:gd name="connsiteY5dup0dup1dup2" fmla="*/ 0 h 7799388"/>
              <a:gd name="connsiteX0dup0dup1dup2dup3dup4" fmla="*/ 0 w 2550694"/>
              <a:gd name="connsiteY0dup0dup1dup2dup3dup4" fmla="*/ 0 h 7799388"/>
              <a:gd name="connsiteX1dup0dup1dup2dup3dup4" fmla="*/ 914400 w 2550694"/>
              <a:gd name="connsiteY1dup0dup1dup2dup3dup4" fmla="*/ 0 h 7799388"/>
              <a:gd name="connsiteX2dup0dup1dup2dup3dup4" fmla="*/ 2550694 w 2550694"/>
              <a:gd name="connsiteY2dup0dup1dup2dup3dup4" fmla="*/ 1405188 h 7799388"/>
              <a:gd name="connsiteX3dup0dup1dup2dup3dup4" fmla="*/ 914400 w 2550694"/>
              <a:gd name="connsiteY3dup0dup1dup2dup3dup4" fmla="*/ 7799388 h 7799388"/>
              <a:gd name="connsiteX4dup0dup1dup2dup3dup4" fmla="*/ 0 w 2550694"/>
              <a:gd name="connsiteY4dup0dup1dup2dup3dup4" fmla="*/ 7799388 h 7799388"/>
              <a:gd name="connsiteX5dup0dup1dup2dup3" fmla="*/ 0 w 2550694"/>
              <a:gd name="connsiteY5dup0dup1dup2dup3" fmla="*/ 0 h 7799388"/>
              <a:gd name="connsiteX0dup0dup1dup2dup3dup4dup5" fmla="*/ 0 w 2550694"/>
              <a:gd name="connsiteY0dup0dup1dup2dup3dup4dup5" fmla="*/ 0 h 7799388"/>
              <a:gd name="connsiteX1dup0dup1dup2dup3dup4dup5" fmla="*/ 914400 w 2550694"/>
              <a:gd name="connsiteY1dup0dup1dup2dup3dup4dup5" fmla="*/ 0 h 7799388"/>
              <a:gd name="connsiteX2dup0dup1dup2dup3dup4dup5" fmla="*/ 2550694 w 2550694"/>
              <a:gd name="connsiteY2dup0dup1dup2dup3dup4dup5" fmla="*/ 1405188 h 7799388"/>
              <a:gd name="connsiteX3dup0dup1dup2dup3dup4dup5" fmla="*/ 914400 w 2550694"/>
              <a:gd name="connsiteY3dup0dup1dup2dup3dup4dup5" fmla="*/ 7799388 h 7799388"/>
              <a:gd name="connsiteX4dup0dup1dup2dup3dup4dup5" fmla="*/ 0 w 2550694"/>
              <a:gd name="connsiteY4dup0dup1dup2dup3dup4dup5" fmla="*/ 7799388 h 7799388"/>
              <a:gd name="connsiteX5dup0dup1dup2dup3dup4" fmla="*/ 0 w 2550694"/>
              <a:gd name="connsiteY5dup0dup1dup2dup3dup4" fmla="*/ 0 h 7799388"/>
              <a:gd name="connsiteX0dup0dup1dup2dup3dup4dup5dup6" fmla="*/ 0 w 2550694"/>
              <a:gd name="connsiteY0dup0dup1dup2dup3dup4dup5dup6" fmla="*/ 0 h 7799388"/>
              <a:gd name="connsiteX1dup0dup1dup2dup3dup4dup5dup6" fmla="*/ 914400 w 2550694"/>
              <a:gd name="connsiteY1dup0dup1dup2dup3dup4dup5dup6" fmla="*/ 0 h 7799388"/>
              <a:gd name="connsiteX2dup0dup1dup2dup3dup4dup5dup6" fmla="*/ 2550694 w 2550694"/>
              <a:gd name="connsiteY2dup0dup1dup2dup3dup4dup5dup6" fmla="*/ 1405188 h 7799388"/>
              <a:gd name="connsiteX3dup0dup1dup2dup3dup4dup5dup6" fmla="*/ 914400 w 2550694"/>
              <a:gd name="connsiteY3dup0dup1dup2dup3dup4dup5dup6" fmla="*/ 7799388 h 7799388"/>
              <a:gd name="connsiteX4dup0dup1dup2dup3dup4dup5dup6" fmla="*/ 0 w 2550694"/>
              <a:gd name="connsiteY4dup0dup1dup2dup3dup4dup5dup6" fmla="*/ 7799388 h 7799388"/>
              <a:gd name="connsiteX5dup0dup1dup2dup3dup4dup5" fmla="*/ 0 w 2550694"/>
              <a:gd name="connsiteY5dup0dup1dup2dup3dup4dup5" fmla="*/ 0 h 7799388"/>
              <a:gd name="connsiteX0dup0dup1dup2dup3dup4dup5dup6dup7" fmla="*/ 0 w 2550694"/>
              <a:gd name="connsiteY0dup0dup1dup2dup3dup4dup5dup6dup7" fmla="*/ 0 h 7799388"/>
              <a:gd name="connsiteX1dup0dup1dup2dup3dup4dup5dup6dup7" fmla="*/ 914400 w 2550694"/>
              <a:gd name="connsiteY1dup0dup1dup2dup3dup4dup5dup6dup7" fmla="*/ 0 h 7799388"/>
              <a:gd name="connsiteX2dup0dup1dup2dup3dup4dup5dup6dup7" fmla="*/ 2550694 w 2550694"/>
              <a:gd name="connsiteY2dup0dup1dup2dup3dup4dup5dup6dup7" fmla="*/ 1405188 h 7799388"/>
              <a:gd name="connsiteX3dup0dup1dup2dup3dup4dup5dup6dup7" fmla="*/ 914400 w 2550694"/>
              <a:gd name="connsiteY3dup0dup1dup2dup3dup4dup5dup6dup7" fmla="*/ 7799388 h 7799388"/>
              <a:gd name="connsiteX4dup0dup1dup2dup3dup4dup5dup6dup7" fmla="*/ 0 w 2550694"/>
              <a:gd name="connsiteY4dup0dup1dup2dup3dup4dup5dup6dup7" fmla="*/ 7799388 h 7799388"/>
              <a:gd name="connsiteX5dup0dup1dup2dup3dup4dup5dup6" fmla="*/ 0 w 2550694"/>
              <a:gd name="connsiteY5dup0dup1dup2dup3dup4dup5dup6" fmla="*/ 0 h 7799388"/>
              <a:gd name="connsiteX0dup0dup1dup2dup3dup4dup5dup6dup7dup8" fmla="*/ 2550694 w 2642134"/>
              <a:gd name="connsiteY0dup0dup1dup2dup3dup4dup5dup6dup7dup8" fmla="*/ 1405188 h 7799388"/>
              <a:gd name="connsiteX1dup0dup1dup2dup3dup4dup5dup6dup7dup8" fmla="*/ 914400 w 2642134"/>
              <a:gd name="connsiteY1dup0dup1dup2dup3dup4dup5dup6dup7dup8" fmla="*/ 7799388 h 7799388"/>
              <a:gd name="connsiteX2dup0dup1dup2dup3dup4dup5dup6dup7dup8" fmla="*/ 0 w 2642134"/>
              <a:gd name="connsiteY2dup0dup1dup2dup3dup4dup5dup6dup7dup8" fmla="*/ 7799388 h 7799388"/>
              <a:gd name="connsiteX3dup0dup1dup2dup3dup4dup5dup6dup7dup8" fmla="*/ 0 w 2642134"/>
              <a:gd name="connsiteY3dup0dup1dup2dup3dup4dup5dup6dup7dup8" fmla="*/ 0 h 7799388"/>
              <a:gd name="connsiteX4dup0dup1dup2dup3dup4dup5dup6dup7dup8" fmla="*/ 914400 w 2642134"/>
              <a:gd name="connsiteY4dup0dup1dup2dup3dup4dup5dup6dup7dup8" fmla="*/ 0 h 7799388"/>
              <a:gd name="connsiteX5dup0dup1dup2dup3dup4dup5dup6dup7" fmla="*/ 2642134 w 2642134"/>
              <a:gd name="connsiteY5dup0dup1dup2dup3dup4dup5dup6dup7" fmla="*/ 1496628 h 7799388"/>
              <a:gd name="connsiteX0dup0dup1dup2dup3dup4dup5dup6dup7dup8dup9" fmla="*/ 2550694 w 2642134"/>
              <a:gd name="connsiteY0dup0dup1dup2dup3dup4dup5dup6dup7dup8dup9" fmla="*/ 1405188 h 7799388"/>
              <a:gd name="connsiteX1dup0dup1dup2dup3dup4dup5dup6dup7dup8dup9" fmla="*/ 914400 w 2642134"/>
              <a:gd name="connsiteY1dup0dup1dup2dup3dup4dup5dup6dup7dup8dup9" fmla="*/ 7799388 h 7799388"/>
              <a:gd name="connsiteX2dup0dup1dup2dup3dup4dup5dup6dup7dup8dup9" fmla="*/ 0 w 2642134"/>
              <a:gd name="connsiteY2dup0dup1dup2dup3dup4dup5dup6dup7dup8dup9" fmla="*/ 7799388 h 7799388"/>
              <a:gd name="connsiteX3dup0dup1dup2dup3dup4dup5dup6dup7dup8dup9" fmla="*/ 0 w 2642134"/>
              <a:gd name="connsiteY3dup0dup1dup2dup3dup4dup5dup6dup7dup8dup9" fmla="*/ 0 h 7799388"/>
              <a:gd name="connsiteX4dup0dup1dup2dup3dup4dup5dup6dup7dup8dup9" fmla="*/ 914400 w 2642134"/>
              <a:gd name="connsiteY4dup0dup1dup2dup3dup4dup5dup6dup7dup8dup9" fmla="*/ 0 h 7799388"/>
              <a:gd name="connsiteX5dup0dup1dup2dup3dup4dup5dup6dup7dup8" fmla="*/ 2642134 w 2642134"/>
              <a:gd name="connsiteY5dup0dup1dup2dup3dup4dup5dup6dup7dup8" fmla="*/ 1496628 h 7799388"/>
              <a:gd name="connsiteX6" fmla="*/ 2550694 w 2642134"/>
              <a:gd name="connsiteY6" fmla="*/ 1405188 h 7799388"/>
              <a:gd name="connsiteX0dup0dup1dup2dup3dup4dup5dup6dup7dup8dup9dup10" fmla="*/ 2550694 w 2642134"/>
              <a:gd name="connsiteY0dup0dup1dup2dup3dup4dup5dup6dup7dup8dup9dup10" fmla="*/ 1405188 h 7799388"/>
              <a:gd name="connsiteX1dup0dup1dup2dup3dup4dup5dup6dup7dup8dup9dup10" fmla="*/ 914400 w 2642134"/>
              <a:gd name="connsiteY1dup0dup1dup2dup3dup4dup5dup6dup7dup8dup9dup10" fmla="*/ 7799388 h 7799388"/>
              <a:gd name="connsiteX2dup0dup1dup2dup3dup4dup5dup6dup7dup8dup9dup10" fmla="*/ 0 w 2642134"/>
              <a:gd name="connsiteY2dup0dup1dup2dup3dup4dup5dup6dup7dup8dup9dup10" fmla="*/ 7799388 h 7799388"/>
              <a:gd name="connsiteX3dup0dup1dup2dup3dup4dup5dup6dup7dup8dup9dup10" fmla="*/ 0 w 2642134"/>
              <a:gd name="connsiteY3dup0dup1dup2dup3dup4dup5dup6dup7dup8dup9dup10" fmla="*/ 0 h 7799388"/>
              <a:gd name="connsiteX4dup0dup1dup2dup3dup4dup5dup6dup7dup8dup9dup10" fmla="*/ 914400 w 2642134"/>
              <a:gd name="connsiteY4dup0dup1dup2dup3dup4dup5dup6dup7dup8dup9dup10" fmla="*/ 0 h 7799388"/>
              <a:gd name="connsiteX5dup0dup1dup2dup3dup4dup5dup6dup7dup8dup9" fmla="*/ 2642134 w 2642134"/>
              <a:gd name="connsiteY5dup0dup1dup2dup3dup4dup5dup6dup7dup8dup9" fmla="*/ 1496628 h 7799388"/>
              <a:gd name="connsiteX6dup0" fmla="*/ 2550694 w 2642134"/>
              <a:gd name="connsiteY6dup0" fmla="*/ 1405188 h 7799388"/>
              <a:gd name="connsiteX0dup0dup1dup2dup3dup4dup5dup6dup7dup8dup9dup10dup11" fmla="*/ 2550694 w 2642134"/>
              <a:gd name="connsiteY0dup0dup1dup2dup3dup4dup5dup6dup7dup8dup9dup10dup11" fmla="*/ 1405188 h 7799388"/>
              <a:gd name="connsiteX1dup0dup1dup2dup3dup4dup5dup6dup7dup8dup9dup10dup11" fmla="*/ 914400 w 2642134"/>
              <a:gd name="connsiteY1dup0dup1dup2dup3dup4dup5dup6dup7dup8dup9dup10dup11" fmla="*/ 7799388 h 7799388"/>
              <a:gd name="connsiteX2dup0dup1dup2dup3dup4dup5dup6dup7dup8dup9dup10dup11" fmla="*/ 0 w 2642134"/>
              <a:gd name="connsiteY2dup0dup1dup2dup3dup4dup5dup6dup7dup8dup9dup10dup11" fmla="*/ 7799388 h 7799388"/>
              <a:gd name="connsiteX3dup0dup1dup2dup3dup4dup5dup6dup7dup8dup9dup10dup11" fmla="*/ 0 w 2642134"/>
              <a:gd name="connsiteY3dup0dup1dup2dup3dup4dup5dup6dup7dup8dup9dup10dup11" fmla="*/ 0 h 7799388"/>
              <a:gd name="connsiteX4dup0dup1dup2dup3dup4dup5dup6dup7dup8dup9dup10dup11" fmla="*/ 914400 w 2642134"/>
              <a:gd name="connsiteY4dup0dup1dup2dup3dup4dup5dup6dup7dup8dup9dup10dup11" fmla="*/ 0 h 7799388"/>
              <a:gd name="connsiteX5dup0dup1dup2dup3dup4dup5dup6dup7dup8dup9dup10" fmla="*/ 2642134 w 2642134"/>
              <a:gd name="connsiteY5dup0dup1dup2dup3dup4dup5dup6dup7dup8dup9dup10" fmla="*/ 1496628 h 7799388"/>
              <a:gd name="connsiteX6dup0dup1" fmla="*/ 2550694 w 2642134"/>
              <a:gd name="connsiteY6dup0dup1" fmla="*/ 1405188 h 7799388"/>
              <a:gd name="connsiteX0dup0dup1dup2dup3dup4dup5dup6dup7dup8dup9dup10dup11dup12" fmla="*/ 2550694 w 2642134"/>
              <a:gd name="connsiteY0dup0dup1dup2dup3dup4dup5dup6dup7dup8dup9dup10dup11dup12" fmla="*/ 1405188 h 7799388"/>
              <a:gd name="connsiteX1dup0dup1dup2dup3dup4dup5dup6dup7dup8dup9dup10dup11dup12" fmla="*/ 914400 w 2642134"/>
              <a:gd name="connsiteY1dup0dup1dup2dup3dup4dup5dup6dup7dup8dup9dup10dup11dup12" fmla="*/ 7799388 h 7799388"/>
              <a:gd name="connsiteX2dup0dup1dup2dup3dup4dup5dup6dup7dup8dup9dup10dup11dup12" fmla="*/ 0 w 2642134"/>
              <a:gd name="connsiteY2dup0dup1dup2dup3dup4dup5dup6dup7dup8dup9dup10dup11dup12" fmla="*/ 7799388 h 7799388"/>
              <a:gd name="connsiteX3dup0dup1dup2dup3dup4dup5dup6dup7dup8dup9dup10dup11dup12" fmla="*/ 0 w 2642134"/>
              <a:gd name="connsiteY3dup0dup1dup2dup3dup4dup5dup6dup7dup8dup9dup10dup11dup12" fmla="*/ 0 h 7799388"/>
              <a:gd name="connsiteX4dup0dup1dup2dup3dup4dup5dup6dup7dup8dup9dup10dup11dup12" fmla="*/ 914400 w 2642134"/>
              <a:gd name="connsiteY4dup0dup1dup2dup3dup4dup5dup6dup7dup8dup9dup10dup11dup12" fmla="*/ 0 h 7799388"/>
              <a:gd name="connsiteX5dup0dup1dup2dup3dup4dup5dup6dup7dup8dup9dup10dup11" fmla="*/ 2642134 w 2642134"/>
              <a:gd name="connsiteY5dup0dup1dup2dup3dup4dup5dup6dup7dup8dup9dup10dup11" fmla="*/ 1496628 h 7799388"/>
              <a:gd name="connsiteX6dup0dup1dup2" fmla="*/ 2550694 w 2642134"/>
              <a:gd name="connsiteY6dup0dup1dup2" fmla="*/ 1405188 h 7799388"/>
              <a:gd name="connsiteX0dup0dup1dup2dup3dup4dup5dup6dup7dup8dup9dup10dup11dup12dup13" fmla="*/ 2550694 w 2642134"/>
              <a:gd name="connsiteY0dup0dup1dup2dup3dup4dup5dup6dup7dup8dup9dup10dup11dup12dup13" fmla="*/ 1405188 h 7799388"/>
              <a:gd name="connsiteX1dup0dup1dup2dup3dup4dup5dup6dup7dup8dup9dup10dup11dup12dup13" fmla="*/ 914400 w 2642134"/>
              <a:gd name="connsiteY1dup0dup1dup2dup3dup4dup5dup6dup7dup8dup9dup10dup11dup12dup13" fmla="*/ 7799388 h 7799388"/>
              <a:gd name="connsiteX2dup0dup1dup2dup3dup4dup5dup6dup7dup8dup9dup10dup11dup12dup13" fmla="*/ 0 w 2642134"/>
              <a:gd name="connsiteY2dup0dup1dup2dup3dup4dup5dup6dup7dup8dup9dup10dup11dup12dup13" fmla="*/ 7799388 h 7799388"/>
              <a:gd name="connsiteX3dup0dup1dup2dup3dup4dup5dup6dup7dup8dup9dup10dup11dup12dup13" fmla="*/ 0 w 2642134"/>
              <a:gd name="connsiteY3dup0dup1dup2dup3dup4dup5dup6dup7dup8dup9dup10dup11dup12dup13" fmla="*/ 0 h 7799388"/>
              <a:gd name="connsiteX4dup0dup1dup2dup3dup4dup5dup6dup7dup8dup9dup10dup11dup12dup13" fmla="*/ 914400 w 2642134"/>
              <a:gd name="connsiteY4dup0dup1dup2dup3dup4dup5dup6dup7dup8dup9dup10dup11dup12dup13" fmla="*/ 0 h 7799388"/>
              <a:gd name="connsiteX5dup0dup1dup2dup3dup4dup5dup6dup7dup8dup9dup10dup11dup12" fmla="*/ 2642134 w 2642134"/>
              <a:gd name="connsiteY5dup0dup1dup2dup3dup4dup5dup6dup7dup8dup9dup10dup11dup12" fmla="*/ 1496628 h 7799388"/>
              <a:gd name="connsiteX6dup0dup1dup2dup3" fmla="*/ 2550694 w 2642134"/>
              <a:gd name="connsiteY6dup0dup1dup2dup3" fmla="*/ 1405188 h 7799388"/>
              <a:gd name="connsiteX0dup0dup1dup2dup3dup4dup5dup6dup7dup8dup9dup10dup11dup12dup13dup14" fmla="*/ 3242070 w 3242070"/>
              <a:gd name="connsiteY0dup0dup1dup2dup3dup4dup5dup6dup7dup8dup9dup10dup11dup12dup13dup14" fmla="*/ 1706271 h 7799388"/>
              <a:gd name="connsiteX1dup0dup1dup2dup3dup4dup5dup6dup7dup8dup9dup10dup11dup12dup13dup14" fmla="*/ 914400 w 3242070"/>
              <a:gd name="connsiteY1dup0dup1dup2dup3dup4dup5dup6dup7dup8dup9dup10dup11dup12dup13dup14" fmla="*/ 7799388 h 7799388"/>
              <a:gd name="connsiteX2dup0dup1dup2dup3dup4dup5dup6dup7dup8dup9dup10dup11dup12dup13dup14" fmla="*/ 0 w 3242070"/>
              <a:gd name="connsiteY2dup0dup1dup2dup3dup4dup5dup6dup7dup8dup9dup10dup11dup12dup13dup14" fmla="*/ 7799388 h 7799388"/>
              <a:gd name="connsiteX3dup0dup1dup2dup3dup4dup5dup6dup7dup8dup9dup10dup11dup12dup13dup14" fmla="*/ 0 w 3242070"/>
              <a:gd name="connsiteY3dup0dup1dup2dup3dup4dup5dup6dup7dup8dup9dup10dup11dup12dup13dup14" fmla="*/ 0 h 7799388"/>
              <a:gd name="connsiteX4dup0dup1dup2dup3dup4dup5dup6dup7dup8dup9dup10dup11dup12dup13dup14" fmla="*/ 914400 w 3242070"/>
              <a:gd name="connsiteY4dup0dup1dup2dup3dup4dup5dup6dup7dup8dup9dup10dup11dup12dup13dup14" fmla="*/ 0 h 7799388"/>
              <a:gd name="connsiteX5dup0dup1dup2dup3dup4dup5dup6dup7dup8dup9dup10dup11dup12dup13" fmla="*/ 2642134 w 3242070"/>
              <a:gd name="connsiteY5dup0dup1dup2dup3dup4dup5dup6dup7dup8dup9dup10dup11dup12dup13" fmla="*/ 1496628 h 7799388"/>
              <a:gd name="connsiteX6dup0dup1dup2dup3dup4" fmla="*/ 3242070 w 3242070"/>
              <a:gd name="connsiteY6dup0dup1dup2dup3dup4" fmla="*/ 1706271 h 7799388"/>
              <a:gd name="connsiteX0dup0dup1dup2dup3dup4dup5dup6dup7dup8dup9dup10dup11dup12dup13dup14dup15" fmla="*/ 3242070 w 3242070"/>
              <a:gd name="connsiteY0dup0dup1dup2dup3dup4dup5dup6dup7dup8dup9dup10dup11dup12dup13dup14dup15" fmla="*/ 1706271 h 7799388"/>
              <a:gd name="connsiteX1dup0dup1dup2dup3dup4dup5dup6dup7dup8dup9dup10dup11dup12dup13dup14dup15" fmla="*/ 914400 w 3242070"/>
              <a:gd name="connsiteY1dup0dup1dup2dup3dup4dup5dup6dup7dup8dup9dup10dup11dup12dup13dup14dup15" fmla="*/ 7799388 h 7799388"/>
              <a:gd name="connsiteX2dup0dup1dup2dup3dup4dup5dup6dup7dup8dup9dup10dup11dup12dup13dup14dup15" fmla="*/ 0 w 3242070"/>
              <a:gd name="connsiteY2dup0dup1dup2dup3dup4dup5dup6dup7dup8dup9dup10dup11dup12dup13dup14dup15" fmla="*/ 7799388 h 7799388"/>
              <a:gd name="connsiteX3dup0dup1dup2dup3dup4dup5dup6dup7dup8dup9dup10dup11dup12dup13dup14dup15" fmla="*/ 0 w 3242070"/>
              <a:gd name="connsiteY3dup0dup1dup2dup3dup4dup5dup6dup7dup8dup9dup10dup11dup12dup13dup14dup15" fmla="*/ 0 h 7799388"/>
              <a:gd name="connsiteX4dup0dup1dup2dup3dup4dup5dup6dup7dup8dup9dup10dup11dup12dup13dup14dup15" fmla="*/ 914400 w 3242070"/>
              <a:gd name="connsiteY4dup0dup1dup2dup3dup4dup5dup6dup7dup8dup9dup10dup11dup12dup13dup14dup15" fmla="*/ 0 h 7799388"/>
              <a:gd name="connsiteX5dup0dup1dup2dup3dup4dup5dup6dup7dup8dup9dup10dup11dup12dup13dup14" fmla="*/ 3242070 w 3242070"/>
              <a:gd name="connsiteY5dup0dup1dup2dup3dup4dup5dup6dup7dup8dup9dup10dup11dup12dup13dup14" fmla="*/ 1706271 h 7799388"/>
              <a:gd name="connsiteX0dup0dup1dup2dup3dup4dup5dup6dup7dup8dup9dup10dup11dup12dup13dup14dup15dup16" fmla="*/ 2506089 w 2506089"/>
              <a:gd name="connsiteY0dup0dup1dup2dup3dup4dup5dup6dup7dup8dup9dup10dup11dup12dup13dup14dup15dup16" fmla="*/ 1494398 h 7799388"/>
              <a:gd name="connsiteX1dup0dup1dup2dup3dup4dup5dup6dup7dup8dup9dup10dup11dup12dup13dup14dup15dup16" fmla="*/ 914400 w 2506089"/>
              <a:gd name="connsiteY1dup0dup1dup2dup3dup4dup5dup6dup7dup8dup9dup10dup11dup12dup13dup14dup15dup16" fmla="*/ 7799388 h 7799388"/>
              <a:gd name="connsiteX2dup0dup1dup2dup3dup4dup5dup6dup7dup8dup9dup10dup11dup12dup13dup14dup15dup16" fmla="*/ 0 w 2506089"/>
              <a:gd name="connsiteY2dup0dup1dup2dup3dup4dup5dup6dup7dup8dup9dup10dup11dup12dup13dup14dup15dup16" fmla="*/ 7799388 h 7799388"/>
              <a:gd name="connsiteX3dup0dup1dup2dup3dup4dup5dup6dup7dup8dup9dup10dup11dup12dup13dup14dup15dup16" fmla="*/ 0 w 2506089"/>
              <a:gd name="connsiteY3dup0dup1dup2dup3dup4dup5dup6dup7dup8dup9dup10dup11dup12dup13dup14dup15dup16" fmla="*/ 0 h 7799388"/>
              <a:gd name="connsiteX4dup0dup1dup2dup3dup4dup5dup6dup7dup8dup9dup10dup11dup12dup13dup14dup15dup16" fmla="*/ 914400 w 2506089"/>
              <a:gd name="connsiteY4dup0dup1dup2dup3dup4dup5dup6dup7dup8dup9dup10dup11dup12dup13dup14dup15dup16" fmla="*/ 0 h 7799388"/>
              <a:gd name="connsiteX5dup0dup1dup2dup3dup4dup5dup6dup7dup8dup9dup10dup11dup12dup13dup14dup15" fmla="*/ 2506089 w 2506089"/>
              <a:gd name="connsiteY5dup0dup1dup2dup3dup4dup5dup6dup7dup8dup9dup10dup11dup12dup13dup14dup15" fmla="*/ 1494398 h 7799388"/>
              <a:gd name="connsiteX0dup0dup1dup2dup3dup4dup5dup6dup7dup8dup9dup10dup11dup12dup13dup14dup15dup16dup17" fmla="*/ 2584148 w 2584148"/>
              <a:gd name="connsiteY0dup0dup1dup2dup3dup4dup5dup6dup7dup8dup9dup10dup11dup12dup13dup14dup15dup16dup17" fmla="*/ 1494398 h 7799388"/>
              <a:gd name="connsiteX1dup0dup1dup2dup3dup4dup5dup6dup7dup8dup9dup10dup11dup12dup13dup14dup15dup16dup17" fmla="*/ 914400 w 2584148"/>
              <a:gd name="connsiteY1dup0dup1dup2dup3dup4dup5dup6dup7dup8dup9dup10dup11dup12dup13dup14dup15dup16dup17" fmla="*/ 7799388 h 7799388"/>
              <a:gd name="connsiteX2dup0dup1dup2dup3dup4dup5dup6dup7dup8dup9dup10dup11dup12dup13dup14dup15dup16dup17" fmla="*/ 0 w 2584148"/>
              <a:gd name="connsiteY2dup0dup1dup2dup3dup4dup5dup6dup7dup8dup9dup10dup11dup12dup13dup14dup15dup16dup17" fmla="*/ 7799388 h 7799388"/>
              <a:gd name="connsiteX3dup0dup1dup2dup3dup4dup5dup6dup7dup8dup9dup10dup11dup12dup13dup14dup15dup16dup17" fmla="*/ 0 w 2584148"/>
              <a:gd name="connsiteY3dup0dup1dup2dup3dup4dup5dup6dup7dup8dup9dup10dup11dup12dup13dup14dup15dup16dup17" fmla="*/ 0 h 7799388"/>
              <a:gd name="connsiteX4dup0dup1dup2dup3dup4dup5dup6dup7dup8dup9dup10dup11dup12dup13dup14dup15dup16dup17" fmla="*/ 914400 w 2584148"/>
              <a:gd name="connsiteY4dup0dup1dup2dup3dup4dup5dup6dup7dup8dup9dup10dup11dup12dup13dup14dup15dup16dup17" fmla="*/ 0 h 7799388"/>
              <a:gd name="connsiteX5dup0dup1dup2dup3dup4dup5dup6dup7dup8dup9dup10dup11dup12dup13dup14dup15dup16" fmla="*/ 2584148 w 2584148"/>
              <a:gd name="connsiteY5dup0dup1dup2dup3dup4dup5dup6dup7dup8dup9dup10dup11dup12dup13dup14dup15dup16" fmla="*/ 1494398 h 7799388"/>
              <a:gd name="connsiteX0dup0dup1dup2dup3dup4dup5dup6dup7dup8dup9dup10dup11dup12dup13dup14dup15dup16dup17dup18" fmla="*/ 2584148 w 2584148"/>
              <a:gd name="connsiteY0dup0dup1dup2dup3dup4dup5dup6dup7dup8dup9dup10dup11dup12dup13dup14dup15dup16dup17dup18" fmla="*/ 1494398 h 7799388"/>
              <a:gd name="connsiteX1dup0dup1dup2dup3dup4dup5dup6dup7dup8dup9dup10dup11dup12dup13dup14dup15dup16dup17dup18" fmla="*/ 914400 w 2584148"/>
              <a:gd name="connsiteY1dup0dup1dup2dup3dup4dup5dup6dup7dup8dup9dup10dup11dup12dup13dup14dup15dup16dup17dup18" fmla="*/ 7799388 h 7799388"/>
              <a:gd name="connsiteX2dup0dup1dup2dup3dup4dup5dup6dup7dup8dup9dup10dup11dup12dup13dup14dup15dup16dup17dup18" fmla="*/ 0 w 2584148"/>
              <a:gd name="connsiteY2dup0dup1dup2dup3dup4dup5dup6dup7dup8dup9dup10dup11dup12dup13dup14dup15dup16dup17dup18" fmla="*/ 7799388 h 7799388"/>
              <a:gd name="connsiteX3dup0dup1dup2dup3dup4dup5dup6dup7dup8dup9dup10dup11dup12dup13dup14dup15dup16dup17dup18" fmla="*/ 0 w 2584148"/>
              <a:gd name="connsiteY3dup0dup1dup2dup3dup4dup5dup6dup7dup8dup9dup10dup11dup12dup13dup14dup15dup16dup17dup18" fmla="*/ 0 h 7799388"/>
              <a:gd name="connsiteX4dup0dup1dup2dup3dup4dup5dup6dup7dup8dup9dup10dup11dup12dup13dup14dup15dup16dup17dup18" fmla="*/ 914400 w 2584148"/>
              <a:gd name="connsiteY4dup0dup1dup2dup3dup4dup5dup6dup7dup8dup9dup10dup11dup12dup13dup14dup15dup16dup17dup18" fmla="*/ 0 h 7799388"/>
              <a:gd name="connsiteX5dup0dup1dup2dup3dup4dup5dup6dup7dup8dup9dup10dup11dup12dup13dup14dup15dup16dup17" fmla="*/ 2584148 w 2584148"/>
              <a:gd name="connsiteY5dup0dup1dup2dup3dup4dup5dup6dup7dup8dup9dup10dup11dup12dup13dup14dup15dup16dup17" fmla="*/ 1494398 h 7799388"/>
              <a:gd name="connsiteX0dup0dup1dup2dup3dup4dup5dup6dup7dup8dup9dup10dup11dup12dup13dup14dup15dup16dup17dup18dup19" fmla="*/ 2584148 w 2584148"/>
              <a:gd name="connsiteY0dup0dup1dup2dup3dup4dup5dup6dup7dup8dup9dup10dup11dup12dup13dup14dup15dup16dup17dup18dup19" fmla="*/ 1494398 h 7799388"/>
              <a:gd name="connsiteX1dup0dup1dup2dup3dup4dup5dup6dup7dup8dup9dup10dup11dup12dup13dup14dup15dup16dup17dup18dup19" fmla="*/ 914400 w 2584148"/>
              <a:gd name="connsiteY1dup0dup1dup2dup3dup4dup5dup6dup7dup8dup9dup10dup11dup12dup13dup14dup15dup16dup17dup18dup19" fmla="*/ 7799388 h 7799388"/>
              <a:gd name="connsiteX2dup0dup1dup2dup3dup4dup5dup6dup7dup8dup9dup10dup11dup12dup13dup14dup15dup16dup17dup18dup19" fmla="*/ 0 w 2584148"/>
              <a:gd name="connsiteY2dup0dup1dup2dup3dup4dup5dup6dup7dup8dup9dup10dup11dup12dup13dup14dup15dup16dup17dup18dup19" fmla="*/ 7799388 h 7799388"/>
              <a:gd name="connsiteX3dup0dup1dup2dup3dup4dup5dup6dup7dup8dup9dup10dup11dup12dup13dup14dup15dup16dup17dup18dup19" fmla="*/ 0 w 2584148"/>
              <a:gd name="connsiteY3dup0dup1dup2dup3dup4dup5dup6dup7dup8dup9dup10dup11dup12dup13dup14dup15dup16dup17dup18dup19" fmla="*/ 0 h 7799388"/>
              <a:gd name="connsiteX4dup0dup1dup2dup3dup4dup5dup6dup7dup8dup9dup10dup11dup12dup13dup14dup15dup16dup17dup18dup19" fmla="*/ 914400 w 2584148"/>
              <a:gd name="connsiteY4dup0dup1dup2dup3dup4dup5dup6dup7dup8dup9dup10dup11dup12dup13dup14dup15dup16dup17dup18dup19" fmla="*/ 0 h 7799388"/>
              <a:gd name="connsiteX5dup0dup1dup2dup3dup4dup5dup6dup7dup8dup9dup10dup11dup12dup13dup14dup15dup16dup17dup18" fmla="*/ 2584148 w 2584148"/>
              <a:gd name="connsiteY5dup0dup1dup2dup3dup4dup5dup6dup7dup8dup9dup10dup11dup12dup13dup14dup15dup16dup17dup18" fmla="*/ 1494398 h 7799388"/>
              <a:gd name="connsiteX0dup0dup1dup2dup3dup4dup5dup6dup7dup8dup9dup10dup11dup12dup13dup14dup15dup16dup17dup18dup19dup20" fmla="*/ 2584148 w 2584148"/>
              <a:gd name="connsiteY0dup0dup1dup2dup3dup4dup5dup6dup7dup8dup9dup10dup11dup12dup13dup14dup15dup16dup17dup18dup19dup20" fmla="*/ 1494398 h 7799388"/>
              <a:gd name="connsiteX1dup0dup1dup2dup3dup4dup5dup6dup7dup8dup9dup10dup11dup12dup13dup14dup15dup16dup17dup18dup19dup20" fmla="*/ 914400 w 2584148"/>
              <a:gd name="connsiteY1dup0dup1dup2dup3dup4dup5dup6dup7dup8dup9dup10dup11dup12dup13dup14dup15dup16dup17dup18dup19dup20" fmla="*/ 7799388 h 7799388"/>
              <a:gd name="connsiteX2dup0dup1dup2dup3dup4dup5dup6dup7dup8dup9dup10dup11dup12dup13dup14dup15dup16dup17dup18dup19dup20" fmla="*/ 0 w 2584148"/>
              <a:gd name="connsiteY2dup0dup1dup2dup3dup4dup5dup6dup7dup8dup9dup10dup11dup12dup13dup14dup15dup16dup17dup18dup19dup20" fmla="*/ 7799388 h 7799388"/>
              <a:gd name="connsiteX3dup0dup1dup2dup3dup4dup5dup6dup7dup8dup9dup10dup11dup12dup13dup14dup15dup16dup17dup18dup19dup20" fmla="*/ 0 w 2584148"/>
              <a:gd name="connsiteY3dup0dup1dup2dup3dup4dup5dup6dup7dup8dup9dup10dup11dup12dup13dup14dup15dup16dup17dup18dup19dup20" fmla="*/ 0 h 7799388"/>
              <a:gd name="connsiteX4dup0dup1dup2dup3dup4dup5dup6dup7dup8dup9dup10dup11dup12dup13dup14dup15dup16dup17dup18dup19dup20" fmla="*/ 2230244 w 2584148"/>
              <a:gd name="connsiteY4dup0dup1dup2dup3dup4dup5dup6dup7dup8dup9dup10dup11dup12dup13dup14dup15dup16dup17dup18dup19dup20" fmla="*/ 11151 h 7799388"/>
              <a:gd name="connsiteX5dup0dup1dup2dup3dup4dup5dup6dup7dup8dup9dup10dup11dup12dup13dup14dup15dup16dup17dup18dup19" fmla="*/ 2584148 w 2584148"/>
              <a:gd name="connsiteY5dup0dup1dup2dup3dup4dup5dup6dup7dup8dup9dup10dup11dup12dup13dup14dup15dup16dup17dup18dup19" fmla="*/ 1494398 h 7799388"/>
              <a:gd name="connsiteX0dup0dup1dup2dup3dup4dup5dup6dup7dup8dup9dup10dup11dup12dup13dup14dup15dup16dup17dup18dup19dup20dup21" fmla="*/ 2673357 w 2673357"/>
              <a:gd name="connsiteY0dup0dup1dup2dup3dup4dup5dup6dup7dup8dup9dup10dup11dup12dup13dup14dup15dup16dup17dup18dup19dup20dup21" fmla="*/ 1394037 h 7799388"/>
              <a:gd name="connsiteX1dup0dup1dup2dup3dup4dup5dup6dup7dup8dup9dup10dup11dup12dup13dup14dup15dup16dup17dup18dup19dup20dup21" fmla="*/ 914400 w 2673357"/>
              <a:gd name="connsiteY1dup0dup1dup2dup3dup4dup5dup6dup7dup8dup9dup10dup11dup12dup13dup14dup15dup16dup17dup18dup19dup20dup21" fmla="*/ 7799388 h 7799388"/>
              <a:gd name="connsiteX2dup0dup1dup2dup3dup4dup5dup6dup7dup8dup9dup10dup11dup12dup13dup14dup15dup16dup17dup18dup19dup20dup21" fmla="*/ 0 w 2673357"/>
              <a:gd name="connsiteY2dup0dup1dup2dup3dup4dup5dup6dup7dup8dup9dup10dup11dup12dup13dup14dup15dup16dup17dup18dup19dup20dup21" fmla="*/ 7799388 h 7799388"/>
              <a:gd name="connsiteX3dup0dup1dup2dup3dup4dup5dup6dup7dup8dup9dup10dup11dup12dup13dup14dup15dup16dup17dup18dup19dup20dup21" fmla="*/ 0 w 2673357"/>
              <a:gd name="connsiteY3dup0dup1dup2dup3dup4dup5dup6dup7dup8dup9dup10dup11dup12dup13dup14dup15dup16dup17dup18dup19dup20dup21" fmla="*/ 0 h 7799388"/>
              <a:gd name="connsiteX4dup0dup1dup2dup3dup4dup5dup6dup7dup8dup9dup10dup11dup12dup13dup14dup15dup16dup17dup18dup19dup20dup21" fmla="*/ 2230244 w 2673357"/>
              <a:gd name="connsiteY4dup0dup1dup2dup3dup4dup5dup6dup7dup8dup9dup10dup11dup12dup13dup14dup15dup16dup17dup18dup19dup20dup21" fmla="*/ 11151 h 7799388"/>
              <a:gd name="connsiteX5dup0dup1dup2dup3dup4dup5dup6dup7dup8dup9dup10dup11dup12dup13dup14dup15dup16dup17dup18dup19dup20" fmla="*/ 2673357 w 2673357"/>
              <a:gd name="connsiteY5dup0dup1dup2dup3dup4dup5dup6dup7dup8dup9dup10dup11dup12dup13dup14dup15dup16dup17dup18dup19dup20" fmla="*/ 1394037 h 7799388"/>
              <a:gd name="connsiteX0dup0dup1dup2dup3dup4dup5dup6dup7dup8dup9dup10dup11dup12dup13dup14dup15dup16dup17dup18dup19dup20dup21dup22" fmla="*/ 2673357 w 2673357"/>
              <a:gd name="connsiteY0dup0dup1dup2dup3dup4dup5dup6dup7dup8dup9dup10dup11dup12dup13dup14dup15dup16dup17dup18dup19dup20dup21dup22" fmla="*/ 1394037 h 7799388"/>
              <a:gd name="connsiteX1dup0dup1dup2dup3dup4dup5dup6dup7dup8dup9dup10dup11dup12dup13dup14dup15dup16dup17dup18dup19dup20dup21dup22" fmla="*/ 914400 w 2673357"/>
              <a:gd name="connsiteY1dup0dup1dup2dup3dup4dup5dup6dup7dup8dup9dup10dup11dup12dup13dup14dup15dup16dup17dup18dup19dup20dup21dup22" fmla="*/ 7799388 h 7799388"/>
              <a:gd name="connsiteX2dup0dup1dup2dup3dup4dup5dup6dup7dup8dup9dup10dup11dup12dup13dup14dup15dup16dup17dup18dup19dup20dup21dup22" fmla="*/ 0 w 2673357"/>
              <a:gd name="connsiteY2dup0dup1dup2dup3dup4dup5dup6dup7dup8dup9dup10dup11dup12dup13dup14dup15dup16dup17dup18dup19dup20dup21dup22" fmla="*/ 7799388 h 7799388"/>
              <a:gd name="connsiteX3dup0dup1dup2dup3dup4dup5dup6dup7dup8dup9dup10dup11dup12dup13dup14dup15dup16dup17dup18dup19dup20dup21dup22" fmla="*/ 0 w 2673357"/>
              <a:gd name="connsiteY3dup0dup1dup2dup3dup4dup5dup6dup7dup8dup9dup10dup11dup12dup13dup14dup15dup16dup17dup18dup19dup20dup21dup22" fmla="*/ 0 h 7799388"/>
              <a:gd name="connsiteX4dup0dup1dup2dup3dup4dup5dup6dup7dup8dup9dup10dup11dup12dup13dup14dup15dup16dup17dup18dup19dup20dup21dup22" fmla="*/ 2252546 w 2673357"/>
              <a:gd name="connsiteY4dup0dup1dup2dup3dup4dup5dup6dup7dup8dup9dup10dup11dup12dup13dup14dup15dup16dup17dup18dup19dup20dup21dup22" fmla="*/ 11151 h 7799388"/>
              <a:gd name="connsiteX5dup0dup1dup2dup3dup4dup5dup6dup7dup8dup9dup10dup11dup12dup13dup14dup15dup16dup17dup18dup19dup20dup21" fmla="*/ 2673357 w 2673357"/>
              <a:gd name="connsiteY5dup0dup1dup2dup3dup4dup5dup6dup7dup8dup9dup10dup11dup12dup13dup14dup15dup16dup17dup18dup19dup20dup21" fmla="*/ 1394037 h 7799388"/>
              <a:gd name="connsiteX0dup0dup1dup2dup3dup4dup5dup6dup7dup8dup9dup10dup11dup12dup13dup14dup15dup16dup17dup18dup19dup20dup21dup22dup23" fmla="*/ 2673357 w 2673357"/>
              <a:gd name="connsiteY0dup0dup1dup2dup3dup4dup5dup6dup7dup8dup9dup10dup11dup12dup13dup14dup15dup16dup17dup18dup19dup20dup21dup22dup23" fmla="*/ 1394037 h 7799388"/>
              <a:gd name="connsiteX1dup0dup1dup2dup3dup4dup5dup6dup7dup8dup9dup10dup11dup12dup13dup14dup15dup16dup17dup18dup19dup20dup21dup22dup23" fmla="*/ 914400 w 2673357"/>
              <a:gd name="connsiteY1dup0dup1dup2dup3dup4dup5dup6dup7dup8dup9dup10dup11dup12dup13dup14dup15dup16dup17dup18dup19dup20dup21dup22dup23" fmla="*/ 7799388 h 7799388"/>
              <a:gd name="connsiteX2dup0dup1dup2dup3dup4dup5dup6dup7dup8dup9dup10dup11dup12dup13dup14dup15dup16dup17dup18dup19dup20dup21dup22dup23" fmla="*/ 0 w 2673357"/>
              <a:gd name="connsiteY2dup0dup1dup2dup3dup4dup5dup6dup7dup8dup9dup10dup11dup12dup13dup14dup15dup16dup17dup18dup19dup20dup21dup22dup23" fmla="*/ 7799388 h 7799388"/>
              <a:gd name="connsiteX3dup0dup1dup2dup3dup4dup5dup6dup7dup8dup9dup10dup11dup12dup13dup14dup15dup16dup17dup18dup19dup20dup21dup22dup23" fmla="*/ 0 w 2673357"/>
              <a:gd name="connsiteY3dup0dup1dup2dup3dup4dup5dup6dup7dup8dup9dup10dup11dup12dup13dup14dup15dup16dup17dup18dup19dup20dup21dup22dup23" fmla="*/ 0 h 7799388"/>
              <a:gd name="connsiteX4dup0dup1dup2dup3dup4dup5dup6dup7dup8dup9dup10dup11dup12dup13dup14dup15dup16dup17dup18dup19dup20dup21dup22dup23" fmla="*/ 2280682 w 2673357"/>
              <a:gd name="connsiteY4dup0dup1dup2dup3dup4dup5dup6dup7dup8dup9dup10dup11dup12dup13dup14dup15dup16dup17dup18dup19dup20dup21dup22dup23" fmla="*/ 11151 h 7799388"/>
              <a:gd name="connsiteX5dup0dup1dup2dup3dup4dup5dup6dup7dup8dup9dup10dup11dup12dup13dup14dup15dup16dup17dup18dup19dup20dup21dup22" fmla="*/ 2673357 w 2673357"/>
              <a:gd name="connsiteY5dup0dup1dup2dup3dup4dup5dup6dup7dup8dup9dup10dup11dup12dup13dup14dup15dup16dup17dup18dup19dup20dup21dup22" fmla="*/ 1394037 h 7799388"/>
              <a:gd name="connsiteX0dup0dup1dup2dup3dup4dup5dup6dup7dup8dup9dup10dup11dup12dup13dup14dup15dup16dup17dup18dup19dup20dup21dup22dup23dup24" fmla="*/ 2673357 w 2673357"/>
              <a:gd name="connsiteY0dup0dup1dup2dup3dup4dup5dup6dup7dup8dup9dup10dup11dup12dup13dup14dup15dup16dup17dup18dup19dup20dup21dup22dup23dup24" fmla="*/ 1394037 h 7799388"/>
              <a:gd name="connsiteX1dup0dup1dup2dup3dup4dup5dup6dup7dup8dup9dup10dup11dup12dup13dup14dup15dup16dup17dup18dup19dup20dup21dup22dup23dup24" fmla="*/ 914400 w 2673357"/>
              <a:gd name="connsiteY1dup0dup1dup2dup3dup4dup5dup6dup7dup8dup9dup10dup11dup12dup13dup14dup15dup16dup17dup18dup19dup20dup21dup22dup23dup24" fmla="*/ 7799388 h 7799388"/>
              <a:gd name="connsiteX2dup0dup1dup2dup3dup4dup5dup6dup7dup8dup9dup10dup11dup12dup13dup14dup15dup16dup17dup18dup19dup20dup21dup22dup23dup24" fmla="*/ 0 w 2673357"/>
              <a:gd name="connsiteY2dup0dup1dup2dup3dup4dup5dup6dup7dup8dup9dup10dup11dup12dup13dup14dup15dup16dup17dup18dup19dup20dup21dup22dup23dup24" fmla="*/ 7799388 h 7799388"/>
              <a:gd name="connsiteX3dup0dup1dup2dup3dup4dup5dup6dup7dup8dup9dup10dup11dup12dup13dup14dup15dup16dup17dup18dup19dup20dup21dup22dup23dup24" fmla="*/ 0 w 2673357"/>
              <a:gd name="connsiteY3dup0dup1dup2dup3dup4dup5dup6dup7dup8dup9dup10dup11dup12dup13dup14dup15dup16dup17dup18dup19dup20dup21dup22dup23dup24" fmla="*/ 0 h 7799388"/>
              <a:gd name="connsiteX4dup0dup1dup2dup3dup4dup5dup6dup7dup8dup9dup10dup11dup12dup13dup14dup15dup16dup17dup18dup19dup20dup21dup22dup23dup24" fmla="*/ 2280682 w 2673357"/>
              <a:gd name="connsiteY4dup0dup1dup2dup3dup4dup5dup6dup7dup8dup9dup10dup11dup12dup13dup14dup15dup16dup17dup18dup19dup20dup21dup22dup23dup24" fmla="*/ 11151 h 7799388"/>
              <a:gd name="connsiteX5dup0dup1dup2dup3dup4dup5dup6dup7dup8dup9dup10dup11dup12dup13dup14dup15dup16dup17dup18dup19dup20dup21dup22dup23" fmla="*/ 2673357 w 2673357"/>
              <a:gd name="connsiteY5dup0dup1dup2dup3dup4dup5dup6dup7dup8dup9dup10dup11dup12dup13dup14dup15dup16dup17dup18dup19dup20dup21dup22dup23" fmla="*/ 1394037 h 7799388"/>
              <a:gd name="connsiteX0dup0dup1dup2dup3dup4dup5dup6dup7dup8dup9dup10dup11dup12dup13dup14dup15dup16dup17dup18dup19dup20dup21dup22dup23dup24dup25" fmla="*/ 2673357 w 2673357"/>
              <a:gd name="connsiteY0dup0dup1dup2dup3dup4dup5dup6dup7dup8dup9dup10dup11dup12dup13dup14dup15dup16dup17dup18dup19dup20dup21dup22dup23dup24dup25" fmla="*/ 1382886 h 7788237"/>
              <a:gd name="connsiteX1dup0dup1dup2dup3dup4dup5dup6dup7dup8dup9dup10dup11dup12dup13dup14dup15dup16dup17dup18dup19dup20dup21dup22dup23dup24dup25" fmla="*/ 914400 w 2673357"/>
              <a:gd name="connsiteY1dup0dup1dup2dup3dup4dup5dup6dup7dup8dup9dup10dup11dup12dup13dup14dup15dup16dup17dup18dup19dup20dup21dup22dup23dup24dup25" fmla="*/ 7788237 h 7788237"/>
              <a:gd name="connsiteX2dup0dup1dup2dup3dup4dup5dup6dup7dup8dup9dup10dup11dup12dup13dup14dup15dup16dup17dup18dup19dup20dup21dup22dup23dup24dup25" fmla="*/ 0 w 2673357"/>
              <a:gd name="connsiteY2dup0dup1dup2dup3dup4dup5dup6dup7dup8dup9dup10dup11dup12dup13dup14dup15dup16dup17dup18dup19dup20dup21dup22dup23dup24dup25" fmla="*/ 7788237 h 7788237"/>
              <a:gd name="connsiteX3dup0dup1dup2dup3dup4dup5dup6dup7dup8dup9dup10dup11dup12dup13dup14dup15dup16dup17dup18dup19dup20dup21dup22dup23dup24dup25" fmla="*/ 0 w 2673357"/>
              <a:gd name="connsiteY3dup0dup1dup2dup3dup4dup5dup6dup7dup8dup9dup10dup11dup12dup13dup14dup15dup16dup17dup18dup19dup20dup21dup22dup23dup24dup25" fmla="*/ 2917 h 7788237"/>
              <a:gd name="connsiteX4dup0dup1dup2dup3dup4dup5dup6dup7dup8dup9dup10dup11dup12dup13dup14dup15dup16dup17dup18dup19dup20dup21dup22dup23dup24dup25" fmla="*/ 2280682 w 2673357"/>
              <a:gd name="connsiteY4dup0dup1dup2dup3dup4dup5dup6dup7dup8dup9dup10dup11dup12dup13dup14dup15dup16dup17dup18dup19dup20dup21dup22dup23dup24dup25" fmla="*/ 0 h 7788237"/>
              <a:gd name="connsiteX5dup0dup1dup2dup3dup4dup5dup6dup7dup8dup9dup10dup11dup12dup13dup14dup15dup16dup17dup18dup19dup20dup21dup22dup23dup24" fmla="*/ 2673357 w 2673357"/>
              <a:gd name="connsiteY5dup0dup1dup2dup3dup4dup5dup6dup7dup8dup9dup10dup11dup12dup13dup14dup15dup16dup17dup18dup19dup20dup21dup22dup23dup24" fmla="*/ 1382886 h 7788237"/>
              <a:gd name="connsiteX0dup0dup1dup2dup3dup4dup5dup6dup7dup8dup9dup10dup11dup12dup13dup14dup15dup16dup17dup18dup19dup20dup21dup22dup23dup24dup25dup26" fmla="*/ 2673357 w 2673357"/>
              <a:gd name="connsiteY0dup0dup1dup2dup3dup4dup5dup6dup7dup8dup9dup10dup11dup12dup13dup14dup15dup16dup17dup18dup19dup20dup21dup22dup23dup24dup25dup26" fmla="*/ 1382886 h 7788237"/>
              <a:gd name="connsiteX1dup0dup1dup2dup3dup4dup5dup6dup7dup8dup9dup10dup11dup12dup13dup14dup15dup16dup17dup18dup19dup20dup21dup22dup23dup24dup25dup26" fmla="*/ 872197 w 2673357"/>
              <a:gd name="connsiteY1dup0dup1dup2dup3dup4dup5dup6dup7dup8dup9dup10dup11dup12dup13dup14dup15dup16dup17dup18dup19dup20dup21dup22dup23dup24dup25dup26" fmla="*/ 7788237 h 7788237"/>
              <a:gd name="connsiteX2dup0dup1dup2dup3dup4dup5dup6dup7dup8dup9dup10dup11dup12dup13dup14dup15dup16dup17dup18dup19dup20dup21dup22dup23dup24dup25dup26" fmla="*/ 0 w 2673357"/>
              <a:gd name="connsiteY2dup0dup1dup2dup3dup4dup5dup6dup7dup8dup9dup10dup11dup12dup13dup14dup15dup16dup17dup18dup19dup20dup21dup22dup23dup24dup25dup26" fmla="*/ 7788237 h 7788237"/>
              <a:gd name="connsiteX3dup0dup1dup2dup3dup4dup5dup6dup7dup8dup9dup10dup11dup12dup13dup14dup15dup16dup17dup18dup19dup20dup21dup22dup23dup24dup25dup26" fmla="*/ 0 w 2673357"/>
              <a:gd name="connsiteY3dup0dup1dup2dup3dup4dup5dup6dup7dup8dup9dup10dup11dup12dup13dup14dup15dup16dup17dup18dup19dup20dup21dup22dup23dup24dup25dup26" fmla="*/ 2917 h 7788237"/>
              <a:gd name="connsiteX4dup0dup1dup2dup3dup4dup5dup6dup7dup8dup9dup10dup11dup12dup13dup14dup15dup16dup17dup18dup19dup20dup21dup22dup23dup24dup25dup26" fmla="*/ 2280682 w 2673357"/>
              <a:gd name="connsiteY4dup0dup1dup2dup3dup4dup5dup6dup7dup8dup9dup10dup11dup12dup13dup14dup15dup16dup17dup18dup19dup20dup21dup22dup23dup24dup25dup26" fmla="*/ 0 h 7788237"/>
              <a:gd name="connsiteX5dup0dup1dup2dup3dup4dup5dup6dup7dup8dup9dup10dup11dup12dup13dup14dup15dup16dup17dup18dup19dup20dup21dup22dup23dup24dup25" fmla="*/ 2673357 w 2673357"/>
              <a:gd name="connsiteY5dup0dup1dup2dup3dup4dup5dup6dup7dup8dup9dup10dup11dup12dup13dup14dup15dup16dup17dup18dup19dup20dup21dup22dup23dup24dup25" fmla="*/ 1382886 h 7788237"/>
              <a:gd name="connsiteX0dup0dup1dup2dup3dup4dup5dup6dup7dup8dup9dup10dup11dup12dup13dup14dup15dup16dup17dup18dup19dup20dup21dup22dup23dup24dup25dup26dup27" fmla="*/ 2677367 w 2677367"/>
              <a:gd name="connsiteY0dup0dup1dup2dup3dup4dup5dup6dup7dup8dup9dup10dup11dup12dup13dup14dup15dup16dup17dup18dup19dup20dup21dup22dup23dup24dup25dup26dup27" fmla="*/ 1378876 h 7788237"/>
              <a:gd name="connsiteX1dup0dup1dup2dup3dup4dup5dup6dup7dup8dup9dup10dup11dup12dup13dup14dup15dup16dup17dup18dup19dup20dup21dup22dup23dup24dup25dup26dup27" fmla="*/ 872197 w 2677367"/>
              <a:gd name="connsiteY1dup0dup1dup2dup3dup4dup5dup6dup7dup8dup9dup10dup11dup12dup13dup14dup15dup16dup17dup18dup19dup20dup21dup22dup23dup24dup25dup26dup27" fmla="*/ 7788237 h 7788237"/>
              <a:gd name="connsiteX2dup0dup1dup2dup3dup4dup5dup6dup7dup8dup9dup10dup11dup12dup13dup14dup15dup16dup17dup18dup19dup20dup21dup22dup23dup24dup25dup26dup27" fmla="*/ 0 w 2677367"/>
              <a:gd name="connsiteY2dup0dup1dup2dup3dup4dup5dup6dup7dup8dup9dup10dup11dup12dup13dup14dup15dup16dup17dup18dup19dup20dup21dup22dup23dup24dup25dup26dup27" fmla="*/ 7788237 h 7788237"/>
              <a:gd name="connsiteX3dup0dup1dup2dup3dup4dup5dup6dup7dup8dup9dup10dup11dup12dup13dup14dup15dup16dup17dup18dup19dup20dup21dup22dup23dup24dup25dup26dup27" fmla="*/ 0 w 2677367"/>
              <a:gd name="connsiteY3dup0dup1dup2dup3dup4dup5dup6dup7dup8dup9dup10dup11dup12dup13dup14dup15dup16dup17dup18dup19dup20dup21dup22dup23dup24dup25dup26dup27" fmla="*/ 2917 h 7788237"/>
              <a:gd name="connsiteX4dup0dup1dup2dup3dup4dup5dup6dup7dup8dup9dup10dup11dup12dup13dup14dup15dup16dup17dup18dup19dup20dup21dup22dup23dup24dup25dup26dup27" fmla="*/ 2280682 w 2677367"/>
              <a:gd name="connsiteY4dup0dup1dup2dup3dup4dup5dup6dup7dup8dup9dup10dup11dup12dup13dup14dup15dup16dup17dup18dup19dup20dup21dup22dup23dup24dup25dup26dup27" fmla="*/ 0 h 7788237"/>
              <a:gd name="connsiteX5dup0dup1dup2dup3dup4dup5dup6dup7dup8dup9dup10dup11dup12dup13dup14dup15dup16dup17dup18dup19dup20dup21dup22dup23dup24dup25dup26" fmla="*/ 2677367 w 2677367"/>
              <a:gd name="connsiteY5dup0dup1dup2dup3dup4dup5dup6dup7dup8dup9dup10dup11dup12dup13dup14dup15dup16dup17dup18dup19dup20dup21dup22dup23dup24dup25dup26" fmla="*/ 1378876 h 7788237"/>
              <a:gd name="connsiteX0dup0dup1dup2dup3dup4dup5dup6dup7dup8dup9dup10dup11dup12dup13dup14dup15dup16dup17dup18dup19dup20dup21dup22dup23dup24dup25dup26dup27dup28" fmla="*/ 2677367 w 2677367"/>
              <a:gd name="connsiteY0dup0dup1dup2dup3dup4dup5dup6dup7dup8dup9dup10dup11dup12dup13dup14dup15dup16dup17dup18dup19dup20dup21dup22dup23dup24dup25dup26dup27dup28" fmla="*/ 1378876 h 7788237"/>
              <a:gd name="connsiteX1dup0dup1dup2dup3dup4dup5dup6dup7dup8dup9dup10dup11dup12dup13dup14dup15dup16dup17dup18dup19dup20dup21dup22dup23dup24dup25dup26dup27dup28" fmla="*/ 852144 w 2677367"/>
              <a:gd name="connsiteY1dup0dup1dup2dup3dup4dup5dup6dup7dup8dup9dup10dup11dup12dup13dup14dup15dup16dup17dup18dup19dup20dup21dup22dup23dup24dup25dup26dup27dup28" fmla="*/ 7788237 h 7788237"/>
              <a:gd name="connsiteX2dup0dup1dup2dup3dup4dup5dup6dup7dup8dup9dup10dup11dup12dup13dup14dup15dup16dup17dup18dup19dup20dup21dup22dup23dup24dup25dup26dup27dup28" fmla="*/ 0 w 2677367"/>
              <a:gd name="connsiteY2dup0dup1dup2dup3dup4dup5dup6dup7dup8dup9dup10dup11dup12dup13dup14dup15dup16dup17dup18dup19dup20dup21dup22dup23dup24dup25dup26dup27dup28" fmla="*/ 7788237 h 7788237"/>
              <a:gd name="connsiteX3dup0dup1dup2dup3dup4dup5dup6dup7dup8dup9dup10dup11dup12dup13dup14dup15dup16dup17dup18dup19dup20dup21dup22dup23dup24dup25dup26dup27dup28" fmla="*/ 0 w 2677367"/>
              <a:gd name="connsiteY3dup0dup1dup2dup3dup4dup5dup6dup7dup8dup9dup10dup11dup12dup13dup14dup15dup16dup17dup18dup19dup20dup21dup22dup23dup24dup25dup26dup27dup28" fmla="*/ 2917 h 7788237"/>
              <a:gd name="connsiteX4dup0dup1dup2dup3dup4dup5dup6dup7dup8dup9dup10dup11dup12dup13dup14dup15dup16dup17dup18dup19dup20dup21dup22dup23dup24dup25dup26dup27dup28" fmla="*/ 2280682 w 2677367"/>
              <a:gd name="connsiteY4dup0dup1dup2dup3dup4dup5dup6dup7dup8dup9dup10dup11dup12dup13dup14dup15dup16dup17dup18dup19dup20dup21dup22dup23dup24dup25dup26dup27dup28" fmla="*/ 0 h 7788237"/>
              <a:gd name="connsiteX5dup0dup1dup2dup3dup4dup5dup6dup7dup8dup9dup10dup11dup12dup13dup14dup15dup16dup17dup18dup19dup20dup21dup22dup23dup24dup25dup26dup27" fmla="*/ 2677367 w 2677367"/>
              <a:gd name="connsiteY5dup0dup1dup2dup3dup4dup5dup6dup7dup8dup9dup10dup11dup12dup13dup14dup15dup16dup17dup18dup19dup20dup21dup22dup23dup24dup25dup26dup27" fmla="*/ 1378876 h 7788237"/>
              <a:gd name="connsiteX0dup0dup1dup2dup3dup4dup5dup6dup7dup8dup9dup10dup11dup12dup13dup14dup15dup16dup17dup18dup19dup20dup21dup22dup23dup24dup25dup26dup27dup28dup29" fmla="*/ 2677367 w 2677367"/>
              <a:gd name="connsiteY0dup0dup1dup2dup3dup4dup5dup6dup7dup8dup9dup10dup11dup12dup13dup14dup15dup16dup17dup18dup19dup20dup21dup22dup23dup24dup25dup26dup27dup28dup29" fmla="*/ 1378876 h 7788237"/>
              <a:gd name="connsiteX1dup0dup1dup2dup3dup4dup5dup6dup7dup8dup9dup10dup11dup12dup13dup14dup15dup16dup17dup18dup19dup20dup21dup22dup23dup24dup25dup26dup27dup28dup29" fmla="*/ 856378 w 2677367"/>
              <a:gd name="connsiteY1dup0dup1dup2dup3dup4dup5dup6dup7dup8dup9dup10dup11dup12dup13dup14dup15dup16dup17dup18dup19dup20dup21dup22dup23dup24dup25dup26dup27dup28dup29" fmla="*/ 7771303 h 7788237"/>
              <a:gd name="connsiteX2dup0dup1dup2dup3dup4dup5dup6dup7dup8dup9dup10dup11dup12dup13dup14dup15dup16dup17dup18dup19dup20dup21dup22dup23dup24dup25dup26dup27dup28dup29" fmla="*/ 0 w 2677367"/>
              <a:gd name="connsiteY2dup0dup1dup2dup3dup4dup5dup6dup7dup8dup9dup10dup11dup12dup13dup14dup15dup16dup17dup18dup19dup20dup21dup22dup23dup24dup25dup26dup27dup28dup29" fmla="*/ 7788237 h 7788237"/>
              <a:gd name="connsiteX3dup0dup1dup2dup3dup4dup5dup6dup7dup8dup9dup10dup11dup12dup13dup14dup15dup16dup17dup18dup19dup20dup21dup22dup23dup24dup25dup26dup27dup28dup29" fmla="*/ 0 w 2677367"/>
              <a:gd name="connsiteY3dup0dup1dup2dup3dup4dup5dup6dup7dup8dup9dup10dup11dup12dup13dup14dup15dup16dup17dup18dup19dup20dup21dup22dup23dup24dup25dup26dup27dup28dup29" fmla="*/ 2917 h 7788237"/>
              <a:gd name="connsiteX4dup0dup1dup2dup3dup4dup5dup6dup7dup8dup9dup10dup11dup12dup13dup14dup15dup16dup17dup18dup19dup20dup21dup22dup23dup24dup25dup26dup27dup28dup29" fmla="*/ 2280682 w 2677367"/>
              <a:gd name="connsiteY4dup0dup1dup2dup3dup4dup5dup6dup7dup8dup9dup10dup11dup12dup13dup14dup15dup16dup17dup18dup19dup20dup21dup22dup23dup24dup25dup26dup27dup28dup29" fmla="*/ 0 h 7788237"/>
              <a:gd name="connsiteX5dup0dup1dup2dup3dup4dup5dup6dup7dup8dup9dup10dup11dup12dup13dup14dup15dup16dup17dup18dup19dup20dup21dup22dup23dup24dup25dup26dup27dup28" fmla="*/ 2677367 w 2677367"/>
              <a:gd name="connsiteY5dup0dup1dup2dup3dup4dup5dup6dup7dup8dup9dup10dup11dup12dup13dup14dup15dup16dup17dup18dup19dup20dup21dup22dup23dup24dup25dup26dup27dup28" fmla="*/ 1378876 h 7788237"/>
              <a:gd name="connsiteX0dup0dup1dup2dup3dup4dup5dup6dup7dup8dup9dup10dup11dup12dup13dup14dup15dup16dup17dup18dup19dup20dup21dup22dup23dup24dup25dup26dup27dup28dup29dup30" fmla="*/ 2677367 w 2677367"/>
              <a:gd name="connsiteY0dup0dup1dup2dup3dup4dup5dup6dup7dup8dup9dup10dup11dup12dup13dup14dup15dup16dup17dup18dup19dup20dup21dup22dup23dup24dup25dup26dup27dup28dup29dup30" fmla="*/ 1378876 h 7771303"/>
              <a:gd name="connsiteX1dup0dup1dup2dup3dup4dup5dup6dup7dup8dup9dup10dup11dup12dup13dup14dup15dup16dup17dup18dup19dup20dup21dup22dup23dup24dup25dup26dup27dup28dup29dup30" fmla="*/ 856378 w 2677367"/>
              <a:gd name="connsiteY1dup0dup1dup2dup3dup4dup5dup6dup7dup8dup9dup10dup11dup12dup13dup14dup15dup16dup17dup18dup19dup20dup21dup22dup23dup24dup25dup26dup27dup28dup29dup30" fmla="*/ 7771303 h 7771303"/>
              <a:gd name="connsiteX2dup0dup1dup2dup3dup4dup5dup6dup7dup8dup9dup10dup11dup12dup13dup14dup15dup16dup17dup18dup19dup20dup21dup22dup23dup24dup25dup26dup27dup28dup29dup30" fmla="*/ 0 w 2677367"/>
              <a:gd name="connsiteY2dup0dup1dup2dup3dup4dup5dup6dup7dup8dup9dup10dup11dup12dup13dup14dup15dup16dup17dup18dup19dup20dup21dup22dup23dup24dup25dup26dup27dup28dup29dup30" fmla="*/ 7767071 h 7771303"/>
              <a:gd name="connsiteX3dup0dup1dup2dup3dup4dup5dup6dup7dup8dup9dup10dup11dup12dup13dup14dup15dup16dup17dup18dup19dup20dup21dup22dup23dup24dup25dup26dup27dup28dup29dup30" fmla="*/ 0 w 2677367"/>
              <a:gd name="connsiteY3dup0dup1dup2dup3dup4dup5dup6dup7dup8dup9dup10dup11dup12dup13dup14dup15dup16dup17dup18dup19dup20dup21dup22dup23dup24dup25dup26dup27dup28dup29dup30" fmla="*/ 2917 h 7771303"/>
              <a:gd name="connsiteX4dup0dup1dup2dup3dup4dup5dup6dup7dup8dup9dup10dup11dup12dup13dup14dup15dup16dup17dup18dup19dup20dup21dup22dup23dup24dup25dup26dup27dup28dup29dup30" fmla="*/ 2280682 w 2677367"/>
              <a:gd name="connsiteY4dup0dup1dup2dup3dup4dup5dup6dup7dup8dup9dup10dup11dup12dup13dup14dup15dup16dup17dup18dup19dup20dup21dup22dup23dup24dup25dup26dup27dup28dup29dup30" fmla="*/ 0 h 7771303"/>
              <a:gd name="connsiteX5dup0dup1dup2dup3dup4dup5dup6dup7dup8dup9dup10dup11dup12dup13dup14dup15dup16dup17dup18dup19dup20dup21dup22dup23dup24dup25dup26dup27dup28dup29" fmla="*/ 2677367 w 2677367"/>
              <a:gd name="connsiteY5dup0dup1dup2dup3dup4dup5dup6dup7dup8dup9dup10dup11dup12dup13dup14dup15dup16dup17dup18dup19dup20dup21dup22dup23dup24dup25dup26dup27dup28dup29" fmla="*/ 1378876 h 7771303"/>
              <a:gd name="connsiteX0dup0dup1dup2dup3dup4dup5dup6dup7dup8dup9dup10dup11dup12dup13dup14dup15dup16dup17dup18dup19dup20dup21dup22dup23dup24dup25dup26dup27dup28dup29dup30dup31" fmla="*/ 2677367 w 2677367"/>
              <a:gd name="connsiteY0dup0dup1dup2dup3dup4dup5dup6dup7dup8dup9dup10dup11dup12dup13dup14dup15dup16dup17dup18dup19dup20dup21dup22dup23dup24dup25dup26dup27dup28dup29dup30dup31" fmla="*/ 1378876 h 7771303"/>
              <a:gd name="connsiteX1dup0dup1dup2dup3dup4dup5dup6dup7dup8dup9dup10dup11dup12dup13dup14dup15dup16dup17dup18dup19dup20dup21dup22dup23dup24dup25dup26dup27dup28dup29dup30dup31" fmla="*/ 856378 w 2677367"/>
              <a:gd name="connsiteY1dup0dup1dup2dup3dup4dup5dup6dup7dup8dup9dup10dup11dup12dup13dup14dup15dup16dup17dup18dup19dup20dup21dup22dup23dup24dup25dup26dup27dup28dup29dup30dup31" fmla="*/ 7771303 h 7771303"/>
              <a:gd name="connsiteX2dup0dup1dup2dup3dup4dup5dup6dup7dup8dup9dup10dup11dup12dup13dup14dup15dup16dup17dup18dup19dup20dup21dup22dup23dup24dup25dup26dup27dup28dup29dup30dup31" fmla="*/ 0 w 2677367"/>
              <a:gd name="connsiteY2dup0dup1dup2dup3dup4dup5dup6dup7dup8dup9dup10dup11dup12dup13dup14dup15dup16dup17dup18dup19dup20dup21dup22dup23dup24dup25dup26dup27dup28dup29dup30dup31" fmla="*/ 7767071 h 7771303"/>
              <a:gd name="connsiteX3dup0dup1dup2dup3dup4dup5dup6dup7dup8dup9dup10dup11dup12dup13dup14dup15dup16dup17dup18dup19dup20dup21dup22dup23dup24dup25dup26dup27dup28dup29dup30dup31" fmla="*/ 0 w 2677367"/>
              <a:gd name="connsiteY3dup0dup1dup2dup3dup4dup5dup6dup7dup8dup9dup10dup11dup12dup13dup14dup15dup16dup17dup18dup19dup20dup21dup22dup23dup24dup25dup26dup27dup28dup29dup30dup31" fmla="*/ 2917 h 7771303"/>
              <a:gd name="connsiteX4dup0dup1dup2dup3dup4dup5dup6dup7dup8dup9dup10dup11dup12dup13dup14dup15dup16dup17dup18dup19dup20dup21dup22dup23dup24dup25dup26dup27dup28dup29dup30dup31" fmla="*/ 2280682 w 2677367"/>
              <a:gd name="connsiteY4dup0dup1dup2dup3dup4dup5dup6dup7dup8dup9dup10dup11dup12dup13dup14dup15dup16dup17dup18dup19dup20dup21dup22dup23dup24dup25dup26dup27dup28dup29dup30dup31" fmla="*/ 0 h 7771303"/>
              <a:gd name="connsiteX5dup0dup1dup2dup3dup4dup5dup6dup7dup8dup9dup10dup11dup12dup13dup14dup15dup16dup17dup18dup19dup20dup21dup22dup23dup24dup25dup26dup27dup28dup29dup30" fmla="*/ 2677367 w 2677367"/>
              <a:gd name="connsiteY5dup0dup1dup2dup3dup4dup5dup6dup7dup8dup9dup10dup11dup12dup13dup14dup15dup16dup17dup18dup19dup20dup21dup22dup23dup24dup25dup26dup27dup28dup29dup30" fmla="*/ 1378876 h 7771303"/>
              <a:gd name="connsiteX0dup0dup1dup2dup3dup4dup5dup6dup7dup8dup9dup10dup11dup12dup13dup14dup15dup16dup17dup18dup19dup20dup21dup22dup23dup24dup25dup26dup27dup28dup29dup30dup31dup32" fmla="*/ 2677367 w 2677367"/>
              <a:gd name="connsiteY0dup0dup1dup2dup3dup4dup5dup6dup7dup8dup9dup10dup11dup12dup13dup14dup15dup16dup17dup18dup19dup20dup21dup22dup23dup24dup25dup26dup27dup28dup29dup30dup31dup32" fmla="*/ 1378876 h 7771303"/>
              <a:gd name="connsiteX1dup0dup1dup2dup3dup4dup5dup6dup7dup8dup9dup10dup11dup12dup13dup14dup15dup16dup17dup18dup19dup20dup21dup22dup23dup24dup25dup26dup27dup28dup29dup30dup31dup32" fmla="*/ 856378 w 2677367"/>
              <a:gd name="connsiteY1dup0dup1dup2dup3dup4dup5dup6dup7dup8dup9dup10dup11dup12dup13dup14dup15dup16dup17dup18dup19dup20dup21dup22dup23dup24dup25dup26dup27dup28dup29dup30dup31dup32" fmla="*/ 7771303 h 7771303"/>
              <a:gd name="connsiteX2dup0dup1dup2dup3dup4dup5dup6dup7dup8dup9dup10dup11dup12dup13dup14dup15dup16dup17dup18dup19dup20dup21dup22dup23dup24dup25dup26dup27dup28dup29dup30dup31dup32" fmla="*/ 0 w 2677367"/>
              <a:gd name="connsiteY2dup0dup1dup2dup3dup4dup5dup6dup7dup8dup9dup10dup11dup12dup13dup14dup15dup16dup17dup18dup19dup20dup21dup22dup23dup24dup25dup26dup27dup28dup29dup30dup31dup32" fmla="*/ 7767071 h 7771303"/>
              <a:gd name="connsiteX3dup0dup1dup2dup3dup4dup5dup6dup7dup8dup9dup10dup11dup12dup13dup14dup15dup16dup17dup18dup19dup20dup21dup22dup23dup24dup25dup26dup27dup28dup29dup30dup31dup32" fmla="*/ 0 w 2677367"/>
              <a:gd name="connsiteY3dup0dup1dup2dup3dup4dup5dup6dup7dup8dup9dup10dup11dup12dup13dup14dup15dup16dup17dup18dup19dup20dup21dup22dup23dup24dup25dup26dup27dup28dup29dup30dup31dup32" fmla="*/ 2917 h 7771303"/>
              <a:gd name="connsiteX4dup0dup1dup2dup3dup4dup5dup6dup7dup8dup9dup10dup11dup12dup13dup14dup15dup16dup17dup18dup19dup20dup21dup22dup23dup24dup25dup26dup27dup28dup29dup30dup31dup32" fmla="*/ 2280682 w 2677367"/>
              <a:gd name="connsiteY4dup0dup1dup2dup3dup4dup5dup6dup7dup8dup9dup10dup11dup12dup13dup14dup15dup16dup17dup18dup19dup20dup21dup22dup23dup24dup25dup26dup27dup28dup29dup30dup31dup32" fmla="*/ 0 h 7771303"/>
              <a:gd name="connsiteX5dup0dup1dup2dup3dup4dup5dup6dup7dup8dup9dup10dup11dup12dup13dup14dup15dup16dup17dup18dup19dup20dup21dup22dup23dup24dup25dup26dup27dup28dup29dup30dup31" fmla="*/ 2677367 w 2677367"/>
              <a:gd name="connsiteY5dup0dup1dup2dup3dup4dup5dup6dup7dup8dup9dup10dup11dup12dup13dup14dup15dup16dup17dup18dup19dup20dup21dup22dup23dup24dup25dup26dup27dup28dup29dup30dup31" fmla="*/ 1378876 h 7771303"/>
              <a:gd name="connsiteX0dup0dup1dup2dup3dup4dup5dup6dup7dup8dup9dup10dup11dup12dup13dup14dup15dup16dup17dup18dup19dup20dup21dup22dup23dup24dup25dup26dup27dup28dup29dup30dup31dup32dup33" fmla="*/ 2677367 w 2677367"/>
              <a:gd name="connsiteY0dup0dup1dup2dup3dup4dup5dup6dup7dup8dup9dup10dup11dup12dup13dup14dup15dup16dup17dup18dup19dup20dup21dup22dup23dup24dup25dup26dup27dup28dup29dup30dup31dup32dup33" fmla="*/ 1378876 h 7767826"/>
              <a:gd name="connsiteX1dup0dup1dup2dup3dup4dup5dup6dup7dup8dup9dup10dup11dup12dup13dup14dup15dup16dup17dup18dup19dup20dup21dup22dup23dup24dup25dup26dup27dup28dup29dup30dup31dup32dup33" fmla="*/ 856378 w 2677367"/>
              <a:gd name="connsiteY1dup0dup1dup2dup3dup4dup5dup6dup7dup8dup9dup10dup11dup12dup13dup14dup15dup16dup17dup18dup19dup20dup21dup22dup23dup24dup25dup26dup27dup28dup29dup30dup31dup32dup33" fmla="*/ 7767826 h 7767826"/>
              <a:gd name="connsiteX2dup0dup1dup2dup3dup4dup5dup6dup7dup8dup9dup10dup11dup12dup13dup14dup15dup16dup17dup18dup19dup20dup21dup22dup23dup24dup25dup26dup27dup28dup29dup30dup31dup32dup33" fmla="*/ 0 w 2677367"/>
              <a:gd name="connsiteY2dup0dup1dup2dup3dup4dup5dup6dup7dup8dup9dup10dup11dup12dup13dup14dup15dup16dup17dup18dup19dup20dup21dup22dup23dup24dup25dup26dup27dup28dup29dup30dup31dup32dup33" fmla="*/ 7767071 h 7767826"/>
              <a:gd name="connsiteX3dup0dup1dup2dup3dup4dup5dup6dup7dup8dup9dup10dup11dup12dup13dup14dup15dup16dup17dup18dup19dup20dup21dup22dup23dup24dup25dup26dup27dup28dup29dup30dup31dup32dup33" fmla="*/ 0 w 2677367"/>
              <a:gd name="connsiteY3dup0dup1dup2dup3dup4dup5dup6dup7dup8dup9dup10dup11dup12dup13dup14dup15dup16dup17dup18dup19dup20dup21dup22dup23dup24dup25dup26dup27dup28dup29dup30dup31dup32dup33" fmla="*/ 2917 h 7767826"/>
              <a:gd name="connsiteX4dup0dup1dup2dup3dup4dup5dup6dup7dup8dup9dup10dup11dup12dup13dup14dup15dup16dup17dup18dup19dup20dup21dup22dup23dup24dup25dup26dup27dup28dup29dup30dup31dup32dup33" fmla="*/ 2280682 w 2677367"/>
              <a:gd name="connsiteY4dup0dup1dup2dup3dup4dup5dup6dup7dup8dup9dup10dup11dup12dup13dup14dup15dup16dup17dup18dup19dup20dup21dup22dup23dup24dup25dup26dup27dup28dup29dup30dup31dup32dup33" fmla="*/ 0 h 7767826"/>
              <a:gd name="connsiteX5dup0dup1dup2dup3dup4dup5dup6dup7dup8dup9dup10dup11dup12dup13dup14dup15dup16dup17dup18dup19dup20dup21dup22dup23dup24dup25dup26dup27dup28dup29dup30dup31dup32" fmla="*/ 2677367 w 2677367"/>
              <a:gd name="connsiteY5dup0dup1dup2dup3dup4dup5dup6dup7dup8dup9dup10dup11dup12dup13dup14dup15dup16dup17dup18dup19dup20dup21dup22dup23dup24dup25dup26dup27dup28dup29dup30dup31dup32" fmla="*/ 1378876 h 7767826"/>
              <a:gd name="connsiteX0dup0dup1dup2dup3dup4dup5dup6dup7dup8dup9dup10dup11dup12dup13dup14dup15dup16dup17dup18dup19dup20dup21dup22dup23dup24dup25dup26dup27dup28dup29dup30dup31dup32dup33dup34" fmla="*/ 2677367 w 2677367"/>
              <a:gd name="connsiteY0dup0dup1dup2dup3dup4dup5dup6dup7dup8dup9dup10dup11dup12dup13dup14dup15dup16dup17dup18dup19dup20dup21dup22dup23dup24dup25dup26dup27dup28dup29dup30dup31dup32dup33dup34" fmla="*/ 1378876 h 7774780"/>
              <a:gd name="connsiteX1dup0dup1dup2dup3dup4dup5dup6dup7dup8dup9dup10dup11dup12dup13dup14dup15dup16dup17dup18dup19dup20dup21dup22dup23dup24dup25dup26dup27dup28dup29dup30dup31dup32dup33dup34" fmla="*/ 856378 w 2677367"/>
              <a:gd name="connsiteY1dup0dup1dup2dup3dup4dup5dup6dup7dup8dup9dup10dup11dup12dup13dup14dup15dup16dup17dup18dup19dup20dup21dup22dup23dup24dup25dup26dup27dup28dup29dup30dup31dup32dup33dup34" fmla="*/ 7774780 h 7774780"/>
              <a:gd name="connsiteX2dup0dup1dup2dup3dup4dup5dup6dup7dup8dup9dup10dup11dup12dup13dup14dup15dup16dup17dup18dup19dup20dup21dup22dup23dup24dup25dup26dup27dup28dup29dup30dup31dup32dup33dup34" fmla="*/ 0 w 2677367"/>
              <a:gd name="connsiteY2dup0dup1dup2dup3dup4dup5dup6dup7dup8dup9dup10dup11dup12dup13dup14dup15dup16dup17dup18dup19dup20dup21dup22dup23dup24dup25dup26dup27dup28dup29dup30dup31dup32dup33dup34" fmla="*/ 7767071 h 7774780"/>
              <a:gd name="connsiteX3dup0dup1dup2dup3dup4dup5dup6dup7dup8dup9dup10dup11dup12dup13dup14dup15dup16dup17dup18dup19dup20dup21dup22dup23dup24dup25dup26dup27dup28dup29dup30dup31dup32dup33dup34" fmla="*/ 0 w 2677367"/>
              <a:gd name="connsiteY3dup0dup1dup2dup3dup4dup5dup6dup7dup8dup9dup10dup11dup12dup13dup14dup15dup16dup17dup18dup19dup20dup21dup22dup23dup24dup25dup26dup27dup28dup29dup30dup31dup32dup33dup34" fmla="*/ 2917 h 7774780"/>
              <a:gd name="connsiteX4dup0dup1dup2dup3dup4dup5dup6dup7dup8dup9dup10dup11dup12dup13dup14dup15dup16dup17dup18dup19dup20dup21dup22dup23dup24dup25dup26dup27dup28dup29dup30dup31dup32dup33dup34" fmla="*/ 2280682 w 2677367"/>
              <a:gd name="connsiteY4dup0dup1dup2dup3dup4dup5dup6dup7dup8dup9dup10dup11dup12dup13dup14dup15dup16dup17dup18dup19dup20dup21dup22dup23dup24dup25dup26dup27dup28dup29dup30dup31dup32dup33dup34" fmla="*/ 0 h 7774780"/>
              <a:gd name="connsiteX5dup0dup1dup2dup3dup4dup5dup6dup7dup8dup9dup10dup11dup12dup13dup14dup15dup16dup17dup18dup19dup20dup21dup22dup23dup24dup25dup26dup27dup28dup29dup30dup31dup32dup33" fmla="*/ 2677367 w 2677367"/>
              <a:gd name="connsiteY5dup0dup1dup2dup3dup4dup5dup6dup7dup8dup9dup10dup11dup12dup13dup14dup15dup16dup17dup18dup19dup20dup21dup22dup23dup24dup25dup26dup27dup28dup29dup30dup31dup32dup33" fmla="*/ 1378876 h 7774780"/>
              <a:gd name="connsiteX0dup0dup1dup2dup3dup4dup5dup6dup7dup8dup9dup10dup11dup12dup13dup14dup15dup16dup17dup18dup19dup20dup21dup22dup23dup24dup25dup26dup27dup28dup29dup30dup31dup32dup33dup34dup35" fmla="*/ 2677367 w 2677367"/>
              <a:gd name="connsiteY0dup0dup1dup2dup3dup4dup5dup6dup7dup8dup9dup10dup11dup12dup13dup14dup15dup16dup17dup18dup19dup20dup21dup22dup23dup24dup25dup26dup27dup28dup29dup30dup31dup32dup33dup34dup35" fmla="*/ 1378876 h 7777502"/>
              <a:gd name="connsiteX1dup0dup1dup2dup3dup4dup5dup6dup7dup8dup9dup10dup11dup12dup13dup14dup15dup16dup17dup18dup19dup20dup21dup22dup23dup24dup25dup26dup27dup28dup29dup30dup31dup32dup33dup34dup35" fmla="*/ 856378 w 2677367"/>
              <a:gd name="connsiteY1dup0dup1dup2dup3dup4dup5dup6dup7dup8dup9dup10dup11dup12dup13dup14dup15dup16dup17dup18dup19dup20dup21dup22dup23dup24dup25dup26dup27dup28dup29dup30dup31dup32dup33dup34dup35" fmla="*/ 7774780 h 7777502"/>
              <a:gd name="connsiteX2dup0dup1dup2dup3dup4dup5dup6dup7dup8dup9dup10dup11dup12dup13dup14dup15dup16dup17dup18dup19dup20dup21dup22dup23dup24dup25dup26dup27dup28dup29dup30dup31dup32dup33dup34dup35" fmla="*/ 0 w 2677367"/>
              <a:gd name="connsiteY2dup0dup1dup2dup3dup4dup5dup6dup7dup8dup9dup10dup11dup12dup13dup14dup15dup16dup17dup18dup19dup20dup21dup22dup23dup24dup25dup26dup27dup28dup29dup30dup31dup32dup33dup34dup35" fmla="*/ 7777502 h 7777502"/>
              <a:gd name="connsiteX3dup0dup1dup2dup3dup4dup5dup6dup7dup8dup9dup10dup11dup12dup13dup14dup15dup16dup17dup18dup19dup20dup21dup22dup23dup24dup25dup26dup27dup28dup29dup30dup31dup32dup33dup34dup35" fmla="*/ 0 w 2677367"/>
              <a:gd name="connsiteY3dup0dup1dup2dup3dup4dup5dup6dup7dup8dup9dup10dup11dup12dup13dup14dup15dup16dup17dup18dup19dup20dup21dup22dup23dup24dup25dup26dup27dup28dup29dup30dup31dup32dup33dup34dup35" fmla="*/ 2917 h 7777502"/>
              <a:gd name="connsiteX4dup0dup1dup2dup3dup4dup5dup6dup7dup8dup9dup10dup11dup12dup13dup14dup15dup16dup17dup18dup19dup20dup21dup22dup23dup24dup25dup26dup27dup28dup29dup30dup31dup32dup33dup34dup35" fmla="*/ 2280682 w 2677367"/>
              <a:gd name="connsiteY4dup0dup1dup2dup3dup4dup5dup6dup7dup8dup9dup10dup11dup12dup13dup14dup15dup16dup17dup18dup19dup20dup21dup22dup23dup24dup25dup26dup27dup28dup29dup30dup31dup32dup33dup34dup35" fmla="*/ 0 h 7777502"/>
              <a:gd name="connsiteX5dup0dup1dup2dup3dup4dup5dup6dup7dup8dup9dup10dup11dup12dup13dup14dup15dup16dup17dup18dup19dup20dup21dup22dup23dup24dup25dup26dup27dup28dup29dup30dup31dup32dup33dup34" fmla="*/ 2677367 w 2677367"/>
              <a:gd name="connsiteY5dup0dup1dup2dup3dup4dup5dup6dup7dup8dup9dup10dup11dup12dup13dup14dup15dup16dup17dup18dup19dup20dup21dup22dup23dup24dup25dup26dup27dup28dup29dup30dup31dup32dup33dup34" fmla="*/ 1378876 h 7777502"/>
              <a:gd name="connsiteX0dup0dup1dup2dup3dup4dup5dup6dup7dup8dup9dup10dup11dup12dup13dup14dup15dup16dup17dup18dup19dup20dup21dup22dup23dup24dup25dup26dup27dup28dup29dup30dup31dup32dup33dup34dup35dup36" fmla="*/ 2677367 w 2677367"/>
              <a:gd name="connsiteY0dup0dup1dup2dup3dup4dup5dup6dup7dup8dup9dup10dup11dup12dup13dup14dup15dup16dup17dup18dup19dup20dup21dup22dup23dup24dup25dup26dup27dup28dup29dup30dup31dup32dup33dup34dup35dup36" fmla="*/ 1378876 h 7774780"/>
              <a:gd name="connsiteX1dup0dup1dup2dup3dup4dup5dup6dup7dup8dup9dup10dup11dup12dup13dup14dup15dup16dup17dup18dup19dup20dup21dup22dup23dup24dup25dup26dup27dup28dup29dup30dup31dup32dup33dup34dup35dup36" fmla="*/ 856378 w 2677367"/>
              <a:gd name="connsiteY1dup0dup1dup2dup3dup4dup5dup6dup7dup8dup9dup10dup11dup12dup13dup14dup15dup16dup17dup18dup19dup20dup21dup22dup23dup24dup25dup26dup27dup28dup29dup30dup31dup32dup33dup34dup35dup36" fmla="*/ 7774780 h 7774780"/>
              <a:gd name="connsiteX2dup0dup1dup2dup3dup4dup5dup6dup7dup8dup9dup10dup11dup12dup13dup14dup15dup16dup17dup18dup19dup20dup21dup22dup23dup24dup25dup26dup27dup28dup29dup30dup31dup32dup33dup34dup35dup36" fmla="*/ 3477 w 2677367"/>
              <a:gd name="connsiteY2dup0dup1dup2dup3dup4dup5dup6dup7dup8dup9dup10dup11dup12dup13dup14dup15dup16dup17dup18dup19dup20dup21dup22dup23dup24dup25dup26dup27dup28dup29dup30dup31dup32dup33dup34dup35dup36" fmla="*/ 7770548 h 7774780"/>
              <a:gd name="connsiteX3dup0dup1dup2dup3dup4dup5dup6dup7dup8dup9dup10dup11dup12dup13dup14dup15dup16dup17dup18dup19dup20dup21dup22dup23dup24dup25dup26dup27dup28dup29dup30dup31dup32dup33dup34dup35dup36" fmla="*/ 0 w 2677367"/>
              <a:gd name="connsiteY3dup0dup1dup2dup3dup4dup5dup6dup7dup8dup9dup10dup11dup12dup13dup14dup15dup16dup17dup18dup19dup20dup21dup22dup23dup24dup25dup26dup27dup28dup29dup30dup31dup32dup33dup34dup35dup36" fmla="*/ 2917 h 7774780"/>
              <a:gd name="connsiteX4dup0dup1dup2dup3dup4dup5dup6dup7dup8dup9dup10dup11dup12dup13dup14dup15dup16dup17dup18dup19dup20dup21dup22dup23dup24dup25dup26dup27dup28dup29dup30dup31dup32dup33dup34dup35dup36" fmla="*/ 2280682 w 2677367"/>
              <a:gd name="connsiteY4dup0dup1dup2dup3dup4dup5dup6dup7dup8dup9dup10dup11dup12dup13dup14dup15dup16dup17dup18dup19dup20dup21dup22dup23dup24dup25dup26dup27dup28dup29dup30dup31dup32dup33dup34dup35dup36" fmla="*/ 0 h 7774780"/>
              <a:gd name="connsiteX5dup0dup1dup2dup3dup4dup5dup6dup7dup8dup9dup10dup11dup12dup13dup14dup15dup16dup17dup18dup19dup20dup21dup22dup23dup24dup25dup26dup27dup28dup29dup30dup31dup32dup33dup34dup35" fmla="*/ 2677367 w 2677367"/>
              <a:gd name="connsiteY5dup0dup1dup2dup3dup4dup5dup6dup7dup8dup9dup10dup11dup12dup13dup14dup15dup16dup17dup18dup19dup20dup21dup22dup23dup24dup25dup26dup27dup28dup29dup30dup31dup32dup33dup34dup35" fmla="*/ 1378876 h 7774780"/>
              <a:gd name="connsiteX0dup0dup1dup2dup3dup4dup5dup6dup7dup8dup9dup10dup11dup12dup13dup14dup15dup16dup17dup18dup19dup20dup21dup22dup23dup24dup25dup26dup27dup28dup29dup30dup31dup32dup33dup34dup35dup36dup37" fmla="*/ 2677367 w 2677367"/>
              <a:gd name="connsiteY0dup0dup1dup2dup3dup4dup5dup6dup7dup8dup9dup10dup11dup12dup13dup14dup15dup16dup17dup18dup19dup20dup21dup22dup23dup24dup25dup26dup27dup28dup29dup30dup31dup32dup33dup34dup35dup36dup37" fmla="*/ 1378876 h 7774780"/>
              <a:gd name="connsiteX1dup0dup1dup2dup3dup4dup5dup6dup7dup8dup9dup10dup11dup12dup13dup14dup15dup16dup17dup18dup19dup20dup21dup22dup23dup24dup25dup26dup27dup28dup29dup30dup31dup32dup33dup34dup35dup36dup37" fmla="*/ 856378 w 2677367"/>
              <a:gd name="connsiteY1dup0dup1dup2dup3dup4dup5dup6dup7dup8dup9dup10dup11dup12dup13dup14dup15dup16dup17dup18dup19dup20dup21dup22dup23dup24dup25dup26dup27dup28dup29dup30dup31dup32dup33dup34dup35dup36dup37" fmla="*/ 7774780 h 7774780"/>
              <a:gd name="connsiteX2dup0dup1dup2dup3dup4dup5dup6dup7dup8dup9dup10dup11dup12dup13dup14dup15dup16dup17dup18dup19dup20dup21dup22dup23dup24dup25dup26dup27dup28dup29dup30dup31dup32dup33dup34dup35dup36dup37" fmla="*/ 3477 w 2677367"/>
              <a:gd name="connsiteY2dup0dup1dup2dup3dup4dup5dup6dup7dup8dup9dup10dup11dup12dup13dup14dup15dup16dup17dup18dup19dup20dup21dup22dup23dup24dup25dup26dup27dup28dup29dup30dup31dup32dup33dup34dup35dup36dup37" fmla="*/ 7774024 h 7774780"/>
              <a:gd name="connsiteX3dup0dup1dup2dup3dup4dup5dup6dup7dup8dup9dup10dup11dup12dup13dup14dup15dup16dup17dup18dup19dup20dup21dup22dup23dup24dup25dup26dup27dup28dup29dup30dup31dup32dup33dup34dup35dup36dup37" fmla="*/ 0 w 2677367"/>
              <a:gd name="connsiteY3dup0dup1dup2dup3dup4dup5dup6dup7dup8dup9dup10dup11dup12dup13dup14dup15dup16dup17dup18dup19dup20dup21dup22dup23dup24dup25dup26dup27dup28dup29dup30dup31dup32dup33dup34dup35dup36dup37" fmla="*/ 2917 h 7774780"/>
              <a:gd name="connsiteX4dup0dup1dup2dup3dup4dup5dup6dup7dup8dup9dup10dup11dup12dup13dup14dup15dup16dup17dup18dup19dup20dup21dup22dup23dup24dup25dup26dup27dup28dup29dup30dup31dup32dup33dup34dup35dup36dup37" fmla="*/ 2280682 w 2677367"/>
              <a:gd name="connsiteY4dup0dup1dup2dup3dup4dup5dup6dup7dup8dup9dup10dup11dup12dup13dup14dup15dup16dup17dup18dup19dup20dup21dup22dup23dup24dup25dup26dup27dup28dup29dup30dup31dup32dup33dup34dup35dup36dup37" fmla="*/ 0 h 7774780"/>
              <a:gd name="connsiteX5dup0dup1dup2dup3dup4dup5dup6dup7dup8dup9dup10dup11dup12dup13dup14dup15dup16dup17dup18dup19dup20dup21dup22dup23dup24dup25dup26dup27dup28dup29dup30dup31dup32dup33dup34dup35dup36" fmla="*/ 2677367 w 2677367"/>
              <a:gd name="connsiteY5dup0dup1dup2dup3dup4dup5dup6dup7dup8dup9dup10dup11dup12dup13dup14dup15dup16dup17dup18dup19dup20dup21dup22dup23dup24dup25dup26dup27dup28dup29dup30dup31dup32dup33dup34dup35dup36" fmla="*/ 1378876 h 7774780"/>
              <a:gd name="connsiteX0dup0dup1dup2dup3dup4dup5dup6dup7dup8dup9dup10dup11dup12dup13dup14dup15dup16dup17dup18dup19dup20dup21dup22dup23dup24dup25dup26dup27dup28dup29dup30dup31dup32dup33dup34dup35dup36dup37dup38" fmla="*/ 2673890 w 2673890"/>
              <a:gd name="connsiteY0dup0dup1dup2dup3dup4dup5dup6dup7dup8dup9dup10dup11dup12dup13dup14dup15dup16dup17dup18dup19dup20dup21dup22dup23dup24dup25dup26dup27dup28dup29dup30dup31dup32dup33dup34dup35dup36dup37dup38" fmla="*/ 1378876 h 7774780"/>
              <a:gd name="connsiteX1dup0dup1dup2dup3dup4dup5dup6dup7dup8dup9dup10dup11dup12dup13dup14dup15dup16dup17dup18dup19dup20dup21dup22dup23dup24dup25dup26dup27dup28dup29dup30dup31dup32dup33dup34dup35dup36dup37dup38" fmla="*/ 852901 w 2673890"/>
              <a:gd name="connsiteY1dup0dup1dup2dup3dup4dup5dup6dup7dup8dup9dup10dup11dup12dup13dup14dup15dup16dup17dup18dup19dup20dup21dup22dup23dup24dup25dup26dup27dup28dup29dup30dup31dup32dup33dup34dup35dup36dup37dup38" fmla="*/ 7774780 h 7774780"/>
              <a:gd name="connsiteX2dup0dup1dup2dup3dup4dup5dup6dup7dup8dup9dup10dup11dup12dup13dup14dup15dup16dup17dup18dup19dup20dup21dup22dup23dup24dup25dup26dup27dup28dup29dup30dup31dup32dup33dup34dup35dup36dup37dup38" fmla="*/ 0 w 2673890"/>
              <a:gd name="connsiteY2dup0dup1dup2dup3dup4dup5dup6dup7dup8dup9dup10dup11dup12dup13dup14dup15dup16dup17dup18dup19dup20dup21dup22dup23dup24dup25dup26dup27dup28dup29dup30dup31dup32dup33dup34dup35dup36dup37dup38" fmla="*/ 7774024 h 7774780"/>
              <a:gd name="connsiteX3dup0dup1dup2dup3dup4dup5dup6dup7dup8dup9dup10dup11dup12dup13dup14dup15dup16dup17dup18dup19dup20dup21dup22dup23dup24dup25dup26dup27dup28dup29dup30dup31dup32dup33dup34dup35dup36dup37dup38" fmla="*/ 305959 w 2673890"/>
              <a:gd name="connsiteY3dup0dup1dup2dup3dup4dup5dup6dup7dup8dup9dup10dup11dup12dup13dup14dup15dup16dup17dup18dup19dup20dup21dup22dup23dup24dup25dup26dup27dup28dup29dup30dup31dup32dup33dup34dup35dup36dup37dup38" fmla="*/ 298446 h 7774780"/>
              <a:gd name="connsiteX4dup0dup1dup2dup3dup4dup5dup6dup7dup8dup9dup10dup11dup12dup13dup14dup15dup16dup17dup18dup19dup20dup21dup22dup23dup24dup25dup26dup27dup28dup29dup30dup31dup32dup33dup34dup35dup36dup37dup38" fmla="*/ 2277205 w 2673890"/>
              <a:gd name="connsiteY4dup0dup1dup2dup3dup4dup5dup6dup7dup8dup9dup10dup11dup12dup13dup14dup15dup16dup17dup18dup19dup20dup21dup22dup23dup24dup25dup26dup27dup28dup29dup30dup31dup32dup33dup34dup35dup36dup37dup38" fmla="*/ 0 h 7774780"/>
              <a:gd name="connsiteX5dup0dup1dup2dup3dup4dup5dup6dup7dup8dup9dup10dup11dup12dup13dup14dup15dup16dup17dup18dup19dup20dup21dup22dup23dup24dup25dup26dup27dup28dup29dup30dup31dup32dup33dup34dup35dup36dup37" fmla="*/ 2673890 w 2673890"/>
              <a:gd name="connsiteY5dup0dup1dup2dup3dup4dup5dup6dup7dup8dup9dup10dup11dup12dup13dup14dup15dup16dup17dup18dup19dup20dup21dup22dup23dup24dup25dup26dup27dup28dup29dup30dup31dup32dup33dup34dup35dup36dup37" fmla="*/ 1378876 h 7774780"/>
              <a:gd name="connsiteX0dup0dup1dup2dup3dup4dup5dup6dup7dup8dup9dup10dup11dup12dup13dup14dup15dup16dup17dup18dup19dup20dup21dup22dup23dup24dup25dup26dup27dup28dup29dup30dup31dup32dup33dup34dup35dup36dup37dup38dup39" fmla="*/ 2673890 w 2673890"/>
              <a:gd name="connsiteY0dup0dup1dup2dup3dup4dup5dup6dup7dup8dup9dup10dup11dup12dup13dup14dup15dup16dup17dup18dup19dup20dup21dup22dup23dup24dup25dup26dup27dup28dup29dup30dup31dup32dup33dup34dup35dup36dup37dup38dup39" fmla="*/ 1386389 h 7782293"/>
              <a:gd name="connsiteX1dup0dup1dup2dup3dup4dup5dup6dup7dup8dup9dup10dup11dup12dup13dup14dup15dup16dup17dup18dup19dup20dup21dup22dup23dup24dup25dup26dup27dup28dup29dup30dup31dup32dup33dup34dup35dup36dup37dup38dup39" fmla="*/ 852901 w 2673890"/>
              <a:gd name="connsiteY1dup0dup1dup2dup3dup4dup5dup6dup7dup8dup9dup10dup11dup12dup13dup14dup15dup16dup17dup18dup19dup20dup21dup22dup23dup24dup25dup26dup27dup28dup29dup30dup31dup32dup33dup34dup35dup36dup37dup38dup39" fmla="*/ 7782293 h 7782293"/>
              <a:gd name="connsiteX2dup0dup1dup2dup3dup4dup5dup6dup7dup8dup9dup10dup11dup12dup13dup14dup15dup16dup17dup18dup19dup20dup21dup22dup23dup24dup25dup26dup27dup28dup29dup30dup31dup32dup33dup34dup35dup36dup37dup38dup39" fmla="*/ 0 w 2673890"/>
              <a:gd name="connsiteY2dup0dup1dup2dup3dup4dup5dup6dup7dup8dup9dup10dup11dup12dup13dup14dup15dup16dup17dup18dup19dup20dup21dup22dup23dup24dup25dup26dup27dup28dup29dup30dup31dup32dup33dup34dup35dup36dup37dup38dup39" fmla="*/ 7781537 h 7782293"/>
              <a:gd name="connsiteX3dup0dup1dup2dup3dup4dup5dup6dup7dup8dup9dup10dup11dup12dup13dup14dup15dup16dup17dup18dup19dup20dup21dup22dup23dup24dup25dup26dup27dup28dup29dup30dup31dup32dup33dup34dup35dup36dup37dup38dup39" fmla="*/ 0 w 2673890"/>
              <a:gd name="connsiteY3dup0dup1dup2dup3dup4dup5dup6dup7dup8dup9dup10dup11dup12dup13dup14dup15dup16dup17dup18dup19dup20dup21dup22dup23dup24dup25dup26dup27dup28dup29dup30dup31dup32dup33dup34dup35dup36dup37dup38dup39" fmla="*/ 0 h 7782293"/>
              <a:gd name="connsiteX4dup0dup1dup2dup3dup4dup5dup6dup7dup8dup9dup10dup11dup12dup13dup14dup15dup16dup17dup18dup19dup20dup21dup22dup23dup24dup25dup26dup27dup28dup29dup30dup31dup32dup33dup34dup35dup36dup37dup38dup39" fmla="*/ 2277205 w 2673890"/>
              <a:gd name="connsiteY4dup0dup1dup2dup3dup4dup5dup6dup7dup8dup9dup10dup11dup12dup13dup14dup15dup16dup17dup18dup19dup20dup21dup22dup23dup24dup25dup26dup27dup28dup29dup30dup31dup32dup33dup34dup35dup36dup37dup38dup39" fmla="*/ 7513 h 7782293"/>
              <a:gd name="connsiteX5dup0dup1dup2dup3dup4dup5dup6dup7dup8dup9dup10dup11dup12dup13dup14dup15dup16dup17dup18dup19dup20dup21dup22dup23dup24dup25dup26dup27dup28dup29dup30dup31dup32dup33dup34dup35dup36dup37dup38" fmla="*/ 2673890 w 2673890"/>
              <a:gd name="connsiteY5dup0dup1dup2dup3dup4dup5dup6dup7dup8dup9dup10dup11dup12dup13dup14dup15dup16dup17dup18dup19dup20dup21dup22dup23dup24dup25dup26dup27dup28dup29dup30dup31dup32dup33dup34dup35dup36dup37dup38" fmla="*/ 1386389 h 7782293"/>
            </a:gdLst>
            <a:cxnLst>
              <a:cxn ang="0">
                <a:pos x="connsiteX0dup0dup1dup2dup3dup4dup5dup6dup7dup8dup9dup10dup11dup12dup13dup14dup15dup16dup17dup18dup19dup20dup21dup22dup23dup24dup25dup26dup27dup28dup29dup30dup31dup32dup33dup34dup35dup36dup37dup38dup39" y="connsiteY0dup0dup1dup2dup3dup4dup5dup6dup7dup8dup9dup10dup11dup12dup13dup14dup15dup16dup17dup18dup19dup20dup21dup22dup23dup24dup25dup26dup27dup28dup29dup30dup31dup32dup33dup34dup35dup36dup37dup38dup39"/>
              </a:cxn>
              <a:cxn ang="0">
                <a:pos x="connsiteX1dup0dup1dup2dup3dup4dup5dup6dup7dup8dup9dup10dup11dup12dup13dup14dup15dup16dup17dup18dup19dup20dup21dup22dup23dup24dup25dup26dup27dup28dup29dup30dup31dup32dup33dup34dup35dup36dup37dup38dup39" y="connsiteY1dup0dup1dup2dup3dup4dup5dup6dup7dup8dup9dup10dup11dup12dup13dup14dup15dup16dup17dup18dup19dup20dup21dup22dup23dup24dup25dup26dup27dup28dup29dup30dup31dup32dup33dup34dup35dup36dup37dup38dup39"/>
              </a:cxn>
              <a:cxn ang="0">
                <a:pos x="connsiteX2dup0dup1dup2dup3dup4dup5dup6dup7dup8dup9dup10dup11dup12dup13dup14dup15dup16dup17dup18dup19dup20dup21dup22dup23dup24dup25dup26dup27dup28dup29dup30dup31dup32dup33dup34dup35dup36dup37dup38dup39" y="connsiteY2dup0dup1dup2dup3dup4dup5dup6dup7dup8dup9dup10dup11dup12dup13dup14dup15dup16dup17dup18dup19dup20dup21dup22dup23dup24dup25dup26dup27dup28dup29dup30dup31dup32dup33dup34dup35dup36dup37dup38dup39"/>
              </a:cxn>
              <a:cxn ang="0">
                <a:pos x="connsiteX3dup0dup1dup2dup3dup4dup5dup6dup7dup8dup9dup10dup11dup12dup13dup14dup15dup16dup17dup18dup19dup20dup21dup22dup23dup24dup25dup26dup27dup28dup29dup30dup31dup32dup33dup34dup35dup36dup37dup38dup39" y="connsiteY3dup0dup1dup2dup3dup4dup5dup6dup7dup8dup9dup10dup11dup12dup13dup14dup15dup16dup17dup18dup19dup20dup21dup22dup23dup24dup25dup26dup27dup28dup29dup30dup31dup32dup33dup34dup35dup36dup37dup38dup39"/>
              </a:cxn>
              <a:cxn ang="0">
                <a:pos x="connsiteX4dup0dup1dup2dup3dup4dup5dup6dup7dup8dup9dup10dup11dup12dup13dup14dup15dup16dup17dup18dup19dup20dup21dup22dup23dup24dup25dup26dup27dup28dup29dup30dup31dup32dup33dup34dup35dup36dup37dup38dup39" y="connsiteY4dup0dup1dup2dup3dup4dup5dup6dup7dup8dup9dup10dup11dup12dup13dup14dup15dup16dup17dup18dup19dup20dup21dup22dup23dup24dup25dup26dup27dup28dup29dup30dup31dup32dup33dup34dup35dup36dup37dup38dup39"/>
              </a:cxn>
              <a:cxn ang="0">
                <a:pos x="connsiteX5dup0dup1dup2dup3dup4dup5dup6dup7dup8dup9dup10dup11dup12dup13dup14dup15dup16dup17dup18dup19dup20dup21dup22dup23dup24dup25dup26dup27dup28dup29dup30dup31dup32dup33dup34dup35dup36dup37dup38" y="connsiteY5dup0dup1dup2dup3dup4dup5dup6dup7dup8dup9dup10dup11dup12dup13dup14dup15dup16dup17dup18dup19dup20dup21dup22dup23dup24dup25dup26dup27dup28dup29dup30dup31dup32dup33dup34dup35dup36dup37dup38"/>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ln>
        </p:spPr>
        <p:txBody>
          <a:bodyPr anchor="ctr"/>
          <a:lstStyle>
            <a:lvl1pPr marL="91440" indent="0" algn="l">
              <a:spcBef>
                <a:spcPct val="0"/>
              </a:spcBef>
              <a:buFontTx/>
              <a:buNone/>
              <a:defRPr sz="1100" b="1" baseline="0">
                <a:solidFill>
                  <a:schemeClr val="bg1"/>
                </a:solidFill>
              </a:defRPr>
            </a:lvl1pPr>
          </a:lstStyle>
          <a:p>
            <a:r>
              <a:rPr lang="en-US" dirty="1" smtClean="0"/>
              <a:t>Click icon to </a:t>
            </a:r>
            <a:br>
              <a:rPr lang="en-US" dirty="1" smtClean="0"/>
            </a:br>
            <a:r>
              <a:rPr lang="en-US" dirty="1" smtClean="0"/>
              <a:t>insert picture</a:t>
            </a:r>
            <a:endParaRPr lang="en-US"/>
          </a:p>
        </p:txBody>
      </p:sp>
    </p:spTree>
    <p:extLst>
      <p:ext uri="{BB962C8B-B14F-4D97-AF65-F5344CB8AC3E}">
        <p14:creationId xmlns:p14="http://schemas.microsoft.com/office/powerpoint/2010/main" val="28460829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5616" userDrawn="1">
          <p15:clr>
            <a:srgbClr val="FBAE40"/>
          </p15:clr>
        </p15:guide>
        <p15:guide id="2" pos="160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Highlight Column + Main Colum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9">
                  <p:embed/>
                </p:oleObj>
              </mc:Choice>
              <mc:Fallback>
                <p:oleObj name="think-cell Slide" progId="TCLayout.ActiveDocument.1" r:id="rId7" spid="_x0000_s1049">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
        <p:nvSpPr>
          <p:cNvPr id="3" name="Content Placeholder 2"/>
          <p:cNvSpPr>
            <a:spLocks noGrp="1"/>
          </p:cNvSpPr>
          <p:nvPr>
            <p:ph sz="half" idx="1"/>
          </p:nvPr>
        </p:nvSpPr>
        <p:spPr>
          <a:xfrm>
            <a:off x="351693" y="1161202"/>
            <a:ext cx="2146958" cy="3602886"/>
          </a:xfrm>
        </p:spPr>
        <p:txBody>
          <a:bodyPr>
            <a:noAutofit/>
          </a:bodyPr>
          <a:lstStyle>
            <a:lvl1pPr marL="0" indent="0">
              <a:buNone/>
              <a:defRPr sz="1800" b="1">
                <a:solidFill>
                  <a:schemeClr val="accent1"/>
                </a:solidFill>
              </a:defRPr>
            </a:lvl1pPr>
            <a:lvl2pPr marL="404813" indent="-171450">
              <a:defRPr sz="1800">
                <a:solidFill>
                  <a:schemeClr val="accent1"/>
                </a:solidFill>
              </a:defRPr>
            </a:lvl2pPr>
            <a:lvl3pPr marL="574675" indent="-117475">
              <a:defRPr sz="1600">
                <a:solidFill>
                  <a:schemeClr val="accent1"/>
                </a:solidFill>
              </a:defRPr>
            </a:lvl3pPr>
            <a:lvl4pPr marL="798513" indent="-171450">
              <a:defRPr sz="1400">
                <a:solidFill>
                  <a:schemeClr val="accent1"/>
                </a:solidFill>
              </a:defRPr>
            </a:lvl4pPr>
            <a:lvl5pPr marL="914400" indent="-117475">
              <a:defRPr sz="1400">
                <a:solidFill>
                  <a:schemeClr val="accent1"/>
                </a:solidFill>
              </a:defRPr>
            </a:lvl5pPr>
            <a:lvl6pPr>
              <a:defRPr sz="1500"/>
            </a:lvl6pPr>
            <a:lvl7pPr>
              <a:defRPr sz="1500"/>
            </a:lvl7pPr>
            <a:lvl8pPr>
              <a:defRPr sz="1500"/>
            </a:lvl8pPr>
            <a:lvl9pPr>
              <a:defRPr sz="1500"/>
            </a:lvl9pPr>
          </a:lstStyle>
          <a:p>
            <a:pPr lvl="0"/>
            <a:r>
              <a:rPr lang="en-US" dirty="1" smtClean="0"/>
              <a:t>Edit Master text styles</a:t>
            </a:r>
          </a:p>
        </p:txBody>
      </p:sp>
      <p:sp>
        <p:nvSpPr>
          <p:cNvPr id="4" name="Content Placeholder 3"/>
          <p:cNvSpPr>
            <a:spLocks noGrp="1"/>
          </p:cNvSpPr>
          <p:nvPr>
            <p:ph sz="half" idx="2"/>
          </p:nvPr>
        </p:nvSpPr>
        <p:spPr>
          <a:xfrm>
            <a:off x="2679405" y="1161202"/>
            <a:ext cx="6112904" cy="3602886"/>
          </a:xfrm>
        </p:spPr>
        <p:txBody>
          <a:bodyPr>
            <a:noAutofit/>
          </a:bodyPr>
          <a:lstStyle>
            <a:lvl1pPr marL="287338" indent="-287338">
              <a:defRPr sz="2000"/>
            </a:lvl1pPr>
            <a:lvl2pPr>
              <a:defRPr sz="1700"/>
            </a:lvl2pPr>
            <a:lvl3pPr>
              <a:defRPr sz="1500"/>
            </a:lvl3pPr>
            <a:lvl4pPr>
              <a:defRPr sz="1400"/>
            </a:lvl4pPr>
            <a:lvl5pPr>
              <a:defRPr sz="1400"/>
            </a:lvl5pPr>
            <a:lvl6pPr>
              <a:defRPr sz="1500"/>
            </a:lvl6pPr>
            <a:lvl7pPr>
              <a:defRPr sz="1500"/>
            </a:lvl7pPr>
            <a:lvl8pPr>
              <a:defRPr sz="1500"/>
            </a:lvl8pPr>
            <a:lvl9pPr>
              <a:defRPr sz="15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cxnSp>
        <p:nvCxnSpPr>
          <p:cNvPr id="9" name="Straight Connector 8"/>
          <p:cNvCxnSpPr/>
          <p:nvPr userDrawn="1"/>
        </p:nvCxnSpPr>
        <p:spPr>
          <a:xfrm>
            <a:off x="2583714" y="1158949"/>
            <a:ext cx="0" cy="3561907"/>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1926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Content with Subhea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5846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0">
                  <p:embed/>
                </p:oleObj>
              </mc:Choice>
              <mc:Fallback>
                <p:oleObj name="think-cell Slide" progId="TCLayout.ActiveDocument.1" r:id="rId7" spid="_x0000_s1050">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3" name="Text Placeholder 2"/>
          <p:cNvSpPr>
            <a:spLocks noGrp="1"/>
          </p:cNvSpPr>
          <p:nvPr>
            <p:ph type="body" idx="1"/>
          </p:nvPr>
        </p:nvSpPr>
        <p:spPr>
          <a:xfrm>
            <a:off x="344604" y="1148314"/>
            <a:ext cx="8458200"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sp>
        <p:nvSpPr>
          <p:cNvPr id="4" name="Content Placeholder 3"/>
          <p:cNvSpPr>
            <a:spLocks noGrp="1"/>
          </p:cNvSpPr>
          <p:nvPr>
            <p:ph sz="half" idx="2"/>
          </p:nvPr>
        </p:nvSpPr>
        <p:spPr>
          <a:xfrm>
            <a:off x="344604" y="1645920"/>
            <a:ext cx="8458200" cy="3118168"/>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3" name="Title 1"/>
          <p:cNvSpPr>
            <a:spLocks noGrp="1"/>
          </p:cNvSpPr>
          <p:nvPr>
            <p:ph type="title"/>
          </p:nvPr>
        </p:nvSpPr>
        <p:spPr>
          <a:xfrm>
            <a:off x="344604" y="0"/>
            <a:ext cx="8458200" cy="1151907"/>
          </a:xfrm>
        </p:spPr>
        <p:txBody>
          <a:bodyPr>
            <a:noAutofit/>
          </a:bodyPr>
          <a:lstStyle/>
          <a:p>
            <a:r>
              <a:rPr lang="en-US" dirty="1" smtClean="0"/>
              <a:t>Click to edit Master title style</a:t>
            </a:r>
            <a:endParaRPr lang="en-US"/>
          </a:p>
        </p:txBody>
      </p:sp>
    </p:spTree>
    <p:extLst>
      <p:ext uri="{BB962C8B-B14F-4D97-AF65-F5344CB8AC3E}">
        <p14:creationId xmlns:p14="http://schemas.microsoft.com/office/powerpoint/2010/main" val="22733963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ubhead with 2 Columns">
    <p:spTree>
      <p:nvGrpSpPr>
        <p:cNvPr id="1" name=""/>
        <p:cNvGrpSpPr/>
        <p:nvPr/>
      </p:nvGrpSpPr>
      <p:grpSpPr>
        <a:xfrm>
          <a:off x="0" y="0"/>
          <a:ext cx="0" cy="0"/>
          <a:chOff x="0" y="0"/>
          <a:chExt cx="0" cy="0"/>
        </a:xfrm>
      </p:grpSpPr>
      <p:sp>
        <p:nvSpPr>
          <p:cNvPr id="11" name="Content Placeholder 3"/>
          <p:cNvSpPr>
            <a:spLocks noGrp="1"/>
          </p:cNvSpPr>
          <p:nvPr>
            <p:ph sz="half" idx="15"/>
          </p:nvPr>
        </p:nvSpPr>
        <p:spPr>
          <a:xfrm>
            <a:off x="4693320" y="2048256"/>
            <a:ext cx="4110498" cy="2715832"/>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781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1">
                  <p:embed/>
                </p:oleObj>
              </mc:Choice>
              <mc:Fallback>
                <p:oleObj name="think-cell Slide" progId="TCLayout.ActiveDocument.1" r:id="rId7" spid="_x0000_s1051">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3" name="Text Placeholder 2"/>
          <p:cNvSpPr>
            <a:spLocks noGrp="1"/>
          </p:cNvSpPr>
          <p:nvPr>
            <p:ph type="body" idx="1"/>
          </p:nvPr>
        </p:nvSpPr>
        <p:spPr>
          <a:xfrm>
            <a:off x="344549" y="1148314"/>
            <a:ext cx="8458200"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sp>
        <p:nvSpPr>
          <p:cNvPr id="13" name="Title 1"/>
          <p:cNvSpPr>
            <a:spLocks noGrp="1"/>
          </p:cNvSpPr>
          <p:nvPr>
            <p:ph type="title"/>
          </p:nvPr>
        </p:nvSpPr>
        <p:spPr>
          <a:xfrm>
            <a:off x="344549" y="0"/>
            <a:ext cx="8458200" cy="1151907"/>
          </a:xfrm>
        </p:spPr>
        <p:txBody>
          <a:bodyPr>
            <a:noAutofit/>
          </a:bodyPr>
          <a:lstStyle/>
          <a:p>
            <a:r>
              <a:rPr lang="en-US" dirty="1" smtClean="0"/>
              <a:t>Click to edit Master title style</a:t>
            </a:r>
            <a:endParaRPr lang="en-US"/>
          </a:p>
        </p:txBody>
      </p:sp>
      <p:sp>
        <p:nvSpPr>
          <p:cNvPr id="8" name="Content Placeholder 3"/>
          <p:cNvSpPr>
            <a:spLocks noGrp="1"/>
          </p:cNvSpPr>
          <p:nvPr>
            <p:ph sz="half" idx="2"/>
          </p:nvPr>
        </p:nvSpPr>
        <p:spPr>
          <a:xfrm>
            <a:off x="344549" y="2048256"/>
            <a:ext cx="4110498" cy="2715832"/>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cxnSp>
        <p:nvCxnSpPr>
          <p:cNvPr id="10" name="Straight Connector 9"/>
          <p:cNvCxnSpPr/>
          <p:nvPr userDrawn="1"/>
        </p:nvCxnSpPr>
        <p:spPr>
          <a:xfrm>
            <a:off x="4572002" y="1682496"/>
            <a:ext cx="0" cy="303836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6"/>
          </p:nvPr>
        </p:nvSpPr>
        <p:spPr>
          <a:xfrm>
            <a:off x="344549" y="1562100"/>
            <a:ext cx="4110038" cy="485775"/>
          </a:xfrm>
        </p:spPr>
        <p:txBody>
          <a:bodyPr anchor="ctr"/>
          <a:lstStyle>
            <a:lvl1pPr marL="0" indent="0">
              <a:buFontTx/>
              <a:buNone/>
              <a:defRPr sz="1700" b="1">
                <a:solidFill>
                  <a:schemeClr val="accent1"/>
                </a:solidFill>
              </a:defRPr>
            </a:lvl1pPr>
            <a:lvl2pPr marL="396875" indent="0">
              <a:buFontTx/>
              <a:buNone/>
              <a:defRPr sz="1600">
                <a:solidFill>
                  <a:schemeClr val="accent1"/>
                </a:solidFill>
              </a:defRPr>
            </a:lvl2pPr>
            <a:lvl3pPr marL="744537" indent="0">
              <a:buFontTx/>
              <a:buNone/>
              <a:defRPr sz="1400">
                <a:solidFill>
                  <a:schemeClr val="accent1"/>
                </a:solidFill>
              </a:defRPr>
            </a:lvl3pPr>
            <a:lvl4pPr marL="1095375" indent="0">
              <a:buFontTx/>
              <a:buNone/>
              <a:defRPr sz="1200">
                <a:solidFill>
                  <a:schemeClr val="accent1"/>
                </a:solidFill>
              </a:defRPr>
            </a:lvl4pPr>
            <a:lvl5pPr marL="1371600" indent="0">
              <a:buFontTx/>
              <a:buNone/>
              <a:defRPr sz="1100">
                <a:solidFill>
                  <a:schemeClr val="accent1"/>
                </a:solidFill>
              </a:defRPr>
            </a:lvl5pPr>
          </a:lstStyle>
          <a:p>
            <a:pPr lvl="0"/>
            <a:r>
              <a:rPr lang="en-US" dirty="1" smtClean="0"/>
              <a:t>Edit Master text styles</a:t>
            </a:r>
          </a:p>
        </p:txBody>
      </p:sp>
      <p:sp>
        <p:nvSpPr>
          <p:cNvPr id="15" name="Text Placeholder 13"/>
          <p:cNvSpPr>
            <a:spLocks noGrp="1"/>
          </p:cNvSpPr>
          <p:nvPr>
            <p:ph type="body" sz="quarter" idx="17"/>
          </p:nvPr>
        </p:nvSpPr>
        <p:spPr>
          <a:xfrm>
            <a:off x="4693047" y="1562100"/>
            <a:ext cx="4110038" cy="485775"/>
          </a:xfrm>
        </p:spPr>
        <p:txBody>
          <a:bodyPr anchor="ctr"/>
          <a:lstStyle>
            <a:lvl1pPr marL="0" indent="0">
              <a:buFontTx/>
              <a:buNone/>
              <a:defRPr sz="1700" b="1">
                <a:solidFill>
                  <a:schemeClr val="accent1"/>
                </a:solidFill>
              </a:defRPr>
            </a:lvl1pPr>
            <a:lvl2pPr marL="396875" indent="0">
              <a:buFontTx/>
              <a:buNone/>
              <a:defRPr sz="1600">
                <a:solidFill>
                  <a:schemeClr val="accent1"/>
                </a:solidFill>
              </a:defRPr>
            </a:lvl2pPr>
            <a:lvl3pPr marL="744537" indent="0">
              <a:buFontTx/>
              <a:buNone/>
              <a:defRPr sz="1400">
                <a:solidFill>
                  <a:schemeClr val="accent1"/>
                </a:solidFill>
              </a:defRPr>
            </a:lvl3pPr>
            <a:lvl4pPr marL="1095375" indent="0">
              <a:buFontTx/>
              <a:buNone/>
              <a:defRPr sz="1200">
                <a:solidFill>
                  <a:schemeClr val="accent1"/>
                </a:solidFill>
              </a:defRPr>
            </a:lvl4pPr>
            <a:lvl5pPr marL="1371600" indent="0">
              <a:buFontTx/>
              <a:buNone/>
              <a:defRPr sz="1100">
                <a:solidFill>
                  <a:schemeClr val="accent1"/>
                </a:solidFill>
              </a:defRPr>
            </a:lvl5pPr>
          </a:lstStyle>
          <a:p>
            <a:pPr lvl="0"/>
            <a:r>
              <a:rPr lang="en-US" dirty="1" smtClean="0"/>
              <a:t>Edit Master text styles</a:t>
            </a:r>
          </a:p>
        </p:txBody>
      </p:sp>
    </p:spTree>
    <p:extLst>
      <p:ext uri="{BB962C8B-B14F-4D97-AF65-F5344CB8AC3E}">
        <p14:creationId xmlns:p14="http://schemas.microsoft.com/office/powerpoint/2010/main" val="9229400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2 Column)">
    <p:spTree>
      <p:nvGrpSpPr>
        <p:cNvPr id="1" name=""/>
        <p:cNvGrpSpPr/>
        <p:nvPr/>
      </p:nvGrpSpPr>
      <p:grpSpPr>
        <a:xfrm>
          <a:off x="0" y="0"/>
          <a:ext cx="0" cy="0"/>
          <a:chOff x="0" y="0"/>
          <a:chExt cx="0" cy="0"/>
        </a:xfrm>
      </p:grpSpPr>
      <p:sp>
        <p:nvSpPr>
          <p:cNvPr id="14" name="Content Placeholder 3"/>
          <p:cNvSpPr>
            <a:spLocks noGrp="1"/>
          </p:cNvSpPr>
          <p:nvPr>
            <p:ph sz="half" idx="15"/>
          </p:nvPr>
        </p:nvSpPr>
        <p:spPr>
          <a:xfrm>
            <a:off x="4686232" y="1645920"/>
            <a:ext cx="4110498" cy="3118168"/>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21805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2">
                  <p:embed/>
                </p:oleObj>
              </mc:Choice>
              <mc:Fallback>
                <p:oleObj name="think-cell Slide" progId="TCLayout.ActiveDocument.1" r:id="rId7" spid="_x0000_s1052">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3" name="Text Placeholder 2"/>
          <p:cNvSpPr>
            <a:spLocks noGrp="1"/>
          </p:cNvSpPr>
          <p:nvPr>
            <p:ph type="body" idx="1"/>
          </p:nvPr>
        </p:nvSpPr>
        <p:spPr>
          <a:xfrm>
            <a:off x="344549" y="1148314"/>
            <a:ext cx="4110498"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sp>
        <p:nvSpPr>
          <p:cNvPr id="4" name="Content Placeholder 3"/>
          <p:cNvSpPr>
            <a:spLocks noGrp="1"/>
          </p:cNvSpPr>
          <p:nvPr>
            <p:ph sz="half" idx="2"/>
          </p:nvPr>
        </p:nvSpPr>
        <p:spPr>
          <a:xfrm>
            <a:off x="344549" y="1645920"/>
            <a:ext cx="4110498" cy="3118168"/>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cxnSp>
        <p:nvCxnSpPr>
          <p:cNvPr id="11" name="Straight Connector 10"/>
          <p:cNvCxnSpPr/>
          <p:nvPr userDrawn="1"/>
        </p:nvCxnSpPr>
        <p:spPr>
          <a:xfrm>
            <a:off x="4572002" y="1158949"/>
            <a:ext cx="0" cy="3561907"/>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idx="12"/>
          </p:nvPr>
        </p:nvSpPr>
        <p:spPr>
          <a:xfrm>
            <a:off x="4686232" y="1148314"/>
            <a:ext cx="4110498"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sp>
        <p:nvSpPr>
          <p:cNvPr id="13" name="Title 1"/>
          <p:cNvSpPr>
            <a:spLocks noGrp="1"/>
          </p:cNvSpPr>
          <p:nvPr>
            <p:ph type="title"/>
          </p:nvPr>
        </p:nvSpPr>
        <p:spPr>
          <a:xfrm>
            <a:off x="344549" y="0"/>
            <a:ext cx="8458200" cy="1151907"/>
          </a:xfrm>
        </p:spPr>
        <p:txBody>
          <a:bodyPr>
            <a:noAutofit/>
          </a:bodyPr>
          <a:lstStyle/>
          <a:p>
            <a:r>
              <a:rPr lang="en-US" dirty="1" smtClean="0"/>
              <a:t>Click to edit Master title style</a:t>
            </a:r>
            <a:endParaRPr lang="en-US"/>
          </a:p>
        </p:txBody>
      </p:sp>
    </p:spTree>
    <p:extLst>
      <p:ext uri="{BB962C8B-B14F-4D97-AF65-F5344CB8AC3E}">
        <p14:creationId xmlns:p14="http://schemas.microsoft.com/office/powerpoint/2010/main" val="399770047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3 Colum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0125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3">
                  <p:embed/>
                </p:oleObj>
              </mc:Choice>
              <mc:Fallback>
                <p:oleObj name="think-cell Slide" progId="TCLayout.ActiveDocument.1" r:id="rId7" spid="_x0000_s1053">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3" name="Text Placeholder 2"/>
          <p:cNvSpPr>
            <a:spLocks noGrp="1"/>
          </p:cNvSpPr>
          <p:nvPr>
            <p:ph type="body" idx="1"/>
          </p:nvPr>
        </p:nvSpPr>
        <p:spPr>
          <a:xfrm>
            <a:off x="344548" y="1148314"/>
            <a:ext cx="2697480"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cxnSp>
        <p:nvCxnSpPr>
          <p:cNvPr id="11" name="Straight Connector 10"/>
          <p:cNvCxnSpPr/>
          <p:nvPr userDrawn="1"/>
        </p:nvCxnSpPr>
        <p:spPr>
          <a:xfrm>
            <a:off x="3132923" y="1158949"/>
            <a:ext cx="0" cy="3561907"/>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idx="12"/>
          </p:nvPr>
        </p:nvSpPr>
        <p:spPr>
          <a:xfrm>
            <a:off x="3223818" y="1148314"/>
            <a:ext cx="2697480"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cxnSp>
        <p:nvCxnSpPr>
          <p:cNvPr id="13" name="Straight Connector 12"/>
          <p:cNvCxnSpPr/>
          <p:nvPr userDrawn="1"/>
        </p:nvCxnSpPr>
        <p:spPr>
          <a:xfrm>
            <a:off x="6012193" y="1158949"/>
            <a:ext cx="0" cy="3561907"/>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4"/>
          </p:nvPr>
        </p:nvSpPr>
        <p:spPr>
          <a:xfrm>
            <a:off x="6103088" y="1148314"/>
            <a:ext cx="2697480" cy="413786"/>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Edit Master text styles</a:t>
            </a:r>
          </a:p>
        </p:txBody>
      </p:sp>
      <p:sp>
        <p:nvSpPr>
          <p:cNvPr id="16" name="Title 1"/>
          <p:cNvSpPr>
            <a:spLocks noGrp="1"/>
          </p:cNvSpPr>
          <p:nvPr>
            <p:ph type="title"/>
          </p:nvPr>
        </p:nvSpPr>
        <p:spPr>
          <a:xfrm>
            <a:off x="344548" y="0"/>
            <a:ext cx="8458200" cy="1151907"/>
          </a:xfrm>
        </p:spPr>
        <p:txBody>
          <a:bodyPr>
            <a:noAutofit/>
          </a:bodyPr>
          <a:lstStyle/>
          <a:p>
            <a:r>
              <a:rPr lang="en-US" dirty="1" smtClean="0"/>
              <a:t>Click to edit Master title style</a:t>
            </a:r>
            <a:endParaRPr lang="en-US"/>
          </a:p>
        </p:txBody>
      </p:sp>
      <p:sp>
        <p:nvSpPr>
          <p:cNvPr id="17" name="Content Placeholder 3"/>
          <p:cNvSpPr>
            <a:spLocks noGrp="1"/>
          </p:cNvSpPr>
          <p:nvPr>
            <p:ph sz="half" idx="2"/>
          </p:nvPr>
        </p:nvSpPr>
        <p:spPr>
          <a:xfrm>
            <a:off x="344548" y="1642566"/>
            <a:ext cx="2697479" cy="3078289"/>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8" name="Content Placeholder 3"/>
          <p:cNvSpPr>
            <a:spLocks noGrp="1"/>
          </p:cNvSpPr>
          <p:nvPr>
            <p:ph sz="half" idx="17"/>
          </p:nvPr>
        </p:nvSpPr>
        <p:spPr>
          <a:xfrm>
            <a:off x="3223818" y="1642566"/>
            <a:ext cx="2697479" cy="3078289"/>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9" name="Content Placeholder 3"/>
          <p:cNvSpPr>
            <a:spLocks noGrp="1"/>
          </p:cNvSpPr>
          <p:nvPr>
            <p:ph sz="half" idx="18"/>
          </p:nvPr>
        </p:nvSpPr>
        <p:spPr>
          <a:xfrm>
            <a:off x="6103089" y="1642566"/>
            <a:ext cx="2697479" cy="3078289"/>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138550231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with Subheadings">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4">
                  <p:embed/>
                </p:oleObj>
              </mc:Choice>
              <mc:Fallback>
                <p:oleObj name="think-cell Slide" progId="TCLayout.ActiveDocument.1" r:id="rId7" spid="_x0000_s1054">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
        <p:nvSpPr>
          <p:cNvPr id="6" name="Text Placeholder 5"/>
          <p:cNvSpPr>
            <a:spLocks noGrp="1"/>
          </p:cNvSpPr>
          <p:nvPr>
            <p:ph type="body" sz="quarter" idx="21" hasCustomPrompt="1"/>
          </p:nvPr>
        </p:nvSpPr>
        <p:spPr>
          <a:xfrm>
            <a:off x="344750" y="1151907"/>
            <a:ext cx="1828800" cy="169164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7" name="Text Placeholder 4"/>
          <p:cNvSpPr>
            <a:spLocks noGrp="1"/>
          </p:cNvSpPr>
          <p:nvPr>
            <p:ph type="body" sz="quarter" idx="28" hasCustomPrompt="1"/>
          </p:nvPr>
        </p:nvSpPr>
        <p:spPr>
          <a:xfrm>
            <a:off x="2173550" y="1151907"/>
            <a:ext cx="6630207" cy="1691640"/>
          </a:xfrm>
          <a:ln w="9525">
            <a:solidFill>
              <a:schemeClr val="accent1"/>
            </a:solidFill>
          </a:ln>
        </p:spPr>
        <p:txBody>
          <a:bodyPr lIns="137160" numCol="1" anchor="ctr">
            <a:noAutofit/>
          </a:bodyPr>
          <a:lstStyle>
            <a:lvl1pPr marL="174625" indent="-174625">
              <a:lnSpc>
                <a:spcPct val="110000"/>
              </a:lnSpc>
              <a:spcBef>
                <a:spcPts val="12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12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12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1200"/>
              </a:spcBef>
              <a:spcAft>
                <a:spcPct val="0"/>
              </a:spcAft>
              <a:buSzPct val="130000"/>
              <a:buFont typeface="Calibri" panose="020f0502020204030204" pitchFamily="34" charset="0"/>
              <a:buChar char="̶"/>
              <a:defRPr sz="1200"/>
            </a:lvl4pPr>
            <a:lvl5pPr marL="1084263" indent="-190500">
              <a:lnSpc>
                <a:spcPct val="110000"/>
              </a:lnSpc>
              <a:spcBef>
                <a:spcPts val="12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11" name="Text Placeholder 5"/>
          <p:cNvSpPr>
            <a:spLocks noGrp="1"/>
          </p:cNvSpPr>
          <p:nvPr>
            <p:ph type="body" sz="quarter" idx="33" hasCustomPrompt="1"/>
          </p:nvPr>
        </p:nvSpPr>
        <p:spPr>
          <a:xfrm>
            <a:off x="344750" y="2902325"/>
            <a:ext cx="1828800" cy="169164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10" name="Text Placeholder 4"/>
          <p:cNvSpPr>
            <a:spLocks noGrp="1"/>
          </p:cNvSpPr>
          <p:nvPr>
            <p:ph type="body" sz="quarter" idx="34" hasCustomPrompt="1"/>
          </p:nvPr>
        </p:nvSpPr>
        <p:spPr>
          <a:xfrm>
            <a:off x="2170892" y="2902325"/>
            <a:ext cx="6630207" cy="1691640"/>
          </a:xfrm>
          <a:ln w="9525">
            <a:solidFill>
              <a:schemeClr val="accent1"/>
            </a:solidFill>
          </a:ln>
        </p:spPr>
        <p:txBody>
          <a:bodyPr lIns="137160" numCol="1" anchor="ctr">
            <a:noAutofit/>
          </a:bodyPr>
          <a:lstStyle>
            <a:lvl1pPr marL="174625" indent="-174625">
              <a:lnSpc>
                <a:spcPct val="110000"/>
              </a:lnSpc>
              <a:spcBef>
                <a:spcPts val="12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12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12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1200"/>
              </a:spcBef>
              <a:spcAft>
                <a:spcPct val="0"/>
              </a:spcAft>
              <a:buSzPct val="130000"/>
              <a:buFont typeface="Calibri" panose="020f0502020204030204" pitchFamily="34" charset="0"/>
              <a:buChar char="̶"/>
              <a:defRPr sz="1200"/>
            </a:lvl4pPr>
            <a:lvl5pPr marL="1084263" indent="-190500">
              <a:lnSpc>
                <a:spcPct val="110000"/>
              </a:lnSpc>
              <a:spcBef>
                <a:spcPts val="12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Tree>
    <p:extLst>
      <p:ext uri="{BB962C8B-B14F-4D97-AF65-F5344CB8AC3E}">
        <p14:creationId xmlns:p14="http://schemas.microsoft.com/office/powerpoint/2010/main" val="160124694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 with Subheadings">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5">
                  <p:embed/>
                </p:oleObj>
              </mc:Choice>
              <mc:Fallback>
                <p:oleObj name="think-cell Slide" progId="TCLayout.ActiveDocument.1" r:id="rId7" spid="_x0000_s1055">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
        <p:nvSpPr>
          <p:cNvPr id="6" name="Text Placeholder 5"/>
          <p:cNvSpPr>
            <a:spLocks noGrp="1"/>
          </p:cNvSpPr>
          <p:nvPr>
            <p:ph type="body" sz="quarter" idx="21" hasCustomPrompt="1"/>
          </p:nvPr>
        </p:nvSpPr>
        <p:spPr>
          <a:xfrm>
            <a:off x="344750" y="1151907"/>
            <a:ext cx="1828800" cy="111556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8" name="Text Placeholder 5"/>
          <p:cNvSpPr>
            <a:spLocks noGrp="1"/>
          </p:cNvSpPr>
          <p:nvPr>
            <p:ph type="body" sz="quarter" idx="29" hasCustomPrompt="1"/>
          </p:nvPr>
        </p:nvSpPr>
        <p:spPr>
          <a:xfrm>
            <a:off x="344750" y="2328173"/>
            <a:ext cx="1828800" cy="111556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13" name="Text Placeholder 4"/>
          <p:cNvSpPr>
            <a:spLocks noGrp="1"/>
          </p:cNvSpPr>
          <p:nvPr>
            <p:ph type="body" sz="quarter" idx="28" hasCustomPrompt="1"/>
          </p:nvPr>
        </p:nvSpPr>
        <p:spPr>
          <a:xfrm>
            <a:off x="2173550" y="1151907"/>
            <a:ext cx="6630207" cy="1115568"/>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14" name="Text Placeholder 4"/>
          <p:cNvSpPr>
            <a:spLocks noGrp="1"/>
          </p:cNvSpPr>
          <p:nvPr>
            <p:ph type="body" sz="quarter" idx="36" hasCustomPrompt="1"/>
          </p:nvPr>
        </p:nvSpPr>
        <p:spPr>
          <a:xfrm>
            <a:off x="2173550" y="2328173"/>
            <a:ext cx="6630207" cy="1115568"/>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15" name="Text Placeholder 4"/>
          <p:cNvSpPr>
            <a:spLocks noGrp="1"/>
          </p:cNvSpPr>
          <p:nvPr>
            <p:ph type="body" sz="quarter" idx="37" hasCustomPrompt="1"/>
          </p:nvPr>
        </p:nvSpPr>
        <p:spPr>
          <a:xfrm>
            <a:off x="2173550" y="3504440"/>
            <a:ext cx="6630207" cy="1115568"/>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12" name="Text Placeholder 5"/>
          <p:cNvSpPr>
            <a:spLocks noGrp="1"/>
          </p:cNvSpPr>
          <p:nvPr>
            <p:ph type="body" sz="quarter" idx="38" hasCustomPrompt="1"/>
          </p:nvPr>
        </p:nvSpPr>
        <p:spPr>
          <a:xfrm>
            <a:off x="344750" y="3504439"/>
            <a:ext cx="1828800" cy="111556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Tree>
    <p:extLst>
      <p:ext uri="{BB962C8B-B14F-4D97-AF65-F5344CB8AC3E}">
        <p14:creationId xmlns:p14="http://schemas.microsoft.com/office/powerpoint/2010/main" val="2617131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Subheadings">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6">
                  <p:embed/>
                </p:oleObj>
              </mc:Choice>
              <mc:Fallback>
                <p:oleObj name="think-cell Slide" progId="TCLayout.ActiveDocument.1" r:id="rId7" spid="_x0000_s1056">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
        <p:nvSpPr>
          <p:cNvPr id="6" name="Text Placeholder 5"/>
          <p:cNvSpPr>
            <a:spLocks noGrp="1"/>
          </p:cNvSpPr>
          <p:nvPr>
            <p:ph type="body" sz="quarter" idx="21" hasCustomPrompt="1"/>
          </p:nvPr>
        </p:nvSpPr>
        <p:spPr>
          <a:xfrm>
            <a:off x="344750" y="1151907"/>
            <a:ext cx="1828800" cy="82296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8" name="Text Placeholder 5"/>
          <p:cNvSpPr>
            <a:spLocks noGrp="1"/>
          </p:cNvSpPr>
          <p:nvPr>
            <p:ph type="body" sz="quarter" idx="29" hasCustomPrompt="1"/>
          </p:nvPr>
        </p:nvSpPr>
        <p:spPr>
          <a:xfrm>
            <a:off x="344750" y="2029030"/>
            <a:ext cx="1828800" cy="82296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9" name="Text Placeholder 5"/>
          <p:cNvSpPr>
            <a:spLocks noGrp="1"/>
          </p:cNvSpPr>
          <p:nvPr>
            <p:ph type="body" sz="quarter" idx="31" hasCustomPrompt="1"/>
          </p:nvPr>
        </p:nvSpPr>
        <p:spPr>
          <a:xfrm>
            <a:off x="344750" y="2909019"/>
            <a:ext cx="1828800" cy="82296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10" name="Text Placeholder 5"/>
          <p:cNvSpPr>
            <a:spLocks noGrp="1"/>
          </p:cNvSpPr>
          <p:nvPr>
            <p:ph type="body" sz="quarter" idx="33" hasCustomPrompt="1"/>
          </p:nvPr>
        </p:nvSpPr>
        <p:spPr>
          <a:xfrm>
            <a:off x="344750" y="3786142"/>
            <a:ext cx="1828800" cy="82296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15" name="Text Placeholder 4"/>
          <p:cNvSpPr>
            <a:spLocks noGrp="1"/>
          </p:cNvSpPr>
          <p:nvPr>
            <p:ph type="body" sz="quarter" idx="28" hasCustomPrompt="1"/>
          </p:nvPr>
        </p:nvSpPr>
        <p:spPr>
          <a:xfrm>
            <a:off x="2173550" y="1151907"/>
            <a:ext cx="6630207" cy="822960"/>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0" name="Text Placeholder 4"/>
          <p:cNvSpPr>
            <a:spLocks noGrp="1"/>
          </p:cNvSpPr>
          <p:nvPr>
            <p:ph type="body" sz="quarter" idx="39" hasCustomPrompt="1"/>
          </p:nvPr>
        </p:nvSpPr>
        <p:spPr>
          <a:xfrm>
            <a:off x="2173550" y="2029030"/>
            <a:ext cx="6630207" cy="822960"/>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1" name="Text Placeholder 4"/>
          <p:cNvSpPr>
            <a:spLocks noGrp="1"/>
          </p:cNvSpPr>
          <p:nvPr>
            <p:ph type="body" sz="quarter" idx="40" hasCustomPrompt="1"/>
          </p:nvPr>
        </p:nvSpPr>
        <p:spPr>
          <a:xfrm>
            <a:off x="2173550" y="2909019"/>
            <a:ext cx="6630207" cy="822960"/>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2" name="Text Placeholder 4"/>
          <p:cNvSpPr>
            <a:spLocks noGrp="1"/>
          </p:cNvSpPr>
          <p:nvPr>
            <p:ph type="body" sz="quarter" idx="41" hasCustomPrompt="1"/>
          </p:nvPr>
        </p:nvSpPr>
        <p:spPr>
          <a:xfrm>
            <a:off x="2173550" y="3786142"/>
            <a:ext cx="6630207" cy="822960"/>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Tree>
    <p:extLst>
      <p:ext uri="{BB962C8B-B14F-4D97-AF65-F5344CB8AC3E}">
        <p14:creationId xmlns:p14="http://schemas.microsoft.com/office/powerpoint/2010/main" val="348295178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trix Char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119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7">
                  <p:embed/>
                </p:oleObj>
              </mc:Choice>
              <mc:Fallback>
                <p:oleObj name="think-cell Slide" progId="TCLayout.ActiveDocument.1" r:id="rId7" spid="_x0000_s1057">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2" name="Title 1"/>
          <p:cNvSpPr>
            <a:spLocks noGrp="1"/>
          </p:cNvSpPr>
          <p:nvPr>
            <p:ph type="title"/>
          </p:nvPr>
        </p:nvSpPr>
        <p:spPr>
          <a:xfrm>
            <a:off x="342900" y="0"/>
            <a:ext cx="8458199" cy="1151907"/>
          </a:xfrm>
        </p:spPr>
        <p:txBody>
          <a:bodyPr>
            <a:noAutofit/>
          </a:bodyPr>
          <a:lstStyle/>
          <a:p>
            <a:r>
              <a:rPr lang="en-US" dirty="1" smtClean="0"/>
              <a:t>Click to edit Master title style</a:t>
            </a:r>
            <a:endParaRPr lang="en-US"/>
          </a:p>
        </p:txBody>
      </p:sp>
      <p:sp>
        <p:nvSpPr>
          <p:cNvPr id="6" name="Text Placeholder 5"/>
          <p:cNvSpPr>
            <a:spLocks noGrp="1"/>
          </p:cNvSpPr>
          <p:nvPr>
            <p:ph type="body" sz="quarter" idx="21" hasCustomPrompt="1"/>
          </p:nvPr>
        </p:nvSpPr>
        <p:spPr>
          <a:xfrm>
            <a:off x="342900" y="1621219"/>
            <a:ext cx="1828800" cy="969264"/>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8" name="Text Placeholder 5"/>
          <p:cNvSpPr>
            <a:spLocks noGrp="1"/>
          </p:cNvSpPr>
          <p:nvPr>
            <p:ph type="body" sz="quarter" idx="29" hasCustomPrompt="1"/>
          </p:nvPr>
        </p:nvSpPr>
        <p:spPr>
          <a:xfrm>
            <a:off x="342900" y="2654925"/>
            <a:ext cx="1828800" cy="969264"/>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9" name="Text Placeholder 5"/>
          <p:cNvSpPr>
            <a:spLocks noGrp="1"/>
          </p:cNvSpPr>
          <p:nvPr>
            <p:ph type="body" sz="quarter" idx="31" hasCustomPrompt="1"/>
          </p:nvPr>
        </p:nvSpPr>
        <p:spPr>
          <a:xfrm>
            <a:off x="342900" y="3688631"/>
            <a:ext cx="1828800" cy="969264"/>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ct val="0"/>
              </a:spcBef>
              <a:spcAft>
                <a:spcPct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1" smtClean="0"/>
              <a:t>Click to add title</a:t>
            </a:r>
            <a:endParaRPr lang="en-US"/>
          </a:p>
        </p:txBody>
      </p:sp>
      <p:sp>
        <p:nvSpPr>
          <p:cNvPr id="17" name="Text Placeholder 2"/>
          <p:cNvSpPr>
            <a:spLocks noGrp="1"/>
          </p:cNvSpPr>
          <p:nvPr>
            <p:ph type="body" idx="1" hasCustomPrompt="1"/>
          </p:nvPr>
        </p:nvSpPr>
        <p:spPr>
          <a:xfrm>
            <a:off x="2243023" y="1148314"/>
            <a:ext cx="3246120" cy="413786"/>
          </a:xfrm>
          <a:solidFill>
            <a:schemeClr val="accent1"/>
          </a:solidFill>
          <a:ln>
            <a:solidFill>
              <a:schemeClr val="accent1"/>
            </a:solidFill>
          </a:ln>
        </p:spPr>
        <p:txBody>
          <a:bodyPr anchor="ctr">
            <a:noAutofit/>
          </a:bodyPr>
          <a:lstStyle>
            <a:lvl1pPr marL="0" indent="0" algn="ctr">
              <a:buNone/>
              <a:defRPr sz="1700" b="1">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Click to add title</a:t>
            </a:r>
          </a:p>
        </p:txBody>
      </p:sp>
      <p:sp>
        <p:nvSpPr>
          <p:cNvPr id="18" name="Text Placeholder 2"/>
          <p:cNvSpPr>
            <a:spLocks noGrp="1"/>
          </p:cNvSpPr>
          <p:nvPr>
            <p:ph type="body" idx="12" hasCustomPrompt="1"/>
          </p:nvPr>
        </p:nvSpPr>
        <p:spPr>
          <a:xfrm>
            <a:off x="5560465" y="1148314"/>
            <a:ext cx="3240634" cy="413786"/>
          </a:xfrm>
          <a:solidFill>
            <a:schemeClr val="accent1"/>
          </a:solidFill>
          <a:ln>
            <a:solidFill>
              <a:schemeClr val="accent1"/>
            </a:solidFill>
          </a:ln>
        </p:spPr>
        <p:txBody>
          <a:bodyPr anchor="ctr">
            <a:noAutofit/>
          </a:bodyPr>
          <a:lstStyle>
            <a:lvl1pPr marL="0" indent="0" algn="ctr">
              <a:buNone/>
              <a:defRPr sz="1700" b="1" baseline="0">
                <a:solidFill>
                  <a:schemeClr val="bg1"/>
                </a:solidFill>
              </a:defRPr>
            </a:lvl1pPr>
            <a:lvl2pPr marL="389582" indent="0">
              <a:buNone/>
              <a:defRPr sz="1700" b="1"/>
            </a:lvl2pPr>
            <a:lvl3pPr marL="779163" indent="0">
              <a:buNone/>
              <a:defRPr sz="1500" b="1"/>
            </a:lvl3pPr>
            <a:lvl4pPr marL="1168745" indent="0">
              <a:buNone/>
              <a:defRPr sz="1400" b="1"/>
            </a:lvl4pPr>
            <a:lvl5pPr marL="1558326" indent="0">
              <a:buNone/>
              <a:defRPr sz="1400" b="1"/>
            </a:lvl5pPr>
            <a:lvl6pPr marL="1947908" indent="0">
              <a:buNone/>
              <a:defRPr sz="1400" b="1"/>
            </a:lvl6pPr>
            <a:lvl7pPr marL="2337489" indent="0">
              <a:buNone/>
              <a:defRPr sz="1400" b="1"/>
            </a:lvl7pPr>
            <a:lvl8pPr marL="2727071" indent="0">
              <a:buNone/>
              <a:defRPr sz="1400" b="1"/>
            </a:lvl8pPr>
            <a:lvl9pPr marL="3116652" indent="0">
              <a:buNone/>
              <a:defRPr sz="1400" b="1"/>
            </a:lvl9pPr>
          </a:lstStyle>
          <a:p>
            <a:pPr lvl="0"/>
            <a:r>
              <a:rPr lang="en-US" dirty="1" smtClean="0"/>
              <a:t>Click to add title</a:t>
            </a:r>
          </a:p>
        </p:txBody>
      </p:sp>
      <p:sp>
        <p:nvSpPr>
          <p:cNvPr id="21" name="Text Placeholder 4"/>
          <p:cNvSpPr>
            <a:spLocks noGrp="1"/>
          </p:cNvSpPr>
          <p:nvPr>
            <p:ph type="body" sz="quarter" idx="39" hasCustomPrompt="1"/>
          </p:nvPr>
        </p:nvSpPr>
        <p:spPr>
          <a:xfrm>
            <a:off x="2243023" y="1621219"/>
            <a:ext cx="3246120" cy="969264"/>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19" name="Text Placeholder 4"/>
          <p:cNvSpPr>
            <a:spLocks noGrp="1"/>
          </p:cNvSpPr>
          <p:nvPr>
            <p:ph type="body" sz="quarter" idx="45" hasCustomPrompt="1"/>
          </p:nvPr>
        </p:nvSpPr>
        <p:spPr>
          <a:xfrm>
            <a:off x="5554979" y="1621219"/>
            <a:ext cx="3246120" cy="969264"/>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0" name="Text Placeholder 4"/>
          <p:cNvSpPr>
            <a:spLocks noGrp="1"/>
          </p:cNvSpPr>
          <p:nvPr>
            <p:ph type="body" sz="quarter" idx="46" hasCustomPrompt="1"/>
          </p:nvPr>
        </p:nvSpPr>
        <p:spPr>
          <a:xfrm>
            <a:off x="2243023" y="2654925"/>
            <a:ext cx="3246120" cy="969264"/>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7" name="Text Placeholder 4"/>
          <p:cNvSpPr>
            <a:spLocks noGrp="1"/>
          </p:cNvSpPr>
          <p:nvPr>
            <p:ph type="body" sz="quarter" idx="47" hasCustomPrompt="1"/>
          </p:nvPr>
        </p:nvSpPr>
        <p:spPr>
          <a:xfrm>
            <a:off x="5554979" y="2654925"/>
            <a:ext cx="3246120" cy="969264"/>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8" name="Text Placeholder 4"/>
          <p:cNvSpPr>
            <a:spLocks noGrp="1"/>
          </p:cNvSpPr>
          <p:nvPr>
            <p:ph type="body" sz="quarter" idx="48" hasCustomPrompt="1"/>
          </p:nvPr>
        </p:nvSpPr>
        <p:spPr>
          <a:xfrm>
            <a:off x="2243023" y="3688631"/>
            <a:ext cx="3246120" cy="969264"/>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29" name="Text Placeholder 4"/>
          <p:cNvSpPr>
            <a:spLocks noGrp="1"/>
          </p:cNvSpPr>
          <p:nvPr>
            <p:ph type="body" sz="quarter" idx="49" hasCustomPrompt="1"/>
          </p:nvPr>
        </p:nvSpPr>
        <p:spPr>
          <a:xfrm>
            <a:off x="5554979" y="3688631"/>
            <a:ext cx="3246120" cy="969264"/>
          </a:xfrm>
          <a:ln w="9525">
            <a:solidFill>
              <a:schemeClr val="accent1"/>
            </a:solidFill>
          </a:ln>
        </p:spPr>
        <p:txBody>
          <a:bodyPr lIns="137160" numCol="1" anchor="ctr">
            <a:noAutofit/>
          </a:bodyPr>
          <a:lstStyle>
            <a:lvl1pPr marL="174625" indent="-174625">
              <a:lnSpc>
                <a:spcPct val="110000"/>
              </a:lnSpc>
              <a:spcBef>
                <a:spcPts val="600"/>
              </a:spcBef>
              <a:spcAft>
                <a:spcPct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ct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ct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ct val="0"/>
              </a:spcAft>
              <a:buSzPct val="130000"/>
              <a:buFont typeface="Calibri" panose="020f0502020204030204" pitchFamily="34" charset="0"/>
              <a:buChar char="̶"/>
              <a:defRPr sz="1200"/>
            </a:lvl4pPr>
            <a:lvl5pPr marL="1084263" indent="-190500">
              <a:lnSpc>
                <a:spcPct val="110000"/>
              </a:lnSpc>
              <a:spcBef>
                <a:spcPts val="600"/>
              </a:spcBef>
              <a:spcAft>
                <a:spcPct val="0"/>
              </a:spcAft>
              <a:buSzPct val="75000"/>
              <a:buFont typeface="Arial" panose="020b0604020202020204" pitchFamily="34" charset="0"/>
              <a:buChar char="►"/>
              <a:defRPr sz="1200"/>
            </a:lvl5pPr>
          </a:lstStyle>
          <a:p>
            <a:pPr lvl="0"/>
            <a:r>
              <a:rPr lang="en-US" dirty="1" smtClean="0"/>
              <a:t>Click to add text</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Tree>
    <p:extLst>
      <p:ext uri="{BB962C8B-B14F-4D97-AF65-F5344CB8AC3E}">
        <p14:creationId xmlns:p14="http://schemas.microsoft.com/office/powerpoint/2010/main" val="14797104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eaker Bio Layout (2-up)">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8">
                  <p:embed/>
                </p:oleObj>
              </mc:Choice>
              <mc:Fallback>
                <p:oleObj name="think-cell Slide" progId="TCLayout.ActiveDocument.1" r:id="rId7" spid="_x0000_s1058">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
        <p:nvSpPr>
          <p:cNvPr id="7" name="Text Placeholder 4"/>
          <p:cNvSpPr>
            <a:spLocks noGrp="1"/>
          </p:cNvSpPr>
          <p:nvPr>
            <p:ph type="body" sz="quarter" idx="28" hasCustomPrompt="1"/>
          </p:nvPr>
        </p:nvSpPr>
        <p:spPr>
          <a:xfrm>
            <a:off x="2026310" y="1151907"/>
            <a:ext cx="6777447" cy="1691640"/>
          </a:xfrm>
          <a:ln w="9525">
            <a:noFill/>
          </a:ln>
        </p:spPr>
        <p:txBody>
          <a:bodyPr lIns="0" tIns="0" rIns="0" bIns="0" numCol="1" anchor="t">
            <a:noAutofit/>
          </a:bodyPr>
          <a:lstStyle>
            <a:lvl1pPr marL="0" indent="0">
              <a:lnSpc>
                <a:spcPct val="110000"/>
              </a:lnSpc>
              <a:spcBef>
                <a:spcPct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ct val="0"/>
              </a:spcBef>
              <a:spcAft>
                <a:spcPts val="600"/>
              </a:spcAft>
              <a:buClr>
                <a:schemeClr val="accent1"/>
              </a:buClr>
              <a:buSzTx/>
              <a:buFontTx/>
              <a:buNone/>
              <a:defRPr sz="1200"/>
            </a:lvl2pPr>
            <a:lvl3pPr marL="171450" indent="-171450">
              <a:lnSpc>
                <a:spcPct val="110000"/>
              </a:lnSpc>
              <a:spcBef>
                <a:spcPct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ct val="0"/>
              </a:spcBef>
              <a:spcAft>
                <a:spcPts val="600"/>
              </a:spcAft>
              <a:buSzPct val="130000"/>
              <a:buFont typeface="Calibri" panose="020f0502020204030204" pitchFamily="34" charset="0"/>
              <a:buChar char="̶"/>
              <a:defRPr sz="1200"/>
            </a:lvl4pPr>
            <a:lvl5pPr marL="515938" indent="-136525">
              <a:lnSpc>
                <a:spcPct val="110000"/>
              </a:lnSpc>
              <a:spcBef>
                <a:spcPct val="0"/>
              </a:spcBef>
              <a:spcAft>
                <a:spcPts val="600"/>
              </a:spcAft>
              <a:buSzPct val="75000"/>
              <a:buFont typeface="Arial" panose="020b0604020202020204" pitchFamily="34" charset="0"/>
              <a:buChar char="►"/>
              <a:defRPr sz="1200"/>
            </a:lvl5pPr>
          </a:lstStyle>
          <a:p>
            <a:pPr lvl="0"/>
            <a:r>
              <a:rPr lang="en-US" dirty="1" smtClean="0"/>
              <a:t>Name, Title</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
        <p:nvSpPr>
          <p:cNvPr id="4" name="Picture Placeholder 3"/>
          <p:cNvSpPr>
            <a:spLocks noGrp="1"/>
          </p:cNvSpPr>
          <p:nvPr>
            <p:ph type="pic" sz="quarter" idx="32" hasCustomPrompt="1"/>
          </p:nvPr>
        </p:nvSpPr>
        <p:spPr>
          <a:xfrm>
            <a:off x="352425" y="1151907"/>
            <a:ext cx="1518528" cy="1519953"/>
          </a:xfrm>
        </p:spPr>
        <p:txBody>
          <a:bodyPr anchor="ctr"/>
          <a:lstStyle>
            <a:lvl1pPr marL="0" indent="0" algn="ctr">
              <a:buNone/>
              <a:defRPr sz="1100" b="1"/>
            </a:lvl1pPr>
          </a:lstStyle>
          <a:p>
            <a:r>
              <a:rPr lang="en-US" dirty="1" smtClean="0"/>
              <a:t>Click icon to insert picture</a:t>
            </a:r>
            <a:endParaRPr lang="en-US"/>
          </a:p>
        </p:txBody>
      </p:sp>
      <p:sp>
        <p:nvSpPr>
          <p:cNvPr id="13" name="Picture Placeholder 3"/>
          <p:cNvSpPr>
            <a:spLocks noGrp="1"/>
          </p:cNvSpPr>
          <p:nvPr>
            <p:ph type="pic" sz="quarter" idx="34" hasCustomPrompt="1"/>
          </p:nvPr>
        </p:nvSpPr>
        <p:spPr>
          <a:xfrm>
            <a:off x="352425" y="2923337"/>
            <a:ext cx="1518528" cy="1519953"/>
          </a:xfrm>
        </p:spPr>
        <p:txBody>
          <a:bodyPr anchor="ctr"/>
          <a:lstStyle>
            <a:lvl1pPr marL="0" indent="0" algn="ctr">
              <a:buNone/>
              <a:defRPr sz="1100" b="1"/>
            </a:lvl1pPr>
          </a:lstStyle>
          <a:p>
            <a:r>
              <a:rPr lang="en-US" dirty="1" smtClean="0"/>
              <a:t>Click icon to insert picture</a:t>
            </a:r>
            <a:endParaRPr lang="en-US"/>
          </a:p>
        </p:txBody>
      </p:sp>
      <p:sp>
        <p:nvSpPr>
          <p:cNvPr id="11" name="Text Placeholder 4"/>
          <p:cNvSpPr>
            <a:spLocks noGrp="1"/>
          </p:cNvSpPr>
          <p:nvPr>
            <p:ph type="body" sz="quarter" idx="35" hasCustomPrompt="1"/>
          </p:nvPr>
        </p:nvSpPr>
        <p:spPr>
          <a:xfrm>
            <a:off x="2026310" y="2923337"/>
            <a:ext cx="6777447" cy="1691640"/>
          </a:xfrm>
          <a:ln w="9525">
            <a:noFill/>
          </a:ln>
        </p:spPr>
        <p:txBody>
          <a:bodyPr lIns="0" tIns="0" rIns="0" bIns="0" numCol="1" anchor="t">
            <a:noAutofit/>
          </a:bodyPr>
          <a:lstStyle>
            <a:lvl1pPr marL="0" indent="0">
              <a:lnSpc>
                <a:spcPct val="110000"/>
              </a:lnSpc>
              <a:spcBef>
                <a:spcPct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ct val="0"/>
              </a:spcBef>
              <a:spcAft>
                <a:spcPts val="600"/>
              </a:spcAft>
              <a:buClr>
                <a:schemeClr val="accent1"/>
              </a:buClr>
              <a:buSzTx/>
              <a:buFontTx/>
              <a:buNone/>
              <a:defRPr sz="1200"/>
            </a:lvl2pPr>
            <a:lvl3pPr marL="171450" indent="-171450">
              <a:lnSpc>
                <a:spcPct val="110000"/>
              </a:lnSpc>
              <a:spcBef>
                <a:spcPct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ct val="0"/>
              </a:spcBef>
              <a:spcAft>
                <a:spcPts val="600"/>
              </a:spcAft>
              <a:buSzPct val="130000"/>
              <a:buFont typeface="Calibri" panose="020f0502020204030204" pitchFamily="34" charset="0"/>
              <a:buChar char="̶"/>
              <a:defRPr sz="1200"/>
            </a:lvl4pPr>
            <a:lvl5pPr marL="515938" indent="-136525">
              <a:lnSpc>
                <a:spcPct val="110000"/>
              </a:lnSpc>
              <a:spcBef>
                <a:spcPct val="0"/>
              </a:spcBef>
              <a:spcAft>
                <a:spcPts val="600"/>
              </a:spcAft>
              <a:buSzPct val="75000"/>
              <a:buFont typeface="Arial" panose="020b0604020202020204" pitchFamily="34" charset="0"/>
              <a:buChar char="►"/>
              <a:defRPr sz="1200"/>
            </a:lvl5pPr>
          </a:lstStyle>
          <a:p>
            <a:pPr lvl="0"/>
            <a:r>
              <a:rPr lang="en-US" dirty="1" smtClean="0"/>
              <a:t>Name, Title</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p>
        </p:txBody>
      </p:sp>
    </p:spTree>
    <p:extLst>
      <p:ext uri="{BB962C8B-B14F-4D97-AF65-F5344CB8AC3E}">
        <p14:creationId xmlns:p14="http://schemas.microsoft.com/office/powerpoint/2010/main" val="7707878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minar and Speaking Engagement 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1">
                  <p:embed/>
                </p:oleObj>
              </mc:Choice>
              <mc:Fallback>
                <p:oleObj name="think-cell Slide" progId="TCLayout.ActiveDocument.1" r:id="rId7" spid="_x0000_s1041">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10" name="Rectangle 9"/>
          <p:cNvSpPr/>
          <p:nvPr userDrawn="1"/>
        </p:nvSpPr>
        <p:spPr>
          <a:xfrm>
            <a:off x="2552700" y="4009612"/>
            <a:ext cx="6362699" cy="1075679"/>
          </a:xfrm>
          <a:prstGeom prst="rect"/>
        </p:spPr>
        <p:txBody>
          <a:bodyPr wrap="square" lIns="0" tIns="18288" rIns="0" bIns="18288">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1" smtClean="0">
                <a:solidFill>
                  <a:schemeClr val="bg1">
                    <a:lumMod val="50000"/>
                  </a:schemeClr>
                </a:solidFill>
              </a:rPr>
              <a:t>The views, opinions, statements, analysis and information contained in these materials are those of the individual presenters and do not necessarily reflect the views of Kirkland &amp; Ellis or any of its past, present and future clients. These materials (1) do not constitute legal advice; (2) do not form the basis for the creation of the attorney/client relationship; and (3) should not be relied upon without seeking specific legal advice with respect to the particular facts and current state of the law applicable to any situation requiring legal advice. These materials may only be reproduced with the prior written consent of Kirkland &amp; Ellis. These materials are provided with the understanding that the individual presenters and Kirkland &amp; Ellis are not rendering legal, accounting, or other professional advice or opinions on specific facts or matters, and, accordingly, such entities assume no liability whatsoever in connection with their use. Pursuant to applicable U.S. rules of professional conduct, this material may constitute Attorney Advertising. Prior results do not guarantee a similar outcome. </a:t>
            </a:r>
            <a:br>
              <a:rPr lang="en-US" sz="800" dirty="1" smtClean="0">
                <a:solidFill>
                  <a:schemeClr val="bg1">
                    <a:lumMod val="50000"/>
                  </a:schemeClr>
                </a:solidFill>
              </a:rPr>
            </a:br>
            <a:r>
              <a:rPr lang="en-US" sz="800" dirty="1" smtClean="0">
                <a:solidFill>
                  <a:schemeClr val="bg1">
                    <a:lumMod val="50000"/>
                  </a:schemeClr>
                </a:solidFill>
              </a:rPr>
              <a:t>© 2022 Kirkland &amp; Ellis. All rights reserved.</a:t>
            </a:r>
          </a:p>
        </p:txBody>
      </p:sp>
      <p:sp>
        <p:nvSpPr>
          <p:cNvPr id="12" name="Freeform 6"/>
          <p:cNvSpPr>
            <a:spLocks noEditPoints="1"/>
          </p:cNvSpPr>
          <p:nvPr userDrawn="1"/>
        </p:nvSpPr>
        <p:spPr>
          <a:xfrm>
            <a:off x="6562641" y="762000"/>
            <a:ext cx="2216555" cy="266700"/>
          </a:xfrm>
          <a:custGeom>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91440" tIns="45720" rIns="91440" bIns="45720" numCol="1" anchor="t" anchorCtr="0" compatLnSpc="1">
            <a:prstTxWarp prst="textNoShape"/>
          </a:bodyPr>
          <a:lstStyle/>
          <a:p>
            <a:endParaRPr lang="en-US"/>
          </a:p>
        </p:txBody>
      </p:sp>
      <p:sp>
        <p:nvSpPr>
          <p:cNvPr id="13" name="Title 1"/>
          <p:cNvSpPr>
            <a:spLocks noGrp="1"/>
          </p:cNvSpPr>
          <p:nvPr>
            <p:ph type="ctrTitle"/>
          </p:nvPr>
        </p:nvSpPr>
        <p:spPr>
          <a:xfrm>
            <a:off x="2557219" y="1965363"/>
            <a:ext cx="6244825" cy="1490472"/>
          </a:xfrm>
        </p:spPr>
        <p:txBody>
          <a:bodyPr lIns="0" rIns="0" anchor="t">
            <a:noAutofit/>
          </a:bodyPr>
          <a:lstStyle>
            <a:lvl1pPr>
              <a:defRPr sz="3200">
                <a:solidFill>
                  <a:schemeClr val="tx1"/>
                </a:solidFill>
              </a:defRPr>
            </a:lvl1pPr>
          </a:lstStyle>
          <a:p>
            <a:r>
              <a:rPr lang="en-US" dirty="1" smtClean="0"/>
              <a:t>Click to edit Master title style</a:t>
            </a:r>
            <a:endParaRPr lang="en-US"/>
          </a:p>
        </p:txBody>
      </p:sp>
      <p:sp>
        <p:nvSpPr>
          <p:cNvPr id="14" name="Text Placeholder 7"/>
          <p:cNvSpPr>
            <a:spLocks noGrp="1"/>
          </p:cNvSpPr>
          <p:nvPr>
            <p:ph type="body" sz="quarter" idx="17" hasCustomPrompt="1"/>
          </p:nvPr>
        </p:nvSpPr>
        <p:spPr>
          <a:xfrm>
            <a:off x="2557219" y="1584521"/>
            <a:ext cx="6244825" cy="374617"/>
          </a:xfrm>
        </p:spPr>
        <p:txBody>
          <a:bodyPr lIns="0" rIns="0" anchor="ctr"/>
          <a:lstStyle>
            <a:lvl1pPr marL="0" indent="0">
              <a:buFontTx/>
              <a:buNone/>
              <a:defRPr sz="1200" b="1" cap="all" spc="100" baseline="0">
                <a:solidFill>
                  <a:schemeClr val="accent1"/>
                </a:solidFill>
              </a:defRPr>
            </a:lvl1pPr>
            <a:lvl2pPr marL="339725" indent="0">
              <a:buFontTx/>
              <a:buNone/>
              <a:defRPr sz="1600">
                <a:solidFill>
                  <a:schemeClr val="accent2"/>
                </a:solidFill>
              </a:defRPr>
            </a:lvl2pPr>
            <a:lvl3pPr marL="690562" indent="0">
              <a:buFontTx/>
              <a:buNone/>
              <a:defRPr sz="1400">
                <a:solidFill>
                  <a:schemeClr val="accent2"/>
                </a:solidFill>
              </a:defRPr>
            </a:lvl3pPr>
            <a:lvl4pPr marL="1031875" indent="0">
              <a:buFontTx/>
              <a:buNone/>
              <a:defRPr sz="1200">
                <a:solidFill>
                  <a:schemeClr val="accent2"/>
                </a:solidFill>
              </a:defRPr>
            </a:lvl4pPr>
            <a:lvl5pPr marL="1319212" indent="0">
              <a:buFontTx/>
              <a:buNone/>
              <a:defRPr sz="1100">
                <a:solidFill>
                  <a:schemeClr val="accent2"/>
                </a:solidFill>
              </a:defRPr>
            </a:lvl5pPr>
          </a:lstStyle>
          <a:p>
            <a:pPr lvl="0"/>
            <a:r>
              <a:rPr lang="en-US" dirty="1" smtClean="0"/>
              <a:t>Presentation to:</a:t>
            </a:r>
          </a:p>
        </p:txBody>
      </p:sp>
      <p:sp>
        <p:nvSpPr>
          <p:cNvPr id="15" name="Subtitle 2"/>
          <p:cNvSpPr>
            <a:spLocks noGrp="1"/>
          </p:cNvSpPr>
          <p:nvPr>
            <p:ph type="subTitle" idx="1" hasCustomPrompt="1"/>
          </p:nvPr>
        </p:nvSpPr>
        <p:spPr>
          <a:xfrm>
            <a:off x="2557219" y="3620566"/>
            <a:ext cx="6244825" cy="355851"/>
          </a:xfrm>
        </p:spPr>
        <p:txBody>
          <a:bodyPr lIns="0" rIns="0">
            <a:noAutofit/>
          </a:bodyPr>
          <a:lstStyle>
            <a:lvl1pPr marL="0" indent="0" algn="l">
              <a:buNone/>
              <a:defRPr sz="14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dirty="1" smtClean="0"/>
              <a:t>Date | Presenters</a:t>
            </a:r>
            <a:endParaRPr lang="en-US"/>
          </a:p>
        </p:txBody>
      </p:sp>
      <p:sp>
        <p:nvSpPr>
          <p:cNvPr id="20" name="Freeform 11"/>
          <p:cNvSpPr/>
          <p:nvPr userDrawn="1"/>
        </p:nvSpPr>
        <p:spPr>
          <a:xfrm>
            <a:off x="751568" y="-10553"/>
            <a:ext cx="1212112" cy="5169358"/>
          </a:xfrm>
          <a:custGeom>
            <a:gdLst>
              <a:gd name="T0" fmla="*/ 0 w 1152"/>
              <a:gd name="T1" fmla="*/ 4913 h 4913"/>
              <a:gd name="T2" fmla="*/ 1152 w 1152"/>
              <a:gd name="T3" fmla="*/ 875 h 4913"/>
              <a:gd name="T4" fmla="*/ 903 w 1152"/>
              <a:gd name="T5" fmla="*/ 0 h 4913"/>
            </a:gd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bodyPr>
          <a:lstStyle/>
          <a:p>
            <a:endParaRPr lang="en-US"/>
          </a:p>
        </p:txBody>
      </p:sp>
      <p:sp>
        <p:nvSpPr>
          <p:cNvPr id="11" name="Picture Placeholder 6"/>
          <p:cNvSpPr>
            <a:spLocks noGrp="1"/>
          </p:cNvSpPr>
          <p:nvPr>
            <p:ph type="pic" sz="quarter" idx="19" hasCustomPrompt="1"/>
          </p:nvPr>
        </p:nvSpPr>
        <p:spPr>
          <a:xfrm>
            <a:off x="0" y="-7263"/>
            <a:ext cx="1772230" cy="5158026"/>
          </a:xfrm>
          <a:custGeom>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dup0" fmla="*/ 0 w 914400"/>
              <a:gd name="connsiteY0dup0" fmla="*/ 0 h 7799388"/>
              <a:gd name="connsiteX1dup0" fmla="*/ 914400 w 914400"/>
              <a:gd name="connsiteY1dup0" fmla="*/ 0 h 7799388"/>
              <a:gd name="connsiteX2dup0" fmla="*/ 898358 w 914400"/>
              <a:gd name="connsiteY2dup0" fmla="*/ 972051 h 7799388"/>
              <a:gd name="connsiteX3dup0" fmla="*/ 914400 w 914400"/>
              <a:gd name="connsiteY3dup0" fmla="*/ 7799388 h 7799388"/>
              <a:gd name="connsiteX4dup0" fmla="*/ 0 w 914400"/>
              <a:gd name="connsiteY4dup0" fmla="*/ 7799388 h 7799388"/>
              <a:gd name="connsiteX5" fmla="*/ 0 w 914400"/>
              <a:gd name="connsiteY5" fmla="*/ 0 h 7799388"/>
              <a:gd name="connsiteX0dup0dup1" fmla="*/ 0 w 2486539"/>
              <a:gd name="connsiteY0dup0dup1" fmla="*/ 0 h 7799388"/>
              <a:gd name="connsiteX1dup0dup1" fmla="*/ 914400 w 2486539"/>
              <a:gd name="connsiteY1dup0dup1" fmla="*/ 0 h 7799388"/>
              <a:gd name="connsiteX2dup0dup1" fmla="*/ 2486526 w 2486539"/>
              <a:gd name="connsiteY2dup0dup1" fmla="*/ 1373104 h 7799388"/>
              <a:gd name="connsiteX3dup0dup1" fmla="*/ 914400 w 2486539"/>
              <a:gd name="connsiteY3dup0dup1" fmla="*/ 7799388 h 7799388"/>
              <a:gd name="connsiteX4dup0dup1" fmla="*/ 0 w 2486539"/>
              <a:gd name="connsiteY4dup0dup1" fmla="*/ 7799388 h 7799388"/>
              <a:gd name="connsiteX5dup0" fmla="*/ 0 w 2486539"/>
              <a:gd name="connsiteY5dup0" fmla="*/ 0 h 7799388"/>
              <a:gd name="connsiteX0dup0dup1dup2" fmla="*/ 0 w 2486547"/>
              <a:gd name="connsiteY0dup0dup1dup2" fmla="*/ 0 h 7799388"/>
              <a:gd name="connsiteX1dup0dup1dup2" fmla="*/ 914400 w 2486547"/>
              <a:gd name="connsiteY1dup0dup1dup2" fmla="*/ 0 h 7799388"/>
              <a:gd name="connsiteX2dup0dup1dup2" fmla="*/ 2486526 w 2486547"/>
              <a:gd name="connsiteY2dup0dup1dup2" fmla="*/ 1373104 h 7799388"/>
              <a:gd name="connsiteX3dup0dup1dup2" fmla="*/ 914400 w 2486547"/>
              <a:gd name="connsiteY3dup0dup1dup2" fmla="*/ 7799388 h 7799388"/>
              <a:gd name="connsiteX4dup0dup1dup2" fmla="*/ 0 w 2486547"/>
              <a:gd name="connsiteY4dup0dup1dup2" fmla="*/ 7799388 h 7799388"/>
              <a:gd name="connsiteX5dup0dup1" fmla="*/ 0 w 2486547"/>
              <a:gd name="connsiteY5dup0dup1" fmla="*/ 0 h 7799388"/>
              <a:gd name="connsiteX0dup0dup1dup2dup3" fmla="*/ 0 w 2550713"/>
              <a:gd name="connsiteY0dup0dup1dup2dup3" fmla="*/ 0 h 7799388"/>
              <a:gd name="connsiteX1dup0dup1dup2dup3" fmla="*/ 914400 w 2550713"/>
              <a:gd name="connsiteY1dup0dup1dup2dup3" fmla="*/ 0 h 7799388"/>
              <a:gd name="connsiteX2dup0dup1dup2dup3" fmla="*/ 2550694 w 2550713"/>
              <a:gd name="connsiteY2dup0dup1dup2dup3" fmla="*/ 1405188 h 7799388"/>
              <a:gd name="connsiteX3dup0dup1dup2dup3" fmla="*/ 914400 w 2550713"/>
              <a:gd name="connsiteY3dup0dup1dup2dup3" fmla="*/ 7799388 h 7799388"/>
              <a:gd name="connsiteX4dup0dup1dup2dup3" fmla="*/ 0 w 2550713"/>
              <a:gd name="connsiteY4dup0dup1dup2dup3" fmla="*/ 7799388 h 7799388"/>
              <a:gd name="connsiteX5dup0dup1dup2" fmla="*/ 0 w 2550713"/>
              <a:gd name="connsiteY5dup0dup1dup2" fmla="*/ 0 h 7799388"/>
              <a:gd name="connsiteX0dup0dup1dup2dup3dup4" fmla="*/ 0 w 2550694"/>
              <a:gd name="connsiteY0dup0dup1dup2dup3dup4" fmla="*/ 0 h 7799388"/>
              <a:gd name="connsiteX1dup0dup1dup2dup3dup4" fmla="*/ 914400 w 2550694"/>
              <a:gd name="connsiteY1dup0dup1dup2dup3dup4" fmla="*/ 0 h 7799388"/>
              <a:gd name="connsiteX2dup0dup1dup2dup3dup4" fmla="*/ 2550694 w 2550694"/>
              <a:gd name="connsiteY2dup0dup1dup2dup3dup4" fmla="*/ 1405188 h 7799388"/>
              <a:gd name="connsiteX3dup0dup1dup2dup3dup4" fmla="*/ 914400 w 2550694"/>
              <a:gd name="connsiteY3dup0dup1dup2dup3dup4" fmla="*/ 7799388 h 7799388"/>
              <a:gd name="connsiteX4dup0dup1dup2dup3dup4" fmla="*/ 0 w 2550694"/>
              <a:gd name="connsiteY4dup0dup1dup2dup3dup4" fmla="*/ 7799388 h 7799388"/>
              <a:gd name="connsiteX5dup0dup1dup2dup3" fmla="*/ 0 w 2550694"/>
              <a:gd name="connsiteY5dup0dup1dup2dup3" fmla="*/ 0 h 7799388"/>
              <a:gd name="connsiteX0dup0dup1dup2dup3dup4dup5" fmla="*/ 0 w 2550694"/>
              <a:gd name="connsiteY0dup0dup1dup2dup3dup4dup5" fmla="*/ 0 h 7799388"/>
              <a:gd name="connsiteX1dup0dup1dup2dup3dup4dup5" fmla="*/ 914400 w 2550694"/>
              <a:gd name="connsiteY1dup0dup1dup2dup3dup4dup5" fmla="*/ 0 h 7799388"/>
              <a:gd name="connsiteX2dup0dup1dup2dup3dup4dup5" fmla="*/ 2550694 w 2550694"/>
              <a:gd name="connsiteY2dup0dup1dup2dup3dup4dup5" fmla="*/ 1405188 h 7799388"/>
              <a:gd name="connsiteX3dup0dup1dup2dup3dup4dup5" fmla="*/ 914400 w 2550694"/>
              <a:gd name="connsiteY3dup0dup1dup2dup3dup4dup5" fmla="*/ 7799388 h 7799388"/>
              <a:gd name="connsiteX4dup0dup1dup2dup3dup4dup5" fmla="*/ 0 w 2550694"/>
              <a:gd name="connsiteY4dup0dup1dup2dup3dup4dup5" fmla="*/ 7799388 h 7799388"/>
              <a:gd name="connsiteX5dup0dup1dup2dup3dup4" fmla="*/ 0 w 2550694"/>
              <a:gd name="connsiteY5dup0dup1dup2dup3dup4" fmla="*/ 0 h 7799388"/>
              <a:gd name="connsiteX0dup0dup1dup2dup3dup4dup5dup6" fmla="*/ 0 w 2550694"/>
              <a:gd name="connsiteY0dup0dup1dup2dup3dup4dup5dup6" fmla="*/ 0 h 7799388"/>
              <a:gd name="connsiteX1dup0dup1dup2dup3dup4dup5dup6" fmla="*/ 914400 w 2550694"/>
              <a:gd name="connsiteY1dup0dup1dup2dup3dup4dup5dup6" fmla="*/ 0 h 7799388"/>
              <a:gd name="connsiteX2dup0dup1dup2dup3dup4dup5dup6" fmla="*/ 2550694 w 2550694"/>
              <a:gd name="connsiteY2dup0dup1dup2dup3dup4dup5dup6" fmla="*/ 1405188 h 7799388"/>
              <a:gd name="connsiteX3dup0dup1dup2dup3dup4dup5dup6" fmla="*/ 914400 w 2550694"/>
              <a:gd name="connsiteY3dup0dup1dup2dup3dup4dup5dup6" fmla="*/ 7799388 h 7799388"/>
              <a:gd name="connsiteX4dup0dup1dup2dup3dup4dup5dup6" fmla="*/ 0 w 2550694"/>
              <a:gd name="connsiteY4dup0dup1dup2dup3dup4dup5dup6" fmla="*/ 7799388 h 7799388"/>
              <a:gd name="connsiteX5dup0dup1dup2dup3dup4dup5" fmla="*/ 0 w 2550694"/>
              <a:gd name="connsiteY5dup0dup1dup2dup3dup4dup5" fmla="*/ 0 h 7799388"/>
              <a:gd name="connsiteX0dup0dup1dup2dup3dup4dup5dup6dup7" fmla="*/ 0 w 2550694"/>
              <a:gd name="connsiteY0dup0dup1dup2dup3dup4dup5dup6dup7" fmla="*/ 0 h 7799388"/>
              <a:gd name="connsiteX1dup0dup1dup2dup3dup4dup5dup6dup7" fmla="*/ 914400 w 2550694"/>
              <a:gd name="connsiteY1dup0dup1dup2dup3dup4dup5dup6dup7" fmla="*/ 0 h 7799388"/>
              <a:gd name="connsiteX2dup0dup1dup2dup3dup4dup5dup6dup7" fmla="*/ 2550694 w 2550694"/>
              <a:gd name="connsiteY2dup0dup1dup2dup3dup4dup5dup6dup7" fmla="*/ 1405188 h 7799388"/>
              <a:gd name="connsiteX3dup0dup1dup2dup3dup4dup5dup6dup7" fmla="*/ 914400 w 2550694"/>
              <a:gd name="connsiteY3dup0dup1dup2dup3dup4dup5dup6dup7" fmla="*/ 7799388 h 7799388"/>
              <a:gd name="connsiteX4dup0dup1dup2dup3dup4dup5dup6dup7" fmla="*/ 0 w 2550694"/>
              <a:gd name="connsiteY4dup0dup1dup2dup3dup4dup5dup6dup7" fmla="*/ 7799388 h 7799388"/>
              <a:gd name="connsiteX5dup0dup1dup2dup3dup4dup5dup6" fmla="*/ 0 w 2550694"/>
              <a:gd name="connsiteY5dup0dup1dup2dup3dup4dup5dup6" fmla="*/ 0 h 7799388"/>
              <a:gd name="connsiteX0dup0dup1dup2dup3dup4dup5dup6dup7dup8" fmla="*/ 2550694 w 2642134"/>
              <a:gd name="connsiteY0dup0dup1dup2dup3dup4dup5dup6dup7dup8" fmla="*/ 1405188 h 7799388"/>
              <a:gd name="connsiteX1dup0dup1dup2dup3dup4dup5dup6dup7dup8" fmla="*/ 914400 w 2642134"/>
              <a:gd name="connsiteY1dup0dup1dup2dup3dup4dup5dup6dup7dup8" fmla="*/ 7799388 h 7799388"/>
              <a:gd name="connsiteX2dup0dup1dup2dup3dup4dup5dup6dup7dup8" fmla="*/ 0 w 2642134"/>
              <a:gd name="connsiteY2dup0dup1dup2dup3dup4dup5dup6dup7dup8" fmla="*/ 7799388 h 7799388"/>
              <a:gd name="connsiteX3dup0dup1dup2dup3dup4dup5dup6dup7dup8" fmla="*/ 0 w 2642134"/>
              <a:gd name="connsiteY3dup0dup1dup2dup3dup4dup5dup6dup7dup8" fmla="*/ 0 h 7799388"/>
              <a:gd name="connsiteX4dup0dup1dup2dup3dup4dup5dup6dup7dup8" fmla="*/ 914400 w 2642134"/>
              <a:gd name="connsiteY4dup0dup1dup2dup3dup4dup5dup6dup7dup8" fmla="*/ 0 h 7799388"/>
              <a:gd name="connsiteX5dup0dup1dup2dup3dup4dup5dup6dup7" fmla="*/ 2642134 w 2642134"/>
              <a:gd name="connsiteY5dup0dup1dup2dup3dup4dup5dup6dup7" fmla="*/ 1496628 h 7799388"/>
              <a:gd name="connsiteX0dup0dup1dup2dup3dup4dup5dup6dup7dup8dup9" fmla="*/ 2550694 w 2642134"/>
              <a:gd name="connsiteY0dup0dup1dup2dup3dup4dup5dup6dup7dup8dup9" fmla="*/ 1405188 h 7799388"/>
              <a:gd name="connsiteX1dup0dup1dup2dup3dup4dup5dup6dup7dup8dup9" fmla="*/ 914400 w 2642134"/>
              <a:gd name="connsiteY1dup0dup1dup2dup3dup4dup5dup6dup7dup8dup9" fmla="*/ 7799388 h 7799388"/>
              <a:gd name="connsiteX2dup0dup1dup2dup3dup4dup5dup6dup7dup8dup9" fmla="*/ 0 w 2642134"/>
              <a:gd name="connsiteY2dup0dup1dup2dup3dup4dup5dup6dup7dup8dup9" fmla="*/ 7799388 h 7799388"/>
              <a:gd name="connsiteX3dup0dup1dup2dup3dup4dup5dup6dup7dup8dup9" fmla="*/ 0 w 2642134"/>
              <a:gd name="connsiteY3dup0dup1dup2dup3dup4dup5dup6dup7dup8dup9" fmla="*/ 0 h 7799388"/>
              <a:gd name="connsiteX4dup0dup1dup2dup3dup4dup5dup6dup7dup8dup9" fmla="*/ 914400 w 2642134"/>
              <a:gd name="connsiteY4dup0dup1dup2dup3dup4dup5dup6dup7dup8dup9" fmla="*/ 0 h 7799388"/>
              <a:gd name="connsiteX5dup0dup1dup2dup3dup4dup5dup6dup7dup8" fmla="*/ 2642134 w 2642134"/>
              <a:gd name="connsiteY5dup0dup1dup2dup3dup4dup5dup6dup7dup8" fmla="*/ 1496628 h 7799388"/>
              <a:gd name="connsiteX6" fmla="*/ 2550694 w 2642134"/>
              <a:gd name="connsiteY6" fmla="*/ 1405188 h 7799388"/>
              <a:gd name="connsiteX0dup0dup1dup2dup3dup4dup5dup6dup7dup8dup9dup10" fmla="*/ 2550694 w 2642134"/>
              <a:gd name="connsiteY0dup0dup1dup2dup3dup4dup5dup6dup7dup8dup9dup10" fmla="*/ 1405188 h 7799388"/>
              <a:gd name="connsiteX1dup0dup1dup2dup3dup4dup5dup6dup7dup8dup9dup10" fmla="*/ 914400 w 2642134"/>
              <a:gd name="connsiteY1dup0dup1dup2dup3dup4dup5dup6dup7dup8dup9dup10" fmla="*/ 7799388 h 7799388"/>
              <a:gd name="connsiteX2dup0dup1dup2dup3dup4dup5dup6dup7dup8dup9dup10" fmla="*/ 0 w 2642134"/>
              <a:gd name="connsiteY2dup0dup1dup2dup3dup4dup5dup6dup7dup8dup9dup10" fmla="*/ 7799388 h 7799388"/>
              <a:gd name="connsiteX3dup0dup1dup2dup3dup4dup5dup6dup7dup8dup9dup10" fmla="*/ 0 w 2642134"/>
              <a:gd name="connsiteY3dup0dup1dup2dup3dup4dup5dup6dup7dup8dup9dup10" fmla="*/ 0 h 7799388"/>
              <a:gd name="connsiteX4dup0dup1dup2dup3dup4dup5dup6dup7dup8dup9dup10" fmla="*/ 914400 w 2642134"/>
              <a:gd name="connsiteY4dup0dup1dup2dup3dup4dup5dup6dup7dup8dup9dup10" fmla="*/ 0 h 7799388"/>
              <a:gd name="connsiteX5dup0dup1dup2dup3dup4dup5dup6dup7dup8dup9" fmla="*/ 2642134 w 2642134"/>
              <a:gd name="connsiteY5dup0dup1dup2dup3dup4dup5dup6dup7dup8dup9" fmla="*/ 1496628 h 7799388"/>
              <a:gd name="connsiteX6dup0" fmla="*/ 2550694 w 2642134"/>
              <a:gd name="connsiteY6dup0" fmla="*/ 1405188 h 7799388"/>
              <a:gd name="connsiteX0dup0dup1dup2dup3dup4dup5dup6dup7dup8dup9dup10dup11" fmla="*/ 2550694 w 2642134"/>
              <a:gd name="connsiteY0dup0dup1dup2dup3dup4dup5dup6dup7dup8dup9dup10dup11" fmla="*/ 1405188 h 7799388"/>
              <a:gd name="connsiteX1dup0dup1dup2dup3dup4dup5dup6dup7dup8dup9dup10dup11" fmla="*/ 914400 w 2642134"/>
              <a:gd name="connsiteY1dup0dup1dup2dup3dup4dup5dup6dup7dup8dup9dup10dup11" fmla="*/ 7799388 h 7799388"/>
              <a:gd name="connsiteX2dup0dup1dup2dup3dup4dup5dup6dup7dup8dup9dup10dup11" fmla="*/ 0 w 2642134"/>
              <a:gd name="connsiteY2dup0dup1dup2dup3dup4dup5dup6dup7dup8dup9dup10dup11" fmla="*/ 7799388 h 7799388"/>
              <a:gd name="connsiteX3dup0dup1dup2dup3dup4dup5dup6dup7dup8dup9dup10dup11" fmla="*/ 0 w 2642134"/>
              <a:gd name="connsiteY3dup0dup1dup2dup3dup4dup5dup6dup7dup8dup9dup10dup11" fmla="*/ 0 h 7799388"/>
              <a:gd name="connsiteX4dup0dup1dup2dup3dup4dup5dup6dup7dup8dup9dup10dup11" fmla="*/ 914400 w 2642134"/>
              <a:gd name="connsiteY4dup0dup1dup2dup3dup4dup5dup6dup7dup8dup9dup10dup11" fmla="*/ 0 h 7799388"/>
              <a:gd name="connsiteX5dup0dup1dup2dup3dup4dup5dup6dup7dup8dup9dup10" fmla="*/ 2642134 w 2642134"/>
              <a:gd name="connsiteY5dup0dup1dup2dup3dup4dup5dup6dup7dup8dup9dup10" fmla="*/ 1496628 h 7799388"/>
              <a:gd name="connsiteX6dup0dup1" fmla="*/ 2550694 w 2642134"/>
              <a:gd name="connsiteY6dup0dup1" fmla="*/ 1405188 h 7799388"/>
              <a:gd name="connsiteX0dup0dup1dup2dup3dup4dup5dup6dup7dup8dup9dup10dup11dup12" fmla="*/ 2550694 w 2642134"/>
              <a:gd name="connsiteY0dup0dup1dup2dup3dup4dup5dup6dup7dup8dup9dup10dup11dup12" fmla="*/ 1405188 h 7799388"/>
              <a:gd name="connsiteX1dup0dup1dup2dup3dup4dup5dup6dup7dup8dup9dup10dup11dup12" fmla="*/ 914400 w 2642134"/>
              <a:gd name="connsiteY1dup0dup1dup2dup3dup4dup5dup6dup7dup8dup9dup10dup11dup12" fmla="*/ 7799388 h 7799388"/>
              <a:gd name="connsiteX2dup0dup1dup2dup3dup4dup5dup6dup7dup8dup9dup10dup11dup12" fmla="*/ 0 w 2642134"/>
              <a:gd name="connsiteY2dup0dup1dup2dup3dup4dup5dup6dup7dup8dup9dup10dup11dup12" fmla="*/ 7799388 h 7799388"/>
              <a:gd name="connsiteX3dup0dup1dup2dup3dup4dup5dup6dup7dup8dup9dup10dup11dup12" fmla="*/ 0 w 2642134"/>
              <a:gd name="connsiteY3dup0dup1dup2dup3dup4dup5dup6dup7dup8dup9dup10dup11dup12" fmla="*/ 0 h 7799388"/>
              <a:gd name="connsiteX4dup0dup1dup2dup3dup4dup5dup6dup7dup8dup9dup10dup11dup12" fmla="*/ 914400 w 2642134"/>
              <a:gd name="connsiteY4dup0dup1dup2dup3dup4dup5dup6dup7dup8dup9dup10dup11dup12" fmla="*/ 0 h 7799388"/>
              <a:gd name="connsiteX5dup0dup1dup2dup3dup4dup5dup6dup7dup8dup9dup10dup11" fmla="*/ 2642134 w 2642134"/>
              <a:gd name="connsiteY5dup0dup1dup2dup3dup4dup5dup6dup7dup8dup9dup10dup11" fmla="*/ 1496628 h 7799388"/>
              <a:gd name="connsiteX6dup0dup1dup2" fmla="*/ 2550694 w 2642134"/>
              <a:gd name="connsiteY6dup0dup1dup2" fmla="*/ 1405188 h 7799388"/>
              <a:gd name="connsiteX0dup0dup1dup2dup3dup4dup5dup6dup7dup8dup9dup10dup11dup12dup13" fmla="*/ 2550694 w 2642134"/>
              <a:gd name="connsiteY0dup0dup1dup2dup3dup4dup5dup6dup7dup8dup9dup10dup11dup12dup13" fmla="*/ 1405188 h 7799388"/>
              <a:gd name="connsiteX1dup0dup1dup2dup3dup4dup5dup6dup7dup8dup9dup10dup11dup12dup13" fmla="*/ 914400 w 2642134"/>
              <a:gd name="connsiteY1dup0dup1dup2dup3dup4dup5dup6dup7dup8dup9dup10dup11dup12dup13" fmla="*/ 7799388 h 7799388"/>
              <a:gd name="connsiteX2dup0dup1dup2dup3dup4dup5dup6dup7dup8dup9dup10dup11dup12dup13" fmla="*/ 0 w 2642134"/>
              <a:gd name="connsiteY2dup0dup1dup2dup3dup4dup5dup6dup7dup8dup9dup10dup11dup12dup13" fmla="*/ 7799388 h 7799388"/>
              <a:gd name="connsiteX3dup0dup1dup2dup3dup4dup5dup6dup7dup8dup9dup10dup11dup12dup13" fmla="*/ 0 w 2642134"/>
              <a:gd name="connsiteY3dup0dup1dup2dup3dup4dup5dup6dup7dup8dup9dup10dup11dup12dup13" fmla="*/ 0 h 7799388"/>
              <a:gd name="connsiteX4dup0dup1dup2dup3dup4dup5dup6dup7dup8dup9dup10dup11dup12dup13" fmla="*/ 914400 w 2642134"/>
              <a:gd name="connsiteY4dup0dup1dup2dup3dup4dup5dup6dup7dup8dup9dup10dup11dup12dup13" fmla="*/ 0 h 7799388"/>
              <a:gd name="connsiteX5dup0dup1dup2dup3dup4dup5dup6dup7dup8dup9dup10dup11dup12" fmla="*/ 2642134 w 2642134"/>
              <a:gd name="connsiteY5dup0dup1dup2dup3dup4dup5dup6dup7dup8dup9dup10dup11dup12" fmla="*/ 1496628 h 7799388"/>
              <a:gd name="connsiteX6dup0dup1dup2dup3" fmla="*/ 2550694 w 2642134"/>
              <a:gd name="connsiteY6dup0dup1dup2dup3" fmla="*/ 1405188 h 7799388"/>
              <a:gd name="connsiteX0dup0dup1dup2dup3dup4dup5dup6dup7dup8dup9dup10dup11dup12dup13dup14" fmla="*/ 3242070 w 3242070"/>
              <a:gd name="connsiteY0dup0dup1dup2dup3dup4dup5dup6dup7dup8dup9dup10dup11dup12dup13dup14" fmla="*/ 1706271 h 7799388"/>
              <a:gd name="connsiteX1dup0dup1dup2dup3dup4dup5dup6dup7dup8dup9dup10dup11dup12dup13dup14" fmla="*/ 914400 w 3242070"/>
              <a:gd name="connsiteY1dup0dup1dup2dup3dup4dup5dup6dup7dup8dup9dup10dup11dup12dup13dup14" fmla="*/ 7799388 h 7799388"/>
              <a:gd name="connsiteX2dup0dup1dup2dup3dup4dup5dup6dup7dup8dup9dup10dup11dup12dup13dup14" fmla="*/ 0 w 3242070"/>
              <a:gd name="connsiteY2dup0dup1dup2dup3dup4dup5dup6dup7dup8dup9dup10dup11dup12dup13dup14" fmla="*/ 7799388 h 7799388"/>
              <a:gd name="connsiteX3dup0dup1dup2dup3dup4dup5dup6dup7dup8dup9dup10dup11dup12dup13dup14" fmla="*/ 0 w 3242070"/>
              <a:gd name="connsiteY3dup0dup1dup2dup3dup4dup5dup6dup7dup8dup9dup10dup11dup12dup13dup14" fmla="*/ 0 h 7799388"/>
              <a:gd name="connsiteX4dup0dup1dup2dup3dup4dup5dup6dup7dup8dup9dup10dup11dup12dup13dup14" fmla="*/ 914400 w 3242070"/>
              <a:gd name="connsiteY4dup0dup1dup2dup3dup4dup5dup6dup7dup8dup9dup10dup11dup12dup13dup14" fmla="*/ 0 h 7799388"/>
              <a:gd name="connsiteX5dup0dup1dup2dup3dup4dup5dup6dup7dup8dup9dup10dup11dup12dup13" fmla="*/ 2642134 w 3242070"/>
              <a:gd name="connsiteY5dup0dup1dup2dup3dup4dup5dup6dup7dup8dup9dup10dup11dup12dup13" fmla="*/ 1496628 h 7799388"/>
              <a:gd name="connsiteX6dup0dup1dup2dup3dup4" fmla="*/ 3242070 w 3242070"/>
              <a:gd name="connsiteY6dup0dup1dup2dup3dup4" fmla="*/ 1706271 h 7799388"/>
              <a:gd name="connsiteX0dup0dup1dup2dup3dup4dup5dup6dup7dup8dup9dup10dup11dup12dup13dup14dup15" fmla="*/ 3242070 w 3242070"/>
              <a:gd name="connsiteY0dup0dup1dup2dup3dup4dup5dup6dup7dup8dup9dup10dup11dup12dup13dup14dup15" fmla="*/ 1706271 h 7799388"/>
              <a:gd name="connsiteX1dup0dup1dup2dup3dup4dup5dup6dup7dup8dup9dup10dup11dup12dup13dup14dup15" fmla="*/ 914400 w 3242070"/>
              <a:gd name="connsiteY1dup0dup1dup2dup3dup4dup5dup6dup7dup8dup9dup10dup11dup12dup13dup14dup15" fmla="*/ 7799388 h 7799388"/>
              <a:gd name="connsiteX2dup0dup1dup2dup3dup4dup5dup6dup7dup8dup9dup10dup11dup12dup13dup14dup15" fmla="*/ 0 w 3242070"/>
              <a:gd name="connsiteY2dup0dup1dup2dup3dup4dup5dup6dup7dup8dup9dup10dup11dup12dup13dup14dup15" fmla="*/ 7799388 h 7799388"/>
              <a:gd name="connsiteX3dup0dup1dup2dup3dup4dup5dup6dup7dup8dup9dup10dup11dup12dup13dup14dup15" fmla="*/ 0 w 3242070"/>
              <a:gd name="connsiteY3dup0dup1dup2dup3dup4dup5dup6dup7dup8dup9dup10dup11dup12dup13dup14dup15" fmla="*/ 0 h 7799388"/>
              <a:gd name="connsiteX4dup0dup1dup2dup3dup4dup5dup6dup7dup8dup9dup10dup11dup12dup13dup14dup15" fmla="*/ 914400 w 3242070"/>
              <a:gd name="connsiteY4dup0dup1dup2dup3dup4dup5dup6dup7dup8dup9dup10dup11dup12dup13dup14dup15" fmla="*/ 0 h 7799388"/>
              <a:gd name="connsiteX5dup0dup1dup2dup3dup4dup5dup6dup7dup8dup9dup10dup11dup12dup13dup14" fmla="*/ 3242070 w 3242070"/>
              <a:gd name="connsiteY5dup0dup1dup2dup3dup4dup5dup6dup7dup8dup9dup10dup11dup12dup13dup14" fmla="*/ 1706271 h 7799388"/>
              <a:gd name="connsiteX0dup0dup1dup2dup3dup4dup5dup6dup7dup8dup9dup10dup11dup12dup13dup14dup15dup16" fmla="*/ 2506089 w 2506089"/>
              <a:gd name="connsiteY0dup0dup1dup2dup3dup4dup5dup6dup7dup8dup9dup10dup11dup12dup13dup14dup15dup16" fmla="*/ 1494398 h 7799388"/>
              <a:gd name="connsiteX1dup0dup1dup2dup3dup4dup5dup6dup7dup8dup9dup10dup11dup12dup13dup14dup15dup16" fmla="*/ 914400 w 2506089"/>
              <a:gd name="connsiteY1dup0dup1dup2dup3dup4dup5dup6dup7dup8dup9dup10dup11dup12dup13dup14dup15dup16" fmla="*/ 7799388 h 7799388"/>
              <a:gd name="connsiteX2dup0dup1dup2dup3dup4dup5dup6dup7dup8dup9dup10dup11dup12dup13dup14dup15dup16" fmla="*/ 0 w 2506089"/>
              <a:gd name="connsiteY2dup0dup1dup2dup3dup4dup5dup6dup7dup8dup9dup10dup11dup12dup13dup14dup15dup16" fmla="*/ 7799388 h 7799388"/>
              <a:gd name="connsiteX3dup0dup1dup2dup3dup4dup5dup6dup7dup8dup9dup10dup11dup12dup13dup14dup15dup16" fmla="*/ 0 w 2506089"/>
              <a:gd name="connsiteY3dup0dup1dup2dup3dup4dup5dup6dup7dup8dup9dup10dup11dup12dup13dup14dup15dup16" fmla="*/ 0 h 7799388"/>
              <a:gd name="connsiteX4dup0dup1dup2dup3dup4dup5dup6dup7dup8dup9dup10dup11dup12dup13dup14dup15dup16" fmla="*/ 914400 w 2506089"/>
              <a:gd name="connsiteY4dup0dup1dup2dup3dup4dup5dup6dup7dup8dup9dup10dup11dup12dup13dup14dup15dup16" fmla="*/ 0 h 7799388"/>
              <a:gd name="connsiteX5dup0dup1dup2dup3dup4dup5dup6dup7dup8dup9dup10dup11dup12dup13dup14dup15" fmla="*/ 2506089 w 2506089"/>
              <a:gd name="connsiteY5dup0dup1dup2dup3dup4dup5dup6dup7dup8dup9dup10dup11dup12dup13dup14dup15" fmla="*/ 1494398 h 7799388"/>
              <a:gd name="connsiteX0dup0dup1dup2dup3dup4dup5dup6dup7dup8dup9dup10dup11dup12dup13dup14dup15dup16dup17" fmla="*/ 2584148 w 2584148"/>
              <a:gd name="connsiteY0dup0dup1dup2dup3dup4dup5dup6dup7dup8dup9dup10dup11dup12dup13dup14dup15dup16dup17" fmla="*/ 1494398 h 7799388"/>
              <a:gd name="connsiteX1dup0dup1dup2dup3dup4dup5dup6dup7dup8dup9dup10dup11dup12dup13dup14dup15dup16dup17" fmla="*/ 914400 w 2584148"/>
              <a:gd name="connsiteY1dup0dup1dup2dup3dup4dup5dup6dup7dup8dup9dup10dup11dup12dup13dup14dup15dup16dup17" fmla="*/ 7799388 h 7799388"/>
              <a:gd name="connsiteX2dup0dup1dup2dup3dup4dup5dup6dup7dup8dup9dup10dup11dup12dup13dup14dup15dup16dup17" fmla="*/ 0 w 2584148"/>
              <a:gd name="connsiteY2dup0dup1dup2dup3dup4dup5dup6dup7dup8dup9dup10dup11dup12dup13dup14dup15dup16dup17" fmla="*/ 7799388 h 7799388"/>
              <a:gd name="connsiteX3dup0dup1dup2dup3dup4dup5dup6dup7dup8dup9dup10dup11dup12dup13dup14dup15dup16dup17" fmla="*/ 0 w 2584148"/>
              <a:gd name="connsiteY3dup0dup1dup2dup3dup4dup5dup6dup7dup8dup9dup10dup11dup12dup13dup14dup15dup16dup17" fmla="*/ 0 h 7799388"/>
              <a:gd name="connsiteX4dup0dup1dup2dup3dup4dup5dup6dup7dup8dup9dup10dup11dup12dup13dup14dup15dup16dup17" fmla="*/ 914400 w 2584148"/>
              <a:gd name="connsiteY4dup0dup1dup2dup3dup4dup5dup6dup7dup8dup9dup10dup11dup12dup13dup14dup15dup16dup17" fmla="*/ 0 h 7799388"/>
              <a:gd name="connsiteX5dup0dup1dup2dup3dup4dup5dup6dup7dup8dup9dup10dup11dup12dup13dup14dup15dup16" fmla="*/ 2584148 w 2584148"/>
              <a:gd name="connsiteY5dup0dup1dup2dup3dup4dup5dup6dup7dup8dup9dup10dup11dup12dup13dup14dup15dup16" fmla="*/ 1494398 h 7799388"/>
              <a:gd name="connsiteX0dup0dup1dup2dup3dup4dup5dup6dup7dup8dup9dup10dup11dup12dup13dup14dup15dup16dup17dup18" fmla="*/ 2584148 w 2584148"/>
              <a:gd name="connsiteY0dup0dup1dup2dup3dup4dup5dup6dup7dup8dup9dup10dup11dup12dup13dup14dup15dup16dup17dup18" fmla="*/ 1494398 h 7799388"/>
              <a:gd name="connsiteX1dup0dup1dup2dup3dup4dup5dup6dup7dup8dup9dup10dup11dup12dup13dup14dup15dup16dup17dup18" fmla="*/ 914400 w 2584148"/>
              <a:gd name="connsiteY1dup0dup1dup2dup3dup4dup5dup6dup7dup8dup9dup10dup11dup12dup13dup14dup15dup16dup17dup18" fmla="*/ 7799388 h 7799388"/>
              <a:gd name="connsiteX2dup0dup1dup2dup3dup4dup5dup6dup7dup8dup9dup10dup11dup12dup13dup14dup15dup16dup17dup18" fmla="*/ 0 w 2584148"/>
              <a:gd name="connsiteY2dup0dup1dup2dup3dup4dup5dup6dup7dup8dup9dup10dup11dup12dup13dup14dup15dup16dup17dup18" fmla="*/ 7799388 h 7799388"/>
              <a:gd name="connsiteX3dup0dup1dup2dup3dup4dup5dup6dup7dup8dup9dup10dup11dup12dup13dup14dup15dup16dup17dup18" fmla="*/ 0 w 2584148"/>
              <a:gd name="connsiteY3dup0dup1dup2dup3dup4dup5dup6dup7dup8dup9dup10dup11dup12dup13dup14dup15dup16dup17dup18" fmla="*/ 0 h 7799388"/>
              <a:gd name="connsiteX4dup0dup1dup2dup3dup4dup5dup6dup7dup8dup9dup10dup11dup12dup13dup14dup15dup16dup17dup18" fmla="*/ 914400 w 2584148"/>
              <a:gd name="connsiteY4dup0dup1dup2dup3dup4dup5dup6dup7dup8dup9dup10dup11dup12dup13dup14dup15dup16dup17dup18" fmla="*/ 0 h 7799388"/>
              <a:gd name="connsiteX5dup0dup1dup2dup3dup4dup5dup6dup7dup8dup9dup10dup11dup12dup13dup14dup15dup16dup17" fmla="*/ 2584148 w 2584148"/>
              <a:gd name="connsiteY5dup0dup1dup2dup3dup4dup5dup6dup7dup8dup9dup10dup11dup12dup13dup14dup15dup16dup17" fmla="*/ 1494398 h 7799388"/>
              <a:gd name="connsiteX0dup0dup1dup2dup3dup4dup5dup6dup7dup8dup9dup10dup11dup12dup13dup14dup15dup16dup17dup18dup19" fmla="*/ 2584148 w 2584148"/>
              <a:gd name="connsiteY0dup0dup1dup2dup3dup4dup5dup6dup7dup8dup9dup10dup11dup12dup13dup14dup15dup16dup17dup18dup19" fmla="*/ 1494398 h 7799388"/>
              <a:gd name="connsiteX1dup0dup1dup2dup3dup4dup5dup6dup7dup8dup9dup10dup11dup12dup13dup14dup15dup16dup17dup18dup19" fmla="*/ 914400 w 2584148"/>
              <a:gd name="connsiteY1dup0dup1dup2dup3dup4dup5dup6dup7dup8dup9dup10dup11dup12dup13dup14dup15dup16dup17dup18dup19" fmla="*/ 7799388 h 7799388"/>
              <a:gd name="connsiteX2dup0dup1dup2dup3dup4dup5dup6dup7dup8dup9dup10dup11dup12dup13dup14dup15dup16dup17dup18dup19" fmla="*/ 0 w 2584148"/>
              <a:gd name="connsiteY2dup0dup1dup2dup3dup4dup5dup6dup7dup8dup9dup10dup11dup12dup13dup14dup15dup16dup17dup18dup19" fmla="*/ 7799388 h 7799388"/>
              <a:gd name="connsiteX3dup0dup1dup2dup3dup4dup5dup6dup7dup8dup9dup10dup11dup12dup13dup14dup15dup16dup17dup18dup19" fmla="*/ 0 w 2584148"/>
              <a:gd name="connsiteY3dup0dup1dup2dup3dup4dup5dup6dup7dup8dup9dup10dup11dup12dup13dup14dup15dup16dup17dup18dup19" fmla="*/ 0 h 7799388"/>
              <a:gd name="connsiteX4dup0dup1dup2dup3dup4dup5dup6dup7dup8dup9dup10dup11dup12dup13dup14dup15dup16dup17dup18dup19" fmla="*/ 914400 w 2584148"/>
              <a:gd name="connsiteY4dup0dup1dup2dup3dup4dup5dup6dup7dup8dup9dup10dup11dup12dup13dup14dup15dup16dup17dup18dup19" fmla="*/ 0 h 7799388"/>
              <a:gd name="connsiteX5dup0dup1dup2dup3dup4dup5dup6dup7dup8dup9dup10dup11dup12dup13dup14dup15dup16dup17dup18" fmla="*/ 2584148 w 2584148"/>
              <a:gd name="connsiteY5dup0dup1dup2dup3dup4dup5dup6dup7dup8dup9dup10dup11dup12dup13dup14dup15dup16dup17dup18" fmla="*/ 1494398 h 7799388"/>
              <a:gd name="connsiteX0dup0dup1dup2dup3dup4dup5dup6dup7dup8dup9dup10dup11dup12dup13dup14dup15dup16dup17dup18dup19dup20" fmla="*/ 2584148 w 2584148"/>
              <a:gd name="connsiteY0dup0dup1dup2dup3dup4dup5dup6dup7dup8dup9dup10dup11dup12dup13dup14dup15dup16dup17dup18dup19dup20" fmla="*/ 1494398 h 7799388"/>
              <a:gd name="connsiteX1dup0dup1dup2dup3dup4dup5dup6dup7dup8dup9dup10dup11dup12dup13dup14dup15dup16dup17dup18dup19dup20" fmla="*/ 914400 w 2584148"/>
              <a:gd name="connsiteY1dup0dup1dup2dup3dup4dup5dup6dup7dup8dup9dup10dup11dup12dup13dup14dup15dup16dup17dup18dup19dup20" fmla="*/ 7799388 h 7799388"/>
              <a:gd name="connsiteX2dup0dup1dup2dup3dup4dup5dup6dup7dup8dup9dup10dup11dup12dup13dup14dup15dup16dup17dup18dup19dup20" fmla="*/ 0 w 2584148"/>
              <a:gd name="connsiteY2dup0dup1dup2dup3dup4dup5dup6dup7dup8dup9dup10dup11dup12dup13dup14dup15dup16dup17dup18dup19dup20" fmla="*/ 7799388 h 7799388"/>
              <a:gd name="connsiteX3dup0dup1dup2dup3dup4dup5dup6dup7dup8dup9dup10dup11dup12dup13dup14dup15dup16dup17dup18dup19dup20" fmla="*/ 0 w 2584148"/>
              <a:gd name="connsiteY3dup0dup1dup2dup3dup4dup5dup6dup7dup8dup9dup10dup11dup12dup13dup14dup15dup16dup17dup18dup19dup20" fmla="*/ 0 h 7799388"/>
              <a:gd name="connsiteX4dup0dup1dup2dup3dup4dup5dup6dup7dup8dup9dup10dup11dup12dup13dup14dup15dup16dup17dup18dup19dup20" fmla="*/ 2230244 w 2584148"/>
              <a:gd name="connsiteY4dup0dup1dup2dup3dup4dup5dup6dup7dup8dup9dup10dup11dup12dup13dup14dup15dup16dup17dup18dup19dup20" fmla="*/ 11151 h 7799388"/>
              <a:gd name="connsiteX5dup0dup1dup2dup3dup4dup5dup6dup7dup8dup9dup10dup11dup12dup13dup14dup15dup16dup17dup18dup19" fmla="*/ 2584148 w 2584148"/>
              <a:gd name="connsiteY5dup0dup1dup2dup3dup4dup5dup6dup7dup8dup9dup10dup11dup12dup13dup14dup15dup16dup17dup18dup19" fmla="*/ 1494398 h 7799388"/>
              <a:gd name="connsiteX0dup0dup1dup2dup3dup4dup5dup6dup7dup8dup9dup10dup11dup12dup13dup14dup15dup16dup17dup18dup19dup20dup21" fmla="*/ 2673357 w 2673357"/>
              <a:gd name="connsiteY0dup0dup1dup2dup3dup4dup5dup6dup7dup8dup9dup10dup11dup12dup13dup14dup15dup16dup17dup18dup19dup20dup21" fmla="*/ 1394037 h 7799388"/>
              <a:gd name="connsiteX1dup0dup1dup2dup3dup4dup5dup6dup7dup8dup9dup10dup11dup12dup13dup14dup15dup16dup17dup18dup19dup20dup21" fmla="*/ 914400 w 2673357"/>
              <a:gd name="connsiteY1dup0dup1dup2dup3dup4dup5dup6dup7dup8dup9dup10dup11dup12dup13dup14dup15dup16dup17dup18dup19dup20dup21" fmla="*/ 7799388 h 7799388"/>
              <a:gd name="connsiteX2dup0dup1dup2dup3dup4dup5dup6dup7dup8dup9dup10dup11dup12dup13dup14dup15dup16dup17dup18dup19dup20dup21" fmla="*/ 0 w 2673357"/>
              <a:gd name="connsiteY2dup0dup1dup2dup3dup4dup5dup6dup7dup8dup9dup10dup11dup12dup13dup14dup15dup16dup17dup18dup19dup20dup21" fmla="*/ 7799388 h 7799388"/>
              <a:gd name="connsiteX3dup0dup1dup2dup3dup4dup5dup6dup7dup8dup9dup10dup11dup12dup13dup14dup15dup16dup17dup18dup19dup20dup21" fmla="*/ 0 w 2673357"/>
              <a:gd name="connsiteY3dup0dup1dup2dup3dup4dup5dup6dup7dup8dup9dup10dup11dup12dup13dup14dup15dup16dup17dup18dup19dup20dup21" fmla="*/ 0 h 7799388"/>
              <a:gd name="connsiteX4dup0dup1dup2dup3dup4dup5dup6dup7dup8dup9dup10dup11dup12dup13dup14dup15dup16dup17dup18dup19dup20dup21" fmla="*/ 2230244 w 2673357"/>
              <a:gd name="connsiteY4dup0dup1dup2dup3dup4dup5dup6dup7dup8dup9dup10dup11dup12dup13dup14dup15dup16dup17dup18dup19dup20dup21" fmla="*/ 11151 h 7799388"/>
              <a:gd name="connsiteX5dup0dup1dup2dup3dup4dup5dup6dup7dup8dup9dup10dup11dup12dup13dup14dup15dup16dup17dup18dup19dup20" fmla="*/ 2673357 w 2673357"/>
              <a:gd name="connsiteY5dup0dup1dup2dup3dup4dup5dup6dup7dup8dup9dup10dup11dup12dup13dup14dup15dup16dup17dup18dup19dup20" fmla="*/ 1394037 h 7799388"/>
              <a:gd name="connsiteX0dup0dup1dup2dup3dup4dup5dup6dup7dup8dup9dup10dup11dup12dup13dup14dup15dup16dup17dup18dup19dup20dup21dup22" fmla="*/ 2673357 w 2673357"/>
              <a:gd name="connsiteY0dup0dup1dup2dup3dup4dup5dup6dup7dup8dup9dup10dup11dup12dup13dup14dup15dup16dup17dup18dup19dup20dup21dup22" fmla="*/ 1394037 h 7799388"/>
              <a:gd name="connsiteX1dup0dup1dup2dup3dup4dup5dup6dup7dup8dup9dup10dup11dup12dup13dup14dup15dup16dup17dup18dup19dup20dup21dup22" fmla="*/ 914400 w 2673357"/>
              <a:gd name="connsiteY1dup0dup1dup2dup3dup4dup5dup6dup7dup8dup9dup10dup11dup12dup13dup14dup15dup16dup17dup18dup19dup20dup21dup22" fmla="*/ 7799388 h 7799388"/>
              <a:gd name="connsiteX2dup0dup1dup2dup3dup4dup5dup6dup7dup8dup9dup10dup11dup12dup13dup14dup15dup16dup17dup18dup19dup20dup21dup22" fmla="*/ 0 w 2673357"/>
              <a:gd name="connsiteY2dup0dup1dup2dup3dup4dup5dup6dup7dup8dup9dup10dup11dup12dup13dup14dup15dup16dup17dup18dup19dup20dup21dup22" fmla="*/ 7799388 h 7799388"/>
              <a:gd name="connsiteX3dup0dup1dup2dup3dup4dup5dup6dup7dup8dup9dup10dup11dup12dup13dup14dup15dup16dup17dup18dup19dup20dup21dup22" fmla="*/ 0 w 2673357"/>
              <a:gd name="connsiteY3dup0dup1dup2dup3dup4dup5dup6dup7dup8dup9dup10dup11dup12dup13dup14dup15dup16dup17dup18dup19dup20dup21dup22" fmla="*/ 0 h 7799388"/>
              <a:gd name="connsiteX4dup0dup1dup2dup3dup4dup5dup6dup7dup8dup9dup10dup11dup12dup13dup14dup15dup16dup17dup18dup19dup20dup21dup22" fmla="*/ 2252546 w 2673357"/>
              <a:gd name="connsiteY4dup0dup1dup2dup3dup4dup5dup6dup7dup8dup9dup10dup11dup12dup13dup14dup15dup16dup17dup18dup19dup20dup21dup22" fmla="*/ 11151 h 7799388"/>
              <a:gd name="connsiteX5dup0dup1dup2dup3dup4dup5dup6dup7dup8dup9dup10dup11dup12dup13dup14dup15dup16dup17dup18dup19dup20dup21" fmla="*/ 2673357 w 2673357"/>
              <a:gd name="connsiteY5dup0dup1dup2dup3dup4dup5dup6dup7dup8dup9dup10dup11dup12dup13dup14dup15dup16dup17dup18dup19dup20dup21" fmla="*/ 1394037 h 7799388"/>
              <a:gd name="connsiteX0dup0dup1dup2dup3dup4dup5dup6dup7dup8dup9dup10dup11dup12dup13dup14dup15dup16dup17dup18dup19dup20dup21dup22dup23" fmla="*/ 2673357 w 2673357"/>
              <a:gd name="connsiteY0dup0dup1dup2dup3dup4dup5dup6dup7dup8dup9dup10dup11dup12dup13dup14dup15dup16dup17dup18dup19dup20dup21dup22dup23" fmla="*/ 1394037 h 7799388"/>
              <a:gd name="connsiteX1dup0dup1dup2dup3dup4dup5dup6dup7dup8dup9dup10dup11dup12dup13dup14dup15dup16dup17dup18dup19dup20dup21dup22dup23" fmla="*/ 914400 w 2673357"/>
              <a:gd name="connsiteY1dup0dup1dup2dup3dup4dup5dup6dup7dup8dup9dup10dup11dup12dup13dup14dup15dup16dup17dup18dup19dup20dup21dup22dup23" fmla="*/ 7799388 h 7799388"/>
              <a:gd name="connsiteX2dup0dup1dup2dup3dup4dup5dup6dup7dup8dup9dup10dup11dup12dup13dup14dup15dup16dup17dup18dup19dup20dup21dup22dup23" fmla="*/ 0 w 2673357"/>
              <a:gd name="connsiteY2dup0dup1dup2dup3dup4dup5dup6dup7dup8dup9dup10dup11dup12dup13dup14dup15dup16dup17dup18dup19dup20dup21dup22dup23" fmla="*/ 7799388 h 7799388"/>
              <a:gd name="connsiteX3dup0dup1dup2dup3dup4dup5dup6dup7dup8dup9dup10dup11dup12dup13dup14dup15dup16dup17dup18dup19dup20dup21dup22dup23" fmla="*/ 0 w 2673357"/>
              <a:gd name="connsiteY3dup0dup1dup2dup3dup4dup5dup6dup7dup8dup9dup10dup11dup12dup13dup14dup15dup16dup17dup18dup19dup20dup21dup22dup23" fmla="*/ 0 h 7799388"/>
              <a:gd name="connsiteX4dup0dup1dup2dup3dup4dup5dup6dup7dup8dup9dup10dup11dup12dup13dup14dup15dup16dup17dup18dup19dup20dup21dup22dup23" fmla="*/ 2280682 w 2673357"/>
              <a:gd name="connsiteY4dup0dup1dup2dup3dup4dup5dup6dup7dup8dup9dup10dup11dup12dup13dup14dup15dup16dup17dup18dup19dup20dup21dup22dup23" fmla="*/ 11151 h 7799388"/>
              <a:gd name="connsiteX5dup0dup1dup2dup3dup4dup5dup6dup7dup8dup9dup10dup11dup12dup13dup14dup15dup16dup17dup18dup19dup20dup21dup22" fmla="*/ 2673357 w 2673357"/>
              <a:gd name="connsiteY5dup0dup1dup2dup3dup4dup5dup6dup7dup8dup9dup10dup11dup12dup13dup14dup15dup16dup17dup18dup19dup20dup21dup22" fmla="*/ 1394037 h 7799388"/>
              <a:gd name="connsiteX0dup0dup1dup2dup3dup4dup5dup6dup7dup8dup9dup10dup11dup12dup13dup14dup15dup16dup17dup18dup19dup20dup21dup22dup23dup24" fmla="*/ 2673357 w 2673357"/>
              <a:gd name="connsiteY0dup0dup1dup2dup3dup4dup5dup6dup7dup8dup9dup10dup11dup12dup13dup14dup15dup16dup17dup18dup19dup20dup21dup22dup23dup24" fmla="*/ 1394037 h 7799388"/>
              <a:gd name="connsiteX1dup0dup1dup2dup3dup4dup5dup6dup7dup8dup9dup10dup11dup12dup13dup14dup15dup16dup17dup18dup19dup20dup21dup22dup23dup24" fmla="*/ 914400 w 2673357"/>
              <a:gd name="connsiteY1dup0dup1dup2dup3dup4dup5dup6dup7dup8dup9dup10dup11dup12dup13dup14dup15dup16dup17dup18dup19dup20dup21dup22dup23dup24" fmla="*/ 7799388 h 7799388"/>
              <a:gd name="connsiteX2dup0dup1dup2dup3dup4dup5dup6dup7dup8dup9dup10dup11dup12dup13dup14dup15dup16dup17dup18dup19dup20dup21dup22dup23dup24" fmla="*/ 0 w 2673357"/>
              <a:gd name="connsiteY2dup0dup1dup2dup3dup4dup5dup6dup7dup8dup9dup10dup11dup12dup13dup14dup15dup16dup17dup18dup19dup20dup21dup22dup23dup24" fmla="*/ 7799388 h 7799388"/>
              <a:gd name="connsiteX3dup0dup1dup2dup3dup4dup5dup6dup7dup8dup9dup10dup11dup12dup13dup14dup15dup16dup17dup18dup19dup20dup21dup22dup23dup24" fmla="*/ 0 w 2673357"/>
              <a:gd name="connsiteY3dup0dup1dup2dup3dup4dup5dup6dup7dup8dup9dup10dup11dup12dup13dup14dup15dup16dup17dup18dup19dup20dup21dup22dup23dup24" fmla="*/ 0 h 7799388"/>
              <a:gd name="connsiteX4dup0dup1dup2dup3dup4dup5dup6dup7dup8dup9dup10dup11dup12dup13dup14dup15dup16dup17dup18dup19dup20dup21dup22dup23dup24" fmla="*/ 2280682 w 2673357"/>
              <a:gd name="connsiteY4dup0dup1dup2dup3dup4dup5dup6dup7dup8dup9dup10dup11dup12dup13dup14dup15dup16dup17dup18dup19dup20dup21dup22dup23dup24" fmla="*/ 11151 h 7799388"/>
              <a:gd name="connsiteX5dup0dup1dup2dup3dup4dup5dup6dup7dup8dup9dup10dup11dup12dup13dup14dup15dup16dup17dup18dup19dup20dup21dup22dup23" fmla="*/ 2673357 w 2673357"/>
              <a:gd name="connsiteY5dup0dup1dup2dup3dup4dup5dup6dup7dup8dup9dup10dup11dup12dup13dup14dup15dup16dup17dup18dup19dup20dup21dup22dup23" fmla="*/ 1394037 h 7799388"/>
              <a:gd name="connsiteX0dup0dup1dup2dup3dup4dup5dup6dup7dup8dup9dup10dup11dup12dup13dup14dup15dup16dup17dup18dup19dup20dup21dup22dup23dup24dup25" fmla="*/ 2673357 w 2673357"/>
              <a:gd name="connsiteY0dup0dup1dup2dup3dup4dup5dup6dup7dup8dup9dup10dup11dup12dup13dup14dup15dup16dup17dup18dup19dup20dup21dup22dup23dup24dup25" fmla="*/ 1382886 h 7788237"/>
              <a:gd name="connsiteX1dup0dup1dup2dup3dup4dup5dup6dup7dup8dup9dup10dup11dup12dup13dup14dup15dup16dup17dup18dup19dup20dup21dup22dup23dup24dup25" fmla="*/ 914400 w 2673357"/>
              <a:gd name="connsiteY1dup0dup1dup2dup3dup4dup5dup6dup7dup8dup9dup10dup11dup12dup13dup14dup15dup16dup17dup18dup19dup20dup21dup22dup23dup24dup25" fmla="*/ 7788237 h 7788237"/>
              <a:gd name="connsiteX2dup0dup1dup2dup3dup4dup5dup6dup7dup8dup9dup10dup11dup12dup13dup14dup15dup16dup17dup18dup19dup20dup21dup22dup23dup24dup25" fmla="*/ 0 w 2673357"/>
              <a:gd name="connsiteY2dup0dup1dup2dup3dup4dup5dup6dup7dup8dup9dup10dup11dup12dup13dup14dup15dup16dup17dup18dup19dup20dup21dup22dup23dup24dup25" fmla="*/ 7788237 h 7788237"/>
              <a:gd name="connsiteX3dup0dup1dup2dup3dup4dup5dup6dup7dup8dup9dup10dup11dup12dup13dup14dup15dup16dup17dup18dup19dup20dup21dup22dup23dup24dup25" fmla="*/ 0 w 2673357"/>
              <a:gd name="connsiteY3dup0dup1dup2dup3dup4dup5dup6dup7dup8dup9dup10dup11dup12dup13dup14dup15dup16dup17dup18dup19dup20dup21dup22dup23dup24dup25" fmla="*/ 2917 h 7788237"/>
              <a:gd name="connsiteX4dup0dup1dup2dup3dup4dup5dup6dup7dup8dup9dup10dup11dup12dup13dup14dup15dup16dup17dup18dup19dup20dup21dup22dup23dup24dup25" fmla="*/ 2280682 w 2673357"/>
              <a:gd name="connsiteY4dup0dup1dup2dup3dup4dup5dup6dup7dup8dup9dup10dup11dup12dup13dup14dup15dup16dup17dup18dup19dup20dup21dup22dup23dup24dup25" fmla="*/ 0 h 7788237"/>
              <a:gd name="connsiteX5dup0dup1dup2dup3dup4dup5dup6dup7dup8dup9dup10dup11dup12dup13dup14dup15dup16dup17dup18dup19dup20dup21dup22dup23dup24" fmla="*/ 2673357 w 2673357"/>
              <a:gd name="connsiteY5dup0dup1dup2dup3dup4dup5dup6dup7dup8dup9dup10dup11dup12dup13dup14dup15dup16dup17dup18dup19dup20dup21dup22dup23dup24" fmla="*/ 1382886 h 7788237"/>
              <a:gd name="connsiteX0dup0dup1dup2dup3dup4dup5dup6dup7dup8dup9dup10dup11dup12dup13dup14dup15dup16dup17dup18dup19dup20dup21dup22dup23dup24dup25dup26" fmla="*/ 2673357 w 2673357"/>
              <a:gd name="connsiteY0dup0dup1dup2dup3dup4dup5dup6dup7dup8dup9dup10dup11dup12dup13dup14dup15dup16dup17dup18dup19dup20dup21dup22dup23dup24dup25dup26" fmla="*/ 1382886 h 7788237"/>
              <a:gd name="connsiteX1dup0dup1dup2dup3dup4dup5dup6dup7dup8dup9dup10dup11dup12dup13dup14dup15dup16dup17dup18dup19dup20dup21dup22dup23dup24dup25dup26" fmla="*/ 872197 w 2673357"/>
              <a:gd name="connsiteY1dup0dup1dup2dup3dup4dup5dup6dup7dup8dup9dup10dup11dup12dup13dup14dup15dup16dup17dup18dup19dup20dup21dup22dup23dup24dup25dup26" fmla="*/ 7788237 h 7788237"/>
              <a:gd name="connsiteX2dup0dup1dup2dup3dup4dup5dup6dup7dup8dup9dup10dup11dup12dup13dup14dup15dup16dup17dup18dup19dup20dup21dup22dup23dup24dup25dup26" fmla="*/ 0 w 2673357"/>
              <a:gd name="connsiteY2dup0dup1dup2dup3dup4dup5dup6dup7dup8dup9dup10dup11dup12dup13dup14dup15dup16dup17dup18dup19dup20dup21dup22dup23dup24dup25dup26" fmla="*/ 7788237 h 7788237"/>
              <a:gd name="connsiteX3dup0dup1dup2dup3dup4dup5dup6dup7dup8dup9dup10dup11dup12dup13dup14dup15dup16dup17dup18dup19dup20dup21dup22dup23dup24dup25dup26" fmla="*/ 0 w 2673357"/>
              <a:gd name="connsiteY3dup0dup1dup2dup3dup4dup5dup6dup7dup8dup9dup10dup11dup12dup13dup14dup15dup16dup17dup18dup19dup20dup21dup22dup23dup24dup25dup26" fmla="*/ 2917 h 7788237"/>
              <a:gd name="connsiteX4dup0dup1dup2dup3dup4dup5dup6dup7dup8dup9dup10dup11dup12dup13dup14dup15dup16dup17dup18dup19dup20dup21dup22dup23dup24dup25dup26" fmla="*/ 2280682 w 2673357"/>
              <a:gd name="connsiteY4dup0dup1dup2dup3dup4dup5dup6dup7dup8dup9dup10dup11dup12dup13dup14dup15dup16dup17dup18dup19dup20dup21dup22dup23dup24dup25dup26" fmla="*/ 0 h 7788237"/>
              <a:gd name="connsiteX5dup0dup1dup2dup3dup4dup5dup6dup7dup8dup9dup10dup11dup12dup13dup14dup15dup16dup17dup18dup19dup20dup21dup22dup23dup24dup25" fmla="*/ 2673357 w 2673357"/>
              <a:gd name="connsiteY5dup0dup1dup2dup3dup4dup5dup6dup7dup8dup9dup10dup11dup12dup13dup14dup15dup16dup17dup18dup19dup20dup21dup22dup23dup24dup25" fmla="*/ 1382886 h 7788237"/>
              <a:gd name="connsiteX0dup0dup1dup2dup3dup4dup5dup6dup7dup8dup9dup10dup11dup12dup13dup14dup15dup16dup17dup18dup19dup20dup21dup22dup23dup24dup25dup26dup27" fmla="*/ 2677367 w 2677367"/>
              <a:gd name="connsiteY0dup0dup1dup2dup3dup4dup5dup6dup7dup8dup9dup10dup11dup12dup13dup14dup15dup16dup17dup18dup19dup20dup21dup22dup23dup24dup25dup26dup27" fmla="*/ 1378876 h 7788237"/>
              <a:gd name="connsiteX1dup0dup1dup2dup3dup4dup5dup6dup7dup8dup9dup10dup11dup12dup13dup14dup15dup16dup17dup18dup19dup20dup21dup22dup23dup24dup25dup26dup27" fmla="*/ 872197 w 2677367"/>
              <a:gd name="connsiteY1dup0dup1dup2dup3dup4dup5dup6dup7dup8dup9dup10dup11dup12dup13dup14dup15dup16dup17dup18dup19dup20dup21dup22dup23dup24dup25dup26dup27" fmla="*/ 7788237 h 7788237"/>
              <a:gd name="connsiteX2dup0dup1dup2dup3dup4dup5dup6dup7dup8dup9dup10dup11dup12dup13dup14dup15dup16dup17dup18dup19dup20dup21dup22dup23dup24dup25dup26dup27" fmla="*/ 0 w 2677367"/>
              <a:gd name="connsiteY2dup0dup1dup2dup3dup4dup5dup6dup7dup8dup9dup10dup11dup12dup13dup14dup15dup16dup17dup18dup19dup20dup21dup22dup23dup24dup25dup26dup27" fmla="*/ 7788237 h 7788237"/>
              <a:gd name="connsiteX3dup0dup1dup2dup3dup4dup5dup6dup7dup8dup9dup10dup11dup12dup13dup14dup15dup16dup17dup18dup19dup20dup21dup22dup23dup24dup25dup26dup27" fmla="*/ 0 w 2677367"/>
              <a:gd name="connsiteY3dup0dup1dup2dup3dup4dup5dup6dup7dup8dup9dup10dup11dup12dup13dup14dup15dup16dup17dup18dup19dup20dup21dup22dup23dup24dup25dup26dup27" fmla="*/ 2917 h 7788237"/>
              <a:gd name="connsiteX4dup0dup1dup2dup3dup4dup5dup6dup7dup8dup9dup10dup11dup12dup13dup14dup15dup16dup17dup18dup19dup20dup21dup22dup23dup24dup25dup26dup27" fmla="*/ 2280682 w 2677367"/>
              <a:gd name="connsiteY4dup0dup1dup2dup3dup4dup5dup6dup7dup8dup9dup10dup11dup12dup13dup14dup15dup16dup17dup18dup19dup20dup21dup22dup23dup24dup25dup26dup27" fmla="*/ 0 h 7788237"/>
              <a:gd name="connsiteX5dup0dup1dup2dup3dup4dup5dup6dup7dup8dup9dup10dup11dup12dup13dup14dup15dup16dup17dup18dup19dup20dup21dup22dup23dup24dup25dup26" fmla="*/ 2677367 w 2677367"/>
              <a:gd name="connsiteY5dup0dup1dup2dup3dup4dup5dup6dup7dup8dup9dup10dup11dup12dup13dup14dup15dup16dup17dup18dup19dup20dup21dup22dup23dup24dup25dup26" fmla="*/ 1378876 h 7788237"/>
              <a:gd name="connsiteX0dup0dup1dup2dup3dup4dup5dup6dup7dup8dup9dup10dup11dup12dup13dup14dup15dup16dup17dup18dup19dup20dup21dup22dup23dup24dup25dup26dup27dup28" fmla="*/ 2677367 w 2677367"/>
              <a:gd name="connsiteY0dup0dup1dup2dup3dup4dup5dup6dup7dup8dup9dup10dup11dup12dup13dup14dup15dup16dup17dup18dup19dup20dup21dup22dup23dup24dup25dup26dup27dup28" fmla="*/ 1378876 h 7788237"/>
              <a:gd name="connsiteX1dup0dup1dup2dup3dup4dup5dup6dup7dup8dup9dup10dup11dup12dup13dup14dup15dup16dup17dup18dup19dup20dup21dup22dup23dup24dup25dup26dup27dup28" fmla="*/ 852144 w 2677367"/>
              <a:gd name="connsiteY1dup0dup1dup2dup3dup4dup5dup6dup7dup8dup9dup10dup11dup12dup13dup14dup15dup16dup17dup18dup19dup20dup21dup22dup23dup24dup25dup26dup27dup28" fmla="*/ 7788237 h 7788237"/>
              <a:gd name="connsiteX2dup0dup1dup2dup3dup4dup5dup6dup7dup8dup9dup10dup11dup12dup13dup14dup15dup16dup17dup18dup19dup20dup21dup22dup23dup24dup25dup26dup27dup28" fmla="*/ 0 w 2677367"/>
              <a:gd name="connsiteY2dup0dup1dup2dup3dup4dup5dup6dup7dup8dup9dup10dup11dup12dup13dup14dup15dup16dup17dup18dup19dup20dup21dup22dup23dup24dup25dup26dup27dup28" fmla="*/ 7788237 h 7788237"/>
              <a:gd name="connsiteX3dup0dup1dup2dup3dup4dup5dup6dup7dup8dup9dup10dup11dup12dup13dup14dup15dup16dup17dup18dup19dup20dup21dup22dup23dup24dup25dup26dup27dup28" fmla="*/ 0 w 2677367"/>
              <a:gd name="connsiteY3dup0dup1dup2dup3dup4dup5dup6dup7dup8dup9dup10dup11dup12dup13dup14dup15dup16dup17dup18dup19dup20dup21dup22dup23dup24dup25dup26dup27dup28" fmla="*/ 2917 h 7788237"/>
              <a:gd name="connsiteX4dup0dup1dup2dup3dup4dup5dup6dup7dup8dup9dup10dup11dup12dup13dup14dup15dup16dup17dup18dup19dup20dup21dup22dup23dup24dup25dup26dup27dup28" fmla="*/ 2280682 w 2677367"/>
              <a:gd name="connsiteY4dup0dup1dup2dup3dup4dup5dup6dup7dup8dup9dup10dup11dup12dup13dup14dup15dup16dup17dup18dup19dup20dup21dup22dup23dup24dup25dup26dup27dup28" fmla="*/ 0 h 7788237"/>
              <a:gd name="connsiteX5dup0dup1dup2dup3dup4dup5dup6dup7dup8dup9dup10dup11dup12dup13dup14dup15dup16dup17dup18dup19dup20dup21dup22dup23dup24dup25dup26dup27" fmla="*/ 2677367 w 2677367"/>
              <a:gd name="connsiteY5dup0dup1dup2dup3dup4dup5dup6dup7dup8dup9dup10dup11dup12dup13dup14dup15dup16dup17dup18dup19dup20dup21dup22dup23dup24dup25dup26dup27" fmla="*/ 1378876 h 7788237"/>
              <a:gd name="connsiteX0dup0dup1dup2dup3dup4dup5dup6dup7dup8dup9dup10dup11dup12dup13dup14dup15dup16dup17dup18dup19dup20dup21dup22dup23dup24dup25dup26dup27dup28dup29" fmla="*/ 2677367 w 2677367"/>
              <a:gd name="connsiteY0dup0dup1dup2dup3dup4dup5dup6dup7dup8dup9dup10dup11dup12dup13dup14dup15dup16dup17dup18dup19dup20dup21dup22dup23dup24dup25dup26dup27dup28dup29" fmla="*/ 1378876 h 7788237"/>
              <a:gd name="connsiteX1dup0dup1dup2dup3dup4dup5dup6dup7dup8dup9dup10dup11dup12dup13dup14dup15dup16dup17dup18dup19dup20dup21dup22dup23dup24dup25dup26dup27dup28dup29" fmla="*/ 856378 w 2677367"/>
              <a:gd name="connsiteY1dup0dup1dup2dup3dup4dup5dup6dup7dup8dup9dup10dup11dup12dup13dup14dup15dup16dup17dup18dup19dup20dup21dup22dup23dup24dup25dup26dup27dup28dup29" fmla="*/ 7771303 h 7788237"/>
              <a:gd name="connsiteX2dup0dup1dup2dup3dup4dup5dup6dup7dup8dup9dup10dup11dup12dup13dup14dup15dup16dup17dup18dup19dup20dup21dup22dup23dup24dup25dup26dup27dup28dup29" fmla="*/ 0 w 2677367"/>
              <a:gd name="connsiteY2dup0dup1dup2dup3dup4dup5dup6dup7dup8dup9dup10dup11dup12dup13dup14dup15dup16dup17dup18dup19dup20dup21dup22dup23dup24dup25dup26dup27dup28dup29" fmla="*/ 7788237 h 7788237"/>
              <a:gd name="connsiteX3dup0dup1dup2dup3dup4dup5dup6dup7dup8dup9dup10dup11dup12dup13dup14dup15dup16dup17dup18dup19dup20dup21dup22dup23dup24dup25dup26dup27dup28dup29" fmla="*/ 0 w 2677367"/>
              <a:gd name="connsiteY3dup0dup1dup2dup3dup4dup5dup6dup7dup8dup9dup10dup11dup12dup13dup14dup15dup16dup17dup18dup19dup20dup21dup22dup23dup24dup25dup26dup27dup28dup29" fmla="*/ 2917 h 7788237"/>
              <a:gd name="connsiteX4dup0dup1dup2dup3dup4dup5dup6dup7dup8dup9dup10dup11dup12dup13dup14dup15dup16dup17dup18dup19dup20dup21dup22dup23dup24dup25dup26dup27dup28dup29" fmla="*/ 2280682 w 2677367"/>
              <a:gd name="connsiteY4dup0dup1dup2dup3dup4dup5dup6dup7dup8dup9dup10dup11dup12dup13dup14dup15dup16dup17dup18dup19dup20dup21dup22dup23dup24dup25dup26dup27dup28dup29" fmla="*/ 0 h 7788237"/>
              <a:gd name="connsiteX5dup0dup1dup2dup3dup4dup5dup6dup7dup8dup9dup10dup11dup12dup13dup14dup15dup16dup17dup18dup19dup20dup21dup22dup23dup24dup25dup26dup27dup28" fmla="*/ 2677367 w 2677367"/>
              <a:gd name="connsiteY5dup0dup1dup2dup3dup4dup5dup6dup7dup8dup9dup10dup11dup12dup13dup14dup15dup16dup17dup18dup19dup20dup21dup22dup23dup24dup25dup26dup27dup28" fmla="*/ 1378876 h 7788237"/>
              <a:gd name="connsiteX0dup0dup1dup2dup3dup4dup5dup6dup7dup8dup9dup10dup11dup12dup13dup14dup15dup16dup17dup18dup19dup20dup21dup22dup23dup24dup25dup26dup27dup28dup29dup30" fmla="*/ 2677367 w 2677367"/>
              <a:gd name="connsiteY0dup0dup1dup2dup3dup4dup5dup6dup7dup8dup9dup10dup11dup12dup13dup14dup15dup16dup17dup18dup19dup20dup21dup22dup23dup24dup25dup26dup27dup28dup29dup30" fmla="*/ 1378876 h 7771303"/>
              <a:gd name="connsiteX1dup0dup1dup2dup3dup4dup5dup6dup7dup8dup9dup10dup11dup12dup13dup14dup15dup16dup17dup18dup19dup20dup21dup22dup23dup24dup25dup26dup27dup28dup29dup30" fmla="*/ 856378 w 2677367"/>
              <a:gd name="connsiteY1dup0dup1dup2dup3dup4dup5dup6dup7dup8dup9dup10dup11dup12dup13dup14dup15dup16dup17dup18dup19dup20dup21dup22dup23dup24dup25dup26dup27dup28dup29dup30" fmla="*/ 7771303 h 7771303"/>
              <a:gd name="connsiteX2dup0dup1dup2dup3dup4dup5dup6dup7dup8dup9dup10dup11dup12dup13dup14dup15dup16dup17dup18dup19dup20dup21dup22dup23dup24dup25dup26dup27dup28dup29dup30" fmla="*/ 0 w 2677367"/>
              <a:gd name="connsiteY2dup0dup1dup2dup3dup4dup5dup6dup7dup8dup9dup10dup11dup12dup13dup14dup15dup16dup17dup18dup19dup20dup21dup22dup23dup24dup25dup26dup27dup28dup29dup30" fmla="*/ 7767071 h 7771303"/>
              <a:gd name="connsiteX3dup0dup1dup2dup3dup4dup5dup6dup7dup8dup9dup10dup11dup12dup13dup14dup15dup16dup17dup18dup19dup20dup21dup22dup23dup24dup25dup26dup27dup28dup29dup30" fmla="*/ 0 w 2677367"/>
              <a:gd name="connsiteY3dup0dup1dup2dup3dup4dup5dup6dup7dup8dup9dup10dup11dup12dup13dup14dup15dup16dup17dup18dup19dup20dup21dup22dup23dup24dup25dup26dup27dup28dup29dup30" fmla="*/ 2917 h 7771303"/>
              <a:gd name="connsiteX4dup0dup1dup2dup3dup4dup5dup6dup7dup8dup9dup10dup11dup12dup13dup14dup15dup16dup17dup18dup19dup20dup21dup22dup23dup24dup25dup26dup27dup28dup29dup30" fmla="*/ 2280682 w 2677367"/>
              <a:gd name="connsiteY4dup0dup1dup2dup3dup4dup5dup6dup7dup8dup9dup10dup11dup12dup13dup14dup15dup16dup17dup18dup19dup20dup21dup22dup23dup24dup25dup26dup27dup28dup29dup30" fmla="*/ 0 h 7771303"/>
              <a:gd name="connsiteX5dup0dup1dup2dup3dup4dup5dup6dup7dup8dup9dup10dup11dup12dup13dup14dup15dup16dup17dup18dup19dup20dup21dup22dup23dup24dup25dup26dup27dup28dup29" fmla="*/ 2677367 w 2677367"/>
              <a:gd name="connsiteY5dup0dup1dup2dup3dup4dup5dup6dup7dup8dup9dup10dup11dup12dup13dup14dup15dup16dup17dup18dup19dup20dup21dup22dup23dup24dup25dup26dup27dup28dup29" fmla="*/ 1378876 h 7771303"/>
              <a:gd name="connsiteX0dup0dup1dup2dup3dup4dup5dup6dup7dup8dup9dup10dup11dup12dup13dup14dup15dup16dup17dup18dup19dup20dup21dup22dup23dup24dup25dup26dup27dup28dup29dup30dup31" fmla="*/ 2677367 w 2677367"/>
              <a:gd name="connsiteY0dup0dup1dup2dup3dup4dup5dup6dup7dup8dup9dup10dup11dup12dup13dup14dup15dup16dup17dup18dup19dup20dup21dup22dup23dup24dup25dup26dup27dup28dup29dup30dup31" fmla="*/ 1378876 h 7771303"/>
              <a:gd name="connsiteX1dup0dup1dup2dup3dup4dup5dup6dup7dup8dup9dup10dup11dup12dup13dup14dup15dup16dup17dup18dup19dup20dup21dup22dup23dup24dup25dup26dup27dup28dup29dup30dup31" fmla="*/ 856378 w 2677367"/>
              <a:gd name="connsiteY1dup0dup1dup2dup3dup4dup5dup6dup7dup8dup9dup10dup11dup12dup13dup14dup15dup16dup17dup18dup19dup20dup21dup22dup23dup24dup25dup26dup27dup28dup29dup30dup31" fmla="*/ 7771303 h 7771303"/>
              <a:gd name="connsiteX2dup0dup1dup2dup3dup4dup5dup6dup7dup8dup9dup10dup11dup12dup13dup14dup15dup16dup17dup18dup19dup20dup21dup22dup23dup24dup25dup26dup27dup28dup29dup30dup31" fmla="*/ 0 w 2677367"/>
              <a:gd name="connsiteY2dup0dup1dup2dup3dup4dup5dup6dup7dup8dup9dup10dup11dup12dup13dup14dup15dup16dup17dup18dup19dup20dup21dup22dup23dup24dup25dup26dup27dup28dup29dup30dup31" fmla="*/ 7767071 h 7771303"/>
              <a:gd name="connsiteX3dup0dup1dup2dup3dup4dup5dup6dup7dup8dup9dup10dup11dup12dup13dup14dup15dup16dup17dup18dup19dup20dup21dup22dup23dup24dup25dup26dup27dup28dup29dup30dup31" fmla="*/ 0 w 2677367"/>
              <a:gd name="connsiteY3dup0dup1dup2dup3dup4dup5dup6dup7dup8dup9dup10dup11dup12dup13dup14dup15dup16dup17dup18dup19dup20dup21dup22dup23dup24dup25dup26dup27dup28dup29dup30dup31" fmla="*/ 2917 h 7771303"/>
              <a:gd name="connsiteX4dup0dup1dup2dup3dup4dup5dup6dup7dup8dup9dup10dup11dup12dup13dup14dup15dup16dup17dup18dup19dup20dup21dup22dup23dup24dup25dup26dup27dup28dup29dup30dup31" fmla="*/ 2280682 w 2677367"/>
              <a:gd name="connsiteY4dup0dup1dup2dup3dup4dup5dup6dup7dup8dup9dup10dup11dup12dup13dup14dup15dup16dup17dup18dup19dup20dup21dup22dup23dup24dup25dup26dup27dup28dup29dup30dup31" fmla="*/ 0 h 7771303"/>
              <a:gd name="connsiteX5dup0dup1dup2dup3dup4dup5dup6dup7dup8dup9dup10dup11dup12dup13dup14dup15dup16dup17dup18dup19dup20dup21dup22dup23dup24dup25dup26dup27dup28dup29dup30" fmla="*/ 2677367 w 2677367"/>
              <a:gd name="connsiteY5dup0dup1dup2dup3dup4dup5dup6dup7dup8dup9dup10dup11dup12dup13dup14dup15dup16dup17dup18dup19dup20dup21dup22dup23dup24dup25dup26dup27dup28dup29dup30" fmla="*/ 1378876 h 7771303"/>
              <a:gd name="connsiteX0dup0dup1dup2dup3dup4dup5dup6dup7dup8dup9dup10dup11dup12dup13dup14dup15dup16dup17dup18dup19dup20dup21dup22dup23dup24dup25dup26dup27dup28dup29dup30dup31dup32" fmla="*/ 2677367 w 2677367"/>
              <a:gd name="connsiteY0dup0dup1dup2dup3dup4dup5dup6dup7dup8dup9dup10dup11dup12dup13dup14dup15dup16dup17dup18dup19dup20dup21dup22dup23dup24dup25dup26dup27dup28dup29dup30dup31dup32" fmla="*/ 1378876 h 7771303"/>
              <a:gd name="connsiteX1dup0dup1dup2dup3dup4dup5dup6dup7dup8dup9dup10dup11dup12dup13dup14dup15dup16dup17dup18dup19dup20dup21dup22dup23dup24dup25dup26dup27dup28dup29dup30dup31dup32" fmla="*/ 856378 w 2677367"/>
              <a:gd name="connsiteY1dup0dup1dup2dup3dup4dup5dup6dup7dup8dup9dup10dup11dup12dup13dup14dup15dup16dup17dup18dup19dup20dup21dup22dup23dup24dup25dup26dup27dup28dup29dup30dup31dup32" fmla="*/ 7771303 h 7771303"/>
              <a:gd name="connsiteX2dup0dup1dup2dup3dup4dup5dup6dup7dup8dup9dup10dup11dup12dup13dup14dup15dup16dup17dup18dup19dup20dup21dup22dup23dup24dup25dup26dup27dup28dup29dup30dup31dup32" fmla="*/ 0 w 2677367"/>
              <a:gd name="connsiteY2dup0dup1dup2dup3dup4dup5dup6dup7dup8dup9dup10dup11dup12dup13dup14dup15dup16dup17dup18dup19dup20dup21dup22dup23dup24dup25dup26dup27dup28dup29dup30dup31dup32" fmla="*/ 7767071 h 7771303"/>
              <a:gd name="connsiteX3dup0dup1dup2dup3dup4dup5dup6dup7dup8dup9dup10dup11dup12dup13dup14dup15dup16dup17dup18dup19dup20dup21dup22dup23dup24dup25dup26dup27dup28dup29dup30dup31dup32" fmla="*/ 0 w 2677367"/>
              <a:gd name="connsiteY3dup0dup1dup2dup3dup4dup5dup6dup7dup8dup9dup10dup11dup12dup13dup14dup15dup16dup17dup18dup19dup20dup21dup22dup23dup24dup25dup26dup27dup28dup29dup30dup31dup32" fmla="*/ 2917 h 7771303"/>
              <a:gd name="connsiteX4dup0dup1dup2dup3dup4dup5dup6dup7dup8dup9dup10dup11dup12dup13dup14dup15dup16dup17dup18dup19dup20dup21dup22dup23dup24dup25dup26dup27dup28dup29dup30dup31dup32" fmla="*/ 2280682 w 2677367"/>
              <a:gd name="connsiteY4dup0dup1dup2dup3dup4dup5dup6dup7dup8dup9dup10dup11dup12dup13dup14dup15dup16dup17dup18dup19dup20dup21dup22dup23dup24dup25dup26dup27dup28dup29dup30dup31dup32" fmla="*/ 0 h 7771303"/>
              <a:gd name="connsiteX5dup0dup1dup2dup3dup4dup5dup6dup7dup8dup9dup10dup11dup12dup13dup14dup15dup16dup17dup18dup19dup20dup21dup22dup23dup24dup25dup26dup27dup28dup29dup30dup31" fmla="*/ 2677367 w 2677367"/>
              <a:gd name="connsiteY5dup0dup1dup2dup3dup4dup5dup6dup7dup8dup9dup10dup11dup12dup13dup14dup15dup16dup17dup18dup19dup20dup21dup22dup23dup24dup25dup26dup27dup28dup29dup30dup31" fmla="*/ 1378876 h 7771303"/>
              <a:gd name="connsiteX0dup0dup1dup2dup3dup4dup5dup6dup7dup8dup9dup10dup11dup12dup13dup14dup15dup16dup17dup18dup19dup20dup21dup22dup23dup24dup25dup26dup27dup28dup29dup30dup31dup32dup33" fmla="*/ 2677367 w 2677367"/>
              <a:gd name="connsiteY0dup0dup1dup2dup3dup4dup5dup6dup7dup8dup9dup10dup11dup12dup13dup14dup15dup16dup17dup18dup19dup20dup21dup22dup23dup24dup25dup26dup27dup28dup29dup30dup31dup32dup33" fmla="*/ 1378876 h 7767826"/>
              <a:gd name="connsiteX1dup0dup1dup2dup3dup4dup5dup6dup7dup8dup9dup10dup11dup12dup13dup14dup15dup16dup17dup18dup19dup20dup21dup22dup23dup24dup25dup26dup27dup28dup29dup30dup31dup32dup33" fmla="*/ 856378 w 2677367"/>
              <a:gd name="connsiteY1dup0dup1dup2dup3dup4dup5dup6dup7dup8dup9dup10dup11dup12dup13dup14dup15dup16dup17dup18dup19dup20dup21dup22dup23dup24dup25dup26dup27dup28dup29dup30dup31dup32dup33" fmla="*/ 7767826 h 7767826"/>
              <a:gd name="connsiteX2dup0dup1dup2dup3dup4dup5dup6dup7dup8dup9dup10dup11dup12dup13dup14dup15dup16dup17dup18dup19dup20dup21dup22dup23dup24dup25dup26dup27dup28dup29dup30dup31dup32dup33" fmla="*/ 0 w 2677367"/>
              <a:gd name="connsiteY2dup0dup1dup2dup3dup4dup5dup6dup7dup8dup9dup10dup11dup12dup13dup14dup15dup16dup17dup18dup19dup20dup21dup22dup23dup24dup25dup26dup27dup28dup29dup30dup31dup32dup33" fmla="*/ 7767071 h 7767826"/>
              <a:gd name="connsiteX3dup0dup1dup2dup3dup4dup5dup6dup7dup8dup9dup10dup11dup12dup13dup14dup15dup16dup17dup18dup19dup20dup21dup22dup23dup24dup25dup26dup27dup28dup29dup30dup31dup32dup33" fmla="*/ 0 w 2677367"/>
              <a:gd name="connsiteY3dup0dup1dup2dup3dup4dup5dup6dup7dup8dup9dup10dup11dup12dup13dup14dup15dup16dup17dup18dup19dup20dup21dup22dup23dup24dup25dup26dup27dup28dup29dup30dup31dup32dup33" fmla="*/ 2917 h 7767826"/>
              <a:gd name="connsiteX4dup0dup1dup2dup3dup4dup5dup6dup7dup8dup9dup10dup11dup12dup13dup14dup15dup16dup17dup18dup19dup20dup21dup22dup23dup24dup25dup26dup27dup28dup29dup30dup31dup32dup33" fmla="*/ 2280682 w 2677367"/>
              <a:gd name="connsiteY4dup0dup1dup2dup3dup4dup5dup6dup7dup8dup9dup10dup11dup12dup13dup14dup15dup16dup17dup18dup19dup20dup21dup22dup23dup24dup25dup26dup27dup28dup29dup30dup31dup32dup33" fmla="*/ 0 h 7767826"/>
              <a:gd name="connsiteX5dup0dup1dup2dup3dup4dup5dup6dup7dup8dup9dup10dup11dup12dup13dup14dup15dup16dup17dup18dup19dup20dup21dup22dup23dup24dup25dup26dup27dup28dup29dup30dup31dup32" fmla="*/ 2677367 w 2677367"/>
              <a:gd name="connsiteY5dup0dup1dup2dup3dup4dup5dup6dup7dup8dup9dup10dup11dup12dup13dup14dup15dup16dup17dup18dup19dup20dup21dup22dup23dup24dup25dup26dup27dup28dup29dup30dup31dup32" fmla="*/ 1378876 h 7767826"/>
              <a:gd name="connsiteX0dup0dup1dup2dup3dup4dup5dup6dup7dup8dup9dup10dup11dup12dup13dup14dup15dup16dup17dup18dup19dup20dup21dup22dup23dup24dup25dup26dup27dup28dup29dup30dup31dup32dup33dup34" fmla="*/ 2677367 w 2677367"/>
              <a:gd name="connsiteY0dup0dup1dup2dup3dup4dup5dup6dup7dup8dup9dup10dup11dup12dup13dup14dup15dup16dup17dup18dup19dup20dup21dup22dup23dup24dup25dup26dup27dup28dup29dup30dup31dup32dup33dup34" fmla="*/ 1378876 h 7774780"/>
              <a:gd name="connsiteX1dup0dup1dup2dup3dup4dup5dup6dup7dup8dup9dup10dup11dup12dup13dup14dup15dup16dup17dup18dup19dup20dup21dup22dup23dup24dup25dup26dup27dup28dup29dup30dup31dup32dup33dup34" fmla="*/ 856378 w 2677367"/>
              <a:gd name="connsiteY1dup0dup1dup2dup3dup4dup5dup6dup7dup8dup9dup10dup11dup12dup13dup14dup15dup16dup17dup18dup19dup20dup21dup22dup23dup24dup25dup26dup27dup28dup29dup30dup31dup32dup33dup34" fmla="*/ 7774780 h 7774780"/>
              <a:gd name="connsiteX2dup0dup1dup2dup3dup4dup5dup6dup7dup8dup9dup10dup11dup12dup13dup14dup15dup16dup17dup18dup19dup20dup21dup22dup23dup24dup25dup26dup27dup28dup29dup30dup31dup32dup33dup34" fmla="*/ 0 w 2677367"/>
              <a:gd name="connsiteY2dup0dup1dup2dup3dup4dup5dup6dup7dup8dup9dup10dup11dup12dup13dup14dup15dup16dup17dup18dup19dup20dup21dup22dup23dup24dup25dup26dup27dup28dup29dup30dup31dup32dup33dup34" fmla="*/ 7767071 h 7774780"/>
              <a:gd name="connsiteX3dup0dup1dup2dup3dup4dup5dup6dup7dup8dup9dup10dup11dup12dup13dup14dup15dup16dup17dup18dup19dup20dup21dup22dup23dup24dup25dup26dup27dup28dup29dup30dup31dup32dup33dup34" fmla="*/ 0 w 2677367"/>
              <a:gd name="connsiteY3dup0dup1dup2dup3dup4dup5dup6dup7dup8dup9dup10dup11dup12dup13dup14dup15dup16dup17dup18dup19dup20dup21dup22dup23dup24dup25dup26dup27dup28dup29dup30dup31dup32dup33dup34" fmla="*/ 2917 h 7774780"/>
              <a:gd name="connsiteX4dup0dup1dup2dup3dup4dup5dup6dup7dup8dup9dup10dup11dup12dup13dup14dup15dup16dup17dup18dup19dup20dup21dup22dup23dup24dup25dup26dup27dup28dup29dup30dup31dup32dup33dup34" fmla="*/ 2280682 w 2677367"/>
              <a:gd name="connsiteY4dup0dup1dup2dup3dup4dup5dup6dup7dup8dup9dup10dup11dup12dup13dup14dup15dup16dup17dup18dup19dup20dup21dup22dup23dup24dup25dup26dup27dup28dup29dup30dup31dup32dup33dup34" fmla="*/ 0 h 7774780"/>
              <a:gd name="connsiteX5dup0dup1dup2dup3dup4dup5dup6dup7dup8dup9dup10dup11dup12dup13dup14dup15dup16dup17dup18dup19dup20dup21dup22dup23dup24dup25dup26dup27dup28dup29dup30dup31dup32dup33" fmla="*/ 2677367 w 2677367"/>
              <a:gd name="connsiteY5dup0dup1dup2dup3dup4dup5dup6dup7dup8dup9dup10dup11dup12dup13dup14dup15dup16dup17dup18dup19dup20dup21dup22dup23dup24dup25dup26dup27dup28dup29dup30dup31dup32dup33" fmla="*/ 1378876 h 7774780"/>
              <a:gd name="connsiteX0dup0dup1dup2dup3dup4dup5dup6dup7dup8dup9dup10dup11dup12dup13dup14dup15dup16dup17dup18dup19dup20dup21dup22dup23dup24dup25dup26dup27dup28dup29dup30dup31dup32dup33dup34dup35" fmla="*/ 2677367 w 2677367"/>
              <a:gd name="connsiteY0dup0dup1dup2dup3dup4dup5dup6dup7dup8dup9dup10dup11dup12dup13dup14dup15dup16dup17dup18dup19dup20dup21dup22dup23dup24dup25dup26dup27dup28dup29dup30dup31dup32dup33dup34dup35" fmla="*/ 1378876 h 7777502"/>
              <a:gd name="connsiteX1dup0dup1dup2dup3dup4dup5dup6dup7dup8dup9dup10dup11dup12dup13dup14dup15dup16dup17dup18dup19dup20dup21dup22dup23dup24dup25dup26dup27dup28dup29dup30dup31dup32dup33dup34dup35" fmla="*/ 856378 w 2677367"/>
              <a:gd name="connsiteY1dup0dup1dup2dup3dup4dup5dup6dup7dup8dup9dup10dup11dup12dup13dup14dup15dup16dup17dup18dup19dup20dup21dup22dup23dup24dup25dup26dup27dup28dup29dup30dup31dup32dup33dup34dup35" fmla="*/ 7774780 h 7777502"/>
              <a:gd name="connsiteX2dup0dup1dup2dup3dup4dup5dup6dup7dup8dup9dup10dup11dup12dup13dup14dup15dup16dup17dup18dup19dup20dup21dup22dup23dup24dup25dup26dup27dup28dup29dup30dup31dup32dup33dup34dup35" fmla="*/ 0 w 2677367"/>
              <a:gd name="connsiteY2dup0dup1dup2dup3dup4dup5dup6dup7dup8dup9dup10dup11dup12dup13dup14dup15dup16dup17dup18dup19dup20dup21dup22dup23dup24dup25dup26dup27dup28dup29dup30dup31dup32dup33dup34dup35" fmla="*/ 7777502 h 7777502"/>
              <a:gd name="connsiteX3dup0dup1dup2dup3dup4dup5dup6dup7dup8dup9dup10dup11dup12dup13dup14dup15dup16dup17dup18dup19dup20dup21dup22dup23dup24dup25dup26dup27dup28dup29dup30dup31dup32dup33dup34dup35" fmla="*/ 0 w 2677367"/>
              <a:gd name="connsiteY3dup0dup1dup2dup3dup4dup5dup6dup7dup8dup9dup10dup11dup12dup13dup14dup15dup16dup17dup18dup19dup20dup21dup22dup23dup24dup25dup26dup27dup28dup29dup30dup31dup32dup33dup34dup35" fmla="*/ 2917 h 7777502"/>
              <a:gd name="connsiteX4dup0dup1dup2dup3dup4dup5dup6dup7dup8dup9dup10dup11dup12dup13dup14dup15dup16dup17dup18dup19dup20dup21dup22dup23dup24dup25dup26dup27dup28dup29dup30dup31dup32dup33dup34dup35" fmla="*/ 2280682 w 2677367"/>
              <a:gd name="connsiteY4dup0dup1dup2dup3dup4dup5dup6dup7dup8dup9dup10dup11dup12dup13dup14dup15dup16dup17dup18dup19dup20dup21dup22dup23dup24dup25dup26dup27dup28dup29dup30dup31dup32dup33dup34dup35" fmla="*/ 0 h 7777502"/>
              <a:gd name="connsiteX5dup0dup1dup2dup3dup4dup5dup6dup7dup8dup9dup10dup11dup12dup13dup14dup15dup16dup17dup18dup19dup20dup21dup22dup23dup24dup25dup26dup27dup28dup29dup30dup31dup32dup33dup34" fmla="*/ 2677367 w 2677367"/>
              <a:gd name="connsiteY5dup0dup1dup2dup3dup4dup5dup6dup7dup8dup9dup10dup11dup12dup13dup14dup15dup16dup17dup18dup19dup20dup21dup22dup23dup24dup25dup26dup27dup28dup29dup30dup31dup32dup33dup34" fmla="*/ 1378876 h 7777502"/>
              <a:gd name="connsiteX0dup0dup1dup2dup3dup4dup5dup6dup7dup8dup9dup10dup11dup12dup13dup14dup15dup16dup17dup18dup19dup20dup21dup22dup23dup24dup25dup26dup27dup28dup29dup30dup31dup32dup33dup34dup35dup36" fmla="*/ 2677367 w 2677367"/>
              <a:gd name="connsiteY0dup0dup1dup2dup3dup4dup5dup6dup7dup8dup9dup10dup11dup12dup13dup14dup15dup16dup17dup18dup19dup20dup21dup22dup23dup24dup25dup26dup27dup28dup29dup30dup31dup32dup33dup34dup35dup36" fmla="*/ 1378876 h 7774780"/>
              <a:gd name="connsiteX1dup0dup1dup2dup3dup4dup5dup6dup7dup8dup9dup10dup11dup12dup13dup14dup15dup16dup17dup18dup19dup20dup21dup22dup23dup24dup25dup26dup27dup28dup29dup30dup31dup32dup33dup34dup35dup36" fmla="*/ 856378 w 2677367"/>
              <a:gd name="connsiteY1dup0dup1dup2dup3dup4dup5dup6dup7dup8dup9dup10dup11dup12dup13dup14dup15dup16dup17dup18dup19dup20dup21dup22dup23dup24dup25dup26dup27dup28dup29dup30dup31dup32dup33dup34dup35dup36" fmla="*/ 7774780 h 7774780"/>
              <a:gd name="connsiteX2dup0dup1dup2dup3dup4dup5dup6dup7dup8dup9dup10dup11dup12dup13dup14dup15dup16dup17dup18dup19dup20dup21dup22dup23dup24dup25dup26dup27dup28dup29dup30dup31dup32dup33dup34dup35dup36" fmla="*/ 3477 w 2677367"/>
              <a:gd name="connsiteY2dup0dup1dup2dup3dup4dup5dup6dup7dup8dup9dup10dup11dup12dup13dup14dup15dup16dup17dup18dup19dup20dup21dup22dup23dup24dup25dup26dup27dup28dup29dup30dup31dup32dup33dup34dup35dup36" fmla="*/ 7770548 h 7774780"/>
              <a:gd name="connsiteX3dup0dup1dup2dup3dup4dup5dup6dup7dup8dup9dup10dup11dup12dup13dup14dup15dup16dup17dup18dup19dup20dup21dup22dup23dup24dup25dup26dup27dup28dup29dup30dup31dup32dup33dup34dup35dup36" fmla="*/ 0 w 2677367"/>
              <a:gd name="connsiteY3dup0dup1dup2dup3dup4dup5dup6dup7dup8dup9dup10dup11dup12dup13dup14dup15dup16dup17dup18dup19dup20dup21dup22dup23dup24dup25dup26dup27dup28dup29dup30dup31dup32dup33dup34dup35dup36" fmla="*/ 2917 h 7774780"/>
              <a:gd name="connsiteX4dup0dup1dup2dup3dup4dup5dup6dup7dup8dup9dup10dup11dup12dup13dup14dup15dup16dup17dup18dup19dup20dup21dup22dup23dup24dup25dup26dup27dup28dup29dup30dup31dup32dup33dup34dup35dup36" fmla="*/ 2280682 w 2677367"/>
              <a:gd name="connsiteY4dup0dup1dup2dup3dup4dup5dup6dup7dup8dup9dup10dup11dup12dup13dup14dup15dup16dup17dup18dup19dup20dup21dup22dup23dup24dup25dup26dup27dup28dup29dup30dup31dup32dup33dup34dup35dup36" fmla="*/ 0 h 7774780"/>
              <a:gd name="connsiteX5dup0dup1dup2dup3dup4dup5dup6dup7dup8dup9dup10dup11dup12dup13dup14dup15dup16dup17dup18dup19dup20dup21dup22dup23dup24dup25dup26dup27dup28dup29dup30dup31dup32dup33dup34dup35" fmla="*/ 2677367 w 2677367"/>
              <a:gd name="connsiteY5dup0dup1dup2dup3dup4dup5dup6dup7dup8dup9dup10dup11dup12dup13dup14dup15dup16dup17dup18dup19dup20dup21dup22dup23dup24dup25dup26dup27dup28dup29dup30dup31dup32dup33dup34dup35" fmla="*/ 1378876 h 7774780"/>
              <a:gd name="connsiteX0dup0dup1dup2dup3dup4dup5dup6dup7dup8dup9dup10dup11dup12dup13dup14dup15dup16dup17dup18dup19dup20dup21dup22dup23dup24dup25dup26dup27dup28dup29dup30dup31dup32dup33dup34dup35dup36dup37" fmla="*/ 2677367 w 2677367"/>
              <a:gd name="connsiteY0dup0dup1dup2dup3dup4dup5dup6dup7dup8dup9dup10dup11dup12dup13dup14dup15dup16dup17dup18dup19dup20dup21dup22dup23dup24dup25dup26dup27dup28dup29dup30dup31dup32dup33dup34dup35dup36dup37" fmla="*/ 1378876 h 7774780"/>
              <a:gd name="connsiteX1dup0dup1dup2dup3dup4dup5dup6dup7dup8dup9dup10dup11dup12dup13dup14dup15dup16dup17dup18dup19dup20dup21dup22dup23dup24dup25dup26dup27dup28dup29dup30dup31dup32dup33dup34dup35dup36dup37" fmla="*/ 856378 w 2677367"/>
              <a:gd name="connsiteY1dup0dup1dup2dup3dup4dup5dup6dup7dup8dup9dup10dup11dup12dup13dup14dup15dup16dup17dup18dup19dup20dup21dup22dup23dup24dup25dup26dup27dup28dup29dup30dup31dup32dup33dup34dup35dup36dup37" fmla="*/ 7774780 h 7774780"/>
              <a:gd name="connsiteX2dup0dup1dup2dup3dup4dup5dup6dup7dup8dup9dup10dup11dup12dup13dup14dup15dup16dup17dup18dup19dup20dup21dup22dup23dup24dup25dup26dup27dup28dup29dup30dup31dup32dup33dup34dup35dup36dup37" fmla="*/ 3477 w 2677367"/>
              <a:gd name="connsiteY2dup0dup1dup2dup3dup4dup5dup6dup7dup8dup9dup10dup11dup12dup13dup14dup15dup16dup17dup18dup19dup20dup21dup22dup23dup24dup25dup26dup27dup28dup29dup30dup31dup32dup33dup34dup35dup36dup37" fmla="*/ 7774024 h 7774780"/>
              <a:gd name="connsiteX3dup0dup1dup2dup3dup4dup5dup6dup7dup8dup9dup10dup11dup12dup13dup14dup15dup16dup17dup18dup19dup20dup21dup22dup23dup24dup25dup26dup27dup28dup29dup30dup31dup32dup33dup34dup35dup36dup37" fmla="*/ 0 w 2677367"/>
              <a:gd name="connsiteY3dup0dup1dup2dup3dup4dup5dup6dup7dup8dup9dup10dup11dup12dup13dup14dup15dup16dup17dup18dup19dup20dup21dup22dup23dup24dup25dup26dup27dup28dup29dup30dup31dup32dup33dup34dup35dup36dup37" fmla="*/ 2917 h 7774780"/>
              <a:gd name="connsiteX4dup0dup1dup2dup3dup4dup5dup6dup7dup8dup9dup10dup11dup12dup13dup14dup15dup16dup17dup18dup19dup20dup21dup22dup23dup24dup25dup26dup27dup28dup29dup30dup31dup32dup33dup34dup35dup36dup37" fmla="*/ 2280682 w 2677367"/>
              <a:gd name="connsiteY4dup0dup1dup2dup3dup4dup5dup6dup7dup8dup9dup10dup11dup12dup13dup14dup15dup16dup17dup18dup19dup20dup21dup22dup23dup24dup25dup26dup27dup28dup29dup30dup31dup32dup33dup34dup35dup36dup37" fmla="*/ 0 h 7774780"/>
              <a:gd name="connsiteX5dup0dup1dup2dup3dup4dup5dup6dup7dup8dup9dup10dup11dup12dup13dup14dup15dup16dup17dup18dup19dup20dup21dup22dup23dup24dup25dup26dup27dup28dup29dup30dup31dup32dup33dup34dup35dup36" fmla="*/ 2677367 w 2677367"/>
              <a:gd name="connsiteY5dup0dup1dup2dup3dup4dup5dup6dup7dup8dup9dup10dup11dup12dup13dup14dup15dup16dup17dup18dup19dup20dup21dup22dup23dup24dup25dup26dup27dup28dup29dup30dup31dup32dup33dup34dup35dup36" fmla="*/ 1378876 h 7774780"/>
              <a:gd name="connsiteX0dup0dup1dup2dup3dup4dup5dup6dup7dup8dup9dup10dup11dup12dup13dup14dup15dup16dup17dup18dup19dup20dup21dup22dup23dup24dup25dup26dup27dup28dup29dup30dup31dup32dup33dup34dup35dup36dup37dup38" fmla="*/ 2673890 w 2673890"/>
              <a:gd name="connsiteY0dup0dup1dup2dup3dup4dup5dup6dup7dup8dup9dup10dup11dup12dup13dup14dup15dup16dup17dup18dup19dup20dup21dup22dup23dup24dup25dup26dup27dup28dup29dup30dup31dup32dup33dup34dup35dup36dup37dup38" fmla="*/ 1378876 h 7774780"/>
              <a:gd name="connsiteX1dup0dup1dup2dup3dup4dup5dup6dup7dup8dup9dup10dup11dup12dup13dup14dup15dup16dup17dup18dup19dup20dup21dup22dup23dup24dup25dup26dup27dup28dup29dup30dup31dup32dup33dup34dup35dup36dup37dup38" fmla="*/ 852901 w 2673890"/>
              <a:gd name="connsiteY1dup0dup1dup2dup3dup4dup5dup6dup7dup8dup9dup10dup11dup12dup13dup14dup15dup16dup17dup18dup19dup20dup21dup22dup23dup24dup25dup26dup27dup28dup29dup30dup31dup32dup33dup34dup35dup36dup37dup38" fmla="*/ 7774780 h 7774780"/>
              <a:gd name="connsiteX2dup0dup1dup2dup3dup4dup5dup6dup7dup8dup9dup10dup11dup12dup13dup14dup15dup16dup17dup18dup19dup20dup21dup22dup23dup24dup25dup26dup27dup28dup29dup30dup31dup32dup33dup34dup35dup36dup37dup38" fmla="*/ 0 w 2673890"/>
              <a:gd name="connsiteY2dup0dup1dup2dup3dup4dup5dup6dup7dup8dup9dup10dup11dup12dup13dup14dup15dup16dup17dup18dup19dup20dup21dup22dup23dup24dup25dup26dup27dup28dup29dup30dup31dup32dup33dup34dup35dup36dup37dup38" fmla="*/ 7774024 h 7774780"/>
              <a:gd name="connsiteX3dup0dup1dup2dup3dup4dup5dup6dup7dup8dup9dup10dup11dup12dup13dup14dup15dup16dup17dup18dup19dup20dup21dup22dup23dup24dup25dup26dup27dup28dup29dup30dup31dup32dup33dup34dup35dup36dup37dup38" fmla="*/ 305959 w 2673890"/>
              <a:gd name="connsiteY3dup0dup1dup2dup3dup4dup5dup6dup7dup8dup9dup10dup11dup12dup13dup14dup15dup16dup17dup18dup19dup20dup21dup22dup23dup24dup25dup26dup27dup28dup29dup30dup31dup32dup33dup34dup35dup36dup37dup38" fmla="*/ 298446 h 7774780"/>
              <a:gd name="connsiteX4dup0dup1dup2dup3dup4dup5dup6dup7dup8dup9dup10dup11dup12dup13dup14dup15dup16dup17dup18dup19dup20dup21dup22dup23dup24dup25dup26dup27dup28dup29dup30dup31dup32dup33dup34dup35dup36dup37dup38" fmla="*/ 2277205 w 2673890"/>
              <a:gd name="connsiteY4dup0dup1dup2dup3dup4dup5dup6dup7dup8dup9dup10dup11dup12dup13dup14dup15dup16dup17dup18dup19dup20dup21dup22dup23dup24dup25dup26dup27dup28dup29dup30dup31dup32dup33dup34dup35dup36dup37dup38" fmla="*/ 0 h 7774780"/>
              <a:gd name="connsiteX5dup0dup1dup2dup3dup4dup5dup6dup7dup8dup9dup10dup11dup12dup13dup14dup15dup16dup17dup18dup19dup20dup21dup22dup23dup24dup25dup26dup27dup28dup29dup30dup31dup32dup33dup34dup35dup36dup37" fmla="*/ 2673890 w 2673890"/>
              <a:gd name="connsiteY5dup0dup1dup2dup3dup4dup5dup6dup7dup8dup9dup10dup11dup12dup13dup14dup15dup16dup17dup18dup19dup20dup21dup22dup23dup24dup25dup26dup27dup28dup29dup30dup31dup32dup33dup34dup35dup36dup37" fmla="*/ 1378876 h 7774780"/>
              <a:gd name="connsiteX0dup0dup1dup2dup3dup4dup5dup6dup7dup8dup9dup10dup11dup12dup13dup14dup15dup16dup17dup18dup19dup20dup21dup22dup23dup24dup25dup26dup27dup28dup29dup30dup31dup32dup33dup34dup35dup36dup37dup38dup39" fmla="*/ 2673890 w 2673890"/>
              <a:gd name="connsiteY0dup0dup1dup2dup3dup4dup5dup6dup7dup8dup9dup10dup11dup12dup13dup14dup15dup16dup17dup18dup19dup20dup21dup22dup23dup24dup25dup26dup27dup28dup29dup30dup31dup32dup33dup34dup35dup36dup37dup38dup39" fmla="*/ 1386389 h 7782293"/>
              <a:gd name="connsiteX1dup0dup1dup2dup3dup4dup5dup6dup7dup8dup9dup10dup11dup12dup13dup14dup15dup16dup17dup18dup19dup20dup21dup22dup23dup24dup25dup26dup27dup28dup29dup30dup31dup32dup33dup34dup35dup36dup37dup38dup39" fmla="*/ 852901 w 2673890"/>
              <a:gd name="connsiteY1dup0dup1dup2dup3dup4dup5dup6dup7dup8dup9dup10dup11dup12dup13dup14dup15dup16dup17dup18dup19dup20dup21dup22dup23dup24dup25dup26dup27dup28dup29dup30dup31dup32dup33dup34dup35dup36dup37dup38dup39" fmla="*/ 7782293 h 7782293"/>
              <a:gd name="connsiteX2dup0dup1dup2dup3dup4dup5dup6dup7dup8dup9dup10dup11dup12dup13dup14dup15dup16dup17dup18dup19dup20dup21dup22dup23dup24dup25dup26dup27dup28dup29dup30dup31dup32dup33dup34dup35dup36dup37dup38dup39" fmla="*/ 0 w 2673890"/>
              <a:gd name="connsiteY2dup0dup1dup2dup3dup4dup5dup6dup7dup8dup9dup10dup11dup12dup13dup14dup15dup16dup17dup18dup19dup20dup21dup22dup23dup24dup25dup26dup27dup28dup29dup30dup31dup32dup33dup34dup35dup36dup37dup38dup39" fmla="*/ 7781537 h 7782293"/>
              <a:gd name="connsiteX3dup0dup1dup2dup3dup4dup5dup6dup7dup8dup9dup10dup11dup12dup13dup14dup15dup16dup17dup18dup19dup20dup21dup22dup23dup24dup25dup26dup27dup28dup29dup30dup31dup32dup33dup34dup35dup36dup37dup38dup39" fmla="*/ 0 w 2673890"/>
              <a:gd name="connsiteY3dup0dup1dup2dup3dup4dup5dup6dup7dup8dup9dup10dup11dup12dup13dup14dup15dup16dup17dup18dup19dup20dup21dup22dup23dup24dup25dup26dup27dup28dup29dup30dup31dup32dup33dup34dup35dup36dup37dup38dup39" fmla="*/ 0 h 7782293"/>
              <a:gd name="connsiteX4dup0dup1dup2dup3dup4dup5dup6dup7dup8dup9dup10dup11dup12dup13dup14dup15dup16dup17dup18dup19dup20dup21dup22dup23dup24dup25dup26dup27dup28dup29dup30dup31dup32dup33dup34dup35dup36dup37dup38dup39" fmla="*/ 2277205 w 2673890"/>
              <a:gd name="connsiteY4dup0dup1dup2dup3dup4dup5dup6dup7dup8dup9dup10dup11dup12dup13dup14dup15dup16dup17dup18dup19dup20dup21dup22dup23dup24dup25dup26dup27dup28dup29dup30dup31dup32dup33dup34dup35dup36dup37dup38dup39" fmla="*/ 7513 h 7782293"/>
              <a:gd name="connsiteX5dup0dup1dup2dup3dup4dup5dup6dup7dup8dup9dup10dup11dup12dup13dup14dup15dup16dup17dup18dup19dup20dup21dup22dup23dup24dup25dup26dup27dup28dup29dup30dup31dup32dup33dup34dup35dup36dup37dup38" fmla="*/ 2673890 w 2673890"/>
              <a:gd name="connsiteY5dup0dup1dup2dup3dup4dup5dup6dup7dup8dup9dup10dup11dup12dup13dup14dup15dup16dup17dup18dup19dup20dup21dup22dup23dup24dup25dup26dup27dup28dup29dup30dup31dup32dup33dup34dup35dup36dup37dup38" fmla="*/ 1386389 h 7782293"/>
            </a:gdLst>
            <a:cxnLst>
              <a:cxn ang="0">
                <a:pos x="connsiteX0dup0dup1dup2dup3dup4dup5dup6dup7dup8dup9dup10dup11dup12dup13dup14dup15dup16dup17dup18dup19dup20dup21dup22dup23dup24dup25dup26dup27dup28dup29dup30dup31dup32dup33dup34dup35dup36dup37dup38dup39" y="connsiteY0dup0dup1dup2dup3dup4dup5dup6dup7dup8dup9dup10dup11dup12dup13dup14dup15dup16dup17dup18dup19dup20dup21dup22dup23dup24dup25dup26dup27dup28dup29dup30dup31dup32dup33dup34dup35dup36dup37dup38dup39"/>
              </a:cxn>
              <a:cxn ang="0">
                <a:pos x="connsiteX1dup0dup1dup2dup3dup4dup5dup6dup7dup8dup9dup10dup11dup12dup13dup14dup15dup16dup17dup18dup19dup20dup21dup22dup23dup24dup25dup26dup27dup28dup29dup30dup31dup32dup33dup34dup35dup36dup37dup38dup39" y="connsiteY1dup0dup1dup2dup3dup4dup5dup6dup7dup8dup9dup10dup11dup12dup13dup14dup15dup16dup17dup18dup19dup20dup21dup22dup23dup24dup25dup26dup27dup28dup29dup30dup31dup32dup33dup34dup35dup36dup37dup38dup39"/>
              </a:cxn>
              <a:cxn ang="0">
                <a:pos x="connsiteX2dup0dup1dup2dup3dup4dup5dup6dup7dup8dup9dup10dup11dup12dup13dup14dup15dup16dup17dup18dup19dup20dup21dup22dup23dup24dup25dup26dup27dup28dup29dup30dup31dup32dup33dup34dup35dup36dup37dup38dup39" y="connsiteY2dup0dup1dup2dup3dup4dup5dup6dup7dup8dup9dup10dup11dup12dup13dup14dup15dup16dup17dup18dup19dup20dup21dup22dup23dup24dup25dup26dup27dup28dup29dup30dup31dup32dup33dup34dup35dup36dup37dup38dup39"/>
              </a:cxn>
              <a:cxn ang="0">
                <a:pos x="connsiteX3dup0dup1dup2dup3dup4dup5dup6dup7dup8dup9dup10dup11dup12dup13dup14dup15dup16dup17dup18dup19dup20dup21dup22dup23dup24dup25dup26dup27dup28dup29dup30dup31dup32dup33dup34dup35dup36dup37dup38dup39" y="connsiteY3dup0dup1dup2dup3dup4dup5dup6dup7dup8dup9dup10dup11dup12dup13dup14dup15dup16dup17dup18dup19dup20dup21dup22dup23dup24dup25dup26dup27dup28dup29dup30dup31dup32dup33dup34dup35dup36dup37dup38dup39"/>
              </a:cxn>
              <a:cxn ang="0">
                <a:pos x="connsiteX4dup0dup1dup2dup3dup4dup5dup6dup7dup8dup9dup10dup11dup12dup13dup14dup15dup16dup17dup18dup19dup20dup21dup22dup23dup24dup25dup26dup27dup28dup29dup30dup31dup32dup33dup34dup35dup36dup37dup38dup39" y="connsiteY4dup0dup1dup2dup3dup4dup5dup6dup7dup8dup9dup10dup11dup12dup13dup14dup15dup16dup17dup18dup19dup20dup21dup22dup23dup24dup25dup26dup27dup28dup29dup30dup31dup32dup33dup34dup35dup36dup37dup38dup39"/>
              </a:cxn>
              <a:cxn ang="0">
                <a:pos x="connsiteX5dup0dup1dup2dup3dup4dup5dup6dup7dup8dup9dup10dup11dup12dup13dup14dup15dup16dup17dup18dup19dup20dup21dup22dup23dup24dup25dup26dup27dup28dup29dup30dup31dup32dup33dup34dup35dup36dup37dup38" y="connsiteY5dup0dup1dup2dup3dup4dup5dup6dup7dup8dup9dup10dup11dup12dup13dup14dup15dup16dup17dup18dup19dup20dup21dup22dup23dup24dup25dup26dup27dup28dup29dup30dup31dup32dup33dup34dup35dup36dup37dup38"/>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ln>
        </p:spPr>
        <p:txBody>
          <a:bodyPr anchor="ctr"/>
          <a:lstStyle>
            <a:lvl1pPr marL="91440" indent="0" algn="l">
              <a:spcBef>
                <a:spcPct val="0"/>
              </a:spcBef>
              <a:buFontTx/>
              <a:buNone/>
              <a:defRPr sz="1100" b="1" baseline="0">
                <a:solidFill>
                  <a:schemeClr val="bg1"/>
                </a:solidFill>
              </a:defRPr>
            </a:lvl1pPr>
          </a:lstStyle>
          <a:p>
            <a:r>
              <a:rPr lang="en-US" dirty="1" smtClean="0"/>
              <a:t>Click icon to </a:t>
            </a:r>
            <a:br>
              <a:rPr lang="en-US" dirty="1" smtClean="0"/>
            </a:br>
            <a:r>
              <a:rPr lang="en-US" dirty="1" smtClean="0"/>
              <a:t>insert picture</a:t>
            </a:r>
            <a:endParaRPr lang="en-US"/>
          </a:p>
        </p:txBody>
      </p:sp>
      <p:sp>
        <p:nvSpPr>
          <p:cNvPr id="2" name="TextBox 1"/>
          <p:cNvSpPr txBox="1"/>
          <p:nvPr userDrawn="1"/>
        </p:nvSpPr>
        <p:spPr>
          <a:xfrm>
            <a:off x="6029324" y="409575"/>
            <a:ext cx="2772719" cy="304800"/>
          </a:xfrm>
          <a:prstGeom prst="rect"/>
          <a:noFill/>
        </p:spPr>
        <p:txBody>
          <a:bodyPr wrap="square" rtlCol="0">
            <a:noAutofit/>
          </a:bodyPr>
          <a:lstStyle/>
          <a:p>
            <a:pPr marL="233363" indent="-233363" algn="r">
              <a:buClr>
                <a:schemeClr val="tx2"/>
              </a:buClr>
              <a:buFont typeface="Wingdings" panose="05000000000000000000" pitchFamily="2" charset="2"/>
              <a:buChar char="§"/>
            </a:pPr>
            <a:r>
              <a:rPr lang="en-US" sz="1600" dirty="1" smtClean="0">
                <a:solidFill>
                  <a:schemeClr val="accent1"/>
                </a:solidFill>
              </a:rPr>
              <a:t>James H.M. Sprayregen</a:t>
            </a:r>
            <a:endParaRPr lang="en-US" sz="1600">
              <a:solidFill>
                <a:schemeClr val="accent1"/>
              </a:solidFill>
            </a:endParaRPr>
          </a:p>
        </p:txBody>
      </p:sp>
    </p:spTree>
    <p:extLst>
      <p:ext uri="{BB962C8B-B14F-4D97-AF65-F5344CB8AC3E}">
        <p14:creationId xmlns:p14="http://schemas.microsoft.com/office/powerpoint/2010/main" val="124555046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1608" userDrawn="1">
          <p15:clr>
            <a:srgbClr val="FBAE40"/>
          </p15:clr>
        </p15:guide>
        <p15:guide id="2" pos="561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Related Topic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smtClean="0"/>
              <a:t>Click to edit Master title style</a:t>
            </a:r>
            <a:endParaRPr lang="en-US"/>
          </a:p>
        </p:txBody>
      </p:sp>
      <p:sp>
        <p:nvSpPr>
          <p:cNvPr id="3" name="Text Placeholder 5"/>
          <p:cNvSpPr>
            <a:spLocks noGrp="1"/>
          </p:cNvSpPr>
          <p:nvPr>
            <p:ph type="body" sz="quarter" idx="10"/>
          </p:nvPr>
        </p:nvSpPr>
        <p:spPr>
          <a:xfrm>
            <a:off x="342900" y="1305317"/>
            <a:ext cx="2105025" cy="1200150"/>
          </a:xfrm>
        </p:spPr>
        <p:txBody>
          <a:bodyPr/>
          <a:lstStyle>
            <a:lvl1pPr marL="173736" indent="-173736">
              <a:spcBef>
                <a:spcPts val="600"/>
              </a:spcBef>
              <a:defRPr sz="1400"/>
            </a:lvl1pPr>
            <a:lvl2pPr marL="402336" indent="-173736">
              <a:spcBef>
                <a:spcPts val="600"/>
              </a:spcBef>
              <a:defRPr sz="1200"/>
            </a:lvl2pPr>
            <a:lvl3pPr marL="630936" indent="-173736">
              <a:spcBef>
                <a:spcPts val="600"/>
              </a:spcBef>
              <a:defRPr sz="1200"/>
            </a:lvl3pPr>
            <a:lvl4pPr marL="859536" indent="-173736">
              <a:spcBef>
                <a:spcPts val="600"/>
              </a:spcBef>
              <a:defRPr sz="1200"/>
            </a:lvl4pPr>
            <a:lvl5pPr marL="1088136" indent="-192024">
              <a:spcBef>
                <a:spcPts val="600"/>
              </a:spcBef>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4" name="Text Placeholder 5"/>
          <p:cNvSpPr>
            <a:spLocks noGrp="1"/>
          </p:cNvSpPr>
          <p:nvPr>
            <p:ph type="body" sz="quarter" idx="14"/>
          </p:nvPr>
        </p:nvSpPr>
        <p:spPr>
          <a:xfrm>
            <a:off x="342900" y="3061366"/>
            <a:ext cx="2105025" cy="1200150"/>
          </a:xfrm>
        </p:spPr>
        <p:txBody>
          <a:bodyPr/>
          <a:lstStyle>
            <a:lvl1pPr marL="173736" indent="-173736">
              <a:spcBef>
                <a:spcPts val="600"/>
              </a:spcBef>
              <a:buClr>
                <a:schemeClr val="accent4"/>
              </a:buClr>
              <a:defRPr sz="1400"/>
            </a:lvl1pPr>
            <a:lvl2pPr marL="402336" indent="-173736">
              <a:spcBef>
                <a:spcPts val="600"/>
              </a:spcBef>
              <a:buClr>
                <a:schemeClr val="accent4"/>
              </a:buClr>
              <a:defRPr sz="1200"/>
            </a:lvl2pPr>
            <a:lvl3pPr marL="630936" indent="-173736">
              <a:spcBef>
                <a:spcPts val="600"/>
              </a:spcBef>
              <a:buClr>
                <a:schemeClr val="accent4"/>
              </a:buClr>
              <a:defRPr sz="1200"/>
            </a:lvl3pPr>
            <a:lvl4pPr marL="859536" indent="-173736">
              <a:spcBef>
                <a:spcPts val="600"/>
              </a:spcBef>
              <a:buClr>
                <a:schemeClr val="accent4"/>
              </a:buClr>
              <a:defRPr sz="1200"/>
            </a:lvl4pPr>
            <a:lvl5pPr marL="1088136" indent="-192024">
              <a:spcBef>
                <a:spcPts val="600"/>
              </a:spcBef>
              <a:buClr>
                <a:schemeClr val="accent4"/>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5" name="Text Placeholder 5"/>
          <p:cNvSpPr>
            <a:spLocks noGrp="1"/>
          </p:cNvSpPr>
          <p:nvPr>
            <p:ph type="body" sz="quarter" idx="15"/>
          </p:nvPr>
        </p:nvSpPr>
        <p:spPr>
          <a:xfrm>
            <a:off x="6696076" y="1305317"/>
            <a:ext cx="2105025" cy="120015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6" name="Text Placeholder 5"/>
          <p:cNvSpPr>
            <a:spLocks noGrp="1"/>
          </p:cNvSpPr>
          <p:nvPr>
            <p:ph type="body" sz="quarter" idx="16"/>
          </p:nvPr>
        </p:nvSpPr>
        <p:spPr>
          <a:xfrm>
            <a:off x="6696076" y="3061366"/>
            <a:ext cx="2105025" cy="1200150"/>
          </a:xfrm>
        </p:spPr>
        <p:txBody>
          <a:bodyPr/>
          <a:lstStyle>
            <a:lvl1pPr marL="173736" indent="-173736">
              <a:spcBef>
                <a:spcPts val="600"/>
              </a:spcBef>
              <a:buClr>
                <a:schemeClr val="accent3"/>
              </a:buClr>
              <a:defRPr sz="1400"/>
            </a:lvl1pPr>
            <a:lvl2pPr marL="402336" indent="-173736">
              <a:spcBef>
                <a:spcPts val="600"/>
              </a:spcBef>
              <a:buClr>
                <a:schemeClr val="accent3"/>
              </a:buClr>
              <a:defRPr sz="1200"/>
            </a:lvl2pPr>
            <a:lvl3pPr marL="630936" indent="-173736">
              <a:spcBef>
                <a:spcPts val="600"/>
              </a:spcBef>
              <a:buClr>
                <a:schemeClr val="accent3"/>
              </a:buClr>
              <a:defRPr sz="1200"/>
            </a:lvl3pPr>
            <a:lvl4pPr marL="859536" indent="-173736">
              <a:spcBef>
                <a:spcPts val="600"/>
              </a:spcBef>
              <a:buClr>
                <a:schemeClr val="accent3"/>
              </a:buClr>
              <a:defRPr sz="1200"/>
            </a:lvl4pPr>
            <a:lvl5pPr marL="1088136" indent="-192024">
              <a:spcBef>
                <a:spcPts val="600"/>
              </a:spcBef>
              <a:buClr>
                <a:schemeClr val="accent3"/>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273276043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mple Venn Diag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smtClean="0"/>
              <a:t>Click to edit Master title style</a:t>
            </a:r>
            <a:endParaRPr lang="en-US"/>
          </a:p>
        </p:txBody>
      </p:sp>
      <p:sp>
        <p:nvSpPr>
          <p:cNvPr id="5" name="Text Placeholder 5"/>
          <p:cNvSpPr>
            <a:spLocks noGrp="1"/>
          </p:cNvSpPr>
          <p:nvPr>
            <p:ph type="body" sz="quarter" idx="16"/>
          </p:nvPr>
        </p:nvSpPr>
        <p:spPr>
          <a:xfrm>
            <a:off x="1791219" y="2357438"/>
            <a:ext cx="2105025" cy="1371600"/>
          </a:xfrm>
        </p:spPr>
        <p:txBody>
          <a:bodyPr/>
          <a:lstStyle>
            <a:lvl1pPr marL="173736" indent="-173736">
              <a:spcBef>
                <a:spcPts val="600"/>
              </a:spcBef>
              <a:defRPr sz="1400"/>
            </a:lvl1pPr>
            <a:lvl2pPr marL="402336" indent="-173736">
              <a:spcBef>
                <a:spcPts val="600"/>
              </a:spcBef>
              <a:defRPr sz="1200"/>
            </a:lvl2pPr>
            <a:lvl3pPr marL="630936" indent="-173736">
              <a:spcBef>
                <a:spcPts val="600"/>
              </a:spcBef>
              <a:defRPr sz="1200"/>
            </a:lvl3pPr>
            <a:lvl4pPr marL="859536" indent="-173736">
              <a:spcBef>
                <a:spcPts val="600"/>
              </a:spcBef>
              <a:defRPr sz="1200"/>
            </a:lvl4pPr>
            <a:lvl5pPr marL="1088136" indent="-192024">
              <a:spcBef>
                <a:spcPts val="600"/>
              </a:spcBef>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6" name="Text Placeholder 5"/>
          <p:cNvSpPr>
            <a:spLocks noGrp="1"/>
          </p:cNvSpPr>
          <p:nvPr>
            <p:ph type="body" sz="quarter" idx="17"/>
          </p:nvPr>
        </p:nvSpPr>
        <p:spPr>
          <a:xfrm>
            <a:off x="5322801" y="2357438"/>
            <a:ext cx="2105025" cy="137160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402174816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llustrating Ran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smtClean="0"/>
              <a:t>Click to edit Master title style</a:t>
            </a:r>
            <a:endParaRPr lang="en-US"/>
          </a:p>
        </p:txBody>
      </p:sp>
      <p:sp>
        <p:nvSpPr>
          <p:cNvPr id="13" name="Text Placeholder 5"/>
          <p:cNvSpPr>
            <a:spLocks noGrp="1"/>
          </p:cNvSpPr>
          <p:nvPr>
            <p:ph type="body" sz="quarter" idx="17"/>
          </p:nvPr>
        </p:nvSpPr>
        <p:spPr>
          <a:xfrm>
            <a:off x="6174260" y="1682602"/>
            <a:ext cx="2560320" cy="120015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4" name="Text Placeholder 5"/>
          <p:cNvSpPr>
            <a:spLocks noGrp="1"/>
          </p:cNvSpPr>
          <p:nvPr>
            <p:ph type="body" sz="quarter" idx="18"/>
          </p:nvPr>
        </p:nvSpPr>
        <p:spPr>
          <a:xfrm>
            <a:off x="571852" y="3669633"/>
            <a:ext cx="2560320" cy="1200150"/>
          </a:xfrm>
        </p:spPr>
        <p:txBody>
          <a:bodyPr/>
          <a:lstStyle>
            <a:lvl1pPr marL="173736" indent="-173736">
              <a:spcBef>
                <a:spcPts val="600"/>
              </a:spcBef>
              <a:buClr>
                <a:schemeClr val="accent3"/>
              </a:buClr>
              <a:defRPr sz="1400"/>
            </a:lvl1pPr>
            <a:lvl2pPr marL="402336" indent="-173736">
              <a:spcBef>
                <a:spcPts val="600"/>
              </a:spcBef>
              <a:buClr>
                <a:schemeClr val="accent3"/>
              </a:buClr>
              <a:defRPr sz="1200"/>
            </a:lvl2pPr>
            <a:lvl3pPr marL="630936" indent="-173736">
              <a:spcBef>
                <a:spcPts val="600"/>
              </a:spcBef>
              <a:buClr>
                <a:schemeClr val="accent3"/>
              </a:buClr>
              <a:defRPr sz="1200"/>
            </a:lvl3pPr>
            <a:lvl4pPr marL="859536" indent="-173736">
              <a:spcBef>
                <a:spcPts val="600"/>
              </a:spcBef>
              <a:buClr>
                <a:schemeClr val="accent3"/>
              </a:buClr>
              <a:defRPr sz="1200"/>
            </a:lvl4pPr>
            <a:lvl5pPr marL="1088136" indent="-192024">
              <a:spcBef>
                <a:spcPts val="600"/>
              </a:spcBef>
              <a:buClr>
                <a:schemeClr val="accent3"/>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5" name="Text Placeholder 5"/>
          <p:cNvSpPr>
            <a:spLocks noGrp="1"/>
          </p:cNvSpPr>
          <p:nvPr>
            <p:ph type="body" sz="quarter" idx="19"/>
          </p:nvPr>
        </p:nvSpPr>
        <p:spPr>
          <a:xfrm>
            <a:off x="571852" y="1682602"/>
            <a:ext cx="2560320" cy="120015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6" name="Text Placeholder 5"/>
          <p:cNvSpPr>
            <a:spLocks noGrp="1"/>
          </p:cNvSpPr>
          <p:nvPr>
            <p:ph type="body" sz="quarter" idx="20"/>
          </p:nvPr>
        </p:nvSpPr>
        <p:spPr>
          <a:xfrm>
            <a:off x="6174260" y="3669633"/>
            <a:ext cx="2560320" cy="1200150"/>
          </a:xfrm>
        </p:spPr>
        <p:txBody>
          <a:bodyPr/>
          <a:lstStyle>
            <a:lvl1pPr marL="173736" indent="-173736">
              <a:spcBef>
                <a:spcPts val="600"/>
              </a:spcBef>
              <a:buClr>
                <a:schemeClr val="accent1"/>
              </a:buClr>
              <a:defRPr sz="1400"/>
            </a:lvl1pPr>
            <a:lvl2pPr marL="402336" indent="-173736">
              <a:spcBef>
                <a:spcPts val="600"/>
              </a:spcBef>
              <a:buClr>
                <a:schemeClr val="accent1"/>
              </a:buClr>
              <a:defRPr sz="1200"/>
            </a:lvl2pPr>
            <a:lvl3pPr marL="630936" indent="-173736">
              <a:spcBef>
                <a:spcPts val="600"/>
              </a:spcBef>
              <a:buClr>
                <a:schemeClr val="accent1"/>
              </a:buClr>
              <a:defRPr sz="1200"/>
            </a:lvl3pPr>
            <a:lvl4pPr marL="859536" indent="-173736">
              <a:spcBef>
                <a:spcPts val="600"/>
              </a:spcBef>
              <a:buClr>
                <a:schemeClr val="accent1"/>
              </a:buClr>
              <a:defRPr sz="1200"/>
            </a:lvl4pPr>
            <a:lvl5pPr marL="1088136" indent="-192024">
              <a:spcBef>
                <a:spcPts val="600"/>
              </a:spcBef>
              <a:buClr>
                <a:schemeClr val="accent1"/>
              </a:buClr>
              <a:defRPr sz="1200"/>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315226974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ample Timeline or Proc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smtClean="0"/>
              <a:t>Click to edit Master title style</a:t>
            </a:r>
            <a:endParaRPr lang="en-US"/>
          </a:p>
        </p:txBody>
      </p:sp>
      <p:sp>
        <p:nvSpPr>
          <p:cNvPr id="14" name="Freeform 13"/>
          <p:cNvSpPr/>
          <p:nvPr userDrawn="1"/>
        </p:nvSpPr>
        <p:spPr>
          <a:xfrm>
            <a:off x="347994" y="1238142"/>
            <a:ext cx="1521495" cy="3165302"/>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cxnSp>
        <p:nvCxnSpPr>
          <p:cNvPr id="15" name="Straight Connector 14"/>
          <p:cNvCxnSpPr>
            <a:stCxn id="14" idx="0"/>
          </p:cNvCxnSpPr>
          <p:nvPr userDrawn="1"/>
        </p:nvCxnSpPr>
        <p:spPr>
          <a:xfrm>
            <a:off x="347994" y="4403444"/>
            <a:ext cx="8453106" cy="0"/>
          </a:xfrm>
          <a:prstGeom prst="line"/>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 name="Freeform 15"/>
          <p:cNvSpPr/>
          <p:nvPr userDrawn="1"/>
        </p:nvSpPr>
        <p:spPr>
          <a:xfrm>
            <a:off x="2061721" y="1238142"/>
            <a:ext cx="1521495" cy="3165302"/>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7" name="Freeform 16"/>
          <p:cNvSpPr/>
          <p:nvPr userDrawn="1"/>
        </p:nvSpPr>
        <p:spPr>
          <a:xfrm>
            <a:off x="3770920" y="1238142"/>
            <a:ext cx="1521495" cy="3165302"/>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8" name="Freeform 17"/>
          <p:cNvSpPr/>
          <p:nvPr userDrawn="1"/>
        </p:nvSpPr>
        <p:spPr>
          <a:xfrm>
            <a:off x="5516066" y="1238142"/>
            <a:ext cx="1521495" cy="3165302"/>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9" name="Freeform 18"/>
          <p:cNvSpPr/>
          <p:nvPr userDrawn="1"/>
        </p:nvSpPr>
        <p:spPr>
          <a:xfrm>
            <a:off x="7276494" y="1238142"/>
            <a:ext cx="1524318" cy="3165302"/>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20" name="Text Placeholder 5"/>
          <p:cNvSpPr>
            <a:spLocks noGrp="1"/>
          </p:cNvSpPr>
          <p:nvPr>
            <p:ph type="body" sz="quarter" idx="20" hasCustomPrompt="1"/>
          </p:nvPr>
        </p:nvSpPr>
        <p:spPr>
          <a:xfrm>
            <a:off x="342900" y="1245233"/>
            <a:ext cx="1527153" cy="3158211"/>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1" name="Text Placeholder 5"/>
          <p:cNvSpPr>
            <a:spLocks noGrp="1"/>
          </p:cNvSpPr>
          <p:nvPr>
            <p:ph type="body" sz="quarter" idx="21" hasCustomPrompt="1"/>
          </p:nvPr>
        </p:nvSpPr>
        <p:spPr>
          <a:xfrm>
            <a:off x="3770920" y="1245233"/>
            <a:ext cx="1527153" cy="3158211"/>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2" name="Text Placeholder 5"/>
          <p:cNvSpPr>
            <a:spLocks noGrp="1"/>
          </p:cNvSpPr>
          <p:nvPr>
            <p:ph type="body" sz="quarter" idx="22" hasCustomPrompt="1"/>
          </p:nvPr>
        </p:nvSpPr>
        <p:spPr>
          <a:xfrm>
            <a:off x="2056628" y="1245233"/>
            <a:ext cx="1527153" cy="3158211"/>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3" name="Text Placeholder 5"/>
          <p:cNvSpPr>
            <a:spLocks noGrp="1"/>
          </p:cNvSpPr>
          <p:nvPr>
            <p:ph type="body" sz="quarter" idx="23" hasCustomPrompt="1"/>
          </p:nvPr>
        </p:nvSpPr>
        <p:spPr>
          <a:xfrm>
            <a:off x="5521160" y="1245233"/>
            <a:ext cx="1527153" cy="3158211"/>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4" name="Text Placeholder 5"/>
          <p:cNvSpPr>
            <a:spLocks noGrp="1"/>
          </p:cNvSpPr>
          <p:nvPr>
            <p:ph type="body" sz="quarter" idx="24" hasCustomPrompt="1"/>
          </p:nvPr>
        </p:nvSpPr>
        <p:spPr>
          <a:xfrm>
            <a:off x="7273946" y="1245233"/>
            <a:ext cx="1527153" cy="3158211"/>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388514425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ample Phased Time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smtClean="0"/>
              <a:t>Click to edit Master title style</a:t>
            </a:r>
            <a:endParaRPr lang="en-US"/>
          </a:p>
        </p:txBody>
      </p:sp>
      <p:cxnSp>
        <p:nvCxnSpPr>
          <p:cNvPr id="14" name="Straight Connector 13"/>
          <p:cNvCxnSpPr>
            <a:stCxn id="15" idx="0"/>
          </p:cNvCxnSpPr>
          <p:nvPr userDrawn="1"/>
        </p:nvCxnSpPr>
        <p:spPr>
          <a:xfrm>
            <a:off x="347101" y="3919420"/>
            <a:ext cx="8453999" cy="0"/>
          </a:xfrm>
          <a:prstGeom prst="line"/>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Freeform 14"/>
          <p:cNvSpPr/>
          <p:nvPr userDrawn="1"/>
        </p:nvSpPr>
        <p:spPr>
          <a:xfrm>
            <a:off x="347101" y="1238142"/>
            <a:ext cx="1543414" cy="2681278"/>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6" name="Freeform 15"/>
          <p:cNvSpPr/>
          <p:nvPr userDrawn="1"/>
        </p:nvSpPr>
        <p:spPr>
          <a:xfrm>
            <a:off x="2071665" y="1238142"/>
            <a:ext cx="1543414" cy="2681278"/>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7" name="Freeform 16"/>
          <p:cNvSpPr/>
          <p:nvPr userDrawn="1"/>
        </p:nvSpPr>
        <p:spPr>
          <a:xfrm>
            <a:off x="3791134" y="1238142"/>
            <a:ext cx="1543414" cy="2681278"/>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8" name="Freeform 17"/>
          <p:cNvSpPr/>
          <p:nvPr userDrawn="1"/>
        </p:nvSpPr>
        <p:spPr>
          <a:xfrm>
            <a:off x="5521437" y="1238142"/>
            <a:ext cx="1543414" cy="2681278"/>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19" name="Freeform 18"/>
          <p:cNvSpPr/>
          <p:nvPr userDrawn="1"/>
        </p:nvSpPr>
        <p:spPr>
          <a:xfrm>
            <a:off x="7240905" y="1238142"/>
            <a:ext cx="1543414" cy="2681278"/>
          </a:xfrm>
          <a:custGeom>
            <a:gdLst>
              <a:gd name="connsiteX0" fmla="*/ 0 w 1365812"/>
              <a:gd name="connsiteY0" fmla="*/ 2326511 h 2326511"/>
              <a:gd name="connsiteX1" fmla="*/ 0 w 1365812"/>
              <a:gd name="connsiteY1" fmla="*/ 0 h 2326511"/>
              <a:gd name="connsiteX2" fmla="*/ 1365812 w 1365812"/>
              <a:gd name="connsiteY2" fmla="*/ 0 h 2326511"/>
            </a:gdLst>
            <a:cxnLst>
              <a:cxn ang="0">
                <a:pos x="connsiteX0" y="connsiteY0"/>
              </a:cxn>
              <a:cxn ang="0">
                <a:pos x="connsiteX1" y="connsiteY1"/>
              </a:cxn>
              <a:cxn ang="0">
                <a:pos x="connsiteX2" y="connsiteY2"/>
              </a:cxn>
            </a:cxnLst>
            <a:rect l="l" t="t" r="r" b="b"/>
            <a:pathLst>
              <a:path w="1365812" h="2326511">
                <a:moveTo>
                  <a:pt x="0" y="2326511"/>
                </a:moveTo>
                <a:lnTo>
                  <a:pt x="0" y="0"/>
                </a:lnTo>
                <a:lnTo>
                  <a:pt x="1365812" y="0"/>
                </a:lnTo>
              </a:path>
            </a:pathLst>
          </a:custGeom>
          <a:noFill/>
          <a:ln w="12700" cap="flat" cmpd="sng" algn="ctr">
            <a:solidFill>
              <a:schemeClr val="accent1"/>
            </a:solidFill>
            <a:prstDash val="solid"/>
            <a:round/>
            <a:headEnd type="oval" w="sm" len="sm"/>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en-US" sz="900" kern="500"/>
          </a:p>
        </p:txBody>
      </p:sp>
      <p:sp>
        <p:nvSpPr>
          <p:cNvPr id="20" name="Text Placeholder 5"/>
          <p:cNvSpPr>
            <a:spLocks noGrp="1"/>
          </p:cNvSpPr>
          <p:nvPr>
            <p:ph type="body" sz="quarter" idx="20" hasCustomPrompt="1"/>
          </p:nvPr>
        </p:nvSpPr>
        <p:spPr>
          <a:xfrm>
            <a:off x="7235810" y="1245233"/>
            <a:ext cx="1549153" cy="2674187"/>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1" name="Text Placeholder 5"/>
          <p:cNvSpPr>
            <a:spLocks noGrp="1"/>
          </p:cNvSpPr>
          <p:nvPr>
            <p:ph type="body" sz="quarter" idx="21" hasCustomPrompt="1"/>
          </p:nvPr>
        </p:nvSpPr>
        <p:spPr>
          <a:xfrm>
            <a:off x="2071664" y="1245233"/>
            <a:ext cx="1549153" cy="2674187"/>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2" name="Text Placeholder 5"/>
          <p:cNvSpPr>
            <a:spLocks noGrp="1"/>
          </p:cNvSpPr>
          <p:nvPr>
            <p:ph type="body" sz="quarter" idx="22" hasCustomPrompt="1"/>
          </p:nvPr>
        </p:nvSpPr>
        <p:spPr>
          <a:xfrm>
            <a:off x="3791133" y="1241687"/>
            <a:ext cx="1549153" cy="2674187"/>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3" name="Text Placeholder 5"/>
          <p:cNvSpPr>
            <a:spLocks noGrp="1"/>
          </p:cNvSpPr>
          <p:nvPr>
            <p:ph type="body" sz="quarter" idx="23" hasCustomPrompt="1"/>
          </p:nvPr>
        </p:nvSpPr>
        <p:spPr>
          <a:xfrm>
            <a:off x="5521436" y="1245233"/>
            <a:ext cx="1549153" cy="2674187"/>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24" name="Text Placeholder 5"/>
          <p:cNvSpPr>
            <a:spLocks noGrp="1"/>
          </p:cNvSpPr>
          <p:nvPr>
            <p:ph type="body" sz="quarter" idx="24" hasCustomPrompt="1"/>
          </p:nvPr>
        </p:nvSpPr>
        <p:spPr>
          <a:xfrm>
            <a:off x="352195" y="1245233"/>
            <a:ext cx="1549153" cy="2674187"/>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1" smtClean="0"/>
              <a:t>First level</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195358454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hoto/Video Slide">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a:xfrm>
            <a:off x="0" y="0"/>
            <a:ext cx="9144000" cy="4886325"/>
          </a:xfrm>
        </p:spPr>
        <p:txBody>
          <a:bodyPr anchor="ctr">
            <a:noAutofit/>
          </a:bodyPr>
          <a:lstStyle>
            <a:lvl1pPr marL="0" indent="0" algn="ctr">
              <a:buNone/>
              <a:defRPr baseline="0"/>
            </a:lvl1pPr>
          </a:lstStyle>
          <a:p>
            <a:pPr lvl="0"/>
            <a:r>
              <a:rPr lang="en-US" dirty="1" smtClean="0"/>
              <a:t>Click to insert photo or video</a:t>
            </a:r>
            <a:endParaRPr lang="en-US"/>
          </a:p>
        </p:txBody>
      </p:sp>
    </p:spTree>
    <p:extLst>
      <p:ext uri="{BB962C8B-B14F-4D97-AF65-F5344CB8AC3E}">
        <p14:creationId xmlns:p14="http://schemas.microsoft.com/office/powerpoint/2010/main" val="198945882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9">
                  <p:embed/>
                </p:oleObj>
              </mc:Choice>
              <mc:Fallback>
                <p:oleObj name="think-cell Slide" progId="TCLayout.ActiveDocument.1" r:id="rId7" spid="_x0000_s1059">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Tree>
    <p:extLst>
      <p:ext uri="{BB962C8B-B14F-4D97-AF65-F5344CB8AC3E}">
        <p14:creationId xmlns:p14="http://schemas.microsoft.com/office/powerpoint/2010/main" val="2756804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33599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ff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60">
                  <p:embed/>
                </p:oleObj>
              </mc:Choice>
              <mc:Fallback>
                <p:oleObj name="think-cell Slide" progId="TCLayout.ActiveDocument.1" r:id="rId6" spid="_x0000_s1060">
                  <p:embed/>
                  <p:pic>
                    <p:nvPicPr>
                      <p:cNvPr id="0" name="OLE substitute image"/>
                      <p:cNvPicPr/>
                      <p:nvPr/>
                    </p:nvPicPr>
                    <p:blipFill>
                      <a:blip r:embed="rId5"/>
                      <a:srcRect/>
                      <a:stretch>
                        <a:fillRect/>
                      </a:stretch>
                    </p:blipFill>
                    <p:spPr>
                      <a:xfrm>
                        <a:off x="1588" y="1588"/>
                        <a:ext cx="1588" cy="1588"/>
                      </a:xfrm>
                      <a:prstGeom prst="rect"/>
                    </p:spPr>
                  </p:pic>
                </p:oleObj>
              </mc:Fallback>
            </mc:AlternateContent>
          </a:graphicData>
        </a:graphic>
      </p:graphicFrame>
      <p:sp>
        <p:nvSpPr>
          <p:cNvPr id="18" name="TextBox 17"/>
          <p:cNvSpPr txBox="1"/>
          <p:nvPr/>
        </p:nvSpPr>
        <p:spPr>
          <a:xfrm>
            <a:off x="344469" y="-16824"/>
            <a:ext cx="8458200" cy="1172193"/>
          </a:xfrm>
          <a:prstGeom prst="rect"/>
          <a:noFill/>
        </p:spPr>
        <p:txBody>
          <a:bodyPr wrap="square" lIns="77916" tIns="38958" rIns="77916" bIns="38958" rtlCol="0" anchor="ctr">
            <a:noAutofit/>
          </a:bodyPr>
          <a:lstStyle/>
          <a:p>
            <a:r>
              <a:rPr lang="en-US" sz="2800" b="0" dirty="1" smtClean="0">
                <a:solidFill>
                  <a:schemeClr val="tx1"/>
                </a:solidFill>
                <a:latin typeface="Georgia" panose="02040502050405020303" pitchFamily="18" charset="0"/>
                <a:cs typeface="Times New Roman" pitchFamily="18" charset="0"/>
              </a:rPr>
              <a:t>International Reach</a:t>
            </a:r>
            <a:endParaRPr lang="en-US" sz="2800" b="0">
              <a:solidFill>
                <a:schemeClr val="tx1"/>
              </a:solidFill>
              <a:latin typeface="Georgia" panose="02040502050405020303" pitchFamily="18" charset="0"/>
              <a:cs typeface="Times New Roman" pitchFamily="18" charset="0"/>
            </a:endParaRPr>
          </a:p>
        </p:txBody>
      </p:sp>
      <p:sp>
        <p:nvSpPr>
          <p:cNvPr id="10" name="Rectangle 9"/>
          <p:cNvSpPr/>
          <p:nvPr userDrawn="1"/>
        </p:nvSpPr>
        <p:spPr>
          <a:xfrm>
            <a:off x="8549434" y="4928753"/>
            <a:ext cx="264996" cy="201788"/>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391" name="Group 390"/>
          <p:cNvGrpSpPr/>
          <p:nvPr userDrawn="1"/>
        </p:nvGrpSpPr>
        <p:grpSpPr>
          <a:xfrm>
            <a:off x="735712" y="984083"/>
            <a:ext cx="7408163" cy="3656476"/>
            <a:chOff x="606426" y="976312"/>
            <a:chExt cx="8893175" cy="4389439"/>
          </a:xfrm>
          <a:solidFill>
            <a:schemeClr val="bg1">
              <a:lumMod val="75000"/>
              <a:lumOff val="25000"/>
            </a:schemeClr>
          </a:solidFill>
        </p:grpSpPr>
        <p:sp>
          <p:nvSpPr>
            <p:cNvPr id="397" name="Freeform 5"/>
            <p:cNvSpPr>
              <a:spLocks noEditPoints="1"/>
            </p:cNvSpPr>
            <p:nvPr/>
          </p:nvSpPr>
          <p:spPr>
            <a:xfrm>
              <a:off x="5070476" y="4237038"/>
              <a:ext cx="315913" cy="314325"/>
            </a:xfrm>
            <a:custGeom>
              <a:gdLst>
                <a:gd name="T0" fmla="*/ 91 w 186"/>
                <a:gd name="T1" fmla="*/ 184 h 185"/>
                <a:gd name="T2" fmla="*/ 79 w 186"/>
                <a:gd name="T3" fmla="*/ 178 h 185"/>
                <a:gd name="T4" fmla="*/ 75 w 186"/>
                <a:gd name="T5" fmla="*/ 172 h 185"/>
                <a:gd name="T6" fmla="*/ 69 w 186"/>
                <a:gd name="T7" fmla="*/ 179 h 185"/>
                <a:gd name="T8" fmla="*/ 67 w 186"/>
                <a:gd name="T9" fmla="*/ 180 h 185"/>
                <a:gd name="T10" fmla="*/ 63 w 186"/>
                <a:gd name="T11" fmla="*/ 179 h 185"/>
                <a:gd name="T12" fmla="*/ 54 w 186"/>
                <a:gd name="T13" fmla="*/ 168 h 185"/>
                <a:gd name="T14" fmla="*/ 44 w 186"/>
                <a:gd name="T15" fmla="*/ 132 h 185"/>
                <a:gd name="T16" fmla="*/ 38 w 186"/>
                <a:gd name="T17" fmla="*/ 98 h 185"/>
                <a:gd name="T18" fmla="*/ 31 w 186"/>
                <a:gd name="T19" fmla="*/ 72 h 185"/>
                <a:gd name="T20" fmla="*/ 9 w 186"/>
                <a:gd name="T21" fmla="*/ 25 h 185"/>
                <a:gd name="T22" fmla="*/ 1 w 186"/>
                <a:gd name="T23" fmla="*/ 5 h 185"/>
                <a:gd name="T24" fmla="*/ 11 w 186"/>
                <a:gd name="T25" fmla="*/ 0 h 185"/>
                <a:gd name="T26" fmla="*/ 15 w 186"/>
                <a:gd name="T27" fmla="*/ 4 h 185"/>
                <a:gd name="T28" fmla="*/ 31 w 186"/>
                <a:gd name="T29" fmla="*/ 4 h 185"/>
                <a:gd name="T30" fmla="*/ 94 w 186"/>
                <a:gd name="T31" fmla="*/ 7 h 185"/>
                <a:gd name="T32" fmla="*/ 100 w 186"/>
                <a:gd name="T33" fmla="*/ 13 h 185"/>
                <a:gd name="T34" fmla="*/ 132 w 186"/>
                <a:gd name="T35" fmla="*/ 13 h 185"/>
                <a:gd name="T36" fmla="*/ 154 w 186"/>
                <a:gd name="T37" fmla="*/ 11 h 185"/>
                <a:gd name="T38" fmla="*/ 185 w 186"/>
                <a:gd name="T39" fmla="*/ 9 h 185"/>
                <a:gd name="T40" fmla="*/ 186 w 186"/>
                <a:gd name="T41" fmla="*/ 13 h 185"/>
                <a:gd name="T42" fmla="*/ 176 w 186"/>
                <a:gd name="T43" fmla="*/ 15 h 185"/>
                <a:gd name="T44" fmla="*/ 165 w 186"/>
                <a:gd name="T45" fmla="*/ 22 h 185"/>
                <a:gd name="T46" fmla="*/ 157 w 186"/>
                <a:gd name="T47" fmla="*/ 16 h 185"/>
                <a:gd name="T48" fmla="*/ 146 w 186"/>
                <a:gd name="T49" fmla="*/ 19 h 185"/>
                <a:gd name="T50" fmla="*/ 128 w 186"/>
                <a:gd name="T51" fmla="*/ 22 h 185"/>
                <a:gd name="T52" fmla="*/ 119 w 186"/>
                <a:gd name="T53" fmla="*/ 76 h 185"/>
                <a:gd name="T54" fmla="*/ 114 w 186"/>
                <a:gd name="T55" fmla="*/ 173 h 185"/>
                <a:gd name="T56" fmla="*/ 104 w 186"/>
                <a:gd name="T57" fmla="*/ 183 h 185"/>
                <a:gd name="T58" fmla="*/ 75 w 186"/>
                <a:gd name="T59" fmla="*/ 171 h 185"/>
                <a:gd name="T60" fmla="*/ 80 w 186"/>
                <a:gd name="T61" fmla="*/ 178 h 185"/>
                <a:gd name="T62" fmla="*/ 92 w 186"/>
                <a:gd name="T63" fmla="*/ 183 h 185"/>
                <a:gd name="T64" fmla="*/ 103 w 186"/>
                <a:gd name="T65" fmla="*/ 183 h 185"/>
                <a:gd name="T66" fmla="*/ 113 w 186"/>
                <a:gd name="T67" fmla="*/ 173 h 185"/>
                <a:gd name="T68" fmla="*/ 119 w 186"/>
                <a:gd name="T69" fmla="*/ 75 h 185"/>
                <a:gd name="T70" fmla="*/ 127 w 186"/>
                <a:gd name="T71" fmla="*/ 22 h 185"/>
                <a:gd name="T72" fmla="*/ 141 w 186"/>
                <a:gd name="T73" fmla="*/ 20 h 185"/>
                <a:gd name="T74" fmla="*/ 156 w 186"/>
                <a:gd name="T75" fmla="*/ 15 h 185"/>
                <a:gd name="T76" fmla="*/ 161 w 186"/>
                <a:gd name="T77" fmla="*/ 18 h 185"/>
                <a:gd name="T78" fmla="*/ 165 w 186"/>
                <a:gd name="T79" fmla="*/ 21 h 185"/>
                <a:gd name="T80" fmla="*/ 184 w 186"/>
                <a:gd name="T81" fmla="*/ 13 h 185"/>
                <a:gd name="T82" fmla="*/ 184 w 186"/>
                <a:gd name="T83" fmla="*/ 9 h 185"/>
                <a:gd name="T84" fmla="*/ 154 w 186"/>
                <a:gd name="T85" fmla="*/ 12 h 185"/>
                <a:gd name="T86" fmla="*/ 131 w 186"/>
                <a:gd name="T87" fmla="*/ 14 h 185"/>
                <a:gd name="T88" fmla="*/ 99 w 186"/>
                <a:gd name="T89" fmla="*/ 14 h 185"/>
                <a:gd name="T90" fmla="*/ 99 w 186"/>
                <a:gd name="T91" fmla="*/ 13 h 185"/>
                <a:gd name="T92" fmla="*/ 44 w 186"/>
                <a:gd name="T93" fmla="*/ 8 h 185"/>
                <a:gd name="T94" fmla="*/ 17 w 186"/>
                <a:gd name="T95" fmla="*/ 4 h 185"/>
                <a:gd name="T96" fmla="*/ 13 w 186"/>
                <a:gd name="T97" fmla="*/ 3 h 185"/>
                <a:gd name="T98" fmla="*/ 6 w 186"/>
                <a:gd name="T99" fmla="*/ 5 h 185"/>
                <a:gd name="T100" fmla="*/ 1 w 186"/>
                <a:gd name="T101" fmla="*/ 6 h 185"/>
                <a:gd name="T102" fmla="*/ 24 w 186"/>
                <a:gd name="T103" fmla="*/ 54 h 185"/>
                <a:gd name="T104" fmla="*/ 39 w 186"/>
                <a:gd name="T105" fmla="*/ 84 h 185"/>
                <a:gd name="T106" fmla="*/ 39 w 186"/>
                <a:gd name="T107" fmla="*/ 109 h 185"/>
                <a:gd name="T108" fmla="*/ 45 w 186"/>
                <a:gd name="T109" fmla="*/ 137 h 185"/>
                <a:gd name="T110" fmla="*/ 63 w 186"/>
                <a:gd name="T111" fmla="*/ 178 h 185"/>
                <a:gd name="T112" fmla="*/ 67 w 186"/>
                <a:gd name="T113" fmla="*/ 179 h 185"/>
                <a:gd name="T114" fmla="*/ 68 w 186"/>
                <a:gd name="T115" fmla="*/ 178 h 185"/>
                <a:gd name="T116" fmla="*/ 75 w 186"/>
                <a:gd name="T117" fmla="*/ 171 h 1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 h="185">
                  <a:moveTo>
                    <a:pt x="99" y="185"/>
                  </a:moveTo>
                  <a:cubicBezTo>
                    <a:pt x="96" y="185"/>
                    <a:pt x="94" y="184"/>
                    <a:pt x="91" y="184"/>
                  </a:cubicBezTo>
                  <a:cubicBezTo>
                    <a:pt x="89" y="184"/>
                    <a:pt x="87" y="184"/>
                    <a:pt x="85" y="184"/>
                  </a:cubicBezTo>
                  <a:cubicBezTo>
                    <a:pt x="81" y="184"/>
                    <a:pt x="80" y="181"/>
                    <a:pt x="79" y="178"/>
                  </a:cubicBezTo>
                  <a:cubicBezTo>
                    <a:pt x="78" y="176"/>
                    <a:pt x="78" y="175"/>
                    <a:pt x="77" y="173"/>
                  </a:cubicBezTo>
                  <a:cubicBezTo>
                    <a:pt x="76" y="172"/>
                    <a:pt x="76" y="172"/>
                    <a:pt x="75" y="172"/>
                  </a:cubicBezTo>
                  <a:cubicBezTo>
                    <a:pt x="72" y="172"/>
                    <a:pt x="70" y="175"/>
                    <a:pt x="70" y="177"/>
                  </a:cubicBezTo>
                  <a:cubicBezTo>
                    <a:pt x="70" y="178"/>
                    <a:pt x="69" y="179"/>
                    <a:pt x="69" y="179"/>
                  </a:cubicBezTo>
                  <a:cubicBezTo>
                    <a:pt x="68" y="179"/>
                    <a:pt x="67" y="180"/>
                    <a:pt x="67" y="180"/>
                  </a:cubicBezTo>
                  <a:cubicBezTo>
                    <a:pt x="67" y="180"/>
                    <a:pt x="67" y="180"/>
                    <a:pt x="67" y="180"/>
                  </a:cubicBezTo>
                  <a:cubicBezTo>
                    <a:pt x="66" y="180"/>
                    <a:pt x="65" y="179"/>
                    <a:pt x="64" y="179"/>
                  </a:cubicBezTo>
                  <a:cubicBezTo>
                    <a:pt x="63" y="179"/>
                    <a:pt x="63" y="179"/>
                    <a:pt x="63" y="179"/>
                  </a:cubicBezTo>
                  <a:cubicBezTo>
                    <a:pt x="63" y="179"/>
                    <a:pt x="63" y="179"/>
                    <a:pt x="63" y="179"/>
                  </a:cubicBezTo>
                  <a:cubicBezTo>
                    <a:pt x="60" y="174"/>
                    <a:pt x="56" y="170"/>
                    <a:pt x="54" y="168"/>
                  </a:cubicBezTo>
                  <a:cubicBezTo>
                    <a:pt x="47" y="161"/>
                    <a:pt x="45" y="147"/>
                    <a:pt x="44" y="137"/>
                  </a:cubicBezTo>
                  <a:cubicBezTo>
                    <a:pt x="44" y="135"/>
                    <a:pt x="44" y="133"/>
                    <a:pt x="44" y="132"/>
                  </a:cubicBezTo>
                  <a:cubicBezTo>
                    <a:pt x="42" y="124"/>
                    <a:pt x="41" y="115"/>
                    <a:pt x="38" y="109"/>
                  </a:cubicBezTo>
                  <a:cubicBezTo>
                    <a:pt x="37" y="107"/>
                    <a:pt x="38" y="103"/>
                    <a:pt x="38" y="98"/>
                  </a:cubicBezTo>
                  <a:cubicBezTo>
                    <a:pt x="38" y="94"/>
                    <a:pt x="39" y="89"/>
                    <a:pt x="38" y="85"/>
                  </a:cubicBezTo>
                  <a:cubicBezTo>
                    <a:pt x="37" y="81"/>
                    <a:pt x="34" y="76"/>
                    <a:pt x="31" y="72"/>
                  </a:cubicBezTo>
                  <a:cubicBezTo>
                    <a:pt x="28" y="66"/>
                    <a:pt x="25" y="60"/>
                    <a:pt x="23" y="54"/>
                  </a:cubicBezTo>
                  <a:cubicBezTo>
                    <a:pt x="20" y="44"/>
                    <a:pt x="14" y="32"/>
                    <a:pt x="9" y="25"/>
                  </a:cubicBezTo>
                  <a:cubicBezTo>
                    <a:pt x="4" y="19"/>
                    <a:pt x="0" y="10"/>
                    <a:pt x="0" y="5"/>
                  </a:cubicBezTo>
                  <a:cubicBezTo>
                    <a:pt x="1" y="5"/>
                    <a:pt x="1" y="5"/>
                    <a:pt x="1" y="5"/>
                  </a:cubicBezTo>
                  <a:cubicBezTo>
                    <a:pt x="5" y="4"/>
                    <a:pt x="5" y="4"/>
                    <a:pt x="5" y="4"/>
                  </a:cubicBezTo>
                  <a:cubicBezTo>
                    <a:pt x="6" y="3"/>
                    <a:pt x="7" y="0"/>
                    <a:pt x="11" y="0"/>
                  </a:cubicBezTo>
                  <a:cubicBezTo>
                    <a:pt x="12" y="0"/>
                    <a:pt x="13" y="1"/>
                    <a:pt x="14" y="2"/>
                  </a:cubicBezTo>
                  <a:cubicBezTo>
                    <a:pt x="14" y="3"/>
                    <a:pt x="14" y="4"/>
                    <a:pt x="15" y="4"/>
                  </a:cubicBezTo>
                  <a:cubicBezTo>
                    <a:pt x="16" y="4"/>
                    <a:pt x="16" y="3"/>
                    <a:pt x="17" y="3"/>
                  </a:cubicBezTo>
                  <a:cubicBezTo>
                    <a:pt x="23" y="1"/>
                    <a:pt x="27" y="1"/>
                    <a:pt x="31" y="4"/>
                  </a:cubicBezTo>
                  <a:cubicBezTo>
                    <a:pt x="36" y="7"/>
                    <a:pt x="39" y="7"/>
                    <a:pt x="44" y="7"/>
                  </a:cubicBezTo>
                  <a:cubicBezTo>
                    <a:pt x="94" y="7"/>
                    <a:pt x="94" y="7"/>
                    <a:pt x="94" y="7"/>
                  </a:cubicBezTo>
                  <a:cubicBezTo>
                    <a:pt x="95" y="8"/>
                    <a:pt x="95" y="8"/>
                    <a:pt x="95" y="8"/>
                  </a:cubicBezTo>
                  <a:cubicBezTo>
                    <a:pt x="100" y="13"/>
                    <a:pt x="100" y="13"/>
                    <a:pt x="100" y="13"/>
                  </a:cubicBezTo>
                  <a:cubicBezTo>
                    <a:pt x="101" y="12"/>
                    <a:pt x="112" y="12"/>
                    <a:pt x="121" y="12"/>
                  </a:cubicBezTo>
                  <a:cubicBezTo>
                    <a:pt x="127" y="12"/>
                    <a:pt x="130" y="12"/>
                    <a:pt x="132" y="13"/>
                  </a:cubicBezTo>
                  <a:cubicBezTo>
                    <a:pt x="133" y="13"/>
                    <a:pt x="135" y="14"/>
                    <a:pt x="137" y="14"/>
                  </a:cubicBezTo>
                  <a:cubicBezTo>
                    <a:pt x="143" y="14"/>
                    <a:pt x="151" y="12"/>
                    <a:pt x="154" y="11"/>
                  </a:cubicBezTo>
                  <a:cubicBezTo>
                    <a:pt x="157" y="10"/>
                    <a:pt x="171" y="8"/>
                    <a:pt x="179" y="8"/>
                  </a:cubicBezTo>
                  <a:cubicBezTo>
                    <a:pt x="183" y="8"/>
                    <a:pt x="185" y="8"/>
                    <a:pt x="185" y="9"/>
                  </a:cubicBezTo>
                  <a:cubicBezTo>
                    <a:pt x="185" y="10"/>
                    <a:pt x="185" y="11"/>
                    <a:pt x="186" y="13"/>
                  </a:cubicBezTo>
                  <a:cubicBezTo>
                    <a:pt x="186" y="13"/>
                    <a:pt x="186" y="13"/>
                    <a:pt x="186" y="13"/>
                  </a:cubicBezTo>
                  <a:cubicBezTo>
                    <a:pt x="184" y="14"/>
                    <a:pt x="184" y="14"/>
                    <a:pt x="184" y="14"/>
                  </a:cubicBezTo>
                  <a:cubicBezTo>
                    <a:pt x="181" y="14"/>
                    <a:pt x="178" y="15"/>
                    <a:pt x="176" y="15"/>
                  </a:cubicBezTo>
                  <a:cubicBezTo>
                    <a:pt x="171" y="15"/>
                    <a:pt x="166" y="21"/>
                    <a:pt x="166" y="21"/>
                  </a:cubicBezTo>
                  <a:cubicBezTo>
                    <a:pt x="165" y="22"/>
                    <a:pt x="165" y="22"/>
                    <a:pt x="165" y="22"/>
                  </a:cubicBezTo>
                  <a:cubicBezTo>
                    <a:pt x="163" y="22"/>
                    <a:pt x="162" y="20"/>
                    <a:pt x="160" y="19"/>
                  </a:cubicBezTo>
                  <a:cubicBezTo>
                    <a:pt x="159" y="18"/>
                    <a:pt x="158" y="17"/>
                    <a:pt x="157" y="16"/>
                  </a:cubicBezTo>
                  <a:cubicBezTo>
                    <a:pt x="157" y="16"/>
                    <a:pt x="157" y="16"/>
                    <a:pt x="156" y="16"/>
                  </a:cubicBezTo>
                  <a:cubicBezTo>
                    <a:pt x="154" y="16"/>
                    <a:pt x="149" y="18"/>
                    <a:pt x="146" y="19"/>
                  </a:cubicBezTo>
                  <a:cubicBezTo>
                    <a:pt x="144" y="20"/>
                    <a:pt x="142" y="21"/>
                    <a:pt x="142" y="21"/>
                  </a:cubicBezTo>
                  <a:cubicBezTo>
                    <a:pt x="139" y="22"/>
                    <a:pt x="130" y="22"/>
                    <a:pt x="128" y="22"/>
                  </a:cubicBezTo>
                  <a:cubicBezTo>
                    <a:pt x="128" y="72"/>
                    <a:pt x="128" y="72"/>
                    <a:pt x="128" y="72"/>
                  </a:cubicBezTo>
                  <a:cubicBezTo>
                    <a:pt x="128" y="75"/>
                    <a:pt x="123" y="76"/>
                    <a:pt x="119" y="76"/>
                  </a:cubicBezTo>
                  <a:cubicBezTo>
                    <a:pt x="116" y="76"/>
                    <a:pt x="114" y="76"/>
                    <a:pt x="114" y="77"/>
                  </a:cubicBezTo>
                  <a:cubicBezTo>
                    <a:pt x="114" y="173"/>
                    <a:pt x="114" y="173"/>
                    <a:pt x="114" y="173"/>
                  </a:cubicBezTo>
                  <a:cubicBezTo>
                    <a:pt x="114" y="177"/>
                    <a:pt x="110" y="179"/>
                    <a:pt x="107" y="181"/>
                  </a:cubicBezTo>
                  <a:cubicBezTo>
                    <a:pt x="106" y="181"/>
                    <a:pt x="105" y="182"/>
                    <a:pt x="104" y="183"/>
                  </a:cubicBezTo>
                  <a:cubicBezTo>
                    <a:pt x="103" y="184"/>
                    <a:pt x="102" y="185"/>
                    <a:pt x="99" y="185"/>
                  </a:cubicBezTo>
                  <a:close/>
                  <a:moveTo>
                    <a:pt x="75" y="171"/>
                  </a:moveTo>
                  <a:cubicBezTo>
                    <a:pt x="76" y="171"/>
                    <a:pt x="77" y="171"/>
                    <a:pt x="78" y="173"/>
                  </a:cubicBezTo>
                  <a:cubicBezTo>
                    <a:pt x="79" y="174"/>
                    <a:pt x="79" y="176"/>
                    <a:pt x="80" y="178"/>
                  </a:cubicBezTo>
                  <a:cubicBezTo>
                    <a:pt x="81" y="181"/>
                    <a:pt x="82" y="183"/>
                    <a:pt x="85" y="183"/>
                  </a:cubicBezTo>
                  <a:cubicBezTo>
                    <a:pt x="87" y="183"/>
                    <a:pt x="89" y="183"/>
                    <a:pt x="92" y="183"/>
                  </a:cubicBezTo>
                  <a:cubicBezTo>
                    <a:pt x="94" y="183"/>
                    <a:pt x="96" y="184"/>
                    <a:pt x="99" y="184"/>
                  </a:cubicBezTo>
                  <a:cubicBezTo>
                    <a:pt x="101" y="184"/>
                    <a:pt x="103" y="183"/>
                    <a:pt x="103" y="183"/>
                  </a:cubicBezTo>
                  <a:cubicBezTo>
                    <a:pt x="104" y="182"/>
                    <a:pt x="105" y="181"/>
                    <a:pt x="107" y="180"/>
                  </a:cubicBezTo>
                  <a:cubicBezTo>
                    <a:pt x="110" y="178"/>
                    <a:pt x="113" y="176"/>
                    <a:pt x="113" y="173"/>
                  </a:cubicBezTo>
                  <a:cubicBezTo>
                    <a:pt x="113" y="77"/>
                    <a:pt x="113" y="77"/>
                    <a:pt x="113" y="77"/>
                  </a:cubicBezTo>
                  <a:cubicBezTo>
                    <a:pt x="113" y="75"/>
                    <a:pt x="116" y="75"/>
                    <a:pt x="119" y="75"/>
                  </a:cubicBezTo>
                  <a:cubicBezTo>
                    <a:pt x="123" y="75"/>
                    <a:pt x="127" y="75"/>
                    <a:pt x="127" y="72"/>
                  </a:cubicBezTo>
                  <a:cubicBezTo>
                    <a:pt x="127" y="22"/>
                    <a:pt x="127" y="22"/>
                    <a:pt x="127" y="22"/>
                  </a:cubicBezTo>
                  <a:cubicBezTo>
                    <a:pt x="128" y="21"/>
                    <a:pt x="128" y="21"/>
                    <a:pt x="128" y="21"/>
                  </a:cubicBezTo>
                  <a:cubicBezTo>
                    <a:pt x="128" y="21"/>
                    <a:pt x="138" y="21"/>
                    <a:pt x="141" y="20"/>
                  </a:cubicBezTo>
                  <a:cubicBezTo>
                    <a:pt x="142" y="20"/>
                    <a:pt x="144" y="19"/>
                    <a:pt x="145" y="18"/>
                  </a:cubicBezTo>
                  <a:cubicBezTo>
                    <a:pt x="149" y="17"/>
                    <a:pt x="154" y="15"/>
                    <a:pt x="156" y="15"/>
                  </a:cubicBezTo>
                  <a:cubicBezTo>
                    <a:pt x="157" y="15"/>
                    <a:pt x="158" y="15"/>
                    <a:pt x="158" y="15"/>
                  </a:cubicBezTo>
                  <a:cubicBezTo>
                    <a:pt x="159" y="16"/>
                    <a:pt x="160" y="17"/>
                    <a:pt x="161" y="18"/>
                  </a:cubicBezTo>
                  <a:cubicBezTo>
                    <a:pt x="162" y="19"/>
                    <a:pt x="164" y="21"/>
                    <a:pt x="165" y="21"/>
                  </a:cubicBezTo>
                  <a:cubicBezTo>
                    <a:pt x="165" y="21"/>
                    <a:pt x="165" y="21"/>
                    <a:pt x="165" y="21"/>
                  </a:cubicBezTo>
                  <a:cubicBezTo>
                    <a:pt x="166" y="20"/>
                    <a:pt x="171" y="14"/>
                    <a:pt x="176" y="14"/>
                  </a:cubicBezTo>
                  <a:cubicBezTo>
                    <a:pt x="178" y="14"/>
                    <a:pt x="181" y="13"/>
                    <a:pt x="184" y="13"/>
                  </a:cubicBezTo>
                  <a:cubicBezTo>
                    <a:pt x="185" y="12"/>
                    <a:pt x="185" y="12"/>
                    <a:pt x="185" y="12"/>
                  </a:cubicBezTo>
                  <a:cubicBezTo>
                    <a:pt x="184" y="11"/>
                    <a:pt x="184" y="10"/>
                    <a:pt x="184" y="9"/>
                  </a:cubicBezTo>
                  <a:cubicBezTo>
                    <a:pt x="184" y="9"/>
                    <a:pt x="184" y="9"/>
                    <a:pt x="179" y="9"/>
                  </a:cubicBezTo>
                  <a:cubicBezTo>
                    <a:pt x="171" y="9"/>
                    <a:pt x="157" y="11"/>
                    <a:pt x="154" y="12"/>
                  </a:cubicBezTo>
                  <a:cubicBezTo>
                    <a:pt x="151" y="13"/>
                    <a:pt x="143" y="15"/>
                    <a:pt x="137" y="15"/>
                  </a:cubicBezTo>
                  <a:cubicBezTo>
                    <a:pt x="135" y="15"/>
                    <a:pt x="132" y="14"/>
                    <a:pt x="131" y="14"/>
                  </a:cubicBezTo>
                  <a:cubicBezTo>
                    <a:pt x="130" y="13"/>
                    <a:pt x="128" y="13"/>
                    <a:pt x="121" y="13"/>
                  </a:cubicBezTo>
                  <a:cubicBezTo>
                    <a:pt x="112" y="13"/>
                    <a:pt x="100" y="14"/>
                    <a:pt x="99" y="14"/>
                  </a:cubicBezTo>
                  <a:cubicBezTo>
                    <a:pt x="99" y="14"/>
                    <a:pt x="99" y="14"/>
                    <a:pt x="99" y="14"/>
                  </a:cubicBezTo>
                  <a:cubicBezTo>
                    <a:pt x="99" y="13"/>
                    <a:pt x="99" y="13"/>
                    <a:pt x="99" y="13"/>
                  </a:cubicBezTo>
                  <a:cubicBezTo>
                    <a:pt x="94" y="8"/>
                    <a:pt x="94" y="8"/>
                    <a:pt x="94" y="8"/>
                  </a:cubicBezTo>
                  <a:cubicBezTo>
                    <a:pt x="44" y="8"/>
                    <a:pt x="44" y="8"/>
                    <a:pt x="44" y="8"/>
                  </a:cubicBezTo>
                  <a:cubicBezTo>
                    <a:pt x="39" y="8"/>
                    <a:pt x="35" y="8"/>
                    <a:pt x="31" y="5"/>
                  </a:cubicBezTo>
                  <a:cubicBezTo>
                    <a:pt x="27" y="2"/>
                    <a:pt x="23" y="2"/>
                    <a:pt x="17" y="4"/>
                  </a:cubicBezTo>
                  <a:cubicBezTo>
                    <a:pt x="16" y="4"/>
                    <a:pt x="16" y="5"/>
                    <a:pt x="15" y="5"/>
                  </a:cubicBezTo>
                  <a:cubicBezTo>
                    <a:pt x="14" y="5"/>
                    <a:pt x="13" y="4"/>
                    <a:pt x="13" y="3"/>
                  </a:cubicBezTo>
                  <a:cubicBezTo>
                    <a:pt x="12" y="2"/>
                    <a:pt x="12" y="1"/>
                    <a:pt x="11" y="1"/>
                  </a:cubicBezTo>
                  <a:cubicBezTo>
                    <a:pt x="7" y="1"/>
                    <a:pt x="6" y="5"/>
                    <a:pt x="6" y="5"/>
                  </a:cubicBezTo>
                  <a:cubicBezTo>
                    <a:pt x="6" y="5"/>
                    <a:pt x="6" y="5"/>
                    <a:pt x="6" y="5"/>
                  </a:cubicBezTo>
                  <a:cubicBezTo>
                    <a:pt x="1" y="6"/>
                    <a:pt x="1" y="6"/>
                    <a:pt x="1" y="6"/>
                  </a:cubicBezTo>
                  <a:cubicBezTo>
                    <a:pt x="1" y="10"/>
                    <a:pt x="5" y="18"/>
                    <a:pt x="10" y="24"/>
                  </a:cubicBezTo>
                  <a:cubicBezTo>
                    <a:pt x="15" y="31"/>
                    <a:pt x="21" y="44"/>
                    <a:pt x="24" y="54"/>
                  </a:cubicBezTo>
                  <a:cubicBezTo>
                    <a:pt x="26" y="60"/>
                    <a:pt x="29" y="65"/>
                    <a:pt x="32" y="71"/>
                  </a:cubicBezTo>
                  <a:cubicBezTo>
                    <a:pt x="35" y="76"/>
                    <a:pt x="38" y="81"/>
                    <a:pt x="39" y="84"/>
                  </a:cubicBezTo>
                  <a:cubicBezTo>
                    <a:pt x="40" y="89"/>
                    <a:pt x="39" y="94"/>
                    <a:pt x="39" y="98"/>
                  </a:cubicBezTo>
                  <a:cubicBezTo>
                    <a:pt x="39" y="102"/>
                    <a:pt x="38" y="106"/>
                    <a:pt x="39" y="109"/>
                  </a:cubicBezTo>
                  <a:cubicBezTo>
                    <a:pt x="42" y="114"/>
                    <a:pt x="43" y="124"/>
                    <a:pt x="45" y="132"/>
                  </a:cubicBezTo>
                  <a:cubicBezTo>
                    <a:pt x="45" y="133"/>
                    <a:pt x="45" y="135"/>
                    <a:pt x="45" y="137"/>
                  </a:cubicBezTo>
                  <a:cubicBezTo>
                    <a:pt x="46" y="146"/>
                    <a:pt x="48" y="160"/>
                    <a:pt x="54" y="167"/>
                  </a:cubicBezTo>
                  <a:cubicBezTo>
                    <a:pt x="57" y="170"/>
                    <a:pt x="60" y="174"/>
                    <a:pt x="63" y="178"/>
                  </a:cubicBezTo>
                  <a:cubicBezTo>
                    <a:pt x="64" y="178"/>
                    <a:pt x="64" y="178"/>
                    <a:pt x="64" y="178"/>
                  </a:cubicBezTo>
                  <a:cubicBezTo>
                    <a:pt x="65" y="178"/>
                    <a:pt x="66" y="179"/>
                    <a:pt x="67" y="179"/>
                  </a:cubicBezTo>
                  <a:cubicBezTo>
                    <a:pt x="67" y="179"/>
                    <a:pt x="67" y="179"/>
                    <a:pt x="67" y="179"/>
                  </a:cubicBezTo>
                  <a:cubicBezTo>
                    <a:pt x="68" y="178"/>
                    <a:pt x="68" y="178"/>
                    <a:pt x="68" y="178"/>
                  </a:cubicBezTo>
                  <a:cubicBezTo>
                    <a:pt x="68" y="178"/>
                    <a:pt x="69" y="178"/>
                    <a:pt x="69" y="177"/>
                  </a:cubicBezTo>
                  <a:cubicBezTo>
                    <a:pt x="69" y="175"/>
                    <a:pt x="72" y="171"/>
                    <a:pt x="75" y="1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398" name="Freeform 6"/>
            <p:cNvSpPr>
              <a:spLocks noEditPoints="1"/>
            </p:cNvSpPr>
            <p:nvPr/>
          </p:nvSpPr>
          <p:spPr>
            <a:xfrm>
              <a:off x="5384801" y="4203700"/>
              <a:ext cx="196850" cy="173038"/>
            </a:xfrm>
            <a:custGeom>
              <a:gdLst>
                <a:gd name="T0" fmla="*/ 88 w 116"/>
                <a:gd name="T1" fmla="*/ 102 h 102"/>
                <a:gd name="T2" fmla="*/ 71 w 116"/>
                <a:gd name="T3" fmla="*/ 99 h 102"/>
                <a:gd name="T4" fmla="*/ 57 w 116"/>
                <a:gd name="T5" fmla="*/ 96 h 102"/>
                <a:gd name="T6" fmla="*/ 47 w 116"/>
                <a:gd name="T7" fmla="*/ 90 h 102"/>
                <a:gd name="T8" fmla="*/ 34 w 116"/>
                <a:gd name="T9" fmla="*/ 73 h 102"/>
                <a:gd name="T10" fmla="*/ 17 w 116"/>
                <a:gd name="T11" fmla="*/ 59 h 102"/>
                <a:gd name="T12" fmla="*/ 9 w 116"/>
                <a:gd name="T13" fmla="*/ 42 h 102"/>
                <a:gd name="T14" fmla="*/ 0 w 116"/>
                <a:gd name="T15" fmla="*/ 32 h 102"/>
                <a:gd name="T16" fmla="*/ 8 w 116"/>
                <a:gd name="T17" fmla="*/ 31 h 102"/>
                <a:gd name="T18" fmla="*/ 24 w 116"/>
                <a:gd name="T19" fmla="*/ 35 h 102"/>
                <a:gd name="T20" fmla="*/ 32 w 116"/>
                <a:gd name="T21" fmla="*/ 28 h 102"/>
                <a:gd name="T22" fmla="*/ 54 w 116"/>
                <a:gd name="T23" fmla="*/ 8 h 102"/>
                <a:gd name="T24" fmla="*/ 76 w 116"/>
                <a:gd name="T25" fmla="*/ 0 h 102"/>
                <a:gd name="T26" fmla="*/ 97 w 116"/>
                <a:gd name="T27" fmla="*/ 9 h 102"/>
                <a:gd name="T28" fmla="*/ 113 w 116"/>
                <a:gd name="T29" fmla="*/ 15 h 102"/>
                <a:gd name="T30" fmla="*/ 114 w 116"/>
                <a:gd name="T31" fmla="*/ 38 h 102"/>
                <a:gd name="T32" fmla="*/ 110 w 116"/>
                <a:gd name="T33" fmla="*/ 50 h 102"/>
                <a:gd name="T34" fmla="*/ 115 w 116"/>
                <a:gd name="T35" fmla="*/ 61 h 102"/>
                <a:gd name="T36" fmla="*/ 107 w 116"/>
                <a:gd name="T37" fmla="*/ 73 h 102"/>
                <a:gd name="T38" fmla="*/ 103 w 116"/>
                <a:gd name="T39" fmla="*/ 87 h 102"/>
                <a:gd name="T40" fmla="*/ 88 w 116"/>
                <a:gd name="T41" fmla="*/ 102 h 102"/>
                <a:gd name="T42" fmla="*/ 58 w 116"/>
                <a:gd name="T43" fmla="*/ 96 h 102"/>
                <a:gd name="T44" fmla="*/ 72 w 116"/>
                <a:gd name="T45" fmla="*/ 98 h 102"/>
                <a:gd name="T46" fmla="*/ 88 w 116"/>
                <a:gd name="T47" fmla="*/ 101 h 102"/>
                <a:gd name="T48" fmla="*/ 102 w 116"/>
                <a:gd name="T49" fmla="*/ 87 h 102"/>
                <a:gd name="T50" fmla="*/ 106 w 116"/>
                <a:gd name="T51" fmla="*/ 72 h 102"/>
                <a:gd name="T52" fmla="*/ 114 w 116"/>
                <a:gd name="T53" fmla="*/ 62 h 102"/>
                <a:gd name="T54" fmla="*/ 110 w 116"/>
                <a:gd name="T55" fmla="*/ 51 h 102"/>
                <a:gd name="T56" fmla="*/ 113 w 116"/>
                <a:gd name="T57" fmla="*/ 38 h 102"/>
                <a:gd name="T58" fmla="*/ 113 w 116"/>
                <a:gd name="T59" fmla="*/ 16 h 102"/>
                <a:gd name="T60" fmla="*/ 96 w 116"/>
                <a:gd name="T61" fmla="*/ 10 h 102"/>
                <a:gd name="T62" fmla="*/ 77 w 116"/>
                <a:gd name="T63" fmla="*/ 5 h 102"/>
                <a:gd name="T64" fmla="*/ 63 w 116"/>
                <a:gd name="T65" fmla="*/ 1 h 102"/>
                <a:gd name="T66" fmla="*/ 42 w 116"/>
                <a:gd name="T67" fmla="*/ 19 h 102"/>
                <a:gd name="T68" fmla="*/ 27 w 116"/>
                <a:gd name="T69" fmla="*/ 35 h 102"/>
                <a:gd name="T70" fmla="*/ 13 w 116"/>
                <a:gd name="T71" fmla="*/ 33 h 102"/>
                <a:gd name="T72" fmla="*/ 1 w 116"/>
                <a:gd name="T73" fmla="*/ 33 h 102"/>
                <a:gd name="T74" fmla="*/ 12 w 116"/>
                <a:gd name="T75" fmla="*/ 47 h 102"/>
                <a:gd name="T76" fmla="*/ 32 w 116"/>
                <a:gd name="T77" fmla="*/ 69 h 102"/>
                <a:gd name="T78" fmla="*/ 38 w 116"/>
                <a:gd name="T79" fmla="*/ 80 h 102"/>
                <a:gd name="T80" fmla="*/ 47 w 116"/>
                <a:gd name="T81" fmla="*/ 89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 h="102">
                  <a:moveTo>
                    <a:pt x="88" y="102"/>
                  </a:moveTo>
                  <a:cubicBezTo>
                    <a:pt x="88" y="102"/>
                    <a:pt x="88" y="102"/>
                    <a:pt x="88" y="102"/>
                  </a:cubicBezTo>
                  <a:cubicBezTo>
                    <a:pt x="87" y="101"/>
                    <a:pt x="84" y="101"/>
                    <a:pt x="81" y="101"/>
                  </a:cubicBezTo>
                  <a:cubicBezTo>
                    <a:pt x="76" y="101"/>
                    <a:pt x="72" y="100"/>
                    <a:pt x="71" y="99"/>
                  </a:cubicBezTo>
                  <a:cubicBezTo>
                    <a:pt x="71" y="98"/>
                    <a:pt x="67" y="98"/>
                    <a:pt x="64" y="98"/>
                  </a:cubicBezTo>
                  <a:cubicBezTo>
                    <a:pt x="60" y="98"/>
                    <a:pt x="57" y="98"/>
                    <a:pt x="57" y="96"/>
                  </a:cubicBezTo>
                  <a:cubicBezTo>
                    <a:pt x="57" y="93"/>
                    <a:pt x="56" y="90"/>
                    <a:pt x="47" y="90"/>
                  </a:cubicBezTo>
                  <a:cubicBezTo>
                    <a:pt x="47" y="90"/>
                    <a:pt x="47" y="90"/>
                    <a:pt x="47" y="90"/>
                  </a:cubicBezTo>
                  <a:cubicBezTo>
                    <a:pt x="43" y="90"/>
                    <a:pt x="37" y="84"/>
                    <a:pt x="37" y="80"/>
                  </a:cubicBezTo>
                  <a:cubicBezTo>
                    <a:pt x="37" y="77"/>
                    <a:pt x="35" y="75"/>
                    <a:pt x="34" y="73"/>
                  </a:cubicBezTo>
                  <a:cubicBezTo>
                    <a:pt x="32" y="72"/>
                    <a:pt x="31" y="70"/>
                    <a:pt x="31" y="69"/>
                  </a:cubicBezTo>
                  <a:cubicBezTo>
                    <a:pt x="31" y="66"/>
                    <a:pt x="23" y="62"/>
                    <a:pt x="17" y="59"/>
                  </a:cubicBezTo>
                  <a:cubicBezTo>
                    <a:pt x="13" y="58"/>
                    <a:pt x="12" y="52"/>
                    <a:pt x="11" y="47"/>
                  </a:cubicBezTo>
                  <a:cubicBezTo>
                    <a:pt x="10" y="45"/>
                    <a:pt x="9" y="42"/>
                    <a:pt x="9" y="42"/>
                  </a:cubicBezTo>
                  <a:cubicBezTo>
                    <a:pt x="7" y="42"/>
                    <a:pt x="2" y="37"/>
                    <a:pt x="0" y="33"/>
                  </a:cubicBezTo>
                  <a:cubicBezTo>
                    <a:pt x="0" y="32"/>
                    <a:pt x="0" y="32"/>
                    <a:pt x="0" y="32"/>
                  </a:cubicBezTo>
                  <a:cubicBezTo>
                    <a:pt x="0" y="32"/>
                    <a:pt x="0" y="32"/>
                    <a:pt x="0" y="32"/>
                  </a:cubicBezTo>
                  <a:cubicBezTo>
                    <a:pt x="3" y="32"/>
                    <a:pt x="6" y="31"/>
                    <a:pt x="8" y="31"/>
                  </a:cubicBezTo>
                  <a:cubicBezTo>
                    <a:pt x="9" y="31"/>
                    <a:pt x="11" y="32"/>
                    <a:pt x="13" y="32"/>
                  </a:cubicBezTo>
                  <a:cubicBezTo>
                    <a:pt x="17" y="33"/>
                    <a:pt x="21" y="35"/>
                    <a:pt x="24" y="35"/>
                  </a:cubicBezTo>
                  <a:cubicBezTo>
                    <a:pt x="25" y="35"/>
                    <a:pt x="26" y="34"/>
                    <a:pt x="26" y="34"/>
                  </a:cubicBezTo>
                  <a:cubicBezTo>
                    <a:pt x="28" y="34"/>
                    <a:pt x="30" y="31"/>
                    <a:pt x="32" y="28"/>
                  </a:cubicBezTo>
                  <a:cubicBezTo>
                    <a:pt x="35" y="24"/>
                    <a:pt x="38" y="19"/>
                    <a:pt x="41" y="18"/>
                  </a:cubicBezTo>
                  <a:cubicBezTo>
                    <a:pt x="47" y="16"/>
                    <a:pt x="54" y="10"/>
                    <a:pt x="54" y="8"/>
                  </a:cubicBezTo>
                  <a:cubicBezTo>
                    <a:pt x="54" y="5"/>
                    <a:pt x="54" y="2"/>
                    <a:pt x="63" y="0"/>
                  </a:cubicBezTo>
                  <a:cubicBezTo>
                    <a:pt x="76" y="0"/>
                    <a:pt x="76" y="0"/>
                    <a:pt x="76" y="0"/>
                  </a:cubicBezTo>
                  <a:cubicBezTo>
                    <a:pt x="78" y="5"/>
                    <a:pt x="78" y="5"/>
                    <a:pt x="78" y="5"/>
                  </a:cubicBezTo>
                  <a:cubicBezTo>
                    <a:pt x="80" y="5"/>
                    <a:pt x="91" y="5"/>
                    <a:pt x="97" y="9"/>
                  </a:cubicBezTo>
                  <a:cubicBezTo>
                    <a:pt x="100" y="11"/>
                    <a:pt x="105" y="13"/>
                    <a:pt x="109" y="13"/>
                  </a:cubicBezTo>
                  <a:cubicBezTo>
                    <a:pt x="111" y="14"/>
                    <a:pt x="113" y="14"/>
                    <a:pt x="113" y="15"/>
                  </a:cubicBezTo>
                  <a:cubicBezTo>
                    <a:pt x="115" y="16"/>
                    <a:pt x="115" y="20"/>
                    <a:pt x="114" y="27"/>
                  </a:cubicBezTo>
                  <a:cubicBezTo>
                    <a:pt x="114" y="31"/>
                    <a:pt x="114" y="35"/>
                    <a:pt x="114" y="38"/>
                  </a:cubicBezTo>
                  <a:cubicBezTo>
                    <a:pt x="115" y="42"/>
                    <a:pt x="113" y="44"/>
                    <a:pt x="111" y="46"/>
                  </a:cubicBezTo>
                  <a:cubicBezTo>
                    <a:pt x="109" y="48"/>
                    <a:pt x="109" y="49"/>
                    <a:pt x="110" y="50"/>
                  </a:cubicBezTo>
                  <a:cubicBezTo>
                    <a:pt x="113" y="53"/>
                    <a:pt x="113" y="56"/>
                    <a:pt x="113" y="58"/>
                  </a:cubicBezTo>
                  <a:cubicBezTo>
                    <a:pt x="114" y="60"/>
                    <a:pt x="114" y="61"/>
                    <a:pt x="115" y="61"/>
                  </a:cubicBezTo>
                  <a:cubicBezTo>
                    <a:pt x="115" y="61"/>
                    <a:pt x="115" y="62"/>
                    <a:pt x="116" y="62"/>
                  </a:cubicBezTo>
                  <a:cubicBezTo>
                    <a:pt x="116" y="65"/>
                    <a:pt x="110" y="72"/>
                    <a:pt x="107" y="73"/>
                  </a:cubicBezTo>
                  <a:cubicBezTo>
                    <a:pt x="106" y="74"/>
                    <a:pt x="106" y="76"/>
                    <a:pt x="106" y="78"/>
                  </a:cubicBezTo>
                  <a:cubicBezTo>
                    <a:pt x="105" y="81"/>
                    <a:pt x="105" y="84"/>
                    <a:pt x="103" y="87"/>
                  </a:cubicBezTo>
                  <a:cubicBezTo>
                    <a:pt x="101" y="90"/>
                    <a:pt x="97" y="94"/>
                    <a:pt x="93" y="98"/>
                  </a:cubicBezTo>
                  <a:cubicBezTo>
                    <a:pt x="91" y="99"/>
                    <a:pt x="90" y="101"/>
                    <a:pt x="88" y="102"/>
                  </a:cubicBezTo>
                  <a:close/>
                  <a:moveTo>
                    <a:pt x="48" y="89"/>
                  </a:moveTo>
                  <a:cubicBezTo>
                    <a:pt x="55" y="89"/>
                    <a:pt x="58" y="91"/>
                    <a:pt x="58" y="96"/>
                  </a:cubicBezTo>
                  <a:cubicBezTo>
                    <a:pt x="58" y="97"/>
                    <a:pt x="62" y="97"/>
                    <a:pt x="64" y="97"/>
                  </a:cubicBezTo>
                  <a:cubicBezTo>
                    <a:pt x="68" y="97"/>
                    <a:pt x="71" y="97"/>
                    <a:pt x="72" y="98"/>
                  </a:cubicBezTo>
                  <a:cubicBezTo>
                    <a:pt x="73" y="99"/>
                    <a:pt x="77" y="100"/>
                    <a:pt x="81" y="100"/>
                  </a:cubicBezTo>
                  <a:cubicBezTo>
                    <a:pt x="84" y="100"/>
                    <a:pt x="87" y="100"/>
                    <a:pt x="88" y="101"/>
                  </a:cubicBezTo>
                  <a:cubicBezTo>
                    <a:pt x="89" y="100"/>
                    <a:pt x="91" y="98"/>
                    <a:pt x="92" y="97"/>
                  </a:cubicBezTo>
                  <a:cubicBezTo>
                    <a:pt x="96" y="93"/>
                    <a:pt x="101" y="89"/>
                    <a:pt x="102" y="87"/>
                  </a:cubicBezTo>
                  <a:cubicBezTo>
                    <a:pt x="104" y="84"/>
                    <a:pt x="104" y="81"/>
                    <a:pt x="105" y="78"/>
                  </a:cubicBezTo>
                  <a:cubicBezTo>
                    <a:pt x="105" y="76"/>
                    <a:pt x="105" y="73"/>
                    <a:pt x="106" y="72"/>
                  </a:cubicBezTo>
                  <a:cubicBezTo>
                    <a:pt x="109" y="71"/>
                    <a:pt x="115" y="64"/>
                    <a:pt x="115" y="62"/>
                  </a:cubicBezTo>
                  <a:cubicBezTo>
                    <a:pt x="115" y="62"/>
                    <a:pt x="115" y="62"/>
                    <a:pt x="114" y="62"/>
                  </a:cubicBezTo>
                  <a:cubicBezTo>
                    <a:pt x="113" y="62"/>
                    <a:pt x="113" y="60"/>
                    <a:pt x="112" y="58"/>
                  </a:cubicBezTo>
                  <a:cubicBezTo>
                    <a:pt x="112" y="56"/>
                    <a:pt x="112" y="53"/>
                    <a:pt x="110" y="51"/>
                  </a:cubicBezTo>
                  <a:cubicBezTo>
                    <a:pt x="107" y="49"/>
                    <a:pt x="109" y="47"/>
                    <a:pt x="110" y="45"/>
                  </a:cubicBezTo>
                  <a:cubicBezTo>
                    <a:pt x="112" y="43"/>
                    <a:pt x="114" y="41"/>
                    <a:pt x="113" y="38"/>
                  </a:cubicBezTo>
                  <a:cubicBezTo>
                    <a:pt x="113" y="35"/>
                    <a:pt x="113" y="31"/>
                    <a:pt x="113" y="27"/>
                  </a:cubicBezTo>
                  <a:cubicBezTo>
                    <a:pt x="114" y="23"/>
                    <a:pt x="114" y="16"/>
                    <a:pt x="113" y="16"/>
                  </a:cubicBezTo>
                  <a:cubicBezTo>
                    <a:pt x="112" y="15"/>
                    <a:pt x="111" y="15"/>
                    <a:pt x="109" y="14"/>
                  </a:cubicBezTo>
                  <a:cubicBezTo>
                    <a:pt x="105" y="14"/>
                    <a:pt x="100" y="12"/>
                    <a:pt x="96" y="10"/>
                  </a:cubicBezTo>
                  <a:cubicBezTo>
                    <a:pt x="91" y="6"/>
                    <a:pt x="78" y="5"/>
                    <a:pt x="78" y="5"/>
                  </a:cubicBezTo>
                  <a:cubicBezTo>
                    <a:pt x="77" y="5"/>
                    <a:pt x="77" y="5"/>
                    <a:pt x="77" y="5"/>
                  </a:cubicBezTo>
                  <a:cubicBezTo>
                    <a:pt x="75" y="1"/>
                    <a:pt x="75" y="1"/>
                    <a:pt x="75" y="1"/>
                  </a:cubicBezTo>
                  <a:cubicBezTo>
                    <a:pt x="63" y="1"/>
                    <a:pt x="63" y="1"/>
                    <a:pt x="63" y="1"/>
                  </a:cubicBezTo>
                  <a:cubicBezTo>
                    <a:pt x="55" y="3"/>
                    <a:pt x="55" y="6"/>
                    <a:pt x="55" y="8"/>
                  </a:cubicBezTo>
                  <a:cubicBezTo>
                    <a:pt x="55" y="11"/>
                    <a:pt x="47" y="17"/>
                    <a:pt x="42" y="19"/>
                  </a:cubicBezTo>
                  <a:cubicBezTo>
                    <a:pt x="39" y="20"/>
                    <a:pt x="35" y="24"/>
                    <a:pt x="32" y="29"/>
                  </a:cubicBezTo>
                  <a:cubicBezTo>
                    <a:pt x="30" y="32"/>
                    <a:pt x="28" y="34"/>
                    <a:pt x="27" y="35"/>
                  </a:cubicBezTo>
                  <a:cubicBezTo>
                    <a:pt x="26" y="35"/>
                    <a:pt x="25" y="36"/>
                    <a:pt x="24" y="36"/>
                  </a:cubicBezTo>
                  <a:cubicBezTo>
                    <a:pt x="21" y="36"/>
                    <a:pt x="17" y="34"/>
                    <a:pt x="13" y="33"/>
                  </a:cubicBezTo>
                  <a:cubicBezTo>
                    <a:pt x="11" y="33"/>
                    <a:pt x="9" y="32"/>
                    <a:pt x="8" y="32"/>
                  </a:cubicBezTo>
                  <a:cubicBezTo>
                    <a:pt x="7" y="32"/>
                    <a:pt x="4" y="33"/>
                    <a:pt x="1" y="33"/>
                  </a:cubicBezTo>
                  <a:cubicBezTo>
                    <a:pt x="4" y="37"/>
                    <a:pt x="8" y="41"/>
                    <a:pt x="9" y="41"/>
                  </a:cubicBezTo>
                  <a:cubicBezTo>
                    <a:pt x="10" y="41"/>
                    <a:pt x="11" y="43"/>
                    <a:pt x="12" y="47"/>
                  </a:cubicBezTo>
                  <a:cubicBezTo>
                    <a:pt x="13" y="51"/>
                    <a:pt x="14" y="57"/>
                    <a:pt x="17" y="58"/>
                  </a:cubicBezTo>
                  <a:cubicBezTo>
                    <a:pt x="17" y="58"/>
                    <a:pt x="32" y="65"/>
                    <a:pt x="32" y="69"/>
                  </a:cubicBezTo>
                  <a:cubicBezTo>
                    <a:pt x="32" y="70"/>
                    <a:pt x="33" y="71"/>
                    <a:pt x="34" y="73"/>
                  </a:cubicBezTo>
                  <a:cubicBezTo>
                    <a:pt x="36" y="75"/>
                    <a:pt x="38" y="77"/>
                    <a:pt x="38" y="80"/>
                  </a:cubicBezTo>
                  <a:cubicBezTo>
                    <a:pt x="38" y="84"/>
                    <a:pt x="43" y="89"/>
                    <a:pt x="47" y="89"/>
                  </a:cubicBezTo>
                  <a:cubicBezTo>
                    <a:pt x="47" y="89"/>
                    <a:pt x="47" y="89"/>
                    <a:pt x="47" y="89"/>
                  </a:cubicBezTo>
                  <a:cubicBezTo>
                    <a:pt x="48" y="89"/>
                    <a:pt x="48" y="89"/>
                    <a:pt x="48" y="8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399" name="Freeform 7"/>
            <p:cNvSpPr>
              <a:spLocks noEditPoints="1"/>
            </p:cNvSpPr>
            <p:nvPr/>
          </p:nvSpPr>
          <p:spPr>
            <a:xfrm>
              <a:off x="5262564" y="4257675"/>
              <a:ext cx="220663" cy="236538"/>
            </a:xfrm>
            <a:custGeom>
              <a:gdLst>
                <a:gd name="T0" fmla="*/ 15 w 130"/>
                <a:gd name="T1" fmla="*/ 140 h 140"/>
                <a:gd name="T2" fmla="*/ 8 w 130"/>
                <a:gd name="T3" fmla="*/ 139 h 140"/>
                <a:gd name="T4" fmla="*/ 8 w 130"/>
                <a:gd name="T5" fmla="*/ 133 h 140"/>
                <a:gd name="T6" fmla="*/ 11 w 130"/>
                <a:gd name="T7" fmla="*/ 129 h 140"/>
                <a:gd name="T8" fmla="*/ 6 w 130"/>
                <a:gd name="T9" fmla="*/ 113 h 140"/>
                <a:gd name="T10" fmla="*/ 0 w 130"/>
                <a:gd name="T11" fmla="*/ 109 h 140"/>
                <a:gd name="T12" fmla="*/ 6 w 130"/>
                <a:gd name="T13" fmla="*/ 63 h 140"/>
                <a:gd name="T14" fmla="*/ 14 w 130"/>
                <a:gd name="T15" fmla="*/ 10 h 140"/>
                <a:gd name="T16" fmla="*/ 28 w 130"/>
                <a:gd name="T17" fmla="*/ 8 h 140"/>
                <a:gd name="T18" fmla="*/ 43 w 130"/>
                <a:gd name="T19" fmla="*/ 3 h 140"/>
                <a:gd name="T20" fmla="*/ 48 w 130"/>
                <a:gd name="T21" fmla="*/ 6 h 140"/>
                <a:gd name="T22" fmla="*/ 52 w 130"/>
                <a:gd name="T23" fmla="*/ 9 h 140"/>
                <a:gd name="T24" fmla="*/ 71 w 130"/>
                <a:gd name="T25" fmla="*/ 1 h 140"/>
                <a:gd name="T26" fmla="*/ 73 w 130"/>
                <a:gd name="T27" fmla="*/ 1 h 140"/>
                <a:gd name="T28" fmla="*/ 84 w 130"/>
                <a:gd name="T29" fmla="*/ 15 h 140"/>
                <a:gd name="T30" fmla="*/ 104 w 130"/>
                <a:gd name="T31" fmla="*/ 37 h 140"/>
                <a:gd name="T32" fmla="*/ 110 w 130"/>
                <a:gd name="T33" fmla="*/ 48 h 140"/>
                <a:gd name="T34" fmla="*/ 119 w 130"/>
                <a:gd name="T35" fmla="*/ 57 h 140"/>
                <a:gd name="T36" fmla="*/ 120 w 130"/>
                <a:gd name="T37" fmla="*/ 57 h 140"/>
                <a:gd name="T38" fmla="*/ 130 w 130"/>
                <a:gd name="T39" fmla="*/ 64 h 140"/>
                <a:gd name="T40" fmla="*/ 130 w 130"/>
                <a:gd name="T41" fmla="*/ 64 h 140"/>
                <a:gd name="T42" fmla="*/ 121 w 130"/>
                <a:gd name="T43" fmla="*/ 73 h 140"/>
                <a:gd name="T44" fmla="*/ 104 w 130"/>
                <a:gd name="T45" fmla="*/ 85 h 140"/>
                <a:gd name="T46" fmla="*/ 86 w 130"/>
                <a:gd name="T47" fmla="*/ 104 h 140"/>
                <a:gd name="T48" fmla="*/ 81 w 130"/>
                <a:gd name="T49" fmla="*/ 115 h 140"/>
                <a:gd name="T50" fmla="*/ 51 w 130"/>
                <a:gd name="T51" fmla="*/ 117 h 140"/>
                <a:gd name="T52" fmla="*/ 45 w 130"/>
                <a:gd name="T53" fmla="*/ 114 h 140"/>
                <a:gd name="T54" fmla="*/ 30 w 130"/>
                <a:gd name="T55" fmla="*/ 134 h 140"/>
                <a:gd name="T56" fmla="*/ 21 w 130"/>
                <a:gd name="T57" fmla="*/ 140 h 140"/>
                <a:gd name="T58" fmla="*/ 7 w 130"/>
                <a:gd name="T59" fmla="*/ 113 h 140"/>
                <a:gd name="T60" fmla="*/ 12 w 130"/>
                <a:gd name="T61" fmla="*/ 129 h 140"/>
                <a:gd name="T62" fmla="*/ 9 w 130"/>
                <a:gd name="T63" fmla="*/ 133 h 140"/>
                <a:gd name="T64" fmla="*/ 9 w 130"/>
                <a:gd name="T65" fmla="*/ 138 h 140"/>
                <a:gd name="T66" fmla="*/ 16 w 130"/>
                <a:gd name="T67" fmla="*/ 139 h 140"/>
                <a:gd name="T68" fmla="*/ 25 w 130"/>
                <a:gd name="T69" fmla="*/ 138 h 140"/>
                <a:gd name="T70" fmla="*/ 39 w 130"/>
                <a:gd name="T71" fmla="*/ 123 h 140"/>
                <a:gd name="T72" fmla="*/ 49 w 130"/>
                <a:gd name="T73" fmla="*/ 115 h 140"/>
                <a:gd name="T74" fmla="*/ 66 w 130"/>
                <a:gd name="T75" fmla="*/ 120 h 140"/>
                <a:gd name="T76" fmla="*/ 80 w 130"/>
                <a:gd name="T77" fmla="*/ 110 h 140"/>
                <a:gd name="T78" fmla="*/ 98 w 130"/>
                <a:gd name="T79" fmla="*/ 95 h 140"/>
                <a:gd name="T80" fmla="*/ 115 w 130"/>
                <a:gd name="T81" fmla="*/ 76 h 140"/>
                <a:gd name="T82" fmla="*/ 124 w 130"/>
                <a:gd name="T83" fmla="*/ 71 h 140"/>
                <a:gd name="T84" fmla="*/ 119 w 130"/>
                <a:gd name="T85" fmla="*/ 58 h 140"/>
                <a:gd name="T86" fmla="*/ 112 w 130"/>
                <a:gd name="T87" fmla="*/ 55 h 140"/>
                <a:gd name="T88" fmla="*/ 106 w 130"/>
                <a:gd name="T89" fmla="*/ 41 h 140"/>
                <a:gd name="T90" fmla="*/ 89 w 130"/>
                <a:gd name="T91" fmla="*/ 27 h 140"/>
                <a:gd name="T92" fmla="*/ 81 w 130"/>
                <a:gd name="T93" fmla="*/ 10 h 140"/>
                <a:gd name="T94" fmla="*/ 71 w 130"/>
                <a:gd name="T95" fmla="*/ 2 h 140"/>
                <a:gd name="T96" fmla="*/ 53 w 130"/>
                <a:gd name="T97" fmla="*/ 9 h 140"/>
                <a:gd name="T98" fmla="*/ 47 w 130"/>
                <a:gd name="T99" fmla="*/ 7 h 140"/>
                <a:gd name="T100" fmla="*/ 43 w 130"/>
                <a:gd name="T101" fmla="*/ 4 h 140"/>
                <a:gd name="T102" fmla="*/ 29 w 130"/>
                <a:gd name="T103" fmla="*/ 9 h 140"/>
                <a:gd name="T104" fmla="*/ 15 w 130"/>
                <a:gd name="T105" fmla="*/ 60 h 140"/>
                <a:gd name="T106" fmla="*/ 1 w 130"/>
                <a:gd name="T107" fmla="*/ 65 h 1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40">
                  <a:moveTo>
                    <a:pt x="21" y="140"/>
                  </a:moveTo>
                  <a:cubicBezTo>
                    <a:pt x="19" y="140"/>
                    <a:pt x="17" y="140"/>
                    <a:pt x="15" y="140"/>
                  </a:cubicBezTo>
                  <a:cubicBezTo>
                    <a:pt x="14" y="140"/>
                    <a:pt x="12" y="140"/>
                    <a:pt x="11" y="140"/>
                  </a:cubicBezTo>
                  <a:cubicBezTo>
                    <a:pt x="10" y="140"/>
                    <a:pt x="9" y="139"/>
                    <a:pt x="8" y="139"/>
                  </a:cubicBezTo>
                  <a:cubicBezTo>
                    <a:pt x="8" y="138"/>
                    <a:pt x="8" y="136"/>
                    <a:pt x="8" y="134"/>
                  </a:cubicBezTo>
                  <a:cubicBezTo>
                    <a:pt x="8" y="133"/>
                    <a:pt x="8" y="133"/>
                    <a:pt x="8" y="133"/>
                  </a:cubicBezTo>
                  <a:cubicBezTo>
                    <a:pt x="8" y="131"/>
                    <a:pt x="9" y="131"/>
                    <a:pt x="10" y="130"/>
                  </a:cubicBezTo>
                  <a:cubicBezTo>
                    <a:pt x="10" y="130"/>
                    <a:pt x="11" y="130"/>
                    <a:pt x="11" y="129"/>
                  </a:cubicBezTo>
                  <a:cubicBezTo>
                    <a:pt x="12" y="127"/>
                    <a:pt x="8" y="117"/>
                    <a:pt x="7" y="113"/>
                  </a:cubicBezTo>
                  <a:cubicBezTo>
                    <a:pt x="6" y="113"/>
                    <a:pt x="6" y="113"/>
                    <a:pt x="6" y="113"/>
                  </a:cubicBezTo>
                  <a:cubicBezTo>
                    <a:pt x="6" y="112"/>
                    <a:pt x="5" y="110"/>
                    <a:pt x="0" y="109"/>
                  </a:cubicBezTo>
                  <a:cubicBezTo>
                    <a:pt x="0" y="109"/>
                    <a:pt x="0" y="109"/>
                    <a:pt x="0" y="109"/>
                  </a:cubicBezTo>
                  <a:cubicBezTo>
                    <a:pt x="0" y="65"/>
                    <a:pt x="0" y="65"/>
                    <a:pt x="0" y="65"/>
                  </a:cubicBezTo>
                  <a:cubicBezTo>
                    <a:pt x="0" y="63"/>
                    <a:pt x="3" y="63"/>
                    <a:pt x="6" y="63"/>
                  </a:cubicBezTo>
                  <a:cubicBezTo>
                    <a:pt x="10" y="63"/>
                    <a:pt x="14" y="63"/>
                    <a:pt x="14" y="60"/>
                  </a:cubicBezTo>
                  <a:cubicBezTo>
                    <a:pt x="14" y="10"/>
                    <a:pt x="14" y="10"/>
                    <a:pt x="14" y="10"/>
                  </a:cubicBezTo>
                  <a:cubicBezTo>
                    <a:pt x="15" y="9"/>
                    <a:pt x="15" y="9"/>
                    <a:pt x="15" y="9"/>
                  </a:cubicBezTo>
                  <a:cubicBezTo>
                    <a:pt x="15" y="9"/>
                    <a:pt x="25" y="9"/>
                    <a:pt x="28" y="8"/>
                  </a:cubicBezTo>
                  <a:cubicBezTo>
                    <a:pt x="29" y="8"/>
                    <a:pt x="31" y="7"/>
                    <a:pt x="32" y="6"/>
                  </a:cubicBezTo>
                  <a:cubicBezTo>
                    <a:pt x="36" y="5"/>
                    <a:pt x="41" y="3"/>
                    <a:pt x="43" y="3"/>
                  </a:cubicBezTo>
                  <a:cubicBezTo>
                    <a:pt x="44" y="3"/>
                    <a:pt x="45" y="3"/>
                    <a:pt x="45" y="3"/>
                  </a:cubicBezTo>
                  <a:cubicBezTo>
                    <a:pt x="46" y="4"/>
                    <a:pt x="47" y="5"/>
                    <a:pt x="48" y="6"/>
                  </a:cubicBezTo>
                  <a:cubicBezTo>
                    <a:pt x="49" y="7"/>
                    <a:pt x="51" y="9"/>
                    <a:pt x="52" y="9"/>
                  </a:cubicBezTo>
                  <a:cubicBezTo>
                    <a:pt x="52" y="9"/>
                    <a:pt x="52" y="9"/>
                    <a:pt x="52" y="9"/>
                  </a:cubicBezTo>
                  <a:cubicBezTo>
                    <a:pt x="53" y="8"/>
                    <a:pt x="58" y="2"/>
                    <a:pt x="63" y="2"/>
                  </a:cubicBezTo>
                  <a:cubicBezTo>
                    <a:pt x="65" y="2"/>
                    <a:pt x="68" y="1"/>
                    <a:pt x="71" y="1"/>
                  </a:cubicBezTo>
                  <a:cubicBezTo>
                    <a:pt x="73" y="0"/>
                    <a:pt x="73" y="0"/>
                    <a:pt x="73" y="0"/>
                  </a:cubicBezTo>
                  <a:cubicBezTo>
                    <a:pt x="73" y="1"/>
                    <a:pt x="73" y="1"/>
                    <a:pt x="73" y="1"/>
                  </a:cubicBezTo>
                  <a:cubicBezTo>
                    <a:pt x="75" y="4"/>
                    <a:pt x="80" y="9"/>
                    <a:pt x="81" y="9"/>
                  </a:cubicBezTo>
                  <a:cubicBezTo>
                    <a:pt x="82" y="9"/>
                    <a:pt x="83" y="11"/>
                    <a:pt x="84" y="15"/>
                  </a:cubicBezTo>
                  <a:cubicBezTo>
                    <a:pt x="85" y="19"/>
                    <a:pt x="86" y="25"/>
                    <a:pt x="89" y="26"/>
                  </a:cubicBezTo>
                  <a:cubicBezTo>
                    <a:pt x="89" y="26"/>
                    <a:pt x="104" y="33"/>
                    <a:pt x="104" y="37"/>
                  </a:cubicBezTo>
                  <a:cubicBezTo>
                    <a:pt x="104" y="38"/>
                    <a:pt x="105" y="39"/>
                    <a:pt x="106" y="41"/>
                  </a:cubicBezTo>
                  <a:cubicBezTo>
                    <a:pt x="108" y="43"/>
                    <a:pt x="110" y="45"/>
                    <a:pt x="110" y="48"/>
                  </a:cubicBezTo>
                  <a:cubicBezTo>
                    <a:pt x="110" y="50"/>
                    <a:pt x="111" y="52"/>
                    <a:pt x="113" y="54"/>
                  </a:cubicBezTo>
                  <a:cubicBezTo>
                    <a:pt x="115" y="56"/>
                    <a:pt x="117" y="57"/>
                    <a:pt x="119" y="57"/>
                  </a:cubicBezTo>
                  <a:cubicBezTo>
                    <a:pt x="119" y="57"/>
                    <a:pt x="119" y="57"/>
                    <a:pt x="119" y="57"/>
                  </a:cubicBezTo>
                  <a:cubicBezTo>
                    <a:pt x="120" y="57"/>
                    <a:pt x="120" y="57"/>
                    <a:pt x="120" y="57"/>
                  </a:cubicBezTo>
                  <a:cubicBezTo>
                    <a:pt x="127" y="57"/>
                    <a:pt x="130" y="59"/>
                    <a:pt x="130" y="64"/>
                  </a:cubicBezTo>
                  <a:cubicBezTo>
                    <a:pt x="130" y="64"/>
                    <a:pt x="130" y="64"/>
                    <a:pt x="130" y="64"/>
                  </a:cubicBezTo>
                  <a:cubicBezTo>
                    <a:pt x="130" y="64"/>
                    <a:pt x="130" y="64"/>
                    <a:pt x="130" y="64"/>
                  </a:cubicBezTo>
                  <a:cubicBezTo>
                    <a:pt x="130" y="64"/>
                    <a:pt x="130" y="64"/>
                    <a:pt x="130" y="64"/>
                  </a:cubicBezTo>
                  <a:cubicBezTo>
                    <a:pt x="129" y="67"/>
                    <a:pt x="126" y="70"/>
                    <a:pt x="125" y="71"/>
                  </a:cubicBezTo>
                  <a:cubicBezTo>
                    <a:pt x="124" y="73"/>
                    <a:pt x="122" y="73"/>
                    <a:pt x="121" y="73"/>
                  </a:cubicBezTo>
                  <a:cubicBezTo>
                    <a:pt x="119" y="74"/>
                    <a:pt x="117" y="74"/>
                    <a:pt x="116" y="76"/>
                  </a:cubicBezTo>
                  <a:cubicBezTo>
                    <a:pt x="115" y="81"/>
                    <a:pt x="108" y="85"/>
                    <a:pt x="104" y="85"/>
                  </a:cubicBezTo>
                  <a:cubicBezTo>
                    <a:pt x="101" y="85"/>
                    <a:pt x="99" y="91"/>
                    <a:pt x="99" y="95"/>
                  </a:cubicBezTo>
                  <a:cubicBezTo>
                    <a:pt x="99" y="99"/>
                    <a:pt x="91" y="104"/>
                    <a:pt x="86" y="104"/>
                  </a:cubicBezTo>
                  <a:cubicBezTo>
                    <a:pt x="82" y="104"/>
                    <a:pt x="82" y="106"/>
                    <a:pt x="81" y="110"/>
                  </a:cubicBezTo>
                  <a:cubicBezTo>
                    <a:pt x="81" y="111"/>
                    <a:pt x="81" y="113"/>
                    <a:pt x="81" y="115"/>
                  </a:cubicBezTo>
                  <a:cubicBezTo>
                    <a:pt x="79" y="121"/>
                    <a:pt x="75" y="121"/>
                    <a:pt x="66" y="121"/>
                  </a:cubicBezTo>
                  <a:cubicBezTo>
                    <a:pt x="58" y="121"/>
                    <a:pt x="56" y="121"/>
                    <a:pt x="51" y="117"/>
                  </a:cubicBezTo>
                  <a:cubicBezTo>
                    <a:pt x="49" y="116"/>
                    <a:pt x="49" y="116"/>
                    <a:pt x="49" y="116"/>
                  </a:cubicBezTo>
                  <a:cubicBezTo>
                    <a:pt x="47" y="115"/>
                    <a:pt x="46" y="114"/>
                    <a:pt x="45" y="114"/>
                  </a:cubicBezTo>
                  <a:cubicBezTo>
                    <a:pt x="41" y="114"/>
                    <a:pt x="40" y="122"/>
                    <a:pt x="40" y="123"/>
                  </a:cubicBezTo>
                  <a:cubicBezTo>
                    <a:pt x="39" y="126"/>
                    <a:pt x="35" y="131"/>
                    <a:pt x="30" y="134"/>
                  </a:cubicBezTo>
                  <a:cubicBezTo>
                    <a:pt x="29" y="136"/>
                    <a:pt x="27" y="137"/>
                    <a:pt x="26" y="138"/>
                  </a:cubicBezTo>
                  <a:cubicBezTo>
                    <a:pt x="25" y="140"/>
                    <a:pt x="23" y="140"/>
                    <a:pt x="21" y="140"/>
                  </a:cubicBezTo>
                  <a:close/>
                  <a:moveTo>
                    <a:pt x="1" y="108"/>
                  </a:moveTo>
                  <a:cubicBezTo>
                    <a:pt x="4" y="109"/>
                    <a:pt x="7" y="111"/>
                    <a:pt x="7" y="113"/>
                  </a:cubicBezTo>
                  <a:cubicBezTo>
                    <a:pt x="8" y="113"/>
                    <a:pt x="8" y="113"/>
                    <a:pt x="8" y="113"/>
                  </a:cubicBezTo>
                  <a:cubicBezTo>
                    <a:pt x="10" y="120"/>
                    <a:pt x="13" y="127"/>
                    <a:pt x="12" y="129"/>
                  </a:cubicBezTo>
                  <a:cubicBezTo>
                    <a:pt x="12" y="131"/>
                    <a:pt x="11" y="131"/>
                    <a:pt x="10" y="131"/>
                  </a:cubicBezTo>
                  <a:cubicBezTo>
                    <a:pt x="9" y="132"/>
                    <a:pt x="9" y="132"/>
                    <a:pt x="9" y="133"/>
                  </a:cubicBezTo>
                  <a:cubicBezTo>
                    <a:pt x="9" y="134"/>
                    <a:pt x="9" y="134"/>
                    <a:pt x="9" y="134"/>
                  </a:cubicBezTo>
                  <a:cubicBezTo>
                    <a:pt x="9" y="136"/>
                    <a:pt x="9" y="137"/>
                    <a:pt x="9" y="138"/>
                  </a:cubicBezTo>
                  <a:cubicBezTo>
                    <a:pt x="10" y="138"/>
                    <a:pt x="10" y="139"/>
                    <a:pt x="11" y="139"/>
                  </a:cubicBezTo>
                  <a:cubicBezTo>
                    <a:pt x="12" y="139"/>
                    <a:pt x="14" y="139"/>
                    <a:pt x="16" y="139"/>
                  </a:cubicBezTo>
                  <a:cubicBezTo>
                    <a:pt x="17" y="139"/>
                    <a:pt x="19" y="139"/>
                    <a:pt x="21" y="139"/>
                  </a:cubicBezTo>
                  <a:cubicBezTo>
                    <a:pt x="23" y="139"/>
                    <a:pt x="25" y="139"/>
                    <a:pt x="25" y="138"/>
                  </a:cubicBezTo>
                  <a:cubicBezTo>
                    <a:pt x="26" y="137"/>
                    <a:pt x="28" y="135"/>
                    <a:pt x="30" y="134"/>
                  </a:cubicBezTo>
                  <a:cubicBezTo>
                    <a:pt x="33" y="130"/>
                    <a:pt x="38" y="126"/>
                    <a:pt x="39" y="123"/>
                  </a:cubicBezTo>
                  <a:cubicBezTo>
                    <a:pt x="39" y="118"/>
                    <a:pt x="41" y="113"/>
                    <a:pt x="45" y="113"/>
                  </a:cubicBezTo>
                  <a:cubicBezTo>
                    <a:pt x="46" y="113"/>
                    <a:pt x="48" y="114"/>
                    <a:pt x="49" y="115"/>
                  </a:cubicBezTo>
                  <a:cubicBezTo>
                    <a:pt x="51" y="116"/>
                    <a:pt x="51" y="116"/>
                    <a:pt x="51" y="116"/>
                  </a:cubicBezTo>
                  <a:cubicBezTo>
                    <a:pt x="57" y="120"/>
                    <a:pt x="58" y="120"/>
                    <a:pt x="66" y="120"/>
                  </a:cubicBezTo>
                  <a:cubicBezTo>
                    <a:pt x="76" y="120"/>
                    <a:pt x="78" y="120"/>
                    <a:pt x="80" y="114"/>
                  </a:cubicBezTo>
                  <a:cubicBezTo>
                    <a:pt x="80" y="113"/>
                    <a:pt x="80" y="111"/>
                    <a:pt x="80" y="110"/>
                  </a:cubicBezTo>
                  <a:cubicBezTo>
                    <a:pt x="81" y="106"/>
                    <a:pt x="81" y="103"/>
                    <a:pt x="86" y="103"/>
                  </a:cubicBezTo>
                  <a:cubicBezTo>
                    <a:pt x="91" y="103"/>
                    <a:pt x="98" y="98"/>
                    <a:pt x="98" y="95"/>
                  </a:cubicBezTo>
                  <a:cubicBezTo>
                    <a:pt x="98" y="91"/>
                    <a:pt x="100" y="84"/>
                    <a:pt x="104" y="84"/>
                  </a:cubicBezTo>
                  <a:cubicBezTo>
                    <a:pt x="107" y="84"/>
                    <a:pt x="114" y="80"/>
                    <a:pt x="115" y="76"/>
                  </a:cubicBezTo>
                  <a:cubicBezTo>
                    <a:pt x="116" y="73"/>
                    <a:pt x="118" y="73"/>
                    <a:pt x="121" y="72"/>
                  </a:cubicBezTo>
                  <a:cubicBezTo>
                    <a:pt x="122" y="72"/>
                    <a:pt x="124" y="72"/>
                    <a:pt x="124" y="71"/>
                  </a:cubicBezTo>
                  <a:cubicBezTo>
                    <a:pt x="125" y="69"/>
                    <a:pt x="128" y="66"/>
                    <a:pt x="129" y="64"/>
                  </a:cubicBezTo>
                  <a:cubicBezTo>
                    <a:pt x="129" y="61"/>
                    <a:pt x="128" y="58"/>
                    <a:pt x="119" y="58"/>
                  </a:cubicBezTo>
                  <a:cubicBezTo>
                    <a:pt x="119" y="58"/>
                    <a:pt x="119" y="58"/>
                    <a:pt x="119" y="58"/>
                  </a:cubicBezTo>
                  <a:cubicBezTo>
                    <a:pt x="117" y="58"/>
                    <a:pt x="114" y="57"/>
                    <a:pt x="112" y="55"/>
                  </a:cubicBezTo>
                  <a:cubicBezTo>
                    <a:pt x="110" y="52"/>
                    <a:pt x="109" y="50"/>
                    <a:pt x="109" y="48"/>
                  </a:cubicBezTo>
                  <a:cubicBezTo>
                    <a:pt x="109" y="45"/>
                    <a:pt x="107" y="43"/>
                    <a:pt x="106" y="41"/>
                  </a:cubicBezTo>
                  <a:cubicBezTo>
                    <a:pt x="104" y="40"/>
                    <a:pt x="103" y="38"/>
                    <a:pt x="103" y="37"/>
                  </a:cubicBezTo>
                  <a:cubicBezTo>
                    <a:pt x="103" y="34"/>
                    <a:pt x="95" y="30"/>
                    <a:pt x="89" y="27"/>
                  </a:cubicBezTo>
                  <a:cubicBezTo>
                    <a:pt x="85" y="26"/>
                    <a:pt x="84" y="20"/>
                    <a:pt x="83" y="15"/>
                  </a:cubicBezTo>
                  <a:cubicBezTo>
                    <a:pt x="82" y="13"/>
                    <a:pt x="81" y="10"/>
                    <a:pt x="81" y="10"/>
                  </a:cubicBezTo>
                  <a:cubicBezTo>
                    <a:pt x="79" y="10"/>
                    <a:pt x="75" y="5"/>
                    <a:pt x="72" y="1"/>
                  </a:cubicBezTo>
                  <a:cubicBezTo>
                    <a:pt x="71" y="2"/>
                    <a:pt x="71" y="2"/>
                    <a:pt x="71" y="2"/>
                  </a:cubicBezTo>
                  <a:cubicBezTo>
                    <a:pt x="68" y="2"/>
                    <a:pt x="65" y="3"/>
                    <a:pt x="63" y="3"/>
                  </a:cubicBezTo>
                  <a:cubicBezTo>
                    <a:pt x="58" y="3"/>
                    <a:pt x="53" y="9"/>
                    <a:pt x="53" y="9"/>
                  </a:cubicBezTo>
                  <a:cubicBezTo>
                    <a:pt x="52" y="10"/>
                    <a:pt x="52" y="10"/>
                    <a:pt x="52" y="10"/>
                  </a:cubicBezTo>
                  <a:cubicBezTo>
                    <a:pt x="50" y="10"/>
                    <a:pt x="49" y="8"/>
                    <a:pt x="47" y="7"/>
                  </a:cubicBezTo>
                  <a:cubicBezTo>
                    <a:pt x="46" y="6"/>
                    <a:pt x="45" y="5"/>
                    <a:pt x="44" y="4"/>
                  </a:cubicBezTo>
                  <a:cubicBezTo>
                    <a:pt x="44" y="4"/>
                    <a:pt x="44" y="4"/>
                    <a:pt x="43" y="4"/>
                  </a:cubicBezTo>
                  <a:cubicBezTo>
                    <a:pt x="41" y="4"/>
                    <a:pt x="36" y="6"/>
                    <a:pt x="33" y="7"/>
                  </a:cubicBezTo>
                  <a:cubicBezTo>
                    <a:pt x="31" y="8"/>
                    <a:pt x="29" y="9"/>
                    <a:pt x="29" y="9"/>
                  </a:cubicBezTo>
                  <a:cubicBezTo>
                    <a:pt x="26" y="10"/>
                    <a:pt x="17" y="10"/>
                    <a:pt x="15" y="10"/>
                  </a:cubicBezTo>
                  <a:cubicBezTo>
                    <a:pt x="15" y="60"/>
                    <a:pt x="15" y="60"/>
                    <a:pt x="15" y="60"/>
                  </a:cubicBezTo>
                  <a:cubicBezTo>
                    <a:pt x="15" y="63"/>
                    <a:pt x="10" y="64"/>
                    <a:pt x="6" y="64"/>
                  </a:cubicBezTo>
                  <a:cubicBezTo>
                    <a:pt x="3" y="64"/>
                    <a:pt x="1" y="64"/>
                    <a:pt x="1" y="65"/>
                  </a:cubicBezTo>
                  <a:lnTo>
                    <a:pt x="1" y="10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400" name="Freeform 8"/>
            <p:cNvSpPr>
              <a:spLocks noEditPoints="1"/>
            </p:cNvSpPr>
            <p:nvPr/>
          </p:nvSpPr>
          <p:spPr>
            <a:xfrm>
              <a:off x="5519739" y="4464050"/>
              <a:ext cx="36513" cy="42863"/>
            </a:xfrm>
            <a:custGeom>
              <a:gdLst>
                <a:gd name="T0" fmla="*/ 12 w 21"/>
                <a:gd name="T1" fmla="*/ 25 h 25"/>
                <a:gd name="T2" fmla="*/ 10 w 21"/>
                <a:gd name="T3" fmla="*/ 25 h 25"/>
                <a:gd name="T4" fmla="*/ 0 w 21"/>
                <a:gd name="T5" fmla="*/ 11 h 25"/>
                <a:gd name="T6" fmla="*/ 11 w 21"/>
                <a:gd name="T7" fmla="*/ 0 h 25"/>
                <a:gd name="T8" fmla="*/ 18 w 21"/>
                <a:gd name="T9" fmla="*/ 3 h 25"/>
                <a:gd name="T10" fmla="*/ 20 w 21"/>
                <a:gd name="T11" fmla="*/ 4 h 25"/>
                <a:gd name="T12" fmla="*/ 20 w 21"/>
                <a:gd name="T13" fmla="*/ 4 h 25"/>
                <a:gd name="T14" fmla="*/ 21 w 21"/>
                <a:gd name="T15" fmla="*/ 17 h 25"/>
                <a:gd name="T16" fmla="*/ 21 w 21"/>
                <a:gd name="T17" fmla="*/ 17 h 25"/>
                <a:gd name="T18" fmla="*/ 21 w 21"/>
                <a:gd name="T19" fmla="*/ 17 h 25"/>
                <a:gd name="T20" fmla="*/ 18 w 21"/>
                <a:gd name="T21" fmla="*/ 21 h 25"/>
                <a:gd name="T22" fmla="*/ 12 w 21"/>
                <a:gd name="T23" fmla="*/ 25 h 25"/>
                <a:gd name="T24" fmla="*/ 11 w 21"/>
                <a:gd name="T25" fmla="*/ 1 h 25"/>
                <a:gd name="T26" fmla="*/ 1 w 21"/>
                <a:gd name="T27" fmla="*/ 11 h 25"/>
                <a:gd name="T28" fmla="*/ 10 w 21"/>
                <a:gd name="T29" fmla="*/ 24 h 25"/>
                <a:gd name="T30" fmla="*/ 12 w 21"/>
                <a:gd name="T31" fmla="*/ 24 h 25"/>
                <a:gd name="T32" fmla="*/ 17 w 21"/>
                <a:gd name="T33" fmla="*/ 21 h 25"/>
                <a:gd name="T34" fmla="*/ 20 w 21"/>
                <a:gd name="T35" fmla="*/ 17 h 25"/>
                <a:gd name="T36" fmla="*/ 19 w 21"/>
                <a:gd name="T37" fmla="*/ 5 h 25"/>
                <a:gd name="T38" fmla="*/ 18 w 21"/>
                <a:gd name="T39" fmla="*/ 4 h 25"/>
                <a:gd name="T40" fmla="*/ 11 w 21"/>
                <a:gd name="T41" fmla="*/ 1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5">
                  <a:moveTo>
                    <a:pt x="12" y="25"/>
                  </a:moveTo>
                  <a:cubicBezTo>
                    <a:pt x="11" y="25"/>
                    <a:pt x="11" y="25"/>
                    <a:pt x="10" y="25"/>
                  </a:cubicBezTo>
                  <a:cubicBezTo>
                    <a:pt x="5" y="24"/>
                    <a:pt x="0" y="12"/>
                    <a:pt x="0" y="11"/>
                  </a:cubicBezTo>
                  <a:cubicBezTo>
                    <a:pt x="0" y="9"/>
                    <a:pt x="7" y="0"/>
                    <a:pt x="11" y="0"/>
                  </a:cubicBezTo>
                  <a:cubicBezTo>
                    <a:pt x="13" y="0"/>
                    <a:pt x="16" y="2"/>
                    <a:pt x="18" y="3"/>
                  </a:cubicBezTo>
                  <a:cubicBezTo>
                    <a:pt x="20" y="4"/>
                    <a:pt x="20" y="4"/>
                    <a:pt x="20" y="4"/>
                  </a:cubicBezTo>
                  <a:cubicBezTo>
                    <a:pt x="20" y="4"/>
                    <a:pt x="20" y="4"/>
                    <a:pt x="20" y="4"/>
                  </a:cubicBezTo>
                  <a:cubicBezTo>
                    <a:pt x="20" y="8"/>
                    <a:pt x="21" y="15"/>
                    <a:pt x="21" y="17"/>
                  </a:cubicBezTo>
                  <a:cubicBezTo>
                    <a:pt x="21" y="17"/>
                    <a:pt x="21" y="17"/>
                    <a:pt x="21" y="17"/>
                  </a:cubicBezTo>
                  <a:cubicBezTo>
                    <a:pt x="21" y="17"/>
                    <a:pt x="21" y="17"/>
                    <a:pt x="21" y="17"/>
                  </a:cubicBezTo>
                  <a:cubicBezTo>
                    <a:pt x="19" y="18"/>
                    <a:pt x="19" y="20"/>
                    <a:pt x="18" y="21"/>
                  </a:cubicBezTo>
                  <a:cubicBezTo>
                    <a:pt x="18" y="24"/>
                    <a:pt x="15" y="25"/>
                    <a:pt x="12" y="25"/>
                  </a:cubicBezTo>
                  <a:close/>
                  <a:moveTo>
                    <a:pt x="11" y="1"/>
                  </a:moveTo>
                  <a:cubicBezTo>
                    <a:pt x="7" y="1"/>
                    <a:pt x="1" y="9"/>
                    <a:pt x="1" y="11"/>
                  </a:cubicBezTo>
                  <a:cubicBezTo>
                    <a:pt x="1" y="12"/>
                    <a:pt x="6" y="23"/>
                    <a:pt x="10" y="24"/>
                  </a:cubicBezTo>
                  <a:cubicBezTo>
                    <a:pt x="11" y="24"/>
                    <a:pt x="11" y="24"/>
                    <a:pt x="12" y="24"/>
                  </a:cubicBezTo>
                  <a:cubicBezTo>
                    <a:pt x="16" y="24"/>
                    <a:pt x="17" y="23"/>
                    <a:pt x="17" y="21"/>
                  </a:cubicBezTo>
                  <a:cubicBezTo>
                    <a:pt x="18" y="19"/>
                    <a:pt x="18" y="18"/>
                    <a:pt x="20" y="17"/>
                  </a:cubicBezTo>
                  <a:cubicBezTo>
                    <a:pt x="20" y="14"/>
                    <a:pt x="19" y="8"/>
                    <a:pt x="19" y="5"/>
                  </a:cubicBezTo>
                  <a:cubicBezTo>
                    <a:pt x="18" y="4"/>
                    <a:pt x="18" y="4"/>
                    <a:pt x="18" y="4"/>
                  </a:cubicBezTo>
                  <a:cubicBezTo>
                    <a:pt x="15" y="2"/>
                    <a:pt x="13" y="1"/>
                    <a:pt x="1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401" name="Freeform 9"/>
            <p:cNvSpPr>
              <a:spLocks noEditPoints="1"/>
            </p:cNvSpPr>
            <p:nvPr/>
          </p:nvSpPr>
          <p:spPr>
            <a:xfrm>
              <a:off x="5432426" y="4537075"/>
              <a:ext cx="55563" cy="58738"/>
            </a:xfrm>
            <a:custGeom>
              <a:gdLst>
                <a:gd name="T0" fmla="*/ 15 w 33"/>
                <a:gd name="T1" fmla="*/ 34 h 34"/>
                <a:gd name="T2" fmla="*/ 9 w 33"/>
                <a:gd name="T3" fmla="*/ 33 h 34"/>
                <a:gd name="T4" fmla="*/ 0 w 33"/>
                <a:gd name="T5" fmla="*/ 21 h 34"/>
                <a:gd name="T6" fmla="*/ 0 w 33"/>
                <a:gd name="T7" fmla="*/ 21 h 34"/>
                <a:gd name="T8" fmla="*/ 8 w 33"/>
                <a:gd name="T9" fmla="*/ 8 h 34"/>
                <a:gd name="T10" fmla="*/ 21 w 33"/>
                <a:gd name="T11" fmla="*/ 0 h 34"/>
                <a:gd name="T12" fmla="*/ 24 w 33"/>
                <a:gd name="T13" fmla="*/ 2 h 34"/>
                <a:gd name="T14" fmla="*/ 28 w 33"/>
                <a:gd name="T15" fmla="*/ 6 h 34"/>
                <a:gd name="T16" fmla="*/ 33 w 33"/>
                <a:gd name="T17" fmla="*/ 13 h 34"/>
                <a:gd name="T18" fmla="*/ 31 w 33"/>
                <a:gd name="T19" fmla="*/ 19 h 34"/>
                <a:gd name="T20" fmla="*/ 28 w 33"/>
                <a:gd name="T21" fmla="*/ 23 h 34"/>
                <a:gd name="T22" fmla="*/ 27 w 33"/>
                <a:gd name="T23" fmla="*/ 25 h 34"/>
                <a:gd name="T24" fmla="*/ 26 w 33"/>
                <a:gd name="T25" fmla="*/ 25 h 34"/>
                <a:gd name="T26" fmla="*/ 26 w 33"/>
                <a:gd name="T27" fmla="*/ 25 h 34"/>
                <a:gd name="T28" fmla="*/ 24 w 33"/>
                <a:gd name="T29" fmla="*/ 25 h 34"/>
                <a:gd name="T30" fmla="*/ 22 w 33"/>
                <a:gd name="T31" fmla="*/ 25 h 34"/>
                <a:gd name="T32" fmla="*/ 19 w 33"/>
                <a:gd name="T33" fmla="*/ 26 h 34"/>
                <a:gd name="T34" fmla="*/ 15 w 33"/>
                <a:gd name="T35" fmla="*/ 34 h 34"/>
                <a:gd name="T36" fmla="*/ 9 w 33"/>
                <a:gd name="T37" fmla="*/ 32 h 34"/>
                <a:gd name="T38" fmla="*/ 15 w 33"/>
                <a:gd name="T39" fmla="*/ 33 h 34"/>
                <a:gd name="T40" fmla="*/ 18 w 33"/>
                <a:gd name="T41" fmla="*/ 26 h 34"/>
                <a:gd name="T42" fmla="*/ 22 w 33"/>
                <a:gd name="T43" fmla="*/ 24 h 34"/>
                <a:gd name="T44" fmla="*/ 24 w 33"/>
                <a:gd name="T45" fmla="*/ 24 h 34"/>
                <a:gd name="T46" fmla="*/ 26 w 33"/>
                <a:gd name="T47" fmla="*/ 24 h 34"/>
                <a:gd name="T48" fmla="*/ 26 w 33"/>
                <a:gd name="T49" fmla="*/ 24 h 34"/>
                <a:gd name="T50" fmla="*/ 27 w 33"/>
                <a:gd name="T51" fmla="*/ 24 h 34"/>
                <a:gd name="T52" fmla="*/ 27 w 33"/>
                <a:gd name="T53" fmla="*/ 23 h 34"/>
                <a:gd name="T54" fmla="*/ 30 w 33"/>
                <a:gd name="T55" fmla="*/ 18 h 34"/>
                <a:gd name="T56" fmla="*/ 32 w 33"/>
                <a:gd name="T57" fmla="*/ 13 h 34"/>
                <a:gd name="T58" fmla="*/ 28 w 33"/>
                <a:gd name="T59" fmla="*/ 7 h 34"/>
                <a:gd name="T60" fmla="*/ 23 w 33"/>
                <a:gd name="T61" fmla="*/ 2 h 34"/>
                <a:gd name="T62" fmla="*/ 21 w 33"/>
                <a:gd name="T63" fmla="*/ 1 h 34"/>
                <a:gd name="T64" fmla="*/ 9 w 33"/>
                <a:gd name="T65" fmla="*/ 8 h 34"/>
                <a:gd name="T66" fmla="*/ 1 w 33"/>
                <a:gd name="T67" fmla="*/ 21 h 34"/>
                <a:gd name="T68" fmla="*/ 9 w 33"/>
                <a:gd name="T69" fmla="*/ 32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 h="34">
                  <a:moveTo>
                    <a:pt x="15" y="34"/>
                  </a:moveTo>
                  <a:cubicBezTo>
                    <a:pt x="9" y="33"/>
                    <a:pt x="9" y="33"/>
                    <a:pt x="9" y="33"/>
                  </a:cubicBezTo>
                  <a:cubicBezTo>
                    <a:pt x="0" y="21"/>
                    <a:pt x="0" y="21"/>
                    <a:pt x="0" y="21"/>
                  </a:cubicBezTo>
                  <a:cubicBezTo>
                    <a:pt x="0" y="21"/>
                    <a:pt x="0" y="21"/>
                    <a:pt x="0" y="21"/>
                  </a:cubicBezTo>
                  <a:cubicBezTo>
                    <a:pt x="0" y="21"/>
                    <a:pt x="7" y="11"/>
                    <a:pt x="8" y="8"/>
                  </a:cubicBezTo>
                  <a:cubicBezTo>
                    <a:pt x="10" y="5"/>
                    <a:pt x="17" y="0"/>
                    <a:pt x="21" y="0"/>
                  </a:cubicBezTo>
                  <a:cubicBezTo>
                    <a:pt x="23" y="0"/>
                    <a:pt x="24" y="1"/>
                    <a:pt x="24" y="2"/>
                  </a:cubicBezTo>
                  <a:cubicBezTo>
                    <a:pt x="25" y="3"/>
                    <a:pt x="26" y="5"/>
                    <a:pt x="28" y="6"/>
                  </a:cubicBezTo>
                  <a:cubicBezTo>
                    <a:pt x="31" y="9"/>
                    <a:pt x="33" y="11"/>
                    <a:pt x="33" y="13"/>
                  </a:cubicBezTo>
                  <a:cubicBezTo>
                    <a:pt x="33" y="15"/>
                    <a:pt x="32" y="17"/>
                    <a:pt x="31" y="19"/>
                  </a:cubicBezTo>
                  <a:cubicBezTo>
                    <a:pt x="30" y="20"/>
                    <a:pt x="28" y="22"/>
                    <a:pt x="28" y="23"/>
                  </a:cubicBezTo>
                  <a:cubicBezTo>
                    <a:pt x="28" y="24"/>
                    <a:pt x="28" y="25"/>
                    <a:pt x="27" y="25"/>
                  </a:cubicBezTo>
                  <a:cubicBezTo>
                    <a:pt x="26" y="25"/>
                    <a:pt x="26" y="25"/>
                    <a:pt x="26" y="25"/>
                  </a:cubicBezTo>
                  <a:cubicBezTo>
                    <a:pt x="26" y="25"/>
                    <a:pt x="26" y="25"/>
                    <a:pt x="26" y="25"/>
                  </a:cubicBezTo>
                  <a:cubicBezTo>
                    <a:pt x="25" y="25"/>
                    <a:pt x="24" y="25"/>
                    <a:pt x="24" y="25"/>
                  </a:cubicBezTo>
                  <a:cubicBezTo>
                    <a:pt x="23" y="25"/>
                    <a:pt x="22" y="25"/>
                    <a:pt x="22" y="25"/>
                  </a:cubicBezTo>
                  <a:cubicBezTo>
                    <a:pt x="20" y="25"/>
                    <a:pt x="19" y="25"/>
                    <a:pt x="19" y="26"/>
                  </a:cubicBezTo>
                  <a:cubicBezTo>
                    <a:pt x="17" y="30"/>
                    <a:pt x="15" y="34"/>
                    <a:pt x="15" y="34"/>
                  </a:cubicBezTo>
                  <a:close/>
                  <a:moveTo>
                    <a:pt x="9" y="32"/>
                  </a:moveTo>
                  <a:cubicBezTo>
                    <a:pt x="15" y="33"/>
                    <a:pt x="15" y="33"/>
                    <a:pt x="15" y="33"/>
                  </a:cubicBezTo>
                  <a:cubicBezTo>
                    <a:pt x="15" y="32"/>
                    <a:pt x="16" y="29"/>
                    <a:pt x="18" y="26"/>
                  </a:cubicBezTo>
                  <a:cubicBezTo>
                    <a:pt x="19" y="24"/>
                    <a:pt x="20" y="24"/>
                    <a:pt x="22" y="24"/>
                  </a:cubicBezTo>
                  <a:cubicBezTo>
                    <a:pt x="22" y="24"/>
                    <a:pt x="23" y="24"/>
                    <a:pt x="24" y="24"/>
                  </a:cubicBezTo>
                  <a:cubicBezTo>
                    <a:pt x="25" y="24"/>
                    <a:pt x="25" y="24"/>
                    <a:pt x="26" y="24"/>
                  </a:cubicBezTo>
                  <a:cubicBezTo>
                    <a:pt x="26" y="24"/>
                    <a:pt x="26" y="24"/>
                    <a:pt x="26" y="24"/>
                  </a:cubicBezTo>
                  <a:cubicBezTo>
                    <a:pt x="27" y="24"/>
                    <a:pt x="27" y="24"/>
                    <a:pt x="27" y="24"/>
                  </a:cubicBezTo>
                  <a:cubicBezTo>
                    <a:pt x="27" y="24"/>
                    <a:pt x="27" y="24"/>
                    <a:pt x="27" y="23"/>
                  </a:cubicBezTo>
                  <a:cubicBezTo>
                    <a:pt x="27" y="22"/>
                    <a:pt x="29" y="20"/>
                    <a:pt x="30" y="18"/>
                  </a:cubicBezTo>
                  <a:cubicBezTo>
                    <a:pt x="31" y="16"/>
                    <a:pt x="32" y="15"/>
                    <a:pt x="32" y="13"/>
                  </a:cubicBezTo>
                  <a:cubicBezTo>
                    <a:pt x="32" y="11"/>
                    <a:pt x="30" y="9"/>
                    <a:pt x="28" y="7"/>
                  </a:cubicBezTo>
                  <a:cubicBezTo>
                    <a:pt x="26" y="5"/>
                    <a:pt x="24" y="4"/>
                    <a:pt x="23" y="2"/>
                  </a:cubicBezTo>
                  <a:cubicBezTo>
                    <a:pt x="23" y="2"/>
                    <a:pt x="22" y="1"/>
                    <a:pt x="21" y="1"/>
                  </a:cubicBezTo>
                  <a:cubicBezTo>
                    <a:pt x="18" y="1"/>
                    <a:pt x="11" y="6"/>
                    <a:pt x="9" y="8"/>
                  </a:cubicBezTo>
                  <a:cubicBezTo>
                    <a:pt x="8" y="11"/>
                    <a:pt x="2" y="19"/>
                    <a:pt x="1" y="21"/>
                  </a:cubicBezTo>
                  <a:lnTo>
                    <a:pt x="9" y="3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421" name="Freeform 10"/>
            <p:cNvSpPr>
              <a:spLocks noEditPoints="1"/>
            </p:cNvSpPr>
            <p:nvPr/>
          </p:nvSpPr>
          <p:spPr>
            <a:xfrm>
              <a:off x="5175251" y="4364038"/>
              <a:ext cx="400050" cy="349250"/>
            </a:xfrm>
            <a:custGeom>
              <a:gdLst>
                <a:gd name="T0" fmla="*/ 37 w 235"/>
                <a:gd name="T1" fmla="*/ 198 h 206"/>
                <a:gd name="T2" fmla="*/ 26 w 235"/>
                <a:gd name="T3" fmla="*/ 181 h 206"/>
                <a:gd name="T4" fmla="*/ 26 w 235"/>
                <a:gd name="T5" fmla="*/ 157 h 206"/>
                <a:gd name="T6" fmla="*/ 1 w 235"/>
                <a:gd name="T7" fmla="*/ 104 h 206"/>
                <a:gd name="T8" fmla="*/ 7 w 235"/>
                <a:gd name="T9" fmla="*/ 102 h 206"/>
                <a:gd name="T10" fmla="*/ 23 w 235"/>
                <a:gd name="T11" fmla="*/ 108 h 206"/>
                <a:gd name="T12" fmla="*/ 45 w 235"/>
                <a:gd name="T13" fmla="*/ 105 h 206"/>
                <a:gd name="T14" fmla="*/ 58 w 235"/>
                <a:gd name="T15" fmla="*/ 50 h 206"/>
                <a:gd name="T16" fmla="*/ 60 w 235"/>
                <a:gd name="T17" fmla="*/ 70 h 206"/>
                <a:gd name="T18" fmla="*/ 67 w 235"/>
                <a:gd name="T19" fmla="*/ 76 h 206"/>
                <a:gd name="T20" fmla="*/ 90 w 235"/>
                <a:gd name="T21" fmla="*/ 60 h 206"/>
                <a:gd name="T22" fmla="*/ 117 w 235"/>
                <a:gd name="T23" fmla="*/ 57 h 206"/>
                <a:gd name="T24" fmla="*/ 149 w 235"/>
                <a:gd name="T25" fmla="*/ 32 h 206"/>
                <a:gd name="T26" fmla="*/ 175 w 235"/>
                <a:gd name="T27" fmla="*/ 8 h 206"/>
                <a:gd name="T28" fmla="*/ 187 w 235"/>
                <a:gd name="T29" fmla="*/ 2 h 206"/>
                <a:gd name="T30" fmla="*/ 214 w 235"/>
                <a:gd name="T31" fmla="*/ 14 h 206"/>
                <a:gd name="T32" fmla="*/ 223 w 235"/>
                <a:gd name="T33" fmla="*/ 64 h 206"/>
                <a:gd name="T34" fmla="*/ 213 w 235"/>
                <a:gd name="T35" fmla="*/ 83 h 206"/>
                <a:gd name="T36" fmla="*/ 224 w 235"/>
                <a:gd name="T37" fmla="*/ 75 h 206"/>
                <a:gd name="T38" fmla="*/ 235 w 235"/>
                <a:gd name="T39" fmla="*/ 76 h 206"/>
                <a:gd name="T40" fmla="*/ 207 w 235"/>
                <a:gd name="T41" fmla="*/ 124 h 206"/>
                <a:gd name="T42" fmla="*/ 138 w 235"/>
                <a:gd name="T43" fmla="*/ 186 h 206"/>
                <a:gd name="T44" fmla="*/ 121 w 235"/>
                <a:gd name="T45" fmla="*/ 192 h 206"/>
                <a:gd name="T46" fmla="*/ 79 w 235"/>
                <a:gd name="T47" fmla="*/ 196 h 206"/>
                <a:gd name="T48" fmla="*/ 2 w 235"/>
                <a:gd name="T49" fmla="*/ 104 h 206"/>
                <a:gd name="T50" fmla="*/ 27 w 235"/>
                <a:gd name="T51" fmla="*/ 157 h 206"/>
                <a:gd name="T52" fmla="*/ 27 w 235"/>
                <a:gd name="T53" fmla="*/ 181 h 206"/>
                <a:gd name="T54" fmla="*/ 37 w 235"/>
                <a:gd name="T55" fmla="*/ 197 h 206"/>
                <a:gd name="T56" fmla="*/ 54 w 235"/>
                <a:gd name="T57" fmla="*/ 203 h 206"/>
                <a:gd name="T58" fmla="*/ 97 w 235"/>
                <a:gd name="T59" fmla="*/ 191 h 206"/>
                <a:gd name="T60" fmla="*/ 126 w 235"/>
                <a:gd name="T61" fmla="*/ 191 h 206"/>
                <a:gd name="T62" fmla="*/ 140 w 235"/>
                <a:gd name="T63" fmla="*/ 185 h 206"/>
                <a:gd name="T64" fmla="*/ 226 w 235"/>
                <a:gd name="T65" fmla="*/ 101 h 206"/>
                <a:gd name="T66" fmla="*/ 223 w 235"/>
                <a:gd name="T67" fmla="*/ 78 h 206"/>
                <a:gd name="T68" fmla="*/ 215 w 235"/>
                <a:gd name="T69" fmla="*/ 84 h 206"/>
                <a:gd name="T70" fmla="*/ 221 w 235"/>
                <a:gd name="T71" fmla="*/ 62 h 206"/>
                <a:gd name="T72" fmla="*/ 213 w 235"/>
                <a:gd name="T73" fmla="*/ 14 h 206"/>
                <a:gd name="T74" fmla="*/ 187 w 235"/>
                <a:gd name="T75" fmla="*/ 3 h 206"/>
                <a:gd name="T76" fmla="*/ 167 w 235"/>
                <a:gd name="T77" fmla="*/ 13 h 206"/>
                <a:gd name="T78" fmla="*/ 132 w 235"/>
                <a:gd name="T79" fmla="*/ 47 h 206"/>
                <a:gd name="T80" fmla="*/ 100 w 235"/>
                <a:gd name="T81" fmla="*/ 53 h 206"/>
                <a:gd name="T82" fmla="*/ 77 w 235"/>
                <a:gd name="T83" fmla="*/ 75 h 206"/>
                <a:gd name="T84" fmla="*/ 59 w 235"/>
                <a:gd name="T85" fmla="*/ 76 h 206"/>
                <a:gd name="T86" fmla="*/ 62 w 235"/>
                <a:gd name="T87" fmla="*/ 66 h 206"/>
                <a:gd name="T88" fmla="*/ 52 w 235"/>
                <a:gd name="T89" fmla="*/ 98 h 206"/>
                <a:gd name="T90" fmla="*/ 29 w 235"/>
                <a:gd name="T91" fmla="*/ 109 h 206"/>
                <a:gd name="T92" fmla="*/ 13 w 235"/>
                <a:gd name="T93" fmla="*/ 97 h 206"/>
                <a:gd name="T94" fmla="*/ 166 w 235"/>
                <a:gd name="T95" fmla="*/ 136 h 206"/>
                <a:gd name="T96" fmla="*/ 159 w 235"/>
                <a:gd name="T97" fmla="*/ 110 h 206"/>
                <a:gd name="T98" fmla="*/ 184 w 235"/>
                <a:gd name="T99" fmla="*/ 115 h 206"/>
                <a:gd name="T100" fmla="*/ 175 w 235"/>
                <a:gd name="T101" fmla="*/ 127 h 206"/>
                <a:gd name="T102" fmla="*/ 160 w 235"/>
                <a:gd name="T103" fmla="*/ 134 h 206"/>
                <a:gd name="T104" fmla="*/ 175 w 235"/>
                <a:gd name="T105" fmla="*/ 126 h 206"/>
                <a:gd name="T106" fmla="*/ 183 w 235"/>
                <a:gd name="T107" fmla="*/ 115 h 206"/>
                <a:gd name="T108" fmla="*/ 160 w 235"/>
                <a:gd name="T109" fmla="*/ 110 h 2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206">
                  <a:moveTo>
                    <a:pt x="49" y="206"/>
                  </a:moveTo>
                  <a:cubicBezTo>
                    <a:pt x="47" y="206"/>
                    <a:pt x="45" y="205"/>
                    <a:pt x="44" y="204"/>
                  </a:cubicBezTo>
                  <a:cubicBezTo>
                    <a:pt x="44" y="204"/>
                    <a:pt x="44" y="204"/>
                    <a:pt x="44" y="204"/>
                  </a:cubicBezTo>
                  <a:cubicBezTo>
                    <a:pt x="42" y="201"/>
                    <a:pt x="40" y="198"/>
                    <a:pt x="37" y="198"/>
                  </a:cubicBezTo>
                  <a:cubicBezTo>
                    <a:pt x="35" y="198"/>
                    <a:pt x="34" y="197"/>
                    <a:pt x="34" y="196"/>
                  </a:cubicBezTo>
                  <a:cubicBezTo>
                    <a:pt x="33" y="195"/>
                    <a:pt x="33" y="195"/>
                    <a:pt x="31" y="194"/>
                  </a:cubicBezTo>
                  <a:cubicBezTo>
                    <a:pt x="28" y="194"/>
                    <a:pt x="28" y="192"/>
                    <a:pt x="28" y="190"/>
                  </a:cubicBezTo>
                  <a:cubicBezTo>
                    <a:pt x="28" y="188"/>
                    <a:pt x="28" y="185"/>
                    <a:pt x="26" y="181"/>
                  </a:cubicBezTo>
                  <a:cubicBezTo>
                    <a:pt x="22" y="177"/>
                    <a:pt x="21" y="173"/>
                    <a:pt x="22" y="171"/>
                  </a:cubicBezTo>
                  <a:cubicBezTo>
                    <a:pt x="23" y="170"/>
                    <a:pt x="24" y="169"/>
                    <a:pt x="26" y="169"/>
                  </a:cubicBezTo>
                  <a:cubicBezTo>
                    <a:pt x="27" y="169"/>
                    <a:pt x="27" y="168"/>
                    <a:pt x="28" y="168"/>
                  </a:cubicBezTo>
                  <a:cubicBezTo>
                    <a:pt x="29" y="166"/>
                    <a:pt x="27" y="162"/>
                    <a:pt x="26" y="157"/>
                  </a:cubicBezTo>
                  <a:cubicBezTo>
                    <a:pt x="25" y="156"/>
                    <a:pt x="25" y="156"/>
                    <a:pt x="25" y="156"/>
                  </a:cubicBezTo>
                  <a:cubicBezTo>
                    <a:pt x="25" y="153"/>
                    <a:pt x="23" y="150"/>
                    <a:pt x="20" y="146"/>
                  </a:cubicBezTo>
                  <a:cubicBezTo>
                    <a:pt x="17" y="140"/>
                    <a:pt x="13" y="134"/>
                    <a:pt x="11" y="127"/>
                  </a:cubicBezTo>
                  <a:cubicBezTo>
                    <a:pt x="9" y="120"/>
                    <a:pt x="5" y="111"/>
                    <a:pt x="1" y="104"/>
                  </a:cubicBezTo>
                  <a:cubicBezTo>
                    <a:pt x="0" y="103"/>
                    <a:pt x="0" y="103"/>
                    <a:pt x="0" y="103"/>
                  </a:cubicBezTo>
                  <a:cubicBezTo>
                    <a:pt x="2" y="103"/>
                    <a:pt x="2" y="103"/>
                    <a:pt x="2" y="103"/>
                  </a:cubicBezTo>
                  <a:cubicBezTo>
                    <a:pt x="3" y="103"/>
                    <a:pt x="4" y="104"/>
                    <a:pt x="5" y="104"/>
                  </a:cubicBezTo>
                  <a:cubicBezTo>
                    <a:pt x="6" y="104"/>
                    <a:pt x="7" y="103"/>
                    <a:pt x="7" y="102"/>
                  </a:cubicBezTo>
                  <a:cubicBezTo>
                    <a:pt x="7" y="100"/>
                    <a:pt x="10" y="96"/>
                    <a:pt x="13" y="96"/>
                  </a:cubicBezTo>
                  <a:cubicBezTo>
                    <a:pt x="14" y="96"/>
                    <a:pt x="15" y="96"/>
                    <a:pt x="16" y="98"/>
                  </a:cubicBezTo>
                  <a:cubicBezTo>
                    <a:pt x="17" y="99"/>
                    <a:pt x="17" y="101"/>
                    <a:pt x="18" y="103"/>
                  </a:cubicBezTo>
                  <a:cubicBezTo>
                    <a:pt x="19" y="106"/>
                    <a:pt x="20" y="108"/>
                    <a:pt x="23" y="108"/>
                  </a:cubicBezTo>
                  <a:cubicBezTo>
                    <a:pt x="25" y="108"/>
                    <a:pt x="27" y="108"/>
                    <a:pt x="30" y="108"/>
                  </a:cubicBezTo>
                  <a:cubicBezTo>
                    <a:pt x="32" y="108"/>
                    <a:pt x="34" y="109"/>
                    <a:pt x="37" y="109"/>
                  </a:cubicBezTo>
                  <a:cubicBezTo>
                    <a:pt x="39" y="109"/>
                    <a:pt x="41" y="108"/>
                    <a:pt x="41" y="108"/>
                  </a:cubicBezTo>
                  <a:cubicBezTo>
                    <a:pt x="42" y="107"/>
                    <a:pt x="43" y="106"/>
                    <a:pt x="45" y="105"/>
                  </a:cubicBezTo>
                  <a:cubicBezTo>
                    <a:pt x="48" y="103"/>
                    <a:pt x="51" y="101"/>
                    <a:pt x="51" y="98"/>
                  </a:cubicBezTo>
                  <a:cubicBezTo>
                    <a:pt x="51" y="45"/>
                    <a:pt x="51" y="45"/>
                    <a:pt x="51" y="45"/>
                  </a:cubicBezTo>
                  <a:cubicBezTo>
                    <a:pt x="51" y="45"/>
                    <a:pt x="51" y="45"/>
                    <a:pt x="51" y="45"/>
                  </a:cubicBezTo>
                  <a:cubicBezTo>
                    <a:pt x="55" y="46"/>
                    <a:pt x="58" y="48"/>
                    <a:pt x="58" y="50"/>
                  </a:cubicBezTo>
                  <a:cubicBezTo>
                    <a:pt x="59" y="50"/>
                    <a:pt x="59" y="50"/>
                    <a:pt x="59" y="50"/>
                  </a:cubicBezTo>
                  <a:cubicBezTo>
                    <a:pt x="61" y="57"/>
                    <a:pt x="64" y="64"/>
                    <a:pt x="63" y="66"/>
                  </a:cubicBezTo>
                  <a:cubicBezTo>
                    <a:pt x="63" y="68"/>
                    <a:pt x="62" y="68"/>
                    <a:pt x="61" y="68"/>
                  </a:cubicBezTo>
                  <a:cubicBezTo>
                    <a:pt x="60" y="69"/>
                    <a:pt x="60" y="69"/>
                    <a:pt x="60" y="70"/>
                  </a:cubicBezTo>
                  <a:cubicBezTo>
                    <a:pt x="60" y="71"/>
                    <a:pt x="60" y="71"/>
                    <a:pt x="60" y="71"/>
                  </a:cubicBezTo>
                  <a:cubicBezTo>
                    <a:pt x="60" y="73"/>
                    <a:pt x="60" y="74"/>
                    <a:pt x="60" y="75"/>
                  </a:cubicBezTo>
                  <a:cubicBezTo>
                    <a:pt x="61" y="75"/>
                    <a:pt x="61" y="76"/>
                    <a:pt x="62" y="76"/>
                  </a:cubicBezTo>
                  <a:cubicBezTo>
                    <a:pt x="63" y="76"/>
                    <a:pt x="65" y="76"/>
                    <a:pt x="67" y="76"/>
                  </a:cubicBezTo>
                  <a:cubicBezTo>
                    <a:pt x="68" y="76"/>
                    <a:pt x="70" y="76"/>
                    <a:pt x="72" y="76"/>
                  </a:cubicBezTo>
                  <a:cubicBezTo>
                    <a:pt x="74" y="76"/>
                    <a:pt x="76" y="76"/>
                    <a:pt x="76" y="75"/>
                  </a:cubicBezTo>
                  <a:cubicBezTo>
                    <a:pt x="77" y="74"/>
                    <a:pt x="79" y="72"/>
                    <a:pt x="81" y="71"/>
                  </a:cubicBezTo>
                  <a:cubicBezTo>
                    <a:pt x="84" y="67"/>
                    <a:pt x="89" y="63"/>
                    <a:pt x="90" y="60"/>
                  </a:cubicBezTo>
                  <a:cubicBezTo>
                    <a:pt x="90" y="55"/>
                    <a:pt x="92" y="50"/>
                    <a:pt x="96" y="50"/>
                  </a:cubicBezTo>
                  <a:cubicBezTo>
                    <a:pt x="97" y="50"/>
                    <a:pt x="99" y="51"/>
                    <a:pt x="100" y="52"/>
                  </a:cubicBezTo>
                  <a:cubicBezTo>
                    <a:pt x="102" y="53"/>
                    <a:pt x="102" y="53"/>
                    <a:pt x="102" y="53"/>
                  </a:cubicBezTo>
                  <a:cubicBezTo>
                    <a:pt x="108" y="57"/>
                    <a:pt x="109" y="57"/>
                    <a:pt x="117" y="57"/>
                  </a:cubicBezTo>
                  <a:cubicBezTo>
                    <a:pt x="127" y="57"/>
                    <a:pt x="129" y="57"/>
                    <a:pt x="131" y="51"/>
                  </a:cubicBezTo>
                  <a:cubicBezTo>
                    <a:pt x="131" y="50"/>
                    <a:pt x="131" y="48"/>
                    <a:pt x="131" y="47"/>
                  </a:cubicBezTo>
                  <a:cubicBezTo>
                    <a:pt x="132" y="43"/>
                    <a:pt x="132" y="40"/>
                    <a:pt x="137" y="40"/>
                  </a:cubicBezTo>
                  <a:cubicBezTo>
                    <a:pt x="142" y="40"/>
                    <a:pt x="149" y="35"/>
                    <a:pt x="149" y="32"/>
                  </a:cubicBezTo>
                  <a:cubicBezTo>
                    <a:pt x="149" y="28"/>
                    <a:pt x="151" y="21"/>
                    <a:pt x="155" y="21"/>
                  </a:cubicBezTo>
                  <a:cubicBezTo>
                    <a:pt x="158" y="21"/>
                    <a:pt x="165" y="17"/>
                    <a:pt x="166" y="13"/>
                  </a:cubicBezTo>
                  <a:cubicBezTo>
                    <a:pt x="167" y="10"/>
                    <a:pt x="169" y="10"/>
                    <a:pt x="172" y="9"/>
                  </a:cubicBezTo>
                  <a:cubicBezTo>
                    <a:pt x="173" y="9"/>
                    <a:pt x="175" y="9"/>
                    <a:pt x="175" y="8"/>
                  </a:cubicBezTo>
                  <a:cubicBezTo>
                    <a:pt x="176" y="6"/>
                    <a:pt x="179" y="3"/>
                    <a:pt x="180" y="1"/>
                  </a:cubicBezTo>
                  <a:cubicBezTo>
                    <a:pt x="181" y="0"/>
                    <a:pt x="181" y="0"/>
                    <a:pt x="181" y="0"/>
                  </a:cubicBezTo>
                  <a:cubicBezTo>
                    <a:pt x="181" y="1"/>
                    <a:pt x="181" y="1"/>
                    <a:pt x="181" y="1"/>
                  </a:cubicBezTo>
                  <a:cubicBezTo>
                    <a:pt x="181" y="2"/>
                    <a:pt x="185" y="2"/>
                    <a:pt x="187" y="2"/>
                  </a:cubicBezTo>
                  <a:cubicBezTo>
                    <a:pt x="191" y="2"/>
                    <a:pt x="194" y="2"/>
                    <a:pt x="195" y="3"/>
                  </a:cubicBezTo>
                  <a:cubicBezTo>
                    <a:pt x="196" y="4"/>
                    <a:pt x="200" y="5"/>
                    <a:pt x="204" y="5"/>
                  </a:cubicBezTo>
                  <a:cubicBezTo>
                    <a:pt x="208" y="5"/>
                    <a:pt x="211" y="6"/>
                    <a:pt x="212" y="7"/>
                  </a:cubicBezTo>
                  <a:cubicBezTo>
                    <a:pt x="213" y="8"/>
                    <a:pt x="213" y="10"/>
                    <a:pt x="214" y="14"/>
                  </a:cubicBezTo>
                  <a:cubicBezTo>
                    <a:pt x="216" y="21"/>
                    <a:pt x="219" y="32"/>
                    <a:pt x="221" y="34"/>
                  </a:cubicBezTo>
                  <a:cubicBezTo>
                    <a:pt x="225" y="36"/>
                    <a:pt x="223" y="60"/>
                    <a:pt x="223" y="61"/>
                  </a:cubicBezTo>
                  <a:cubicBezTo>
                    <a:pt x="222" y="61"/>
                    <a:pt x="222" y="62"/>
                    <a:pt x="223" y="63"/>
                  </a:cubicBezTo>
                  <a:cubicBezTo>
                    <a:pt x="223" y="64"/>
                    <a:pt x="223" y="64"/>
                    <a:pt x="223" y="64"/>
                  </a:cubicBezTo>
                  <a:cubicBezTo>
                    <a:pt x="221" y="63"/>
                    <a:pt x="221" y="63"/>
                    <a:pt x="221" y="63"/>
                  </a:cubicBezTo>
                  <a:cubicBezTo>
                    <a:pt x="218" y="61"/>
                    <a:pt x="216" y="60"/>
                    <a:pt x="214" y="60"/>
                  </a:cubicBezTo>
                  <a:cubicBezTo>
                    <a:pt x="210" y="60"/>
                    <a:pt x="204" y="68"/>
                    <a:pt x="204" y="70"/>
                  </a:cubicBezTo>
                  <a:cubicBezTo>
                    <a:pt x="204" y="71"/>
                    <a:pt x="209" y="82"/>
                    <a:pt x="213" y="83"/>
                  </a:cubicBezTo>
                  <a:cubicBezTo>
                    <a:pt x="214" y="83"/>
                    <a:pt x="214" y="83"/>
                    <a:pt x="215" y="83"/>
                  </a:cubicBezTo>
                  <a:cubicBezTo>
                    <a:pt x="219" y="83"/>
                    <a:pt x="220" y="82"/>
                    <a:pt x="220" y="80"/>
                  </a:cubicBezTo>
                  <a:cubicBezTo>
                    <a:pt x="221" y="78"/>
                    <a:pt x="222" y="77"/>
                    <a:pt x="223" y="76"/>
                  </a:cubicBezTo>
                  <a:cubicBezTo>
                    <a:pt x="224" y="75"/>
                    <a:pt x="224" y="75"/>
                    <a:pt x="224" y="75"/>
                  </a:cubicBezTo>
                  <a:cubicBezTo>
                    <a:pt x="224" y="76"/>
                    <a:pt x="224" y="76"/>
                    <a:pt x="224" y="76"/>
                  </a:cubicBezTo>
                  <a:cubicBezTo>
                    <a:pt x="224" y="77"/>
                    <a:pt x="224" y="77"/>
                    <a:pt x="224" y="77"/>
                  </a:cubicBezTo>
                  <a:cubicBezTo>
                    <a:pt x="226" y="77"/>
                    <a:pt x="230" y="76"/>
                    <a:pt x="234" y="76"/>
                  </a:cubicBezTo>
                  <a:cubicBezTo>
                    <a:pt x="235" y="76"/>
                    <a:pt x="235" y="76"/>
                    <a:pt x="235" y="76"/>
                  </a:cubicBezTo>
                  <a:cubicBezTo>
                    <a:pt x="235" y="77"/>
                    <a:pt x="235" y="77"/>
                    <a:pt x="235" y="77"/>
                  </a:cubicBezTo>
                  <a:cubicBezTo>
                    <a:pt x="234" y="84"/>
                    <a:pt x="232" y="97"/>
                    <a:pt x="228" y="101"/>
                  </a:cubicBezTo>
                  <a:cubicBezTo>
                    <a:pt x="227" y="102"/>
                    <a:pt x="227" y="102"/>
                    <a:pt x="227" y="102"/>
                  </a:cubicBezTo>
                  <a:cubicBezTo>
                    <a:pt x="222" y="107"/>
                    <a:pt x="213" y="115"/>
                    <a:pt x="207" y="124"/>
                  </a:cubicBezTo>
                  <a:cubicBezTo>
                    <a:pt x="201" y="134"/>
                    <a:pt x="183" y="156"/>
                    <a:pt x="172" y="166"/>
                  </a:cubicBezTo>
                  <a:cubicBezTo>
                    <a:pt x="162" y="176"/>
                    <a:pt x="148" y="186"/>
                    <a:pt x="142" y="186"/>
                  </a:cubicBezTo>
                  <a:cubicBezTo>
                    <a:pt x="141" y="186"/>
                    <a:pt x="141" y="186"/>
                    <a:pt x="140" y="186"/>
                  </a:cubicBezTo>
                  <a:cubicBezTo>
                    <a:pt x="139" y="186"/>
                    <a:pt x="139" y="186"/>
                    <a:pt x="138" y="186"/>
                  </a:cubicBezTo>
                  <a:cubicBezTo>
                    <a:pt x="134" y="186"/>
                    <a:pt x="131" y="186"/>
                    <a:pt x="131" y="189"/>
                  </a:cubicBezTo>
                  <a:cubicBezTo>
                    <a:pt x="131" y="191"/>
                    <a:pt x="130" y="192"/>
                    <a:pt x="128" y="192"/>
                  </a:cubicBezTo>
                  <a:cubicBezTo>
                    <a:pt x="127" y="192"/>
                    <a:pt x="126" y="192"/>
                    <a:pt x="125" y="192"/>
                  </a:cubicBezTo>
                  <a:cubicBezTo>
                    <a:pt x="124" y="191"/>
                    <a:pt x="122" y="191"/>
                    <a:pt x="121" y="192"/>
                  </a:cubicBezTo>
                  <a:cubicBezTo>
                    <a:pt x="117" y="194"/>
                    <a:pt x="112" y="195"/>
                    <a:pt x="107" y="193"/>
                  </a:cubicBezTo>
                  <a:cubicBezTo>
                    <a:pt x="104" y="192"/>
                    <a:pt x="101" y="192"/>
                    <a:pt x="97" y="192"/>
                  </a:cubicBezTo>
                  <a:cubicBezTo>
                    <a:pt x="93" y="192"/>
                    <a:pt x="89" y="192"/>
                    <a:pt x="85" y="194"/>
                  </a:cubicBezTo>
                  <a:cubicBezTo>
                    <a:pt x="82" y="194"/>
                    <a:pt x="80" y="196"/>
                    <a:pt x="79" y="196"/>
                  </a:cubicBezTo>
                  <a:cubicBezTo>
                    <a:pt x="77" y="198"/>
                    <a:pt x="76" y="199"/>
                    <a:pt x="71" y="199"/>
                  </a:cubicBezTo>
                  <a:cubicBezTo>
                    <a:pt x="62" y="199"/>
                    <a:pt x="56" y="200"/>
                    <a:pt x="54" y="203"/>
                  </a:cubicBezTo>
                  <a:cubicBezTo>
                    <a:pt x="53" y="205"/>
                    <a:pt x="51" y="206"/>
                    <a:pt x="49" y="206"/>
                  </a:cubicBezTo>
                  <a:close/>
                  <a:moveTo>
                    <a:pt x="2" y="104"/>
                  </a:moveTo>
                  <a:cubicBezTo>
                    <a:pt x="6" y="112"/>
                    <a:pt x="10" y="120"/>
                    <a:pt x="12" y="127"/>
                  </a:cubicBezTo>
                  <a:cubicBezTo>
                    <a:pt x="14" y="133"/>
                    <a:pt x="18" y="140"/>
                    <a:pt x="21" y="145"/>
                  </a:cubicBezTo>
                  <a:cubicBezTo>
                    <a:pt x="23" y="149"/>
                    <a:pt x="25" y="153"/>
                    <a:pt x="26" y="156"/>
                  </a:cubicBezTo>
                  <a:cubicBezTo>
                    <a:pt x="27" y="157"/>
                    <a:pt x="27" y="157"/>
                    <a:pt x="27" y="157"/>
                  </a:cubicBezTo>
                  <a:cubicBezTo>
                    <a:pt x="28" y="162"/>
                    <a:pt x="30" y="166"/>
                    <a:pt x="28" y="168"/>
                  </a:cubicBezTo>
                  <a:cubicBezTo>
                    <a:pt x="28" y="169"/>
                    <a:pt x="27" y="170"/>
                    <a:pt x="26" y="170"/>
                  </a:cubicBezTo>
                  <a:cubicBezTo>
                    <a:pt x="25" y="170"/>
                    <a:pt x="24" y="171"/>
                    <a:pt x="23" y="171"/>
                  </a:cubicBezTo>
                  <a:cubicBezTo>
                    <a:pt x="22" y="173"/>
                    <a:pt x="24" y="176"/>
                    <a:pt x="27" y="181"/>
                  </a:cubicBezTo>
                  <a:cubicBezTo>
                    <a:pt x="29" y="185"/>
                    <a:pt x="29" y="188"/>
                    <a:pt x="29" y="190"/>
                  </a:cubicBezTo>
                  <a:cubicBezTo>
                    <a:pt x="29" y="192"/>
                    <a:pt x="29" y="193"/>
                    <a:pt x="31" y="193"/>
                  </a:cubicBezTo>
                  <a:cubicBezTo>
                    <a:pt x="33" y="194"/>
                    <a:pt x="34" y="195"/>
                    <a:pt x="35" y="196"/>
                  </a:cubicBezTo>
                  <a:cubicBezTo>
                    <a:pt x="35" y="196"/>
                    <a:pt x="36" y="197"/>
                    <a:pt x="37" y="197"/>
                  </a:cubicBezTo>
                  <a:cubicBezTo>
                    <a:pt x="40" y="197"/>
                    <a:pt x="43" y="200"/>
                    <a:pt x="45" y="203"/>
                  </a:cubicBezTo>
                  <a:cubicBezTo>
                    <a:pt x="45" y="203"/>
                    <a:pt x="45" y="203"/>
                    <a:pt x="45" y="203"/>
                  </a:cubicBezTo>
                  <a:cubicBezTo>
                    <a:pt x="46" y="204"/>
                    <a:pt x="47" y="205"/>
                    <a:pt x="49" y="205"/>
                  </a:cubicBezTo>
                  <a:cubicBezTo>
                    <a:pt x="51" y="205"/>
                    <a:pt x="53" y="204"/>
                    <a:pt x="54" y="203"/>
                  </a:cubicBezTo>
                  <a:cubicBezTo>
                    <a:pt x="56" y="199"/>
                    <a:pt x="65" y="198"/>
                    <a:pt x="71" y="198"/>
                  </a:cubicBezTo>
                  <a:cubicBezTo>
                    <a:pt x="75" y="198"/>
                    <a:pt x="77" y="197"/>
                    <a:pt x="78" y="196"/>
                  </a:cubicBezTo>
                  <a:cubicBezTo>
                    <a:pt x="80" y="195"/>
                    <a:pt x="81" y="194"/>
                    <a:pt x="84" y="193"/>
                  </a:cubicBezTo>
                  <a:cubicBezTo>
                    <a:pt x="88" y="191"/>
                    <a:pt x="93" y="191"/>
                    <a:pt x="97" y="191"/>
                  </a:cubicBezTo>
                  <a:cubicBezTo>
                    <a:pt x="101" y="191"/>
                    <a:pt x="104" y="191"/>
                    <a:pt x="107" y="192"/>
                  </a:cubicBezTo>
                  <a:cubicBezTo>
                    <a:pt x="112" y="194"/>
                    <a:pt x="116" y="193"/>
                    <a:pt x="121" y="191"/>
                  </a:cubicBezTo>
                  <a:cubicBezTo>
                    <a:pt x="121" y="190"/>
                    <a:pt x="122" y="190"/>
                    <a:pt x="123" y="190"/>
                  </a:cubicBezTo>
                  <a:cubicBezTo>
                    <a:pt x="124" y="190"/>
                    <a:pt x="125" y="190"/>
                    <a:pt x="126" y="191"/>
                  </a:cubicBezTo>
                  <a:cubicBezTo>
                    <a:pt x="127" y="191"/>
                    <a:pt x="127" y="191"/>
                    <a:pt x="128" y="191"/>
                  </a:cubicBezTo>
                  <a:cubicBezTo>
                    <a:pt x="129" y="191"/>
                    <a:pt x="130" y="191"/>
                    <a:pt x="130" y="189"/>
                  </a:cubicBezTo>
                  <a:cubicBezTo>
                    <a:pt x="130" y="185"/>
                    <a:pt x="134" y="185"/>
                    <a:pt x="138" y="185"/>
                  </a:cubicBezTo>
                  <a:cubicBezTo>
                    <a:pt x="139" y="185"/>
                    <a:pt x="139" y="185"/>
                    <a:pt x="140" y="185"/>
                  </a:cubicBezTo>
                  <a:cubicBezTo>
                    <a:pt x="141" y="185"/>
                    <a:pt x="141" y="185"/>
                    <a:pt x="142" y="185"/>
                  </a:cubicBezTo>
                  <a:cubicBezTo>
                    <a:pt x="147" y="185"/>
                    <a:pt x="161" y="176"/>
                    <a:pt x="172" y="166"/>
                  </a:cubicBezTo>
                  <a:cubicBezTo>
                    <a:pt x="183" y="156"/>
                    <a:pt x="200" y="133"/>
                    <a:pt x="206" y="124"/>
                  </a:cubicBezTo>
                  <a:cubicBezTo>
                    <a:pt x="212" y="114"/>
                    <a:pt x="221" y="106"/>
                    <a:pt x="226" y="101"/>
                  </a:cubicBezTo>
                  <a:cubicBezTo>
                    <a:pt x="227" y="100"/>
                    <a:pt x="227" y="100"/>
                    <a:pt x="227" y="100"/>
                  </a:cubicBezTo>
                  <a:cubicBezTo>
                    <a:pt x="230" y="98"/>
                    <a:pt x="232" y="89"/>
                    <a:pt x="234" y="77"/>
                  </a:cubicBezTo>
                  <a:cubicBezTo>
                    <a:pt x="229" y="77"/>
                    <a:pt x="224" y="78"/>
                    <a:pt x="224" y="78"/>
                  </a:cubicBezTo>
                  <a:cubicBezTo>
                    <a:pt x="223" y="78"/>
                    <a:pt x="223" y="78"/>
                    <a:pt x="223" y="78"/>
                  </a:cubicBezTo>
                  <a:cubicBezTo>
                    <a:pt x="223" y="77"/>
                    <a:pt x="223" y="77"/>
                    <a:pt x="223" y="77"/>
                  </a:cubicBezTo>
                  <a:cubicBezTo>
                    <a:pt x="223" y="77"/>
                    <a:pt x="223" y="77"/>
                    <a:pt x="223" y="77"/>
                  </a:cubicBezTo>
                  <a:cubicBezTo>
                    <a:pt x="222" y="78"/>
                    <a:pt x="222" y="79"/>
                    <a:pt x="221" y="80"/>
                  </a:cubicBezTo>
                  <a:cubicBezTo>
                    <a:pt x="221" y="83"/>
                    <a:pt x="218" y="84"/>
                    <a:pt x="215" y="84"/>
                  </a:cubicBezTo>
                  <a:cubicBezTo>
                    <a:pt x="214" y="84"/>
                    <a:pt x="214" y="84"/>
                    <a:pt x="213" y="84"/>
                  </a:cubicBezTo>
                  <a:cubicBezTo>
                    <a:pt x="208" y="83"/>
                    <a:pt x="203" y="71"/>
                    <a:pt x="203" y="70"/>
                  </a:cubicBezTo>
                  <a:cubicBezTo>
                    <a:pt x="203" y="68"/>
                    <a:pt x="210" y="59"/>
                    <a:pt x="214" y="59"/>
                  </a:cubicBezTo>
                  <a:cubicBezTo>
                    <a:pt x="216" y="59"/>
                    <a:pt x="219" y="61"/>
                    <a:pt x="221" y="62"/>
                  </a:cubicBezTo>
                  <a:cubicBezTo>
                    <a:pt x="222" y="62"/>
                    <a:pt x="222" y="62"/>
                    <a:pt x="222" y="62"/>
                  </a:cubicBezTo>
                  <a:cubicBezTo>
                    <a:pt x="221" y="62"/>
                    <a:pt x="221" y="61"/>
                    <a:pt x="222" y="61"/>
                  </a:cubicBezTo>
                  <a:cubicBezTo>
                    <a:pt x="222" y="58"/>
                    <a:pt x="224" y="37"/>
                    <a:pt x="220" y="35"/>
                  </a:cubicBezTo>
                  <a:cubicBezTo>
                    <a:pt x="218" y="33"/>
                    <a:pt x="216" y="24"/>
                    <a:pt x="213" y="14"/>
                  </a:cubicBezTo>
                  <a:cubicBezTo>
                    <a:pt x="212" y="11"/>
                    <a:pt x="212" y="8"/>
                    <a:pt x="211" y="7"/>
                  </a:cubicBezTo>
                  <a:cubicBezTo>
                    <a:pt x="211" y="6"/>
                    <a:pt x="207" y="6"/>
                    <a:pt x="204" y="6"/>
                  </a:cubicBezTo>
                  <a:cubicBezTo>
                    <a:pt x="199" y="6"/>
                    <a:pt x="195" y="5"/>
                    <a:pt x="194" y="4"/>
                  </a:cubicBezTo>
                  <a:cubicBezTo>
                    <a:pt x="194" y="3"/>
                    <a:pt x="190" y="3"/>
                    <a:pt x="187" y="3"/>
                  </a:cubicBezTo>
                  <a:cubicBezTo>
                    <a:pt x="184" y="3"/>
                    <a:pt x="182" y="3"/>
                    <a:pt x="181" y="2"/>
                  </a:cubicBezTo>
                  <a:cubicBezTo>
                    <a:pt x="179" y="4"/>
                    <a:pt x="177" y="7"/>
                    <a:pt x="176" y="8"/>
                  </a:cubicBezTo>
                  <a:cubicBezTo>
                    <a:pt x="175" y="10"/>
                    <a:pt x="173" y="10"/>
                    <a:pt x="172" y="10"/>
                  </a:cubicBezTo>
                  <a:cubicBezTo>
                    <a:pt x="170" y="11"/>
                    <a:pt x="168" y="11"/>
                    <a:pt x="167" y="13"/>
                  </a:cubicBezTo>
                  <a:cubicBezTo>
                    <a:pt x="166" y="18"/>
                    <a:pt x="159" y="22"/>
                    <a:pt x="155" y="22"/>
                  </a:cubicBezTo>
                  <a:cubicBezTo>
                    <a:pt x="152" y="22"/>
                    <a:pt x="150" y="28"/>
                    <a:pt x="150" y="32"/>
                  </a:cubicBezTo>
                  <a:cubicBezTo>
                    <a:pt x="150" y="36"/>
                    <a:pt x="142" y="41"/>
                    <a:pt x="137" y="41"/>
                  </a:cubicBezTo>
                  <a:cubicBezTo>
                    <a:pt x="133" y="41"/>
                    <a:pt x="133" y="43"/>
                    <a:pt x="132" y="47"/>
                  </a:cubicBezTo>
                  <a:cubicBezTo>
                    <a:pt x="132" y="48"/>
                    <a:pt x="132" y="50"/>
                    <a:pt x="132" y="52"/>
                  </a:cubicBezTo>
                  <a:cubicBezTo>
                    <a:pt x="130" y="58"/>
                    <a:pt x="126" y="58"/>
                    <a:pt x="117" y="58"/>
                  </a:cubicBezTo>
                  <a:cubicBezTo>
                    <a:pt x="109" y="58"/>
                    <a:pt x="107" y="58"/>
                    <a:pt x="102" y="54"/>
                  </a:cubicBezTo>
                  <a:cubicBezTo>
                    <a:pt x="100" y="53"/>
                    <a:pt x="100" y="53"/>
                    <a:pt x="100" y="53"/>
                  </a:cubicBezTo>
                  <a:cubicBezTo>
                    <a:pt x="98" y="52"/>
                    <a:pt x="97" y="51"/>
                    <a:pt x="96" y="51"/>
                  </a:cubicBezTo>
                  <a:cubicBezTo>
                    <a:pt x="92" y="51"/>
                    <a:pt x="91" y="59"/>
                    <a:pt x="91" y="60"/>
                  </a:cubicBezTo>
                  <a:cubicBezTo>
                    <a:pt x="90" y="63"/>
                    <a:pt x="86" y="68"/>
                    <a:pt x="81" y="71"/>
                  </a:cubicBezTo>
                  <a:cubicBezTo>
                    <a:pt x="80" y="73"/>
                    <a:pt x="78" y="74"/>
                    <a:pt x="77" y="75"/>
                  </a:cubicBezTo>
                  <a:cubicBezTo>
                    <a:pt x="76" y="77"/>
                    <a:pt x="74" y="77"/>
                    <a:pt x="72" y="77"/>
                  </a:cubicBezTo>
                  <a:cubicBezTo>
                    <a:pt x="70" y="77"/>
                    <a:pt x="68" y="77"/>
                    <a:pt x="66" y="77"/>
                  </a:cubicBezTo>
                  <a:cubicBezTo>
                    <a:pt x="65" y="77"/>
                    <a:pt x="63" y="77"/>
                    <a:pt x="62" y="77"/>
                  </a:cubicBezTo>
                  <a:cubicBezTo>
                    <a:pt x="61" y="77"/>
                    <a:pt x="60" y="76"/>
                    <a:pt x="59" y="76"/>
                  </a:cubicBezTo>
                  <a:cubicBezTo>
                    <a:pt x="59" y="75"/>
                    <a:pt x="59" y="73"/>
                    <a:pt x="59" y="71"/>
                  </a:cubicBezTo>
                  <a:cubicBezTo>
                    <a:pt x="59" y="70"/>
                    <a:pt x="59" y="70"/>
                    <a:pt x="59" y="70"/>
                  </a:cubicBezTo>
                  <a:cubicBezTo>
                    <a:pt x="59" y="68"/>
                    <a:pt x="60" y="68"/>
                    <a:pt x="61" y="67"/>
                  </a:cubicBezTo>
                  <a:cubicBezTo>
                    <a:pt x="61" y="67"/>
                    <a:pt x="62" y="67"/>
                    <a:pt x="62" y="66"/>
                  </a:cubicBezTo>
                  <a:cubicBezTo>
                    <a:pt x="63" y="64"/>
                    <a:pt x="59" y="54"/>
                    <a:pt x="58" y="50"/>
                  </a:cubicBezTo>
                  <a:cubicBezTo>
                    <a:pt x="57" y="50"/>
                    <a:pt x="57" y="50"/>
                    <a:pt x="57" y="50"/>
                  </a:cubicBezTo>
                  <a:cubicBezTo>
                    <a:pt x="57" y="49"/>
                    <a:pt x="56" y="48"/>
                    <a:pt x="52" y="46"/>
                  </a:cubicBezTo>
                  <a:cubicBezTo>
                    <a:pt x="52" y="98"/>
                    <a:pt x="52" y="98"/>
                    <a:pt x="52" y="98"/>
                  </a:cubicBezTo>
                  <a:cubicBezTo>
                    <a:pt x="52" y="102"/>
                    <a:pt x="48" y="104"/>
                    <a:pt x="45" y="106"/>
                  </a:cubicBezTo>
                  <a:cubicBezTo>
                    <a:pt x="44" y="106"/>
                    <a:pt x="43" y="107"/>
                    <a:pt x="42" y="108"/>
                  </a:cubicBezTo>
                  <a:cubicBezTo>
                    <a:pt x="41" y="109"/>
                    <a:pt x="40" y="110"/>
                    <a:pt x="37" y="110"/>
                  </a:cubicBezTo>
                  <a:cubicBezTo>
                    <a:pt x="34" y="110"/>
                    <a:pt x="32" y="109"/>
                    <a:pt x="29" y="109"/>
                  </a:cubicBezTo>
                  <a:cubicBezTo>
                    <a:pt x="27" y="109"/>
                    <a:pt x="25" y="109"/>
                    <a:pt x="23" y="109"/>
                  </a:cubicBezTo>
                  <a:cubicBezTo>
                    <a:pt x="19" y="109"/>
                    <a:pt x="18" y="106"/>
                    <a:pt x="17" y="103"/>
                  </a:cubicBezTo>
                  <a:cubicBezTo>
                    <a:pt x="16" y="101"/>
                    <a:pt x="16" y="100"/>
                    <a:pt x="15" y="98"/>
                  </a:cubicBezTo>
                  <a:cubicBezTo>
                    <a:pt x="14" y="97"/>
                    <a:pt x="14" y="97"/>
                    <a:pt x="13" y="97"/>
                  </a:cubicBezTo>
                  <a:cubicBezTo>
                    <a:pt x="10" y="97"/>
                    <a:pt x="8" y="100"/>
                    <a:pt x="8" y="102"/>
                  </a:cubicBezTo>
                  <a:cubicBezTo>
                    <a:pt x="8" y="105"/>
                    <a:pt x="5" y="105"/>
                    <a:pt x="5" y="105"/>
                  </a:cubicBezTo>
                  <a:cubicBezTo>
                    <a:pt x="4" y="105"/>
                    <a:pt x="3" y="104"/>
                    <a:pt x="2" y="104"/>
                  </a:cubicBezTo>
                  <a:close/>
                  <a:moveTo>
                    <a:pt x="166" y="136"/>
                  </a:moveTo>
                  <a:cubicBezTo>
                    <a:pt x="160" y="135"/>
                    <a:pt x="160" y="135"/>
                    <a:pt x="160" y="135"/>
                  </a:cubicBezTo>
                  <a:cubicBezTo>
                    <a:pt x="151" y="123"/>
                    <a:pt x="151" y="123"/>
                    <a:pt x="151" y="123"/>
                  </a:cubicBezTo>
                  <a:cubicBezTo>
                    <a:pt x="151" y="123"/>
                    <a:pt x="151" y="123"/>
                    <a:pt x="151" y="123"/>
                  </a:cubicBezTo>
                  <a:cubicBezTo>
                    <a:pt x="151" y="123"/>
                    <a:pt x="158" y="113"/>
                    <a:pt x="159" y="110"/>
                  </a:cubicBezTo>
                  <a:cubicBezTo>
                    <a:pt x="161" y="107"/>
                    <a:pt x="168" y="102"/>
                    <a:pt x="172" y="102"/>
                  </a:cubicBezTo>
                  <a:cubicBezTo>
                    <a:pt x="174" y="102"/>
                    <a:pt x="175" y="103"/>
                    <a:pt x="175" y="104"/>
                  </a:cubicBezTo>
                  <a:cubicBezTo>
                    <a:pt x="176" y="105"/>
                    <a:pt x="177" y="107"/>
                    <a:pt x="179" y="108"/>
                  </a:cubicBezTo>
                  <a:cubicBezTo>
                    <a:pt x="182" y="111"/>
                    <a:pt x="184" y="113"/>
                    <a:pt x="184" y="115"/>
                  </a:cubicBezTo>
                  <a:cubicBezTo>
                    <a:pt x="184" y="117"/>
                    <a:pt x="183" y="119"/>
                    <a:pt x="182" y="121"/>
                  </a:cubicBezTo>
                  <a:cubicBezTo>
                    <a:pt x="181" y="122"/>
                    <a:pt x="179" y="124"/>
                    <a:pt x="179" y="125"/>
                  </a:cubicBezTo>
                  <a:cubicBezTo>
                    <a:pt x="179" y="127"/>
                    <a:pt x="177" y="127"/>
                    <a:pt x="177" y="127"/>
                  </a:cubicBezTo>
                  <a:cubicBezTo>
                    <a:pt x="176" y="127"/>
                    <a:pt x="175" y="127"/>
                    <a:pt x="175" y="127"/>
                  </a:cubicBezTo>
                  <a:cubicBezTo>
                    <a:pt x="174" y="127"/>
                    <a:pt x="173" y="127"/>
                    <a:pt x="173" y="127"/>
                  </a:cubicBezTo>
                  <a:cubicBezTo>
                    <a:pt x="171" y="127"/>
                    <a:pt x="170" y="127"/>
                    <a:pt x="170" y="128"/>
                  </a:cubicBezTo>
                  <a:cubicBezTo>
                    <a:pt x="168" y="132"/>
                    <a:pt x="166" y="136"/>
                    <a:pt x="166" y="136"/>
                  </a:cubicBezTo>
                  <a:close/>
                  <a:moveTo>
                    <a:pt x="160" y="134"/>
                  </a:moveTo>
                  <a:cubicBezTo>
                    <a:pt x="166" y="135"/>
                    <a:pt x="166" y="135"/>
                    <a:pt x="166" y="135"/>
                  </a:cubicBezTo>
                  <a:cubicBezTo>
                    <a:pt x="166" y="134"/>
                    <a:pt x="167" y="131"/>
                    <a:pt x="169" y="128"/>
                  </a:cubicBezTo>
                  <a:cubicBezTo>
                    <a:pt x="170" y="126"/>
                    <a:pt x="171" y="126"/>
                    <a:pt x="173" y="126"/>
                  </a:cubicBezTo>
                  <a:cubicBezTo>
                    <a:pt x="173" y="126"/>
                    <a:pt x="174" y="126"/>
                    <a:pt x="175" y="126"/>
                  </a:cubicBezTo>
                  <a:cubicBezTo>
                    <a:pt x="176" y="126"/>
                    <a:pt x="176" y="126"/>
                    <a:pt x="177" y="126"/>
                  </a:cubicBezTo>
                  <a:cubicBezTo>
                    <a:pt x="178" y="126"/>
                    <a:pt x="178" y="126"/>
                    <a:pt x="178" y="125"/>
                  </a:cubicBezTo>
                  <a:cubicBezTo>
                    <a:pt x="178" y="124"/>
                    <a:pt x="180" y="122"/>
                    <a:pt x="181" y="120"/>
                  </a:cubicBezTo>
                  <a:cubicBezTo>
                    <a:pt x="182" y="118"/>
                    <a:pt x="183" y="117"/>
                    <a:pt x="183" y="115"/>
                  </a:cubicBezTo>
                  <a:cubicBezTo>
                    <a:pt x="183" y="113"/>
                    <a:pt x="181" y="111"/>
                    <a:pt x="179" y="109"/>
                  </a:cubicBezTo>
                  <a:cubicBezTo>
                    <a:pt x="177" y="107"/>
                    <a:pt x="175" y="106"/>
                    <a:pt x="174" y="104"/>
                  </a:cubicBezTo>
                  <a:cubicBezTo>
                    <a:pt x="174" y="104"/>
                    <a:pt x="173" y="103"/>
                    <a:pt x="172" y="103"/>
                  </a:cubicBezTo>
                  <a:cubicBezTo>
                    <a:pt x="169" y="103"/>
                    <a:pt x="162" y="108"/>
                    <a:pt x="160" y="110"/>
                  </a:cubicBezTo>
                  <a:cubicBezTo>
                    <a:pt x="159" y="113"/>
                    <a:pt x="153" y="121"/>
                    <a:pt x="152" y="123"/>
                  </a:cubicBezTo>
                  <a:lnTo>
                    <a:pt x="160" y="134"/>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84" name="Freeform 11"/>
            <p:cNvSpPr>
              <a:spLocks noEditPoints="1"/>
            </p:cNvSpPr>
            <p:nvPr/>
          </p:nvSpPr>
          <p:spPr>
            <a:xfrm>
              <a:off x="5070476" y="3957638"/>
              <a:ext cx="292100" cy="304800"/>
            </a:xfrm>
            <a:custGeom>
              <a:gdLst>
                <a:gd name="T0" fmla="*/ 121 w 172"/>
                <a:gd name="T1" fmla="*/ 178 h 180"/>
                <a:gd name="T2" fmla="*/ 99 w 172"/>
                <a:gd name="T3" fmla="*/ 178 h 180"/>
                <a:gd name="T4" fmla="*/ 31 w 172"/>
                <a:gd name="T5" fmla="*/ 170 h 180"/>
                <a:gd name="T6" fmla="*/ 13 w 172"/>
                <a:gd name="T7" fmla="*/ 168 h 180"/>
                <a:gd name="T8" fmla="*/ 6 w 172"/>
                <a:gd name="T9" fmla="*/ 170 h 180"/>
                <a:gd name="T10" fmla="*/ 1 w 172"/>
                <a:gd name="T11" fmla="*/ 170 h 180"/>
                <a:gd name="T12" fmla="*/ 10 w 172"/>
                <a:gd name="T13" fmla="*/ 130 h 180"/>
                <a:gd name="T14" fmla="*/ 31 w 172"/>
                <a:gd name="T15" fmla="*/ 81 h 180"/>
                <a:gd name="T16" fmla="*/ 24 w 172"/>
                <a:gd name="T17" fmla="*/ 42 h 180"/>
                <a:gd name="T18" fmla="*/ 11 w 172"/>
                <a:gd name="T19" fmla="*/ 5 h 180"/>
                <a:gd name="T20" fmla="*/ 20 w 172"/>
                <a:gd name="T21" fmla="*/ 0 h 180"/>
                <a:gd name="T22" fmla="*/ 68 w 172"/>
                <a:gd name="T23" fmla="*/ 0 h 180"/>
                <a:gd name="T24" fmla="*/ 72 w 172"/>
                <a:gd name="T25" fmla="*/ 17 h 180"/>
                <a:gd name="T26" fmla="*/ 88 w 172"/>
                <a:gd name="T27" fmla="*/ 32 h 180"/>
                <a:gd name="T28" fmla="*/ 105 w 172"/>
                <a:gd name="T29" fmla="*/ 30 h 180"/>
                <a:gd name="T30" fmla="*/ 115 w 172"/>
                <a:gd name="T31" fmla="*/ 16 h 180"/>
                <a:gd name="T32" fmla="*/ 123 w 172"/>
                <a:gd name="T33" fmla="*/ 17 h 180"/>
                <a:gd name="T34" fmla="*/ 137 w 172"/>
                <a:gd name="T35" fmla="*/ 19 h 180"/>
                <a:gd name="T36" fmla="*/ 141 w 172"/>
                <a:gd name="T37" fmla="*/ 42 h 180"/>
                <a:gd name="T38" fmla="*/ 147 w 172"/>
                <a:gd name="T39" fmla="*/ 67 h 180"/>
                <a:gd name="T40" fmla="*/ 154 w 172"/>
                <a:gd name="T41" fmla="*/ 73 h 180"/>
                <a:gd name="T42" fmla="*/ 167 w 172"/>
                <a:gd name="T43" fmla="*/ 72 h 180"/>
                <a:gd name="T44" fmla="*/ 172 w 172"/>
                <a:gd name="T45" fmla="*/ 73 h 180"/>
                <a:gd name="T46" fmla="*/ 143 w 172"/>
                <a:gd name="T47" fmla="*/ 105 h 180"/>
                <a:gd name="T48" fmla="*/ 158 w 172"/>
                <a:gd name="T49" fmla="*/ 176 h 180"/>
                <a:gd name="T50" fmla="*/ 121 w 172"/>
                <a:gd name="T51" fmla="*/ 177 h 180"/>
                <a:gd name="T52" fmla="*/ 154 w 172"/>
                <a:gd name="T53" fmla="*/ 176 h 180"/>
                <a:gd name="T54" fmla="*/ 141 w 172"/>
                <a:gd name="T55" fmla="*/ 153 h 180"/>
                <a:gd name="T56" fmla="*/ 164 w 172"/>
                <a:gd name="T57" fmla="*/ 105 h 180"/>
                <a:gd name="T58" fmla="*/ 167 w 172"/>
                <a:gd name="T59" fmla="*/ 73 h 180"/>
                <a:gd name="T60" fmla="*/ 154 w 172"/>
                <a:gd name="T61" fmla="*/ 74 h 180"/>
                <a:gd name="T62" fmla="*/ 146 w 172"/>
                <a:gd name="T63" fmla="*/ 78 h 180"/>
                <a:gd name="T64" fmla="*/ 139 w 172"/>
                <a:gd name="T65" fmla="*/ 55 h 180"/>
                <a:gd name="T66" fmla="*/ 138 w 172"/>
                <a:gd name="T67" fmla="*/ 22 h 180"/>
                <a:gd name="T68" fmla="*/ 129 w 172"/>
                <a:gd name="T69" fmla="*/ 21 h 180"/>
                <a:gd name="T70" fmla="*/ 111 w 172"/>
                <a:gd name="T71" fmla="*/ 18 h 180"/>
                <a:gd name="T72" fmla="*/ 105 w 172"/>
                <a:gd name="T73" fmla="*/ 30 h 180"/>
                <a:gd name="T74" fmla="*/ 75 w 172"/>
                <a:gd name="T75" fmla="*/ 24 h 180"/>
                <a:gd name="T76" fmla="*/ 67 w 172"/>
                <a:gd name="T77" fmla="*/ 1 h 180"/>
                <a:gd name="T78" fmla="*/ 12 w 172"/>
                <a:gd name="T79" fmla="*/ 5 h 180"/>
                <a:gd name="T80" fmla="*/ 25 w 172"/>
                <a:gd name="T81" fmla="*/ 42 h 180"/>
                <a:gd name="T82" fmla="*/ 32 w 172"/>
                <a:gd name="T83" fmla="*/ 81 h 180"/>
                <a:gd name="T84" fmla="*/ 11 w 172"/>
                <a:gd name="T85" fmla="*/ 130 h 180"/>
                <a:gd name="T86" fmla="*/ 2 w 172"/>
                <a:gd name="T87" fmla="*/ 170 h 180"/>
                <a:gd name="T88" fmla="*/ 14 w 172"/>
                <a:gd name="T89" fmla="*/ 167 h 180"/>
                <a:gd name="T90" fmla="*/ 31 w 172"/>
                <a:gd name="T91" fmla="*/ 169 h 180"/>
                <a:gd name="T92" fmla="*/ 95 w 172"/>
                <a:gd name="T93" fmla="*/ 173 h 1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80">
                  <a:moveTo>
                    <a:pt x="137" y="180"/>
                  </a:moveTo>
                  <a:cubicBezTo>
                    <a:pt x="135" y="180"/>
                    <a:pt x="132" y="179"/>
                    <a:pt x="131" y="179"/>
                  </a:cubicBezTo>
                  <a:cubicBezTo>
                    <a:pt x="130" y="178"/>
                    <a:pt x="128" y="178"/>
                    <a:pt x="121" y="178"/>
                  </a:cubicBezTo>
                  <a:cubicBezTo>
                    <a:pt x="112" y="178"/>
                    <a:pt x="100" y="179"/>
                    <a:pt x="99" y="179"/>
                  </a:cubicBezTo>
                  <a:cubicBezTo>
                    <a:pt x="99" y="179"/>
                    <a:pt x="99" y="179"/>
                    <a:pt x="99" y="179"/>
                  </a:cubicBezTo>
                  <a:cubicBezTo>
                    <a:pt x="99" y="178"/>
                    <a:pt x="99" y="178"/>
                    <a:pt x="99" y="178"/>
                  </a:cubicBezTo>
                  <a:cubicBezTo>
                    <a:pt x="94" y="173"/>
                    <a:pt x="94" y="173"/>
                    <a:pt x="94" y="173"/>
                  </a:cubicBezTo>
                  <a:cubicBezTo>
                    <a:pt x="44" y="173"/>
                    <a:pt x="44" y="173"/>
                    <a:pt x="44" y="173"/>
                  </a:cubicBezTo>
                  <a:cubicBezTo>
                    <a:pt x="39" y="173"/>
                    <a:pt x="35" y="173"/>
                    <a:pt x="31" y="170"/>
                  </a:cubicBezTo>
                  <a:cubicBezTo>
                    <a:pt x="27" y="167"/>
                    <a:pt x="23" y="167"/>
                    <a:pt x="17" y="169"/>
                  </a:cubicBezTo>
                  <a:cubicBezTo>
                    <a:pt x="16" y="169"/>
                    <a:pt x="16" y="170"/>
                    <a:pt x="15" y="170"/>
                  </a:cubicBezTo>
                  <a:cubicBezTo>
                    <a:pt x="14" y="170"/>
                    <a:pt x="13" y="169"/>
                    <a:pt x="13" y="168"/>
                  </a:cubicBezTo>
                  <a:cubicBezTo>
                    <a:pt x="12" y="167"/>
                    <a:pt x="12" y="166"/>
                    <a:pt x="11" y="166"/>
                  </a:cubicBezTo>
                  <a:cubicBezTo>
                    <a:pt x="7" y="166"/>
                    <a:pt x="6" y="170"/>
                    <a:pt x="6" y="170"/>
                  </a:cubicBezTo>
                  <a:cubicBezTo>
                    <a:pt x="6" y="170"/>
                    <a:pt x="6" y="170"/>
                    <a:pt x="6" y="170"/>
                  </a:cubicBezTo>
                  <a:cubicBezTo>
                    <a:pt x="0" y="171"/>
                    <a:pt x="0" y="171"/>
                    <a:pt x="0" y="171"/>
                  </a:cubicBezTo>
                  <a:cubicBezTo>
                    <a:pt x="0" y="170"/>
                    <a:pt x="0" y="170"/>
                    <a:pt x="0" y="170"/>
                  </a:cubicBezTo>
                  <a:cubicBezTo>
                    <a:pt x="0" y="170"/>
                    <a:pt x="0" y="170"/>
                    <a:pt x="1" y="170"/>
                  </a:cubicBezTo>
                  <a:cubicBezTo>
                    <a:pt x="1" y="166"/>
                    <a:pt x="3" y="154"/>
                    <a:pt x="2" y="150"/>
                  </a:cubicBezTo>
                  <a:cubicBezTo>
                    <a:pt x="2" y="149"/>
                    <a:pt x="4" y="146"/>
                    <a:pt x="5" y="143"/>
                  </a:cubicBezTo>
                  <a:cubicBezTo>
                    <a:pt x="7" y="140"/>
                    <a:pt x="10" y="135"/>
                    <a:pt x="10" y="130"/>
                  </a:cubicBezTo>
                  <a:cubicBezTo>
                    <a:pt x="10" y="122"/>
                    <a:pt x="15" y="108"/>
                    <a:pt x="21" y="102"/>
                  </a:cubicBezTo>
                  <a:cubicBezTo>
                    <a:pt x="21" y="101"/>
                    <a:pt x="22" y="101"/>
                    <a:pt x="22" y="100"/>
                  </a:cubicBezTo>
                  <a:cubicBezTo>
                    <a:pt x="27" y="95"/>
                    <a:pt x="32" y="89"/>
                    <a:pt x="31" y="81"/>
                  </a:cubicBezTo>
                  <a:cubicBezTo>
                    <a:pt x="30" y="77"/>
                    <a:pt x="28" y="71"/>
                    <a:pt x="26" y="65"/>
                  </a:cubicBezTo>
                  <a:cubicBezTo>
                    <a:pt x="24" y="60"/>
                    <a:pt x="22" y="54"/>
                    <a:pt x="22" y="50"/>
                  </a:cubicBezTo>
                  <a:cubicBezTo>
                    <a:pt x="22" y="47"/>
                    <a:pt x="23" y="44"/>
                    <a:pt x="24" y="42"/>
                  </a:cubicBezTo>
                  <a:cubicBezTo>
                    <a:pt x="24" y="39"/>
                    <a:pt x="25" y="37"/>
                    <a:pt x="24" y="35"/>
                  </a:cubicBezTo>
                  <a:cubicBezTo>
                    <a:pt x="23" y="34"/>
                    <a:pt x="23" y="34"/>
                    <a:pt x="23" y="34"/>
                  </a:cubicBezTo>
                  <a:cubicBezTo>
                    <a:pt x="21" y="28"/>
                    <a:pt x="14" y="14"/>
                    <a:pt x="11" y="5"/>
                  </a:cubicBezTo>
                  <a:cubicBezTo>
                    <a:pt x="11" y="5"/>
                    <a:pt x="11" y="5"/>
                    <a:pt x="11" y="5"/>
                  </a:cubicBezTo>
                  <a:cubicBezTo>
                    <a:pt x="12" y="4"/>
                    <a:pt x="12" y="4"/>
                    <a:pt x="12" y="4"/>
                  </a:cubicBezTo>
                  <a:cubicBezTo>
                    <a:pt x="16" y="2"/>
                    <a:pt x="18" y="0"/>
                    <a:pt x="20" y="0"/>
                  </a:cubicBezTo>
                  <a:cubicBezTo>
                    <a:pt x="21" y="0"/>
                    <a:pt x="26" y="0"/>
                    <a:pt x="34" y="0"/>
                  </a:cubicBezTo>
                  <a:cubicBezTo>
                    <a:pt x="48" y="0"/>
                    <a:pt x="67" y="0"/>
                    <a:pt x="67" y="0"/>
                  </a:cubicBezTo>
                  <a:cubicBezTo>
                    <a:pt x="68" y="0"/>
                    <a:pt x="68" y="0"/>
                    <a:pt x="68" y="0"/>
                  </a:cubicBezTo>
                  <a:cubicBezTo>
                    <a:pt x="68" y="0"/>
                    <a:pt x="68" y="0"/>
                    <a:pt x="68" y="0"/>
                  </a:cubicBezTo>
                  <a:cubicBezTo>
                    <a:pt x="68" y="0"/>
                    <a:pt x="72" y="7"/>
                    <a:pt x="70" y="13"/>
                  </a:cubicBezTo>
                  <a:cubicBezTo>
                    <a:pt x="70" y="16"/>
                    <a:pt x="70" y="16"/>
                    <a:pt x="72" y="17"/>
                  </a:cubicBezTo>
                  <a:cubicBezTo>
                    <a:pt x="73" y="18"/>
                    <a:pt x="75" y="20"/>
                    <a:pt x="76" y="23"/>
                  </a:cubicBezTo>
                  <a:cubicBezTo>
                    <a:pt x="79" y="29"/>
                    <a:pt x="81" y="33"/>
                    <a:pt x="85" y="33"/>
                  </a:cubicBezTo>
                  <a:cubicBezTo>
                    <a:pt x="86" y="33"/>
                    <a:pt x="87" y="32"/>
                    <a:pt x="88" y="32"/>
                  </a:cubicBezTo>
                  <a:cubicBezTo>
                    <a:pt x="93" y="30"/>
                    <a:pt x="99" y="29"/>
                    <a:pt x="103" y="29"/>
                  </a:cubicBezTo>
                  <a:cubicBezTo>
                    <a:pt x="104" y="29"/>
                    <a:pt x="104" y="29"/>
                    <a:pt x="105" y="30"/>
                  </a:cubicBezTo>
                  <a:cubicBezTo>
                    <a:pt x="105" y="30"/>
                    <a:pt x="105" y="30"/>
                    <a:pt x="105" y="30"/>
                  </a:cubicBezTo>
                  <a:cubicBezTo>
                    <a:pt x="106" y="30"/>
                    <a:pt x="106" y="27"/>
                    <a:pt x="106" y="25"/>
                  </a:cubicBezTo>
                  <a:cubicBezTo>
                    <a:pt x="107" y="22"/>
                    <a:pt x="108" y="18"/>
                    <a:pt x="110" y="17"/>
                  </a:cubicBezTo>
                  <a:cubicBezTo>
                    <a:pt x="111" y="16"/>
                    <a:pt x="113" y="16"/>
                    <a:pt x="115" y="16"/>
                  </a:cubicBezTo>
                  <a:cubicBezTo>
                    <a:pt x="119" y="16"/>
                    <a:pt x="122" y="17"/>
                    <a:pt x="122" y="17"/>
                  </a:cubicBezTo>
                  <a:cubicBezTo>
                    <a:pt x="123" y="17"/>
                    <a:pt x="123" y="17"/>
                    <a:pt x="123" y="17"/>
                  </a:cubicBezTo>
                  <a:cubicBezTo>
                    <a:pt x="123" y="17"/>
                    <a:pt x="123" y="17"/>
                    <a:pt x="123" y="17"/>
                  </a:cubicBezTo>
                  <a:cubicBezTo>
                    <a:pt x="123" y="17"/>
                    <a:pt x="123" y="20"/>
                    <a:pt x="129" y="20"/>
                  </a:cubicBezTo>
                  <a:cubicBezTo>
                    <a:pt x="131" y="20"/>
                    <a:pt x="133" y="20"/>
                    <a:pt x="134" y="19"/>
                  </a:cubicBezTo>
                  <a:cubicBezTo>
                    <a:pt x="135" y="19"/>
                    <a:pt x="136" y="19"/>
                    <a:pt x="137" y="19"/>
                  </a:cubicBezTo>
                  <a:cubicBezTo>
                    <a:pt x="139" y="19"/>
                    <a:pt x="139" y="20"/>
                    <a:pt x="139" y="22"/>
                  </a:cubicBezTo>
                  <a:cubicBezTo>
                    <a:pt x="139" y="28"/>
                    <a:pt x="140" y="32"/>
                    <a:pt x="142" y="33"/>
                  </a:cubicBezTo>
                  <a:cubicBezTo>
                    <a:pt x="143" y="35"/>
                    <a:pt x="142" y="37"/>
                    <a:pt x="141" y="42"/>
                  </a:cubicBezTo>
                  <a:cubicBezTo>
                    <a:pt x="140" y="47"/>
                    <a:pt x="138" y="53"/>
                    <a:pt x="140" y="54"/>
                  </a:cubicBezTo>
                  <a:cubicBezTo>
                    <a:pt x="143" y="57"/>
                    <a:pt x="148" y="63"/>
                    <a:pt x="147" y="66"/>
                  </a:cubicBezTo>
                  <a:cubicBezTo>
                    <a:pt x="147" y="67"/>
                    <a:pt x="147" y="67"/>
                    <a:pt x="147" y="67"/>
                  </a:cubicBezTo>
                  <a:cubicBezTo>
                    <a:pt x="146" y="70"/>
                    <a:pt x="145" y="77"/>
                    <a:pt x="147" y="77"/>
                  </a:cubicBezTo>
                  <a:cubicBezTo>
                    <a:pt x="148" y="77"/>
                    <a:pt x="148" y="77"/>
                    <a:pt x="149" y="76"/>
                  </a:cubicBezTo>
                  <a:cubicBezTo>
                    <a:pt x="150" y="75"/>
                    <a:pt x="152" y="73"/>
                    <a:pt x="154" y="73"/>
                  </a:cubicBezTo>
                  <a:cubicBezTo>
                    <a:pt x="155" y="73"/>
                    <a:pt x="156" y="73"/>
                    <a:pt x="157" y="73"/>
                  </a:cubicBezTo>
                  <a:cubicBezTo>
                    <a:pt x="158" y="73"/>
                    <a:pt x="159" y="73"/>
                    <a:pt x="160" y="73"/>
                  </a:cubicBezTo>
                  <a:cubicBezTo>
                    <a:pt x="162" y="73"/>
                    <a:pt x="164" y="73"/>
                    <a:pt x="167" y="72"/>
                  </a:cubicBezTo>
                  <a:cubicBezTo>
                    <a:pt x="168" y="72"/>
                    <a:pt x="170" y="72"/>
                    <a:pt x="171" y="72"/>
                  </a:cubicBezTo>
                  <a:cubicBezTo>
                    <a:pt x="172" y="72"/>
                    <a:pt x="172" y="72"/>
                    <a:pt x="172" y="72"/>
                  </a:cubicBezTo>
                  <a:cubicBezTo>
                    <a:pt x="172" y="73"/>
                    <a:pt x="172" y="73"/>
                    <a:pt x="172" y="73"/>
                  </a:cubicBezTo>
                  <a:cubicBezTo>
                    <a:pt x="169" y="102"/>
                    <a:pt x="169" y="102"/>
                    <a:pt x="169" y="102"/>
                  </a:cubicBezTo>
                  <a:cubicBezTo>
                    <a:pt x="165" y="106"/>
                    <a:pt x="165" y="106"/>
                    <a:pt x="165" y="106"/>
                  </a:cubicBezTo>
                  <a:cubicBezTo>
                    <a:pt x="143" y="105"/>
                    <a:pt x="143" y="105"/>
                    <a:pt x="143" y="105"/>
                  </a:cubicBezTo>
                  <a:cubicBezTo>
                    <a:pt x="142" y="153"/>
                    <a:pt x="142" y="153"/>
                    <a:pt x="142" y="153"/>
                  </a:cubicBezTo>
                  <a:cubicBezTo>
                    <a:pt x="159" y="176"/>
                    <a:pt x="159" y="176"/>
                    <a:pt x="159" y="176"/>
                  </a:cubicBezTo>
                  <a:cubicBezTo>
                    <a:pt x="158" y="176"/>
                    <a:pt x="158" y="176"/>
                    <a:pt x="158" y="176"/>
                  </a:cubicBezTo>
                  <a:cubicBezTo>
                    <a:pt x="156" y="177"/>
                    <a:pt x="155" y="177"/>
                    <a:pt x="154" y="177"/>
                  </a:cubicBezTo>
                  <a:cubicBezTo>
                    <a:pt x="151" y="178"/>
                    <a:pt x="143" y="180"/>
                    <a:pt x="137" y="180"/>
                  </a:cubicBezTo>
                  <a:close/>
                  <a:moveTo>
                    <a:pt x="121" y="177"/>
                  </a:moveTo>
                  <a:cubicBezTo>
                    <a:pt x="127" y="177"/>
                    <a:pt x="130" y="177"/>
                    <a:pt x="132" y="178"/>
                  </a:cubicBezTo>
                  <a:cubicBezTo>
                    <a:pt x="133" y="178"/>
                    <a:pt x="135" y="179"/>
                    <a:pt x="137" y="179"/>
                  </a:cubicBezTo>
                  <a:cubicBezTo>
                    <a:pt x="143" y="179"/>
                    <a:pt x="151" y="177"/>
                    <a:pt x="154" y="176"/>
                  </a:cubicBezTo>
                  <a:cubicBezTo>
                    <a:pt x="154" y="176"/>
                    <a:pt x="155" y="176"/>
                    <a:pt x="157" y="175"/>
                  </a:cubicBezTo>
                  <a:cubicBezTo>
                    <a:pt x="141" y="153"/>
                    <a:pt x="141" y="153"/>
                    <a:pt x="141" y="153"/>
                  </a:cubicBezTo>
                  <a:cubicBezTo>
                    <a:pt x="141" y="153"/>
                    <a:pt x="141" y="153"/>
                    <a:pt x="141" y="153"/>
                  </a:cubicBezTo>
                  <a:cubicBezTo>
                    <a:pt x="142" y="104"/>
                    <a:pt x="142" y="104"/>
                    <a:pt x="142" y="104"/>
                  </a:cubicBezTo>
                  <a:cubicBezTo>
                    <a:pt x="143" y="104"/>
                    <a:pt x="143" y="104"/>
                    <a:pt x="143" y="104"/>
                  </a:cubicBezTo>
                  <a:cubicBezTo>
                    <a:pt x="164" y="105"/>
                    <a:pt x="164" y="105"/>
                    <a:pt x="164" y="105"/>
                  </a:cubicBezTo>
                  <a:cubicBezTo>
                    <a:pt x="168" y="101"/>
                    <a:pt x="168" y="101"/>
                    <a:pt x="168" y="101"/>
                  </a:cubicBezTo>
                  <a:cubicBezTo>
                    <a:pt x="171" y="73"/>
                    <a:pt x="171" y="73"/>
                    <a:pt x="171" y="73"/>
                  </a:cubicBezTo>
                  <a:cubicBezTo>
                    <a:pt x="170" y="73"/>
                    <a:pt x="168" y="73"/>
                    <a:pt x="167" y="73"/>
                  </a:cubicBezTo>
                  <a:cubicBezTo>
                    <a:pt x="164" y="74"/>
                    <a:pt x="162" y="74"/>
                    <a:pt x="160" y="74"/>
                  </a:cubicBezTo>
                  <a:cubicBezTo>
                    <a:pt x="159" y="74"/>
                    <a:pt x="158" y="74"/>
                    <a:pt x="157" y="74"/>
                  </a:cubicBezTo>
                  <a:cubicBezTo>
                    <a:pt x="156" y="74"/>
                    <a:pt x="155" y="74"/>
                    <a:pt x="154" y="74"/>
                  </a:cubicBezTo>
                  <a:cubicBezTo>
                    <a:pt x="152" y="74"/>
                    <a:pt x="151" y="76"/>
                    <a:pt x="150" y="77"/>
                  </a:cubicBezTo>
                  <a:cubicBezTo>
                    <a:pt x="149" y="77"/>
                    <a:pt x="148" y="78"/>
                    <a:pt x="147" y="78"/>
                  </a:cubicBezTo>
                  <a:cubicBezTo>
                    <a:pt x="147" y="78"/>
                    <a:pt x="147" y="78"/>
                    <a:pt x="146" y="78"/>
                  </a:cubicBezTo>
                  <a:cubicBezTo>
                    <a:pt x="144" y="78"/>
                    <a:pt x="145" y="72"/>
                    <a:pt x="146" y="67"/>
                  </a:cubicBezTo>
                  <a:cubicBezTo>
                    <a:pt x="146" y="66"/>
                    <a:pt x="146" y="66"/>
                    <a:pt x="146" y="66"/>
                  </a:cubicBezTo>
                  <a:cubicBezTo>
                    <a:pt x="147" y="63"/>
                    <a:pt x="142" y="57"/>
                    <a:pt x="139" y="55"/>
                  </a:cubicBezTo>
                  <a:cubicBezTo>
                    <a:pt x="137" y="53"/>
                    <a:pt x="139" y="48"/>
                    <a:pt x="140" y="42"/>
                  </a:cubicBezTo>
                  <a:cubicBezTo>
                    <a:pt x="141" y="39"/>
                    <a:pt x="142" y="35"/>
                    <a:pt x="141" y="34"/>
                  </a:cubicBezTo>
                  <a:cubicBezTo>
                    <a:pt x="139" y="32"/>
                    <a:pt x="138" y="25"/>
                    <a:pt x="138" y="22"/>
                  </a:cubicBezTo>
                  <a:cubicBezTo>
                    <a:pt x="138" y="20"/>
                    <a:pt x="138" y="20"/>
                    <a:pt x="137" y="20"/>
                  </a:cubicBezTo>
                  <a:cubicBezTo>
                    <a:pt x="136" y="20"/>
                    <a:pt x="135" y="20"/>
                    <a:pt x="134" y="20"/>
                  </a:cubicBezTo>
                  <a:cubicBezTo>
                    <a:pt x="133" y="21"/>
                    <a:pt x="131" y="21"/>
                    <a:pt x="129" y="21"/>
                  </a:cubicBezTo>
                  <a:cubicBezTo>
                    <a:pt x="124" y="21"/>
                    <a:pt x="122" y="18"/>
                    <a:pt x="122" y="18"/>
                  </a:cubicBezTo>
                  <a:cubicBezTo>
                    <a:pt x="121" y="17"/>
                    <a:pt x="118" y="17"/>
                    <a:pt x="115" y="17"/>
                  </a:cubicBezTo>
                  <a:cubicBezTo>
                    <a:pt x="113" y="17"/>
                    <a:pt x="112" y="17"/>
                    <a:pt x="111" y="18"/>
                  </a:cubicBezTo>
                  <a:cubicBezTo>
                    <a:pt x="109" y="18"/>
                    <a:pt x="108" y="22"/>
                    <a:pt x="107" y="25"/>
                  </a:cubicBezTo>
                  <a:cubicBezTo>
                    <a:pt x="107" y="28"/>
                    <a:pt x="106" y="31"/>
                    <a:pt x="105" y="31"/>
                  </a:cubicBezTo>
                  <a:cubicBezTo>
                    <a:pt x="105" y="31"/>
                    <a:pt x="105" y="31"/>
                    <a:pt x="105" y="30"/>
                  </a:cubicBezTo>
                  <a:cubicBezTo>
                    <a:pt x="104" y="30"/>
                    <a:pt x="104" y="30"/>
                    <a:pt x="103" y="30"/>
                  </a:cubicBezTo>
                  <a:cubicBezTo>
                    <a:pt x="99" y="30"/>
                    <a:pt x="93" y="31"/>
                    <a:pt x="88" y="33"/>
                  </a:cubicBezTo>
                  <a:cubicBezTo>
                    <a:pt x="81" y="35"/>
                    <a:pt x="78" y="32"/>
                    <a:pt x="75" y="24"/>
                  </a:cubicBezTo>
                  <a:cubicBezTo>
                    <a:pt x="74" y="20"/>
                    <a:pt x="72" y="19"/>
                    <a:pt x="71" y="18"/>
                  </a:cubicBezTo>
                  <a:cubicBezTo>
                    <a:pt x="70" y="17"/>
                    <a:pt x="69" y="16"/>
                    <a:pt x="69" y="12"/>
                  </a:cubicBezTo>
                  <a:cubicBezTo>
                    <a:pt x="70" y="8"/>
                    <a:pt x="68" y="2"/>
                    <a:pt x="67" y="1"/>
                  </a:cubicBezTo>
                  <a:cubicBezTo>
                    <a:pt x="65" y="1"/>
                    <a:pt x="47" y="1"/>
                    <a:pt x="34" y="1"/>
                  </a:cubicBezTo>
                  <a:cubicBezTo>
                    <a:pt x="26" y="1"/>
                    <a:pt x="22" y="1"/>
                    <a:pt x="20" y="1"/>
                  </a:cubicBezTo>
                  <a:cubicBezTo>
                    <a:pt x="19" y="1"/>
                    <a:pt x="17" y="2"/>
                    <a:pt x="12" y="5"/>
                  </a:cubicBezTo>
                  <a:cubicBezTo>
                    <a:pt x="15" y="14"/>
                    <a:pt x="22" y="28"/>
                    <a:pt x="24" y="33"/>
                  </a:cubicBezTo>
                  <a:cubicBezTo>
                    <a:pt x="25" y="35"/>
                    <a:pt x="25" y="35"/>
                    <a:pt x="25" y="35"/>
                  </a:cubicBezTo>
                  <a:cubicBezTo>
                    <a:pt x="26" y="37"/>
                    <a:pt x="25" y="40"/>
                    <a:pt x="25" y="42"/>
                  </a:cubicBezTo>
                  <a:cubicBezTo>
                    <a:pt x="24" y="44"/>
                    <a:pt x="23" y="47"/>
                    <a:pt x="23" y="50"/>
                  </a:cubicBezTo>
                  <a:cubicBezTo>
                    <a:pt x="23" y="54"/>
                    <a:pt x="25" y="59"/>
                    <a:pt x="27" y="65"/>
                  </a:cubicBezTo>
                  <a:cubicBezTo>
                    <a:pt x="29" y="71"/>
                    <a:pt x="31" y="76"/>
                    <a:pt x="32" y="81"/>
                  </a:cubicBezTo>
                  <a:cubicBezTo>
                    <a:pt x="33" y="89"/>
                    <a:pt x="28" y="95"/>
                    <a:pt x="23" y="101"/>
                  </a:cubicBezTo>
                  <a:cubicBezTo>
                    <a:pt x="22" y="101"/>
                    <a:pt x="22" y="102"/>
                    <a:pt x="21" y="102"/>
                  </a:cubicBezTo>
                  <a:cubicBezTo>
                    <a:pt x="16" y="109"/>
                    <a:pt x="11" y="122"/>
                    <a:pt x="11" y="130"/>
                  </a:cubicBezTo>
                  <a:cubicBezTo>
                    <a:pt x="11" y="135"/>
                    <a:pt x="8" y="140"/>
                    <a:pt x="6" y="144"/>
                  </a:cubicBezTo>
                  <a:cubicBezTo>
                    <a:pt x="5" y="147"/>
                    <a:pt x="3" y="149"/>
                    <a:pt x="3" y="150"/>
                  </a:cubicBezTo>
                  <a:cubicBezTo>
                    <a:pt x="4" y="154"/>
                    <a:pt x="2" y="165"/>
                    <a:pt x="2" y="170"/>
                  </a:cubicBezTo>
                  <a:cubicBezTo>
                    <a:pt x="5" y="169"/>
                    <a:pt x="5" y="169"/>
                    <a:pt x="5" y="169"/>
                  </a:cubicBezTo>
                  <a:cubicBezTo>
                    <a:pt x="6" y="168"/>
                    <a:pt x="7" y="165"/>
                    <a:pt x="11" y="165"/>
                  </a:cubicBezTo>
                  <a:cubicBezTo>
                    <a:pt x="12" y="165"/>
                    <a:pt x="13" y="166"/>
                    <a:pt x="14" y="167"/>
                  </a:cubicBezTo>
                  <a:cubicBezTo>
                    <a:pt x="14" y="168"/>
                    <a:pt x="14" y="169"/>
                    <a:pt x="15" y="169"/>
                  </a:cubicBezTo>
                  <a:cubicBezTo>
                    <a:pt x="16" y="169"/>
                    <a:pt x="16" y="168"/>
                    <a:pt x="17" y="168"/>
                  </a:cubicBezTo>
                  <a:cubicBezTo>
                    <a:pt x="23" y="166"/>
                    <a:pt x="27" y="166"/>
                    <a:pt x="31" y="169"/>
                  </a:cubicBezTo>
                  <a:cubicBezTo>
                    <a:pt x="36" y="172"/>
                    <a:pt x="39" y="172"/>
                    <a:pt x="44" y="172"/>
                  </a:cubicBezTo>
                  <a:cubicBezTo>
                    <a:pt x="94" y="172"/>
                    <a:pt x="94" y="172"/>
                    <a:pt x="94" y="172"/>
                  </a:cubicBezTo>
                  <a:cubicBezTo>
                    <a:pt x="95" y="173"/>
                    <a:pt x="95" y="173"/>
                    <a:pt x="95" y="173"/>
                  </a:cubicBezTo>
                  <a:cubicBezTo>
                    <a:pt x="100" y="178"/>
                    <a:pt x="100" y="178"/>
                    <a:pt x="100" y="178"/>
                  </a:cubicBezTo>
                  <a:cubicBezTo>
                    <a:pt x="101" y="177"/>
                    <a:pt x="112" y="177"/>
                    <a:pt x="121" y="1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85" name="Freeform 12"/>
            <p:cNvSpPr>
              <a:spLocks noEditPoints="1"/>
            </p:cNvSpPr>
            <p:nvPr/>
          </p:nvSpPr>
          <p:spPr>
            <a:xfrm>
              <a:off x="5310189" y="4013200"/>
              <a:ext cx="284163" cy="250825"/>
            </a:xfrm>
            <a:custGeom>
              <a:gdLst>
                <a:gd name="T0" fmla="*/ 52 w 168"/>
                <a:gd name="T1" fmla="*/ 144 h 148"/>
                <a:gd name="T2" fmla="*/ 44 w 168"/>
                <a:gd name="T3" fmla="*/ 145 h 148"/>
                <a:gd name="T4" fmla="*/ 17 w 168"/>
                <a:gd name="T5" fmla="*/ 143 h 148"/>
                <a:gd name="T6" fmla="*/ 0 w 168"/>
                <a:gd name="T7" fmla="*/ 120 h 148"/>
                <a:gd name="T8" fmla="*/ 2 w 168"/>
                <a:gd name="T9" fmla="*/ 71 h 148"/>
                <a:gd name="T10" fmla="*/ 30 w 168"/>
                <a:gd name="T11" fmla="*/ 39 h 148"/>
                <a:gd name="T12" fmla="*/ 37 w 168"/>
                <a:gd name="T13" fmla="*/ 46 h 148"/>
                <a:gd name="T14" fmla="*/ 47 w 168"/>
                <a:gd name="T15" fmla="*/ 45 h 148"/>
                <a:gd name="T16" fmla="*/ 51 w 168"/>
                <a:gd name="T17" fmla="*/ 53 h 148"/>
                <a:gd name="T18" fmla="*/ 70 w 168"/>
                <a:gd name="T19" fmla="*/ 55 h 148"/>
                <a:gd name="T20" fmla="*/ 83 w 168"/>
                <a:gd name="T21" fmla="*/ 60 h 148"/>
                <a:gd name="T22" fmla="*/ 104 w 168"/>
                <a:gd name="T23" fmla="*/ 76 h 148"/>
                <a:gd name="T24" fmla="*/ 111 w 168"/>
                <a:gd name="T25" fmla="*/ 59 h 148"/>
                <a:gd name="T26" fmla="*/ 101 w 168"/>
                <a:gd name="T27" fmla="*/ 63 h 148"/>
                <a:gd name="T28" fmla="*/ 92 w 168"/>
                <a:gd name="T29" fmla="*/ 44 h 148"/>
                <a:gd name="T30" fmla="*/ 95 w 168"/>
                <a:gd name="T31" fmla="*/ 21 h 148"/>
                <a:gd name="T32" fmla="*/ 98 w 168"/>
                <a:gd name="T33" fmla="*/ 8 h 148"/>
                <a:gd name="T34" fmla="*/ 103 w 168"/>
                <a:gd name="T35" fmla="*/ 3 h 148"/>
                <a:gd name="T36" fmla="*/ 119 w 168"/>
                <a:gd name="T37" fmla="*/ 0 h 148"/>
                <a:gd name="T38" fmla="*/ 137 w 168"/>
                <a:gd name="T39" fmla="*/ 9 h 148"/>
                <a:gd name="T40" fmla="*/ 168 w 168"/>
                <a:gd name="T41" fmla="*/ 36 h 148"/>
                <a:gd name="T42" fmla="*/ 166 w 168"/>
                <a:gd name="T43" fmla="*/ 38 h 148"/>
                <a:gd name="T44" fmla="*/ 164 w 168"/>
                <a:gd name="T45" fmla="*/ 64 h 148"/>
                <a:gd name="T46" fmla="*/ 155 w 168"/>
                <a:gd name="T47" fmla="*/ 81 h 148"/>
                <a:gd name="T48" fmla="*/ 158 w 168"/>
                <a:gd name="T49" fmla="*/ 87 h 148"/>
                <a:gd name="T50" fmla="*/ 121 w 168"/>
                <a:gd name="T51" fmla="*/ 113 h 148"/>
                <a:gd name="T52" fmla="*/ 86 w 168"/>
                <a:gd name="T53" fmla="*/ 131 h 148"/>
                <a:gd name="T54" fmla="*/ 68 w 168"/>
                <a:gd name="T55" fmla="*/ 148 h 148"/>
                <a:gd name="T56" fmla="*/ 57 w 168"/>
                <a:gd name="T57" fmla="*/ 144 h 148"/>
                <a:gd name="T58" fmla="*/ 76 w 168"/>
                <a:gd name="T59" fmla="*/ 140 h 148"/>
                <a:gd name="T60" fmla="*/ 107 w 168"/>
                <a:gd name="T61" fmla="*/ 112 h 148"/>
                <a:gd name="T62" fmla="*/ 117 w 168"/>
                <a:gd name="T63" fmla="*/ 101 h 148"/>
                <a:gd name="T64" fmla="*/ 154 w 168"/>
                <a:gd name="T65" fmla="*/ 81 h 148"/>
                <a:gd name="T66" fmla="*/ 161 w 168"/>
                <a:gd name="T67" fmla="*/ 64 h 148"/>
                <a:gd name="T68" fmla="*/ 162 w 168"/>
                <a:gd name="T69" fmla="*/ 39 h 148"/>
                <a:gd name="T70" fmla="*/ 167 w 168"/>
                <a:gd name="T71" fmla="*/ 37 h 148"/>
                <a:gd name="T72" fmla="*/ 142 w 168"/>
                <a:gd name="T73" fmla="*/ 13 h 148"/>
                <a:gd name="T74" fmla="*/ 119 w 168"/>
                <a:gd name="T75" fmla="*/ 1 h 148"/>
                <a:gd name="T76" fmla="*/ 99 w 168"/>
                <a:gd name="T77" fmla="*/ 4 h 148"/>
                <a:gd name="T78" fmla="*/ 94 w 168"/>
                <a:gd name="T79" fmla="*/ 19 h 148"/>
                <a:gd name="T80" fmla="*/ 95 w 168"/>
                <a:gd name="T81" fmla="*/ 37 h 148"/>
                <a:gd name="T82" fmla="*/ 94 w 168"/>
                <a:gd name="T83" fmla="*/ 54 h 148"/>
                <a:gd name="T84" fmla="*/ 108 w 168"/>
                <a:gd name="T85" fmla="*/ 60 h 148"/>
                <a:gd name="T86" fmla="*/ 110 w 168"/>
                <a:gd name="T87" fmla="*/ 76 h 148"/>
                <a:gd name="T88" fmla="*/ 99 w 168"/>
                <a:gd name="T89" fmla="*/ 76 h 148"/>
                <a:gd name="T90" fmla="*/ 75 w 168"/>
                <a:gd name="T91" fmla="*/ 53 h 148"/>
                <a:gd name="T92" fmla="*/ 64 w 168"/>
                <a:gd name="T93" fmla="*/ 57 h 148"/>
                <a:gd name="T94" fmla="*/ 52 w 168"/>
                <a:gd name="T95" fmla="*/ 54 h 148"/>
                <a:gd name="T96" fmla="*/ 46 w 168"/>
                <a:gd name="T97" fmla="*/ 46 h 148"/>
                <a:gd name="T98" fmla="*/ 37 w 168"/>
                <a:gd name="T99" fmla="*/ 47 h 148"/>
                <a:gd name="T100" fmla="*/ 31 w 168"/>
                <a:gd name="T101" fmla="*/ 41 h 148"/>
                <a:gd name="T102" fmla="*/ 24 w 168"/>
                <a:gd name="T103" fmla="*/ 73 h 148"/>
                <a:gd name="T104" fmla="*/ 17 w 168"/>
                <a:gd name="T105" fmla="*/ 142 h 148"/>
                <a:gd name="T106" fmla="*/ 45 w 168"/>
                <a:gd name="T107" fmla="*/ 144 h 1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 h="148">
                  <a:moveTo>
                    <a:pt x="68" y="148"/>
                  </a:moveTo>
                  <a:cubicBezTo>
                    <a:pt x="65" y="148"/>
                    <a:pt x="61" y="146"/>
                    <a:pt x="57" y="145"/>
                  </a:cubicBezTo>
                  <a:cubicBezTo>
                    <a:pt x="55" y="145"/>
                    <a:pt x="53" y="144"/>
                    <a:pt x="52" y="144"/>
                  </a:cubicBezTo>
                  <a:cubicBezTo>
                    <a:pt x="50" y="144"/>
                    <a:pt x="47" y="145"/>
                    <a:pt x="45" y="145"/>
                  </a:cubicBezTo>
                  <a:cubicBezTo>
                    <a:pt x="44" y="145"/>
                    <a:pt x="44" y="145"/>
                    <a:pt x="44" y="145"/>
                  </a:cubicBezTo>
                  <a:cubicBezTo>
                    <a:pt x="44" y="145"/>
                    <a:pt x="44" y="145"/>
                    <a:pt x="44" y="145"/>
                  </a:cubicBezTo>
                  <a:cubicBezTo>
                    <a:pt x="43" y="144"/>
                    <a:pt x="43" y="142"/>
                    <a:pt x="43" y="141"/>
                  </a:cubicBezTo>
                  <a:cubicBezTo>
                    <a:pt x="43" y="141"/>
                    <a:pt x="43" y="141"/>
                    <a:pt x="38" y="141"/>
                  </a:cubicBezTo>
                  <a:cubicBezTo>
                    <a:pt x="32" y="141"/>
                    <a:pt x="22" y="142"/>
                    <a:pt x="17" y="143"/>
                  </a:cubicBezTo>
                  <a:cubicBezTo>
                    <a:pt x="17" y="143"/>
                    <a:pt x="17" y="143"/>
                    <a:pt x="17" y="143"/>
                  </a:cubicBezTo>
                  <a:cubicBezTo>
                    <a:pt x="16" y="143"/>
                    <a:pt x="16" y="143"/>
                    <a:pt x="16" y="143"/>
                  </a:cubicBezTo>
                  <a:cubicBezTo>
                    <a:pt x="0" y="120"/>
                    <a:pt x="0" y="120"/>
                    <a:pt x="0" y="120"/>
                  </a:cubicBezTo>
                  <a:cubicBezTo>
                    <a:pt x="0" y="120"/>
                    <a:pt x="0" y="120"/>
                    <a:pt x="0" y="120"/>
                  </a:cubicBezTo>
                  <a:cubicBezTo>
                    <a:pt x="1" y="71"/>
                    <a:pt x="1" y="71"/>
                    <a:pt x="1" y="71"/>
                  </a:cubicBezTo>
                  <a:cubicBezTo>
                    <a:pt x="2" y="71"/>
                    <a:pt x="2" y="71"/>
                    <a:pt x="2" y="71"/>
                  </a:cubicBezTo>
                  <a:cubicBezTo>
                    <a:pt x="23" y="72"/>
                    <a:pt x="23" y="72"/>
                    <a:pt x="23" y="72"/>
                  </a:cubicBezTo>
                  <a:cubicBezTo>
                    <a:pt x="27" y="68"/>
                    <a:pt x="27" y="68"/>
                    <a:pt x="27" y="68"/>
                  </a:cubicBezTo>
                  <a:cubicBezTo>
                    <a:pt x="30" y="39"/>
                    <a:pt x="30" y="39"/>
                    <a:pt x="30" y="39"/>
                  </a:cubicBezTo>
                  <a:cubicBezTo>
                    <a:pt x="30" y="39"/>
                    <a:pt x="30" y="39"/>
                    <a:pt x="30" y="39"/>
                  </a:cubicBezTo>
                  <a:cubicBezTo>
                    <a:pt x="33" y="40"/>
                    <a:pt x="34" y="43"/>
                    <a:pt x="34" y="43"/>
                  </a:cubicBezTo>
                  <a:cubicBezTo>
                    <a:pt x="35" y="44"/>
                    <a:pt x="36" y="46"/>
                    <a:pt x="37" y="46"/>
                  </a:cubicBezTo>
                  <a:cubicBezTo>
                    <a:pt x="37" y="46"/>
                    <a:pt x="37" y="46"/>
                    <a:pt x="38" y="46"/>
                  </a:cubicBezTo>
                  <a:cubicBezTo>
                    <a:pt x="39" y="45"/>
                    <a:pt x="43" y="44"/>
                    <a:pt x="45" y="44"/>
                  </a:cubicBezTo>
                  <a:cubicBezTo>
                    <a:pt x="46" y="44"/>
                    <a:pt x="47" y="44"/>
                    <a:pt x="47" y="45"/>
                  </a:cubicBezTo>
                  <a:cubicBezTo>
                    <a:pt x="47" y="45"/>
                    <a:pt x="48" y="46"/>
                    <a:pt x="47" y="46"/>
                  </a:cubicBezTo>
                  <a:cubicBezTo>
                    <a:pt x="47" y="48"/>
                    <a:pt x="48" y="50"/>
                    <a:pt x="49" y="52"/>
                  </a:cubicBezTo>
                  <a:cubicBezTo>
                    <a:pt x="50" y="53"/>
                    <a:pt x="50" y="53"/>
                    <a:pt x="51" y="53"/>
                  </a:cubicBezTo>
                  <a:cubicBezTo>
                    <a:pt x="53" y="52"/>
                    <a:pt x="56" y="53"/>
                    <a:pt x="58" y="55"/>
                  </a:cubicBezTo>
                  <a:cubicBezTo>
                    <a:pt x="60" y="55"/>
                    <a:pt x="62" y="56"/>
                    <a:pt x="64" y="56"/>
                  </a:cubicBezTo>
                  <a:cubicBezTo>
                    <a:pt x="66" y="56"/>
                    <a:pt x="70" y="56"/>
                    <a:pt x="70" y="55"/>
                  </a:cubicBezTo>
                  <a:cubicBezTo>
                    <a:pt x="70" y="53"/>
                    <a:pt x="72" y="51"/>
                    <a:pt x="74" y="51"/>
                  </a:cubicBezTo>
                  <a:cubicBezTo>
                    <a:pt x="75" y="51"/>
                    <a:pt x="75" y="51"/>
                    <a:pt x="76" y="52"/>
                  </a:cubicBezTo>
                  <a:cubicBezTo>
                    <a:pt x="77" y="55"/>
                    <a:pt x="80" y="60"/>
                    <a:pt x="83" y="60"/>
                  </a:cubicBezTo>
                  <a:cubicBezTo>
                    <a:pt x="89" y="60"/>
                    <a:pt x="94" y="61"/>
                    <a:pt x="94" y="63"/>
                  </a:cubicBezTo>
                  <a:cubicBezTo>
                    <a:pt x="94" y="66"/>
                    <a:pt x="97" y="73"/>
                    <a:pt x="100" y="75"/>
                  </a:cubicBezTo>
                  <a:cubicBezTo>
                    <a:pt x="101" y="76"/>
                    <a:pt x="102" y="76"/>
                    <a:pt x="104" y="76"/>
                  </a:cubicBezTo>
                  <a:cubicBezTo>
                    <a:pt x="107" y="76"/>
                    <a:pt x="109" y="75"/>
                    <a:pt x="110" y="75"/>
                  </a:cubicBezTo>
                  <a:cubicBezTo>
                    <a:pt x="110" y="75"/>
                    <a:pt x="112" y="73"/>
                    <a:pt x="112" y="69"/>
                  </a:cubicBezTo>
                  <a:cubicBezTo>
                    <a:pt x="112" y="66"/>
                    <a:pt x="112" y="59"/>
                    <a:pt x="111" y="59"/>
                  </a:cubicBezTo>
                  <a:cubicBezTo>
                    <a:pt x="110" y="59"/>
                    <a:pt x="109" y="60"/>
                    <a:pt x="108" y="61"/>
                  </a:cubicBezTo>
                  <a:cubicBezTo>
                    <a:pt x="107" y="62"/>
                    <a:pt x="105" y="63"/>
                    <a:pt x="103" y="63"/>
                  </a:cubicBezTo>
                  <a:cubicBezTo>
                    <a:pt x="102" y="63"/>
                    <a:pt x="102" y="63"/>
                    <a:pt x="101" y="63"/>
                  </a:cubicBezTo>
                  <a:cubicBezTo>
                    <a:pt x="98" y="62"/>
                    <a:pt x="95" y="58"/>
                    <a:pt x="94" y="54"/>
                  </a:cubicBezTo>
                  <a:cubicBezTo>
                    <a:pt x="93" y="53"/>
                    <a:pt x="92" y="51"/>
                    <a:pt x="91" y="51"/>
                  </a:cubicBezTo>
                  <a:cubicBezTo>
                    <a:pt x="90" y="50"/>
                    <a:pt x="91" y="47"/>
                    <a:pt x="92" y="44"/>
                  </a:cubicBezTo>
                  <a:cubicBezTo>
                    <a:pt x="93" y="41"/>
                    <a:pt x="94" y="39"/>
                    <a:pt x="94" y="37"/>
                  </a:cubicBezTo>
                  <a:cubicBezTo>
                    <a:pt x="94" y="36"/>
                    <a:pt x="94" y="34"/>
                    <a:pt x="95" y="31"/>
                  </a:cubicBezTo>
                  <a:cubicBezTo>
                    <a:pt x="95" y="28"/>
                    <a:pt x="96" y="22"/>
                    <a:pt x="95" y="21"/>
                  </a:cubicBezTo>
                  <a:cubicBezTo>
                    <a:pt x="94" y="21"/>
                    <a:pt x="94" y="20"/>
                    <a:pt x="93" y="19"/>
                  </a:cubicBezTo>
                  <a:cubicBezTo>
                    <a:pt x="93" y="17"/>
                    <a:pt x="95" y="15"/>
                    <a:pt x="97" y="13"/>
                  </a:cubicBezTo>
                  <a:cubicBezTo>
                    <a:pt x="98" y="12"/>
                    <a:pt x="98" y="10"/>
                    <a:pt x="98" y="8"/>
                  </a:cubicBezTo>
                  <a:cubicBezTo>
                    <a:pt x="98" y="6"/>
                    <a:pt x="98" y="5"/>
                    <a:pt x="99" y="4"/>
                  </a:cubicBezTo>
                  <a:cubicBezTo>
                    <a:pt x="99" y="3"/>
                    <a:pt x="100" y="3"/>
                    <a:pt x="101" y="3"/>
                  </a:cubicBezTo>
                  <a:cubicBezTo>
                    <a:pt x="102" y="3"/>
                    <a:pt x="102" y="3"/>
                    <a:pt x="103" y="3"/>
                  </a:cubicBezTo>
                  <a:cubicBezTo>
                    <a:pt x="104" y="3"/>
                    <a:pt x="105" y="3"/>
                    <a:pt x="105" y="3"/>
                  </a:cubicBezTo>
                  <a:cubicBezTo>
                    <a:pt x="110" y="3"/>
                    <a:pt x="116" y="3"/>
                    <a:pt x="118" y="1"/>
                  </a:cubicBezTo>
                  <a:cubicBezTo>
                    <a:pt x="119" y="0"/>
                    <a:pt x="119" y="0"/>
                    <a:pt x="119" y="0"/>
                  </a:cubicBezTo>
                  <a:cubicBezTo>
                    <a:pt x="119" y="0"/>
                    <a:pt x="119" y="0"/>
                    <a:pt x="119" y="0"/>
                  </a:cubicBezTo>
                  <a:cubicBezTo>
                    <a:pt x="125" y="5"/>
                    <a:pt x="128" y="6"/>
                    <a:pt x="129" y="6"/>
                  </a:cubicBezTo>
                  <a:cubicBezTo>
                    <a:pt x="131" y="6"/>
                    <a:pt x="134" y="8"/>
                    <a:pt x="137" y="9"/>
                  </a:cubicBezTo>
                  <a:cubicBezTo>
                    <a:pt x="139" y="10"/>
                    <a:pt x="141" y="11"/>
                    <a:pt x="143" y="12"/>
                  </a:cubicBezTo>
                  <a:cubicBezTo>
                    <a:pt x="146" y="12"/>
                    <a:pt x="160" y="18"/>
                    <a:pt x="162" y="20"/>
                  </a:cubicBezTo>
                  <a:cubicBezTo>
                    <a:pt x="164" y="23"/>
                    <a:pt x="168" y="33"/>
                    <a:pt x="168" y="36"/>
                  </a:cubicBezTo>
                  <a:cubicBezTo>
                    <a:pt x="168" y="37"/>
                    <a:pt x="168" y="37"/>
                    <a:pt x="168" y="37"/>
                  </a:cubicBezTo>
                  <a:cubicBezTo>
                    <a:pt x="167" y="38"/>
                    <a:pt x="167" y="38"/>
                    <a:pt x="167" y="38"/>
                  </a:cubicBezTo>
                  <a:cubicBezTo>
                    <a:pt x="166" y="38"/>
                    <a:pt x="166" y="38"/>
                    <a:pt x="166" y="38"/>
                  </a:cubicBezTo>
                  <a:cubicBezTo>
                    <a:pt x="165" y="37"/>
                    <a:pt x="164" y="37"/>
                    <a:pt x="163" y="39"/>
                  </a:cubicBezTo>
                  <a:cubicBezTo>
                    <a:pt x="162" y="43"/>
                    <a:pt x="161" y="60"/>
                    <a:pt x="164" y="62"/>
                  </a:cubicBezTo>
                  <a:cubicBezTo>
                    <a:pt x="164" y="63"/>
                    <a:pt x="165" y="63"/>
                    <a:pt x="164" y="64"/>
                  </a:cubicBezTo>
                  <a:cubicBezTo>
                    <a:pt x="164" y="65"/>
                    <a:pt x="163" y="65"/>
                    <a:pt x="161" y="65"/>
                  </a:cubicBezTo>
                  <a:cubicBezTo>
                    <a:pt x="159" y="65"/>
                    <a:pt x="158" y="65"/>
                    <a:pt x="158" y="66"/>
                  </a:cubicBezTo>
                  <a:cubicBezTo>
                    <a:pt x="158" y="67"/>
                    <a:pt x="158" y="80"/>
                    <a:pt x="155" y="81"/>
                  </a:cubicBezTo>
                  <a:cubicBezTo>
                    <a:pt x="155" y="81"/>
                    <a:pt x="156" y="83"/>
                    <a:pt x="157" y="84"/>
                  </a:cubicBezTo>
                  <a:cubicBezTo>
                    <a:pt x="157" y="85"/>
                    <a:pt x="158" y="86"/>
                    <a:pt x="158" y="87"/>
                  </a:cubicBezTo>
                  <a:cubicBezTo>
                    <a:pt x="158" y="87"/>
                    <a:pt x="158" y="87"/>
                    <a:pt x="158" y="87"/>
                  </a:cubicBezTo>
                  <a:cubicBezTo>
                    <a:pt x="158" y="87"/>
                    <a:pt x="158" y="87"/>
                    <a:pt x="158" y="87"/>
                  </a:cubicBezTo>
                  <a:cubicBezTo>
                    <a:pt x="156" y="88"/>
                    <a:pt x="131" y="97"/>
                    <a:pt x="118" y="102"/>
                  </a:cubicBezTo>
                  <a:cubicBezTo>
                    <a:pt x="121" y="113"/>
                    <a:pt x="121" y="113"/>
                    <a:pt x="121" y="113"/>
                  </a:cubicBezTo>
                  <a:cubicBezTo>
                    <a:pt x="107" y="113"/>
                    <a:pt x="107" y="113"/>
                    <a:pt x="107" y="113"/>
                  </a:cubicBezTo>
                  <a:cubicBezTo>
                    <a:pt x="99" y="115"/>
                    <a:pt x="99" y="118"/>
                    <a:pt x="99" y="120"/>
                  </a:cubicBezTo>
                  <a:cubicBezTo>
                    <a:pt x="99" y="123"/>
                    <a:pt x="91" y="129"/>
                    <a:pt x="86" y="131"/>
                  </a:cubicBezTo>
                  <a:cubicBezTo>
                    <a:pt x="83" y="132"/>
                    <a:pt x="79" y="136"/>
                    <a:pt x="76" y="141"/>
                  </a:cubicBezTo>
                  <a:cubicBezTo>
                    <a:pt x="74" y="144"/>
                    <a:pt x="72" y="146"/>
                    <a:pt x="71" y="147"/>
                  </a:cubicBezTo>
                  <a:cubicBezTo>
                    <a:pt x="70" y="147"/>
                    <a:pt x="69" y="148"/>
                    <a:pt x="68" y="148"/>
                  </a:cubicBezTo>
                  <a:close/>
                  <a:moveTo>
                    <a:pt x="51" y="143"/>
                  </a:moveTo>
                  <a:cubicBezTo>
                    <a:pt x="52" y="143"/>
                    <a:pt x="52" y="143"/>
                    <a:pt x="52" y="143"/>
                  </a:cubicBezTo>
                  <a:cubicBezTo>
                    <a:pt x="53" y="143"/>
                    <a:pt x="55" y="144"/>
                    <a:pt x="57" y="144"/>
                  </a:cubicBezTo>
                  <a:cubicBezTo>
                    <a:pt x="61" y="145"/>
                    <a:pt x="65" y="147"/>
                    <a:pt x="68" y="147"/>
                  </a:cubicBezTo>
                  <a:cubicBezTo>
                    <a:pt x="69" y="147"/>
                    <a:pt x="70" y="146"/>
                    <a:pt x="70" y="146"/>
                  </a:cubicBezTo>
                  <a:cubicBezTo>
                    <a:pt x="72" y="146"/>
                    <a:pt x="74" y="143"/>
                    <a:pt x="76" y="140"/>
                  </a:cubicBezTo>
                  <a:cubicBezTo>
                    <a:pt x="79" y="136"/>
                    <a:pt x="82" y="131"/>
                    <a:pt x="85" y="130"/>
                  </a:cubicBezTo>
                  <a:cubicBezTo>
                    <a:pt x="91" y="128"/>
                    <a:pt x="98" y="122"/>
                    <a:pt x="98" y="120"/>
                  </a:cubicBezTo>
                  <a:cubicBezTo>
                    <a:pt x="98" y="117"/>
                    <a:pt x="98" y="114"/>
                    <a:pt x="107" y="112"/>
                  </a:cubicBezTo>
                  <a:cubicBezTo>
                    <a:pt x="120" y="112"/>
                    <a:pt x="120" y="112"/>
                    <a:pt x="120" y="112"/>
                  </a:cubicBezTo>
                  <a:cubicBezTo>
                    <a:pt x="117" y="101"/>
                    <a:pt x="117" y="101"/>
                    <a:pt x="117" y="101"/>
                  </a:cubicBezTo>
                  <a:cubicBezTo>
                    <a:pt x="117" y="101"/>
                    <a:pt x="117" y="101"/>
                    <a:pt x="117" y="101"/>
                  </a:cubicBezTo>
                  <a:cubicBezTo>
                    <a:pt x="119" y="100"/>
                    <a:pt x="152" y="88"/>
                    <a:pt x="157" y="87"/>
                  </a:cubicBezTo>
                  <a:cubicBezTo>
                    <a:pt x="157" y="86"/>
                    <a:pt x="156" y="85"/>
                    <a:pt x="156" y="85"/>
                  </a:cubicBezTo>
                  <a:cubicBezTo>
                    <a:pt x="155" y="82"/>
                    <a:pt x="154" y="81"/>
                    <a:pt x="154" y="81"/>
                  </a:cubicBezTo>
                  <a:cubicBezTo>
                    <a:pt x="155" y="80"/>
                    <a:pt x="155" y="80"/>
                    <a:pt x="155" y="80"/>
                  </a:cubicBezTo>
                  <a:cubicBezTo>
                    <a:pt x="156" y="80"/>
                    <a:pt x="157" y="70"/>
                    <a:pt x="157" y="66"/>
                  </a:cubicBezTo>
                  <a:cubicBezTo>
                    <a:pt x="157" y="64"/>
                    <a:pt x="159" y="64"/>
                    <a:pt x="161" y="64"/>
                  </a:cubicBezTo>
                  <a:cubicBezTo>
                    <a:pt x="162" y="64"/>
                    <a:pt x="163" y="64"/>
                    <a:pt x="163" y="64"/>
                  </a:cubicBezTo>
                  <a:cubicBezTo>
                    <a:pt x="163" y="63"/>
                    <a:pt x="163" y="63"/>
                    <a:pt x="163" y="63"/>
                  </a:cubicBezTo>
                  <a:cubicBezTo>
                    <a:pt x="160" y="60"/>
                    <a:pt x="161" y="42"/>
                    <a:pt x="162" y="39"/>
                  </a:cubicBezTo>
                  <a:cubicBezTo>
                    <a:pt x="163" y="37"/>
                    <a:pt x="164" y="37"/>
                    <a:pt x="165" y="37"/>
                  </a:cubicBezTo>
                  <a:cubicBezTo>
                    <a:pt x="166" y="37"/>
                    <a:pt x="166" y="37"/>
                    <a:pt x="166" y="37"/>
                  </a:cubicBezTo>
                  <a:cubicBezTo>
                    <a:pt x="167" y="37"/>
                    <a:pt x="167" y="37"/>
                    <a:pt x="167" y="37"/>
                  </a:cubicBezTo>
                  <a:cubicBezTo>
                    <a:pt x="167" y="36"/>
                    <a:pt x="167" y="36"/>
                    <a:pt x="167" y="36"/>
                  </a:cubicBezTo>
                  <a:cubicBezTo>
                    <a:pt x="167" y="33"/>
                    <a:pt x="163" y="23"/>
                    <a:pt x="161" y="21"/>
                  </a:cubicBezTo>
                  <a:cubicBezTo>
                    <a:pt x="159" y="19"/>
                    <a:pt x="146" y="13"/>
                    <a:pt x="142" y="13"/>
                  </a:cubicBezTo>
                  <a:cubicBezTo>
                    <a:pt x="141" y="12"/>
                    <a:pt x="139" y="11"/>
                    <a:pt x="136" y="10"/>
                  </a:cubicBezTo>
                  <a:cubicBezTo>
                    <a:pt x="134" y="9"/>
                    <a:pt x="131" y="7"/>
                    <a:pt x="129" y="7"/>
                  </a:cubicBezTo>
                  <a:cubicBezTo>
                    <a:pt x="127" y="7"/>
                    <a:pt x="124" y="5"/>
                    <a:pt x="119" y="1"/>
                  </a:cubicBezTo>
                  <a:cubicBezTo>
                    <a:pt x="116" y="4"/>
                    <a:pt x="108" y="4"/>
                    <a:pt x="103" y="4"/>
                  </a:cubicBezTo>
                  <a:cubicBezTo>
                    <a:pt x="102" y="4"/>
                    <a:pt x="102" y="4"/>
                    <a:pt x="101" y="4"/>
                  </a:cubicBezTo>
                  <a:cubicBezTo>
                    <a:pt x="100" y="4"/>
                    <a:pt x="100" y="4"/>
                    <a:pt x="99" y="4"/>
                  </a:cubicBezTo>
                  <a:cubicBezTo>
                    <a:pt x="99" y="5"/>
                    <a:pt x="99" y="7"/>
                    <a:pt x="99" y="8"/>
                  </a:cubicBezTo>
                  <a:cubicBezTo>
                    <a:pt x="99" y="10"/>
                    <a:pt x="99" y="12"/>
                    <a:pt x="98" y="14"/>
                  </a:cubicBezTo>
                  <a:cubicBezTo>
                    <a:pt x="96" y="15"/>
                    <a:pt x="94" y="17"/>
                    <a:pt x="94" y="19"/>
                  </a:cubicBezTo>
                  <a:cubicBezTo>
                    <a:pt x="94" y="20"/>
                    <a:pt x="95" y="20"/>
                    <a:pt x="95" y="20"/>
                  </a:cubicBezTo>
                  <a:cubicBezTo>
                    <a:pt x="98" y="21"/>
                    <a:pt x="97" y="27"/>
                    <a:pt x="96" y="32"/>
                  </a:cubicBezTo>
                  <a:cubicBezTo>
                    <a:pt x="95" y="34"/>
                    <a:pt x="95" y="36"/>
                    <a:pt x="95" y="37"/>
                  </a:cubicBezTo>
                  <a:cubicBezTo>
                    <a:pt x="95" y="39"/>
                    <a:pt x="94" y="41"/>
                    <a:pt x="93" y="44"/>
                  </a:cubicBezTo>
                  <a:cubicBezTo>
                    <a:pt x="92" y="46"/>
                    <a:pt x="91" y="50"/>
                    <a:pt x="92" y="50"/>
                  </a:cubicBezTo>
                  <a:cubicBezTo>
                    <a:pt x="92" y="51"/>
                    <a:pt x="93" y="52"/>
                    <a:pt x="94" y="54"/>
                  </a:cubicBezTo>
                  <a:cubicBezTo>
                    <a:pt x="96" y="57"/>
                    <a:pt x="99" y="61"/>
                    <a:pt x="101" y="62"/>
                  </a:cubicBezTo>
                  <a:cubicBezTo>
                    <a:pt x="102" y="62"/>
                    <a:pt x="102" y="62"/>
                    <a:pt x="103" y="62"/>
                  </a:cubicBezTo>
                  <a:cubicBezTo>
                    <a:pt x="105" y="62"/>
                    <a:pt x="107" y="61"/>
                    <a:pt x="108" y="60"/>
                  </a:cubicBezTo>
                  <a:cubicBezTo>
                    <a:pt x="109" y="59"/>
                    <a:pt x="110" y="58"/>
                    <a:pt x="111" y="58"/>
                  </a:cubicBezTo>
                  <a:cubicBezTo>
                    <a:pt x="113" y="58"/>
                    <a:pt x="113" y="63"/>
                    <a:pt x="113" y="69"/>
                  </a:cubicBezTo>
                  <a:cubicBezTo>
                    <a:pt x="113" y="74"/>
                    <a:pt x="111" y="76"/>
                    <a:pt x="110" y="76"/>
                  </a:cubicBezTo>
                  <a:cubicBezTo>
                    <a:pt x="110" y="76"/>
                    <a:pt x="110" y="76"/>
                    <a:pt x="110" y="76"/>
                  </a:cubicBezTo>
                  <a:cubicBezTo>
                    <a:pt x="110" y="76"/>
                    <a:pt x="107" y="77"/>
                    <a:pt x="104" y="77"/>
                  </a:cubicBezTo>
                  <a:cubicBezTo>
                    <a:pt x="102" y="77"/>
                    <a:pt x="101" y="77"/>
                    <a:pt x="99" y="76"/>
                  </a:cubicBezTo>
                  <a:cubicBezTo>
                    <a:pt x="96" y="73"/>
                    <a:pt x="93" y="66"/>
                    <a:pt x="93" y="63"/>
                  </a:cubicBezTo>
                  <a:cubicBezTo>
                    <a:pt x="93" y="62"/>
                    <a:pt x="90" y="61"/>
                    <a:pt x="83" y="61"/>
                  </a:cubicBezTo>
                  <a:cubicBezTo>
                    <a:pt x="80" y="61"/>
                    <a:pt x="76" y="56"/>
                    <a:pt x="75" y="53"/>
                  </a:cubicBezTo>
                  <a:cubicBezTo>
                    <a:pt x="75" y="52"/>
                    <a:pt x="74" y="52"/>
                    <a:pt x="74" y="52"/>
                  </a:cubicBezTo>
                  <a:cubicBezTo>
                    <a:pt x="72" y="52"/>
                    <a:pt x="71" y="54"/>
                    <a:pt x="71" y="55"/>
                  </a:cubicBezTo>
                  <a:cubicBezTo>
                    <a:pt x="71" y="57"/>
                    <a:pt x="67" y="57"/>
                    <a:pt x="64" y="57"/>
                  </a:cubicBezTo>
                  <a:cubicBezTo>
                    <a:pt x="62" y="57"/>
                    <a:pt x="60" y="56"/>
                    <a:pt x="58" y="55"/>
                  </a:cubicBezTo>
                  <a:cubicBezTo>
                    <a:pt x="56" y="54"/>
                    <a:pt x="54" y="53"/>
                    <a:pt x="52" y="53"/>
                  </a:cubicBezTo>
                  <a:cubicBezTo>
                    <a:pt x="52" y="53"/>
                    <a:pt x="52" y="53"/>
                    <a:pt x="52" y="54"/>
                  </a:cubicBezTo>
                  <a:cubicBezTo>
                    <a:pt x="50" y="54"/>
                    <a:pt x="49" y="54"/>
                    <a:pt x="48" y="52"/>
                  </a:cubicBezTo>
                  <a:cubicBezTo>
                    <a:pt x="47" y="51"/>
                    <a:pt x="46" y="48"/>
                    <a:pt x="46" y="46"/>
                  </a:cubicBezTo>
                  <a:cubicBezTo>
                    <a:pt x="46" y="46"/>
                    <a:pt x="46" y="46"/>
                    <a:pt x="46" y="46"/>
                  </a:cubicBezTo>
                  <a:cubicBezTo>
                    <a:pt x="46" y="45"/>
                    <a:pt x="46" y="45"/>
                    <a:pt x="45" y="45"/>
                  </a:cubicBezTo>
                  <a:cubicBezTo>
                    <a:pt x="43" y="45"/>
                    <a:pt x="40" y="46"/>
                    <a:pt x="38" y="47"/>
                  </a:cubicBezTo>
                  <a:cubicBezTo>
                    <a:pt x="37" y="47"/>
                    <a:pt x="37" y="47"/>
                    <a:pt x="37" y="47"/>
                  </a:cubicBezTo>
                  <a:cubicBezTo>
                    <a:pt x="35" y="47"/>
                    <a:pt x="34" y="44"/>
                    <a:pt x="33" y="44"/>
                  </a:cubicBezTo>
                  <a:cubicBezTo>
                    <a:pt x="33" y="44"/>
                    <a:pt x="33" y="44"/>
                    <a:pt x="33" y="44"/>
                  </a:cubicBezTo>
                  <a:cubicBezTo>
                    <a:pt x="33" y="44"/>
                    <a:pt x="32" y="42"/>
                    <a:pt x="31" y="41"/>
                  </a:cubicBezTo>
                  <a:cubicBezTo>
                    <a:pt x="28" y="69"/>
                    <a:pt x="28" y="69"/>
                    <a:pt x="28" y="69"/>
                  </a:cubicBezTo>
                  <a:cubicBezTo>
                    <a:pt x="27" y="69"/>
                    <a:pt x="27" y="69"/>
                    <a:pt x="27" y="69"/>
                  </a:cubicBezTo>
                  <a:cubicBezTo>
                    <a:pt x="24" y="73"/>
                    <a:pt x="24" y="73"/>
                    <a:pt x="24" y="73"/>
                  </a:cubicBezTo>
                  <a:cubicBezTo>
                    <a:pt x="2" y="72"/>
                    <a:pt x="2" y="72"/>
                    <a:pt x="2" y="72"/>
                  </a:cubicBezTo>
                  <a:cubicBezTo>
                    <a:pt x="1" y="120"/>
                    <a:pt x="1" y="120"/>
                    <a:pt x="1" y="120"/>
                  </a:cubicBezTo>
                  <a:cubicBezTo>
                    <a:pt x="17" y="142"/>
                    <a:pt x="17" y="142"/>
                    <a:pt x="17" y="142"/>
                  </a:cubicBezTo>
                  <a:cubicBezTo>
                    <a:pt x="22" y="141"/>
                    <a:pt x="32" y="140"/>
                    <a:pt x="38" y="140"/>
                  </a:cubicBezTo>
                  <a:cubicBezTo>
                    <a:pt x="42" y="140"/>
                    <a:pt x="44" y="140"/>
                    <a:pt x="44" y="141"/>
                  </a:cubicBezTo>
                  <a:cubicBezTo>
                    <a:pt x="44" y="142"/>
                    <a:pt x="44" y="143"/>
                    <a:pt x="45" y="144"/>
                  </a:cubicBezTo>
                  <a:cubicBezTo>
                    <a:pt x="47" y="144"/>
                    <a:pt x="50" y="143"/>
                    <a:pt x="51" y="1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86" name="Freeform 13"/>
            <p:cNvSpPr>
              <a:spLocks noEditPoints="1"/>
            </p:cNvSpPr>
            <p:nvPr/>
          </p:nvSpPr>
          <p:spPr>
            <a:xfrm>
              <a:off x="5478464" y="3836988"/>
              <a:ext cx="50800" cy="39688"/>
            </a:xfrm>
            <a:custGeom>
              <a:gdLst>
                <a:gd name="T0" fmla="*/ 11 w 30"/>
                <a:gd name="T1" fmla="*/ 24 h 24"/>
                <a:gd name="T2" fmla="*/ 8 w 30"/>
                <a:gd name="T3" fmla="*/ 24 h 24"/>
                <a:gd name="T4" fmla="*/ 4 w 30"/>
                <a:gd name="T5" fmla="*/ 24 h 24"/>
                <a:gd name="T6" fmla="*/ 4 w 30"/>
                <a:gd name="T7" fmla="*/ 24 h 24"/>
                <a:gd name="T8" fmla="*/ 0 w 30"/>
                <a:gd name="T9" fmla="*/ 19 h 24"/>
                <a:gd name="T10" fmla="*/ 3 w 30"/>
                <a:gd name="T11" fmla="*/ 14 h 24"/>
                <a:gd name="T12" fmla="*/ 7 w 30"/>
                <a:gd name="T13" fmla="*/ 5 h 24"/>
                <a:gd name="T14" fmla="*/ 8 w 30"/>
                <a:gd name="T15" fmla="*/ 4 h 24"/>
                <a:gd name="T16" fmla="*/ 8 w 30"/>
                <a:gd name="T17" fmla="*/ 4 h 24"/>
                <a:gd name="T18" fmla="*/ 9 w 30"/>
                <a:gd name="T19" fmla="*/ 4 h 24"/>
                <a:gd name="T20" fmla="*/ 11 w 30"/>
                <a:gd name="T21" fmla="*/ 4 h 24"/>
                <a:gd name="T22" fmla="*/ 15 w 30"/>
                <a:gd name="T23" fmla="*/ 3 h 24"/>
                <a:gd name="T24" fmla="*/ 16 w 30"/>
                <a:gd name="T25" fmla="*/ 2 h 24"/>
                <a:gd name="T26" fmla="*/ 24 w 30"/>
                <a:gd name="T27" fmla="*/ 0 h 24"/>
                <a:gd name="T28" fmla="*/ 24 w 30"/>
                <a:gd name="T29" fmla="*/ 0 h 24"/>
                <a:gd name="T30" fmla="*/ 27 w 30"/>
                <a:gd name="T31" fmla="*/ 6 h 24"/>
                <a:gd name="T32" fmla="*/ 29 w 30"/>
                <a:gd name="T33" fmla="*/ 16 h 24"/>
                <a:gd name="T34" fmla="*/ 18 w 30"/>
                <a:gd name="T35" fmla="*/ 20 h 24"/>
                <a:gd name="T36" fmla="*/ 16 w 30"/>
                <a:gd name="T37" fmla="*/ 20 h 24"/>
                <a:gd name="T38" fmla="*/ 15 w 30"/>
                <a:gd name="T39" fmla="*/ 23 h 24"/>
                <a:gd name="T40" fmla="*/ 11 w 30"/>
                <a:gd name="T41" fmla="*/ 24 h 24"/>
                <a:gd name="T42" fmla="*/ 4 w 30"/>
                <a:gd name="T43" fmla="*/ 23 h 24"/>
                <a:gd name="T44" fmla="*/ 9 w 30"/>
                <a:gd name="T45" fmla="*/ 23 h 24"/>
                <a:gd name="T46" fmla="*/ 15 w 30"/>
                <a:gd name="T47" fmla="*/ 22 h 24"/>
                <a:gd name="T48" fmla="*/ 15 w 30"/>
                <a:gd name="T49" fmla="*/ 19 h 24"/>
                <a:gd name="T50" fmla="*/ 15 w 30"/>
                <a:gd name="T51" fmla="*/ 19 h 24"/>
                <a:gd name="T52" fmla="*/ 16 w 30"/>
                <a:gd name="T53" fmla="*/ 19 h 24"/>
                <a:gd name="T54" fmla="*/ 18 w 30"/>
                <a:gd name="T55" fmla="*/ 19 h 24"/>
                <a:gd name="T56" fmla="*/ 28 w 30"/>
                <a:gd name="T57" fmla="*/ 16 h 24"/>
                <a:gd name="T58" fmla="*/ 26 w 30"/>
                <a:gd name="T59" fmla="*/ 7 h 24"/>
                <a:gd name="T60" fmla="*/ 24 w 30"/>
                <a:gd name="T61" fmla="*/ 1 h 24"/>
                <a:gd name="T62" fmla="*/ 16 w 30"/>
                <a:gd name="T63" fmla="*/ 3 h 24"/>
                <a:gd name="T64" fmla="*/ 16 w 30"/>
                <a:gd name="T65" fmla="*/ 3 h 24"/>
                <a:gd name="T66" fmla="*/ 9 w 30"/>
                <a:gd name="T67" fmla="*/ 5 h 24"/>
                <a:gd name="T68" fmla="*/ 7 w 30"/>
                <a:gd name="T69" fmla="*/ 6 h 24"/>
                <a:gd name="T70" fmla="*/ 5 w 30"/>
                <a:gd name="T71" fmla="*/ 15 h 24"/>
                <a:gd name="T72" fmla="*/ 5 w 30"/>
                <a:gd name="T73" fmla="*/ 15 h 24"/>
                <a:gd name="T74" fmla="*/ 4 w 30"/>
                <a:gd name="T75" fmla="*/ 15 h 24"/>
                <a:gd name="T76" fmla="*/ 1 w 30"/>
                <a:gd name="T77" fmla="*/ 19 h 24"/>
                <a:gd name="T78" fmla="*/ 4 w 30"/>
                <a:gd name="T79" fmla="*/ 23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24">
                  <a:moveTo>
                    <a:pt x="11" y="24"/>
                  </a:moveTo>
                  <a:cubicBezTo>
                    <a:pt x="10" y="24"/>
                    <a:pt x="9" y="24"/>
                    <a:pt x="8" y="24"/>
                  </a:cubicBezTo>
                  <a:cubicBezTo>
                    <a:pt x="7" y="24"/>
                    <a:pt x="6" y="24"/>
                    <a:pt x="4" y="24"/>
                  </a:cubicBezTo>
                  <a:cubicBezTo>
                    <a:pt x="4" y="24"/>
                    <a:pt x="4" y="24"/>
                    <a:pt x="4" y="24"/>
                  </a:cubicBezTo>
                  <a:cubicBezTo>
                    <a:pt x="2" y="23"/>
                    <a:pt x="0" y="22"/>
                    <a:pt x="0" y="19"/>
                  </a:cubicBezTo>
                  <a:cubicBezTo>
                    <a:pt x="0" y="16"/>
                    <a:pt x="2" y="15"/>
                    <a:pt x="3" y="14"/>
                  </a:cubicBezTo>
                  <a:cubicBezTo>
                    <a:pt x="3" y="13"/>
                    <a:pt x="3" y="6"/>
                    <a:pt x="7" y="5"/>
                  </a:cubicBezTo>
                  <a:cubicBezTo>
                    <a:pt x="8" y="4"/>
                    <a:pt x="8" y="4"/>
                    <a:pt x="8" y="4"/>
                  </a:cubicBezTo>
                  <a:cubicBezTo>
                    <a:pt x="8" y="4"/>
                    <a:pt x="8" y="4"/>
                    <a:pt x="8" y="4"/>
                  </a:cubicBezTo>
                  <a:cubicBezTo>
                    <a:pt x="9" y="4"/>
                    <a:pt x="9" y="4"/>
                    <a:pt x="9" y="4"/>
                  </a:cubicBezTo>
                  <a:cubicBezTo>
                    <a:pt x="10" y="4"/>
                    <a:pt x="10" y="4"/>
                    <a:pt x="11" y="4"/>
                  </a:cubicBezTo>
                  <a:cubicBezTo>
                    <a:pt x="13" y="4"/>
                    <a:pt x="14" y="3"/>
                    <a:pt x="15" y="3"/>
                  </a:cubicBezTo>
                  <a:cubicBezTo>
                    <a:pt x="16" y="2"/>
                    <a:pt x="16" y="2"/>
                    <a:pt x="16" y="2"/>
                  </a:cubicBezTo>
                  <a:cubicBezTo>
                    <a:pt x="17" y="2"/>
                    <a:pt x="20" y="1"/>
                    <a:pt x="24" y="0"/>
                  </a:cubicBezTo>
                  <a:cubicBezTo>
                    <a:pt x="24" y="0"/>
                    <a:pt x="24" y="0"/>
                    <a:pt x="24" y="0"/>
                  </a:cubicBezTo>
                  <a:cubicBezTo>
                    <a:pt x="27" y="6"/>
                    <a:pt x="27" y="6"/>
                    <a:pt x="27" y="6"/>
                  </a:cubicBezTo>
                  <a:cubicBezTo>
                    <a:pt x="27" y="7"/>
                    <a:pt x="30" y="13"/>
                    <a:pt x="29" y="16"/>
                  </a:cubicBezTo>
                  <a:cubicBezTo>
                    <a:pt x="29" y="19"/>
                    <a:pt x="23" y="20"/>
                    <a:pt x="18" y="20"/>
                  </a:cubicBezTo>
                  <a:cubicBezTo>
                    <a:pt x="18" y="20"/>
                    <a:pt x="17" y="20"/>
                    <a:pt x="16" y="20"/>
                  </a:cubicBezTo>
                  <a:cubicBezTo>
                    <a:pt x="16" y="21"/>
                    <a:pt x="16" y="22"/>
                    <a:pt x="15" y="23"/>
                  </a:cubicBezTo>
                  <a:cubicBezTo>
                    <a:pt x="14" y="24"/>
                    <a:pt x="13" y="24"/>
                    <a:pt x="11" y="24"/>
                  </a:cubicBezTo>
                  <a:close/>
                  <a:moveTo>
                    <a:pt x="4" y="23"/>
                  </a:moveTo>
                  <a:cubicBezTo>
                    <a:pt x="6" y="23"/>
                    <a:pt x="7" y="23"/>
                    <a:pt x="9" y="23"/>
                  </a:cubicBezTo>
                  <a:cubicBezTo>
                    <a:pt x="11" y="24"/>
                    <a:pt x="14" y="23"/>
                    <a:pt x="15" y="22"/>
                  </a:cubicBezTo>
                  <a:cubicBezTo>
                    <a:pt x="16" y="21"/>
                    <a:pt x="15" y="19"/>
                    <a:pt x="15" y="19"/>
                  </a:cubicBezTo>
                  <a:cubicBezTo>
                    <a:pt x="15" y="19"/>
                    <a:pt x="15" y="19"/>
                    <a:pt x="15" y="19"/>
                  </a:cubicBezTo>
                  <a:cubicBezTo>
                    <a:pt x="16" y="19"/>
                    <a:pt x="16" y="19"/>
                    <a:pt x="16" y="19"/>
                  </a:cubicBezTo>
                  <a:cubicBezTo>
                    <a:pt x="16" y="19"/>
                    <a:pt x="17" y="19"/>
                    <a:pt x="18" y="19"/>
                  </a:cubicBezTo>
                  <a:cubicBezTo>
                    <a:pt x="24" y="19"/>
                    <a:pt x="28" y="18"/>
                    <a:pt x="28" y="16"/>
                  </a:cubicBezTo>
                  <a:cubicBezTo>
                    <a:pt x="29" y="13"/>
                    <a:pt x="26" y="7"/>
                    <a:pt x="26" y="7"/>
                  </a:cubicBezTo>
                  <a:cubicBezTo>
                    <a:pt x="24" y="1"/>
                    <a:pt x="24" y="1"/>
                    <a:pt x="24" y="1"/>
                  </a:cubicBezTo>
                  <a:cubicBezTo>
                    <a:pt x="20" y="2"/>
                    <a:pt x="17" y="3"/>
                    <a:pt x="16" y="3"/>
                  </a:cubicBezTo>
                  <a:cubicBezTo>
                    <a:pt x="16" y="3"/>
                    <a:pt x="16" y="3"/>
                    <a:pt x="16" y="3"/>
                  </a:cubicBezTo>
                  <a:cubicBezTo>
                    <a:pt x="14" y="4"/>
                    <a:pt x="13" y="5"/>
                    <a:pt x="9" y="5"/>
                  </a:cubicBezTo>
                  <a:cubicBezTo>
                    <a:pt x="8" y="5"/>
                    <a:pt x="8" y="6"/>
                    <a:pt x="7" y="6"/>
                  </a:cubicBezTo>
                  <a:cubicBezTo>
                    <a:pt x="4" y="7"/>
                    <a:pt x="4" y="13"/>
                    <a:pt x="5" y="15"/>
                  </a:cubicBezTo>
                  <a:cubicBezTo>
                    <a:pt x="5" y="15"/>
                    <a:pt x="5" y="15"/>
                    <a:pt x="5" y="15"/>
                  </a:cubicBezTo>
                  <a:cubicBezTo>
                    <a:pt x="4" y="15"/>
                    <a:pt x="4" y="15"/>
                    <a:pt x="4" y="15"/>
                  </a:cubicBezTo>
                  <a:cubicBezTo>
                    <a:pt x="4" y="15"/>
                    <a:pt x="1" y="16"/>
                    <a:pt x="1" y="19"/>
                  </a:cubicBezTo>
                  <a:cubicBezTo>
                    <a:pt x="1" y="21"/>
                    <a:pt x="3" y="22"/>
                    <a:pt x="4"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87" name="Freeform 14"/>
            <p:cNvSpPr>
              <a:spLocks noEditPoints="1"/>
            </p:cNvSpPr>
            <p:nvPr/>
          </p:nvSpPr>
          <p:spPr>
            <a:xfrm>
              <a:off x="5776914" y="3506788"/>
              <a:ext cx="255588" cy="342900"/>
            </a:xfrm>
            <a:custGeom>
              <a:gdLst>
                <a:gd name="T0" fmla="*/ 0 w 151"/>
                <a:gd name="T1" fmla="*/ 190 h 202"/>
                <a:gd name="T2" fmla="*/ 0 w 151"/>
                <a:gd name="T3" fmla="*/ 138 h 202"/>
                <a:gd name="T4" fmla="*/ 6 w 151"/>
                <a:gd name="T5" fmla="*/ 127 h 202"/>
                <a:gd name="T6" fmla="*/ 14 w 151"/>
                <a:gd name="T7" fmla="*/ 117 h 202"/>
                <a:gd name="T8" fmla="*/ 26 w 151"/>
                <a:gd name="T9" fmla="*/ 115 h 202"/>
                <a:gd name="T10" fmla="*/ 44 w 151"/>
                <a:gd name="T11" fmla="*/ 105 h 202"/>
                <a:gd name="T12" fmla="*/ 60 w 151"/>
                <a:gd name="T13" fmla="*/ 102 h 202"/>
                <a:gd name="T14" fmla="*/ 100 w 151"/>
                <a:gd name="T15" fmla="*/ 63 h 202"/>
                <a:gd name="T16" fmla="*/ 74 w 151"/>
                <a:gd name="T17" fmla="*/ 57 h 202"/>
                <a:gd name="T18" fmla="*/ 39 w 151"/>
                <a:gd name="T19" fmla="*/ 41 h 202"/>
                <a:gd name="T20" fmla="*/ 26 w 151"/>
                <a:gd name="T21" fmla="*/ 24 h 202"/>
                <a:gd name="T22" fmla="*/ 34 w 151"/>
                <a:gd name="T23" fmla="*/ 11 h 202"/>
                <a:gd name="T24" fmla="*/ 42 w 151"/>
                <a:gd name="T25" fmla="*/ 19 h 202"/>
                <a:gd name="T26" fmla="*/ 65 w 151"/>
                <a:gd name="T27" fmla="*/ 21 h 202"/>
                <a:gd name="T28" fmla="*/ 75 w 151"/>
                <a:gd name="T29" fmla="*/ 19 h 202"/>
                <a:gd name="T30" fmla="*/ 84 w 151"/>
                <a:gd name="T31" fmla="*/ 18 h 202"/>
                <a:gd name="T32" fmla="*/ 140 w 151"/>
                <a:gd name="T33" fmla="*/ 4 h 202"/>
                <a:gd name="T34" fmla="*/ 149 w 151"/>
                <a:gd name="T35" fmla="*/ 2 h 202"/>
                <a:gd name="T36" fmla="*/ 148 w 151"/>
                <a:gd name="T37" fmla="*/ 24 h 202"/>
                <a:gd name="T38" fmla="*/ 132 w 151"/>
                <a:gd name="T39" fmla="*/ 63 h 202"/>
                <a:gd name="T40" fmla="*/ 102 w 151"/>
                <a:gd name="T41" fmla="*/ 113 h 202"/>
                <a:gd name="T42" fmla="*/ 66 w 151"/>
                <a:gd name="T43" fmla="*/ 149 h 202"/>
                <a:gd name="T44" fmla="*/ 29 w 151"/>
                <a:gd name="T45" fmla="*/ 180 h 202"/>
                <a:gd name="T46" fmla="*/ 1 w 151"/>
                <a:gd name="T47" fmla="*/ 190 h 202"/>
                <a:gd name="T48" fmla="*/ 28 w 151"/>
                <a:gd name="T49" fmla="*/ 179 h 202"/>
                <a:gd name="T50" fmla="*/ 65 w 151"/>
                <a:gd name="T51" fmla="*/ 148 h 202"/>
                <a:gd name="T52" fmla="*/ 101 w 151"/>
                <a:gd name="T53" fmla="*/ 112 h 202"/>
                <a:gd name="T54" fmla="*/ 131 w 151"/>
                <a:gd name="T55" fmla="*/ 63 h 202"/>
                <a:gd name="T56" fmla="*/ 147 w 151"/>
                <a:gd name="T57" fmla="*/ 23 h 202"/>
                <a:gd name="T58" fmla="*/ 148 w 151"/>
                <a:gd name="T59" fmla="*/ 3 h 202"/>
                <a:gd name="T60" fmla="*/ 141 w 151"/>
                <a:gd name="T61" fmla="*/ 4 h 202"/>
                <a:gd name="T62" fmla="*/ 85 w 151"/>
                <a:gd name="T63" fmla="*/ 19 h 202"/>
                <a:gd name="T64" fmla="*/ 75 w 151"/>
                <a:gd name="T65" fmla="*/ 20 h 202"/>
                <a:gd name="T66" fmla="*/ 66 w 151"/>
                <a:gd name="T67" fmla="*/ 22 h 202"/>
                <a:gd name="T68" fmla="*/ 41 w 151"/>
                <a:gd name="T69" fmla="*/ 20 h 202"/>
                <a:gd name="T70" fmla="*/ 27 w 151"/>
                <a:gd name="T71" fmla="*/ 24 h 202"/>
                <a:gd name="T72" fmla="*/ 40 w 151"/>
                <a:gd name="T73" fmla="*/ 41 h 202"/>
                <a:gd name="T74" fmla="*/ 74 w 151"/>
                <a:gd name="T75" fmla="*/ 56 h 202"/>
                <a:gd name="T76" fmla="*/ 101 w 151"/>
                <a:gd name="T77" fmla="*/ 62 h 202"/>
                <a:gd name="T78" fmla="*/ 61 w 151"/>
                <a:gd name="T79" fmla="*/ 103 h 202"/>
                <a:gd name="T80" fmla="*/ 50 w 151"/>
                <a:gd name="T81" fmla="*/ 106 h 202"/>
                <a:gd name="T82" fmla="*/ 30 w 151"/>
                <a:gd name="T83" fmla="*/ 113 h 202"/>
                <a:gd name="T84" fmla="*/ 25 w 151"/>
                <a:gd name="T85" fmla="*/ 116 h 202"/>
                <a:gd name="T86" fmla="*/ 7 w 151"/>
                <a:gd name="T87" fmla="*/ 128 h 202"/>
                <a:gd name="T88" fmla="*/ 1 w 151"/>
                <a:gd name="T89" fmla="*/ 190 h 2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202">
                  <a:moveTo>
                    <a:pt x="8" y="202"/>
                  </a:moveTo>
                  <a:cubicBezTo>
                    <a:pt x="0" y="190"/>
                    <a:pt x="0" y="190"/>
                    <a:pt x="0" y="190"/>
                  </a:cubicBezTo>
                  <a:cubicBezTo>
                    <a:pt x="0" y="190"/>
                    <a:pt x="0" y="190"/>
                    <a:pt x="0" y="190"/>
                  </a:cubicBezTo>
                  <a:cubicBezTo>
                    <a:pt x="0" y="138"/>
                    <a:pt x="0" y="138"/>
                    <a:pt x="0" y="138"/>
                  </a:cubicBezTo>
                  <a:cubicBezTo>
                    <a:pt x="0" y="138"/>
                    <a:pt x="0" y="138"/>
                    <a:pt x="0" y="138"/>
                  </a:cubicBezTo>
                  <a:cubicBezTo>
                    <a:pt x="6" y="127"/>
                    <a:pt x="6" y="127"/>
                    <a:pt x="6" y="127"/>
                  </a:cubicBezTo>
                  <a:cubicBezTo>
                    <a:pt x="13" y="117"/>
                    <a:pt x="13" y="117"/>
                    <a:pt x="13" y="117"/>
                  </a:cubicBezTo>
                  <a:cubicBezTo>
                    <a:pt x="14" y="117"/>
                    <a:pt x="14" y="117"/>
                    <a:pt x="14" y="117"/>
                  </a:cubicBezTo>
                  <a:cubicBezTo>
                    <a:pt x="18" y="116"/>
                    <a:pt x="24" y="115"/>
                    <a:pt x="26" y="115"/>
                  </a:cubicBezTo>
                  <a:cubicBezTo>
                    <a:pt x="26" y="115"/>
                    <a:pt x="26" y="115"/>
                    <a:pt x="26" y="115"/>
                  </a:cubicBezTo>
                  <a:cubicBezTo>
                    <a:pt x="26" y="115"/>
                    <a:pt x="28" y="114"/>
                    <a:pt x="30" y="112"/>
                  </a:cubicBezTo>
                  <a:cubicBezTo>
                    <a:pt x="33" y="110"/>
                    <a:pt x="38" y="105"/>
                    <a:pt x="44" y="105"/>
                  </a:cubicBezTo>
                  <a:cubicBezTo>
                    <a:pt x="47" y="105"/>
                    <a:pt x="49" y="105"/>
                    <a:pt x="50" y="105"/>
                  </a:cubicBezTo>
                  <a:cubicBezTo>
                    <a:pt x="55" y="106"/>
                    <a:pt x="57" y="106"/>
                    <a:pt x="60" y="102"/>
                  </a:cubicBezTo>
                  <a:cubicBezTo>
                    <a:pt x="64" y="98"/>
                    <a:pt x="96" y="66"/>
                    <a:pt x="99" y="64"/>
                  </a:cubicBezTo>
                  <a:cubicBezTo>
                    <a:pt x="100" y="63"/>
                    <a:pt x="100" y="63"/>
                    <a:pt x="100" y="63"/>
                  </a:cubicBezTo>
                  <a:cubicBezTo>
                    <a:pt x="99" y="62"/>
                    <a:pt x="97" y="61"/>
                    <a:pt x="94" y="61"/>
                  </a:cubicBezTo>
                  <a:cubicBezTo>
                    <a:pt x="92" y="61"/>
                    <a:pt x="85" y="61"/>
                    <a:pt x="74" y="57"/>
                  </a:cubicBezTo>
                  <a:cubicBezTo>
                    <a:pt x="63" y="52"/>
                    <a:pt x="47" y="47"/>
                    <a:pt x="45" y="46"/>
                  </a:cubicBezTo>
                  <a:cubicBezTo>
                    <a:pt x="43" y="46"/>
                    <a:pt x="41" y="44"/>
                    <a:pt x="39" y="41"/>
                  </a:cubicBezTo>
                  <a:cubicBezTo>
                    <a:pt x="37" y="40"/>
                    <a:pt x="36" y="38"/>
                    <a:pt x="35" y="38"/>
                  </a:cubicBezTo>
                  <a:cubicBezTo>
                    <a:pt x="32" y="36"/>
                    <a:pt x="27" y="27"/>
                    <a:pt x="26" y="24"/>
                  </a:cubicBezTo>
                  <a:cubicBezTo>
                    <a:pt x="24" y="21"/>
                    <a:pt x="34" y="11"/>
                    <a:pt x="34" y="11"/>
                  </a:cubicBezTo>
                  <a:cubicBezTo>
                    <a:pt x="34" y="11"/>
                    <a:pt x="34" y="11"/>
                    <a:pt x="34" y="11"/>
                  </a:cubicBezTo>
                  <a:cubicBezTo>
                    <a:pt x="35" y="11"/>
                    <a:pt x="35" y="11"/>
                    <a:pt x="35" y="11"/>
                  </a:cubicBezTo>
                  <a:cubicBezTo>
                    <a:pt x="38" y="13"/>
                    <a:pt x="40" y="16"/>
                    <a:pt x="42" y="19"/>
                  </a:cubicBezTo>
                  <a:cubicBezTo>
                    <a:pt x="45" y="25"/>
                    <a:pt x="50" y="26"/>
                    <a:pt x="53" y="26"/>
                  </a:cubicBezTo>
                  <a:cubicBezTo>
                    <a:pt x="59" y="26"/>
                    <a:pt x="64" y="24"/>
                    <a:pt x="65" y="21"/>
                  </a:cubicBezTo>
                  <a:cubicBezTo>
                    <a:pt x="67" y="19"/>
                    <a:pt x="70" y="19"/>
                    <a:pt x="72" y="19"/>
                  </a:cubicBezTo>
                  <a:cubicBezTo>
                    <a:pt x="73" y="19"/>
                    <a:pt x="74" y="19"/>
                    <a:pt x="75" y="19"/>
                  </a:cubicBezTo>
                  <a:cubicBezTo>
                    <a:pt x="77" y="19"/>
                    <a:pt x="78" y="19"/>
                    <a:pt x="79" y="19"/>
                  </a:cubicBezTo>
                  <a:cubicBezTo>
                    <a:pt x="82" y="19"/>
                    <a:pt x="83" y="19"/>
                    <a:pt x="84" y="18"/>
                  </a:cubicBezTo>
                  <a:cubicBezTo>
                    <a:pt x="89" y="14"/>
                    <a:pt x="97" y="13"/>
                    <a:pt x="108" y="12"/>
                  </a:cubicBezTo>
                  <a:cubicBezTo>
                    <a:pt x="120" y="12"/>
                    <a:pt x="138" y="9"/>
                    <a:pt x="140" y="4"/>
                  </a:cubicBezTo>
                  <a:cubicBezTo>
                    <a:pt x="141" y="2"/>
                    <a:pt x="143" y="0"/>
                    <a:pt x="145" y="0"/>
                  </a:cubicBezTo>
                  <a:cubicBezTo>
                    <a:pt x="147" y="0"/>
                    <a:pt x="148" y="1"/>
                    <a:pt x="149" y="2"/>
                  </a:cubicBezTo>
                  <a:cubicBezTo>
                    <a:pt x="150" y="3"/>
                    <a:pt x="151" y="5"/>
                    <a:pt x="151" y="9"/>
                  </a:cubicBezTo>
                  <a:cubicBezTo>
                    <a:pt x="150" y="14"/>
                    <a:pt x="149" y="19"/>
                    <a:pt x="148" y="24"/>
                  </a:cubicBezTo>
                  <a:cubicBezTo>
                    <a:pt x="147" y="28"/>
                    <a:pt x="146" y="32"/>
                    <a:pt x="146" y="34"/>
                  </a:cubicBezTo>
                  <a:cubicBezTo>
                    <a:pt x="146" y="40"/>
                    <a:pt x="137" y="57"/>
                    <a:pt x="132" y="63"/>
                  </a:cubicBezTo>
                  <a:cubicBezTo>
                    <a:pt x="127" y="70"/>
                    <a:pt x="120" y="79"/>
                    <a:pt x="119" y="86"/>
                  </a:cubicBezTo>
                  <a:cubicBezTo>
                    <a:pt x="118" y="93"/>
                    <a:pt x="110" y="104"/>
                    <a:pt x="102" y="113"/>
                  </a:cubicBezTo>
                  <a:cubicBezTo>
                    <a:pt x="91" y="128"/>
                    <a:pt x="73" y="145"/>
                    <a:pt x="66" y="149"/>
                  </a:cubicBezTo>
                  <a:cubicBezTo>
                    <a:pt x="66" y="149"/>
                    <a:pt x="66" y="149"/>
                    <a:pt x="66" y="149"/>
                  </a:cubicBezTo>
                  <a:cubicBezTo>
                    <a:pt x="59" y="152"/>
                    <a:pt x="53" y="155"/>
                    <a:pt x="41" y="168"/>
                  </a:cubicBezTo>
                  <a:cubicBezTo>
                    <a:pt x="37" y="172"/>
                    <a:pt x="33" y="176"/>
                    <a:pt x="29" y="180"/>
                  </a:cubicBezTo>
                  <a:cubicBezTo>
                    <a:pt x="20" y="189"/>
                    <a:pt x="12" y="197"/>
                    <a:pt x="8" y="202"/>
                  </a:cubicBezTo>
                  <a:close/>
                  <a:moveTo>
                    <a:pt x="1" y="190"/>
                  </a:moveTo>
                  <a:cubicBezTo>
                    <a:pt x="8" y="201"/>
                    <a:pt x="8" y="201"/>
                    <a:pt x="8" y="201"/>
                  </a:cubicBezTo>
                  <a:cubicBezTo>
                    <a:pt x="12" y="196"/>
                    <a:pt x="20" y="188"/>
                    <a:pt x="28" y="179"/>
                  </a:cubicBezTo>
                  <a:cubicBezTo>
                    <a:pt x="32" y="175"/>
                    <a:pt x="36" y="171"/>
                    <a:pt x="40" y="167"/>
                  </a:cubicBezTo>
                  <a:cubicBezTo>
                    <a:pt x="52" y="154"/>
                    <a:pt x="58" y="151"/>
                    <a:pt x="65" y="148"/>
                  </a:cubicBezTo>
                  <a:cubicBezTo>
                    <a:pt x="65" y="148"/>
                    <a:pt x="65" y="148"/>
                    <a:pt x="65" y="148"/>
                  </a:cubicBezTo>
                  <a:cubicBezTo>
                    <a:pt x="72" y="144"/>
                    <a:pt x="90" y="127"/>
                    <a:pt x="101" y="112"/>
                  </a:cubicBezTo>
                  <a:cubicBezTo>
                    <a:pt x="109" y="103"/>
                    <a:pt x="117" y="92"/>
                    <a:pt x="118" y="86"/>
                  </a:cubicBezTo>
                  <a:cubicBezTo>
                    <a:pt x="119" y="78"/>
                    <a:pt x="126" y="69"/>
                    <a:pt x="131" y="63"/>
                  </a:cubicBezTo>
                  <a:cubicBezTo>
                    <a:pt x="137" y="56"/>
                    <a:pt x="145" y="39"/>
                    <a:pt x="145" y="34"/>
                  </a:cubicBezTo>
                  <a:cubicBezTo>
                    <a:pt x="145" y="32"/>
                    <a:pt x="146" y="28"/>
                    <a:pt x="147" y="23"/>
                  </a:cubicBezTo>
                  <a:cubicBezTo>
                    <a:pt x="148" y="19"/>
                    <a:pt x="149" y="14"/>
                    <a:pt x="150" y="9"/>
                  </a:cubicBezTo>
                  <a:cubicBezTo>
                    <a:pt x="150" y="5"/>
                    <a:pt x="149" y="4"/>
                    <a:pt x="148" y="3"/>
                  </a:cubicBezTo>
                  <a:cubicBezTo>
                    <a:pt x="147" y="2"/>
                    <a:pt x="146" y="1"/>
                    <a:pt x="145" y="1"/>
                  </a:cubicBezTo>
                  <a:cubicBezTo>
                    <a:pt x="144" y="1"/>
                    <a:pt x="142" y="2"/>
                    <a:pt x="141" y="4"/>
                  </a:cubicBezTo>
                  <a:cubicBezTo>
                    <a:pt x="139" y="10"/>
                    <a:pt x="120" y="13"/>
                    <a:pt x="108" y="13"/>
                  </a:cubicBezTo>
                  <a:cubicBezTo>
                    <a:pt x="97" y="14"/>
                    <a:pt x="89" y="14"/>
                    <a:pt x="85" y="19"/>
                  </a:cubicBezTo>
                  <a:cubicBezTo>
                    <a:pt x="83" y="20"/>
                    <a:pt x="81" y="20"/>
                    <a:pt x="79" y="20"/>
                  </a:cubicBezTo>
                  <a:cubicBezTo>
                    <a:pt x="78" y="20"/>
                    <a:pt x="76" y="20"/>
                    <a:pt x="75" y="20"/>
                  </a:cubicBezTo>
                  <a:cubicBezTo>
                    <a:pt x="74" y="20"/>
                    <a:pt x="73" y="20"/>
                    <a:pt x="72" y="20"/>
                  </a:cubicBezTo>
                  <a:cubicBezTo>
                    <a:pt x="69" y="20"/>
                    <a:pt x="67" y="21"/>
                    <a:pt x="66" y="22"/>
                  </a:cubicBezTo>
                  <a:cubicBezTo>
                    <a:pt x="64" y="25"/>
                    <a:pt x="58" y="27"/>
                    <a:pt x="53" y="27"/>
                  </a:cubicBezTo>
                  <a:cubicBezTo>
                    <a:pt x="48" y="27"/>
                    <a:pt x="43" y="24"/>
                    <a:pt x="41" y="20"/>
                  </a:cubicBezTo>
                  <a:cubicBezTo>
                    <a:pt x="40" y="16"/>
                    <a:pt x="37" y="14"/>
                    <a:pt x="34" y="12"/>
                  </a:cubicBezTo>
                  <a:cubicBezTo>
                    <a:pt x="29" y="17"/>
                    <a:pt x="26" y="22"/>
                    <a:pt x="27" y="24"/>
                  </a:cubicBezTo>
                  <a:cubicBezTo>
                    <a:pt x="28" y="27"/>
                    <a:pt x="33" y="36"/>
                    <a:pt x="35" y="37"/>
                  </a:cubicBezTo>
                  <a:cubicBezTo>
                    <a:pt x="37" y="37"/>
                    <a:pt x="38" y="39"/>
                    <a:pt x="40" y="41"/>
                  </a:cubicBezTo>
                  <a:cubicBezTo>
                    <a:pt x="41" y="43"/>
                    <a:pt x="43" y="45"/>
                    <a:pt x="45" y="45"/>
                  </a:cubicBezTo>
                  <a:cubicBezTo>
                    <a:pt x="48" y="46"/>
                    <a:pt x="64" y="52"/>
                    <a:pt x="74" y="56"/>
                  </a:cubicBezTo>
                  <a:cubicBezTo>
                    <a:pt x="85" y="60"/>
                    <a:pt x="92" y="60"/>
                    <a:pt x="94" y="60"/>
                  </a:cubicBezTo>
                  <a:cubicBezTo>
                    <a:pt x="94" y="60"/>
                    <a:pt x="100" y="60"/>
                    <a:pt x="101" y="62"/>
                  </a:cubicBezTo>
                  <a:cubicBezTo>
                    <a:pt x="101" y="63"/>
                    <a:pt x="101" y="64"/>
                    <a:pt x="100" y="64"/>
                  </a:cubicBezTo>
                  <a:cubicBezTo>
                    <a:pt x="97" y="67"/>
                    <a:pt x="65" y="99"/>
                    <a:pt x="61" y="103"/>
                  </a:cubicBezTo>
                  <a:cubicBezTo>
                    <a:pt x="58" y="106"/>
                    <a:pt x="56" y="106"/>
                    <a:pt x="53" y="106"/>
                  </a:cubicBezTo>
                  <a:cubicBezTo>
                    <a:pt x="52" y="106"/>
                    <a:pt x="51" y="106"/>
                    <a:pt x="50" y="106"/>
                  </a:cubicBezTo>
                  <a:cubicBezTo>
                    <a:pt x="49" y="106"/>
                    <a:pt x="47" y="106"/>
                    <a:pt x="44" y="106"/>
                  </a:cubicBezTo>
                  <a:cubicBezTo>
                    <a:pt x="39" y="106"/>
                    <a:pt x="34" y="110"/>
                    <a:pt x="30" y="113"/>
                  </a:cubicBezTo>
                  <a:cubicBezTo>
                    <a:pt x="28" y="115"/>
                    <a:pt x="27" y="116"/>
                    <a:pt x="26" y="116"/>
                  </a:cubicBezTo>
                  <a:cubicBezTo>
                    <a:pt x="25" y="116"/>
                    <a:pt x="25" y="116"/>
                    <a:pt x="25" y="116"/>
                  </a:cubicBezTo>
                  <a:cubicBezTo>
                    <a:pt x="24" y="116"/>
                    <a:pt x="19" y="117"/>
                    <a:pt x="14" y="118"/>
                  </a:cubicBezTo>
                  <a:cubicBezTo>
                    <a:pt x="7" y="128"/>
                    <a:pt x="7" y="128"/>
                    <a:pt x="7" y="128"/>
                  </a:cubicBezTo>
                  <a:cubicBezTo>
                    <a:pt x="1" y="138"/>
                    <a:pt x="1" y="138"/>
                    <a:pt x="1" y="138"/>
                  </a:cubicBezTo>
                  <a:lnTo>
                    <a:pt x="1" y="19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88" name="Freeform 15"/>
            <p:cNvSpPr>
              <a:spLocks noEditPoints="1"/>
            </p:cNvSpPr>
            <p:nvPr/>
          </p:nvSpPr>
          <p:spPr>
            <a:xfrm>
              <a:off x="4456114" y="2878138"/>
              <a:ext cx="298450" cy="238125"/>
            </a:xfrm>
            <a:custGeom>
              <a:gdLst>
                <a:gd name="T0" fmla="*/ 65 w 176"/>
                <a:gd name="T1" fmla="*/ 139 h 141"/>
                <a:gd name="T2" fmla="*/ 55 w 176"/>
                <a:gd name="T3" fmla="*/ 134 h 141"/>
                <a:gd name="T4" fmla="*/ 0 w 176"/>
                <a:gd name="T5" fmla="*/ 133 h 141"/>
                <a:gd name="T6" fmla="*/ 26 w 176"/>
                <a:gd name="T7" fmla="*/ 119 h 141"/>
                <a:gd name="T8" fmla="*/ 45 w 176"/>
                <a:gd name="T9" fmla="*/ 102 h 141"/>
                <a:gd name="T10" fmla="*/ 50 w 176"/>
                <a:gd name="T11" fmla="*/ 67 h 141"/>
                <a:gd name="T12" fmla="*/ 58 w 176"/>
                <a:gd name="T13" fmla="*/ 54 h 141"/>
                <a:gd name="T14" fmla="*/ 69 w 176"/>
                <a:gd name="T15" fmla="*/ 41 h 141"/>
                <a:gd name="T16" fmla="*/ 97 w 176"/>
                <a:gd name="T17" fmla="*/ 18 h 141"/>
                <a:gd name="T18" fmla="*/ 110 w 176"/>
                <a:gd name="T19" fmla="*/ 0 h 141"/>
                <a:gd name="T20" fmla="*/ 131 w 176"/>
                <a:gd name="T21" fmla="*/ 11 h 141"/>
                <a:gd name="T22" fmla="*/ 145 w 176"/>
                <a:gd name="T23" fmla="*/ 10 h 141"/>
                <a:gd name="T24" fmla="*/ 162 w 176"/>
                <a:gd name="T25" fmla="*/ 14 h 141"/>
                <a:gd name="T26" fmla="*/ 163 w 176"/>
                <a:gd name="T27" fmla="*/ 14 h 141"/>
                <a:gd name="T28" fmla="*/ 169 w 176"/>
                <a:gd name="T29" fmla="*/ 34 h 141"/>
                <a:gd name="T30" fmla="*/ 170 w 176"/>
                <a:gd name="T31" fmla="*/ 47 h 141"/>
                <a:gd name="T32" fmla="*/ 175 w 176"/>
                <a:gd name="T33" fmla="*/ 62 h 141"/>
                <a:gd name="T34" fmla="*/ 169 w 176"/>
                <a:gd name="T35" fmla="*/ 63 h 141"/>
                <a:gd name="T36" fmla="*/ 151 w 176"/>
                <a:gd name="T37" fmla="*/ 64 h 141"/>
                <a:gd name="T38" fmla="*/ 141 w 176"/>
                <a:gd name="T39" fmla="*/ 69 h 141"/>
                <a:gd name="T40" fmla="*/ 138 w 176"/>
                <a:gd name="T41" fmla="*/ 73 h 141"/>
                <a:gd name="T42" fmla="*/ 137 w 176"/>
                <a:gd name="T43" fmla="*/ 82 h 141"/>
                <a:gd name="T44" fmla="*/ 133 w 176"/>
                <a:gd name="T45" fmla="*/ 84 h 141"/>
                <a:gd name="T46" fmla="*/ 126 w 176"/>
                <a:gd name="T47" fmla="*/ 87 h 141"/>
                <a:gd name="T48" fmla="*/ 111 w 176"/>
                <a:gd name="T49" fmla="*/ 99 h 141"/>
                <a:gd name="T50" fmla="*/ 98 w 176"/>
                <a:gd name="T51" fmla="*/ 101 h 141"/>
                <a:gd name="T52" fmla="*/ 93 w 176"/>
                <a:gd name="T53" fmla="*/ 104 h 141"/>
                <a:gd name="T54" fmla="*/ 89 w 176"/>
                <a:gd name="T55" fmla="*/ 104 h 141"/>
                <a:gd name="T56" fmla="*/ 66 w 176"/>
                <a:gd name="T57" fmla="*/ 133 h 141"/>
                <a:gd name="T58" fmla="*/ 2 w 176"/>
                <a:gd name="T59" fmla="*/ 133 h 141"/>
                <a:gd name="T60" fmla="*/ 65 w 176"/>
                <a:gd name="T61" fmla="*/ 136 h 141"/>
                <a:gd name="T62" fmla="*/ 65 w 176"/>
                <a:gd name="T63" fmla="*/ 119 h 141"/>
                <a:gd name="T64" fmla="*/ 93 w 176"/>
                <a:gd name="T65" fmla="*/ 103 h 141"/>
                <a:gd name="T66" fmla="*/ 97 w 176"/>
                <a:gd name="T67" fmla="*/ 101 h 141"/>
                <a:gd name="T68" fmla="*/ 110 w 176"/>
                <a:gd name="T69" fmla="*/ 98 h 141"/>
                <a:gd name="T70" fmla="*/ 126 w 176"/>
                <a:gd name="T71" fmla="*/ 86 h 141"/>
                <a:gd name="T72" fmla="*/ 133 w 176"/>
                <a:gd name="T73" fmla="*/ 83 h 141"/>
                <a:gd name="T74" fmla="*/ 137 w 176"/>
                <a:gd name="T75" fmla="*/ 81 h 141"/>
                <a:gd name="T76" fmla="*/ 137 w 176"/>
                <a:gd name="T77" fmla="*/ 73 h 141"/>
                <a:gd name="T78" fmla="*/ 141 w 176"/>
                <a:gd name="T79" fmla="*/ 68 h 141"/>
                <a:gd name="T80" fmla="*/ 150 w 176"/>
                <a:gd name="T81" fmla="*/ 64 h 141"/>
                <a:gd name="T82" fmla="*/ 169 w 176"/>
                <a:gd name="T83" fmla="*/ 62 h 141"/>
                <a:gd name="T84" fmla="*/ 174 w 176"/>
                <a:gd name="T85" fmla="*/ 61 h 141"/>
                <a:gd name="T86" fmla="*/ 170 w 176"/>
                <a:gd name="T87" fmla="*/ 48 h 141"/>
                <a:gd name="T88" fmla="*/ 168 w 176"/>
                <a:gd name="T89" fmla="*/ 34 h 141"/>
                <a:gd name="T90" fmla="*/ 162 w 176"/>
                <a:gd name="T91" fmla="*/ 15 h 141"/>
                <a:gd name="T92" fmla="*/ 145 w 176"/>
                <a:gd name="T93" fmla="*/ 11 h 141"/>
                <a:gd name="T94" fmla="*/ 131 w 176"/>
                <a:gd name="T95" fmla="*/ 12 h 141"/>
                <a:gd name="T96" fmla="*/ 110 w 176"/>
                <a:gd name="T97" fmla="*/ 1 h 141"/>
                <a:gd name="T98" fmla="*/ 98 w 176"/>
                <a:gd name="T99" fmla="*/ 19 h 141"/>
                <a:gd name="T100" fmla="*/ 69 w 176"/>
                <a:gd name="T101" fmla="*/ 42 h 141"/>
                <a:gd name="T102" fmla="*/ 58 w 176"/>
                <a:gd name="T103" fmla="*/ 55 h 141"/>
                <a:gd name="T104" fmla="*/ 50 w 176"/>
                <a:gd name="T105" fmla="*/ 68 h 141"/>
                <a:gd name="T106" fmla="*/ 45 w 176"/>
                <a:gd name="T107" fmla="*/ 102 h 141"/>
                <a:gd name="T108" fmla="*/ 26 w 176"/>
                <a:gd name="T109" fmla="*/ 120 h 141"/>
                <a:gd name="T110" fmla="*/ 2 w 176"/>
                <a:gd name="T111" fmla="*/ 133 h 1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41">
                  <a:moveTo>
                    <a:pt x="66" y="141"/>
                  </a:moveTo>
                  <a:cubicBezTo>
                    <a:pt x="65" y="139"/>
                    <a:pt x="65" y="139"/>
                    <a:pt x="65" y="139"/>
                  </a:cubicBezTo>
                  <a:cubicBezTo>
                    <a:pt x="64" y="139"/>
                    <a:pt x="64" y="138"/>
                    <a:pt x="64" y="137"/>
                  </a:cubicBezTo>
                  <a:cubicBezTo>
                    <a:pt x="64" y="135"/>
                    <a:pt x="63" y="134"/>
                    <a:pt x="55" y="134"/>
                  </a:cubicBezTo>
                  <a:cubicBezTo>
                    <a:pt x="0" y="134"/>
                    <a:pt x="0" y="134"/>
                    <a:pt x="0" y="134"/>
                  </a:cubicBezTo>
                  <a:cubicBezTo>
                    <a:pt x="0" y="133"/>
                    <a:pt x="0" y="133"/>
                    <a:pt x="0" y="133"/>
                  </a:cubicBezTo>
                  <a:cubicBezTo>
                    <a:pt x="4" y="130"/>
                    <a:pt x="7" y="129"/>
                    <a:pt x="11" y="128"/>
                  </a:cubicBezTo>
                  <a:cubicBezTo>
                    <a:pt x="19" y="127"/>
                    <a:pt x="22" y="123"/>
                    <a:pt x="26" y="119"/>
                  </a:cubicBezTo>
                  <a:cubicBezTo>
                    <a:pt x="28" y="117"/>
                    <a:pt x="30" y="115"/>
                    <a:pt x="32" y="113"/>
                  </a:cubicBezTo>
                  <a:cubicBezTo>
                    <a:pt x="36" y="111"/>
                    <a:pt x="41" y="107"/>
                    <a:pt x="45" y="102"/>
                  </a:cubicBezTo>
                  <a:cubicBezTo>
                    <a:pt x="49" y="97"/>
                    <a:pt x="51" y="92"/>
                    <a:pt x="49" y="90"/>
                  </a:cubicBezTo>
                  <a:cubicBezTo>
                    <a:pt x="47" y="86"/>
                    <a:pt x="44" y="72"/>
                    <a:pt x="50" y="67"/>
                  </a:cubicBezTo>
                  <a:cubicBezTo>
                    <a:pt x="52" y="65"/>
                    <a:pt x="53" y="63"/>
                    <a:pt x="54" y="60"/>
                  </a:cubicBezTo>
                  <a:cubicBezTo>
                    <a:pt x="55" y="58"/>
                    <a:pt x="55" y="56"/>
                    <a:pt x="58" y="54"/>
                  </a:cubicBezTo>
                  <a:cubicBezTo>
                    <a:pt x="59" y="52"/>
                    <a:pt x="61" y="50"/>
                    <a:pt x="62" y="48"/>
                  </a:cubicBezTo>
                  <a:cubicBezTo>
                    <a:pt x="63" y="45"/>
                    <a:pt x="65" y="41"/>
                    <a:pt x="69" y="41"/>
                  </a:cubicBezTo>
                  <a:cubicBezTo>
                    <a:pt x="75" y="41"/>
                    <a:pt x="87" y="37"/>
                    <a:pt x="91" y="31"/>
                  </a:cubicBezTo>
                  <a:cubicBezTo>
                    <a:pt x="92" y="28"/>
                    <a:pt x="95" y="23"/>
                    <a:pt x="97" y="18"/>
                  </a:cubicBezTo>
                  <a:cubicBezTo>
                    <a:pt x="101" y="10"/>
                    <a:pt x="104" y="2"/>
                    <a:pt x="107" y="1"/>
                  </a:cubicBezTo>
                  <a:cubicBezTo>
                    <a:pt x="108" y="0"/>
                    <a:pt x="109" y="0"/>
                    <a:pt x="110" y="0"/>
                  </a:cubicBezTo>
                  <a:cubicBezTo>
                    <a:pt x="113" y="0"/>
                    <a:pt x="117" y="2"/>
                    <a:pt x="121" y="7"/>
                  </a:cubicBezTo>
                  <a:cubicBezTo>
                    <a:pt x="123" y="10"/>
                    <a:pt x="126" y="11"/>
                    <a:pt x="131" y="11"/>
                  </a:cubicBezTo>
                  <a:cubicBezTo>
                    <a:pt x="133" y="11"/>
                    <a:pt x="136" y="10"/>
                    <a:pt x="138" y="10"/>
                  </a:cubicBezTo>
                  <a:cubicBezTo>
                    <a:pt x="141" y="10"/>
                    <a:pt x="143" y="10"/>
                    <a:pt x="145" y="10"/>
                  </a:cubicBezTo>
                  <a:cubicBezTo>
                    <a:pt x="148" y="10"/>
                    <a:pt x="151" y="11"/>
                    <a:pt x="154" y="12"/>
                  </a:cubicBezTo>
                  <a:cubicBezTo>
                    <a:pt x="157" y="13"/>
                    <a:pt x="159" y="14"/>
                    <a:pt x="162" y="14"/>
                  </a:cubicBezTo>
                  <a:cubicBezTo>
                    <a:pt x="163" y="14"/>
                    <a:pt x="163" y="14"/>
                    <a:pt x="163" y="14"/>
                  </a:cubicBezTo>
                  <a:cubicBezTo>
                    <a:pt x="163" y="14"/>
                    <a:pt x="163" y="14"/>
                    <a:pt x="163" y="14"/>
                  </a:cubicBezTo>
                  <a:cubicBezTo>
                    <a:pt x="164" y="16"/>
                    <a:pt x="164" y="18"/>
                    <a:pt x="165" y="18"/>
                  </a:cubicBezTo>
                  <a:cubicBezTo>
                    <a:pt x="168" y="22"/>
                    <a:pt x="169" y="27"/>
                    <a:pt x="169" y="34"/>
                  </a:cubicBezTo>
                  <a:cubicBezTo>
                    <a:pt x="169" y="36"/>
                    <a:pt x="169" y="37"/>
                    <a:pt x="169" y="39"/>
                  </a:cubicBezTo>
                  <a:cubicBezTo>
                    <a:pt x="169" y="43"/>
                    <a:pt x="168" y="46"/>
                    <a:pt x="170" y="47"/>
                  </a:cubicBezTo>
                  <a:cubicBezTo>
                    <a:pt x="173" y="47"/>
                    <a:pt x="176" y="55"/>
                    <a:pt x="176" y="57"/>
                  </a:cubicBezTo>
                  <a:cubicBezTo>
                    <a:pt x="176" y="58"/>
                    <a:pt x="176" y="61"/>
                    <a:pt x="175" y="62"/>
                  </a:cubicBezTo>
                  <a:cubicBezTo>
                    <a:pt x="174" y="63"/>
                    <a:pt x="173" y="63"/>
                    <a:pt x="172" y="63"/>
                  </a:cubicBezTo>
                  <a:cubicBezTo>
                    <a:pt x="172" y="63"/>
                    <a:pt x="170" y="63"/>
                    <a:pt x="169" y="63"/>
                  </a:cubicBezTo>
                  <a:cubicBezTo>
                    <a:pt x="166" y="63"/>
                    <a:pt x="162" y="63"/>
                    <a:pt x="158" y="63"/>
                  </a:cubicBezTo>
                  <a:cubicBezTo>
                    <a:pt x="151" y="63"/>
                    <a:pt x="151" y="64"/>
                    <a:pt x="151" y="64"/>
                  </a:cubicBezTo>
                  <a:cubicBezTo>
                    <a:pt x="151" y="67"/>
                    <a:pt x="147" y="69"/>
                    <a:pt x="142" y="69"/>
                  </a:cubicBezTo>
                  <a:cubicBezTo>
                    <a:pt x="141" y="69"/>
                    <a:pt x="141" y="69"/>
                    <a:pt x="141" y="69"/>
                  </a:cubicBezTo>
                  <a:cubicBezTo>
                    <a:pt x="140" y="69"/>
                    <a:pt x="140" y="69"/>
                    <a:pt x="140" y="69"/>
                  </a:cubicBezTo>
                  <a:cubicBezTo>
                    <a:pt x="138" y="69"/>
                    <a:pt x="138" y="69"/>
                    <a:pt x="138" y="73"/>
                  </a:cubicBezTo>
                  <a:cubicBezTo>
                    <a:pt x="138" y="74"/>
                    <a:pt x="138" y="76"/>
                    <a:pt x="138" y="77"/>
                  </a:cubicBezTo>
                  <a:cubicBezTo>
                    <a:pt x="138" y="79"/>
                    <a:pt x="138" y="81"/>
                    <a:pt x="137" y="82"/>
                  </a:cubicBezTo>
                  <a:cubicBezTo>
                    <a:pt x="136" y="82"/>
                    <a:pt x="136" y="82"/>
                    <a:pt x="136" y="82"/>
                  </a:cubicBezTo>
                  <a:cubicBezTo>
                    <a:pt x="135" y="82"/>
                    <a:pt x="134" y="83"/>
                    <a:pt x="133" y="84"/>
                  </a:cubicBezTo>
                  <a:cubicBezTo>
                    <a:pt x="133" y="85"/>
                    <a:pt x="132" y="86"/>
                    <a:pt x="129" y="87"/>
                  </a:cubicBezTo>
                  <a:cubicBezTo>
                    <a:pt x="128" y="87"/>
                    <a:pt x="127" y="87"/>
                    <a:pt x="126" y="87"/>
                  </a:cubicBezTo>
                  <a:cubicBezTo>
                    <a:pt x="122" y="87"/>
                    <a:pt x="119" y="87"/>
                    <a:pt x="119" y="90"/>
                  </a:cubicBezTo>
                  <a:cubicBezTo>
                    <a:pt x="119" y="94"/>
                    <a:pt x="116" y="98"/>
                    <a:pt x="111" y="99"/>
                  </a:cubicBezTo>
                  <a:cubicBezTo>
                    <a:pt x="109" y="99"/>
                    <a:pt x="107" y="99"/>
                    <a:pt x="105" y="99"/>
                  </a:cubicBezTo>
                  <a:cubicBezTo>
                    <a:pt x="101" y="99"/>
                    <a:pt x="98" y="99"/>
                    <a:pt x="98" y="101"/>
                  </a:cubicBezTo>
                  <a:cubicBezTo>
                    <a:pt x="98" y="104"/>
                    <a:pt x="96" y="104"/>
                    <a:pt x="94" y="104"/>
                  </a:cubicBezTo>
                  <a:cubicBezTo>
                    <a:pt x="94" y="104"/>
                    <a:pt x="94" y="104"/>
                    <a:pt x="93" y="104"/>
                  </a:cubicBezTo>
                  <a:cubicBezTo>
                    <a:pt x="93" y="104"/>
                    <a:pt x="93" y="104"/>
                    <a:pt x="92" y="104"/>
                  </a:cubicBezTo>
                  <a:cubicBezTo>
                    <a:pt x="91" y="104"/>
                    <a:pt x="90" y="104"/>
                    <a:pt x="89" y="104"/>
                  </a:cubicBezTo>
                  <a:cubicBezTo>
                    <a:pt x="81" y="109"/>
                    <a:pt x="66" y="118"/>
                    <a:pt x="66" y="119"/>
                  </a:cubicBezTo>
                  <a:cubicBezTo>
                    <a:pt x="65" y="120"/>
                    <a:pt x="66" y="127"/>
                    <a:pt x="66" y="133"/>
                  </a:cubicBezTo>
                  <a:lnTo>
                    <a:pt x="66" y="141"/>
                  </a:lnTo>
                  <a:close/>
                  <a:moveTo>
                    <a:pt x="2" y="133"/>
                  </a:moveTo>
                  <a:cubicBezTo>
                    <a:pt x="55" y="133"/>
                    <a:pt x="55" y="133"/>
                    <a:pt x="55" y="133"/>
                  </a:cubicBezTo>
                  <a:cubicBezTo>
                    <a:pt x="62" y="133"/>
                    <a:pt x="64" y="134"/>
                    <a:pt x="65" y="136"/>
                  </a:cubicBezTo>
                  <a:cubicBezTo>
                    <a:pt x="65" y="133"/>
                    <a:pt x="65" y="133"/>
                    <a:pt x="65" y="133"/>
                  </a:cubicBezTo>
                  <a:cubicBezTo>
                    <a:pt x="64" y="125"/>
                    <a:pt x="64" y="120"/>
                    <a:pt x="65" y="119"/>
                  </a:cubicBezTo>
                  <a:cubicBezTo>
                    <a:pt x="65" y="117"/>
                    <a:pt x="88" y="104"/>
                    <a:pt x="88" y="104"/>
                  </a:cubicBezTo>
                  <a:cubicBezTo>
                    <a:pt x="90" y="103"/>
                    <a:pt x="92" y="103"/>
                    <a:pt x="93" y="103"/>
                  </a:cubicBezTo>
                  <a:cubicBezTo>
                    <a:pt x="94" y="103"/>
                    <a:pt x="94" y="103"/>
                    <a:pt x="94" y="103"/>
                  </a:cubicBezTo>
                  <a:cubicBezTo>
                    <a:pt x="97" y="103"/>
                    <a:pt x="97" y="102"/>
                    <a:pt x="97" y="101"/>
                  </a:cubicBezTo>
                  <a:cubicBezTo>
                    <a:pt x="97" y="98"/>
                    <a:pt x="101" y="98"/>
                    <a:pt x="105" y="98"/>
                  </a:cubicBezTo>
                  <a:cubicBezTo>
                    <a:pt x="107" y="98"/>
                    <a:pt x="109" y="98"/>
                    <a:pt x="110" y="98"/>
                  </a:cubicBezTo>
                  <a:cubicBezTo>
                    <a:pt x="115" y="97"/>
                    <a:pt x="118" y="94"/>
                    <a:pt x="118" y="90"/>
                  </a:cubicBezTo>
                  <a:cubicBezTo>
                    <a:pt x="118" y="86"/>
                    <a:pt x="122" y="86"/>
                    <a:pt x="126" y="86"/>
                  </a:cubicBezTo>
                  <a:cubicBezTo>
                    <a:pt x="127" y="86"/>
                    <a:pt x="128" y="86"/>
                    <a:pt x="129" y="86"/>
                  </a:cubicBezTo>
                  <a:cubicBezTo>
                    <a:pt x="131" y="85"/>
                    <a:pt x="132" y="84"/>
                    <a:pt x="133" y="83"/>
                  </a:cubicBezTo>
                  <a:cubicBezTo>
                    <a:pt x="133" y="82"/>
                    <a:pt x="134" y="81"/>
                    <a:pt x="136" y="81"/>
                  </a:cubicBezTo>
                  <a:cubicBezTo>
                    <a:pt x="136" y="81"/>
                    <a:pt x="136" y="81"/>
                    <a:pt x="137" y="81"/>
                  </a:cubicBezTo>
                  <a:cubicBezTo>
                    <a:pt x="137" y="80"/>
                    <a:pt x="137" y="79"/>
                    <a:pt x="137" y="77"/>
                  </a:cubicBezTo>
                  <a:cubicBezTo>
                    <a:pt x="137" y="76"/>
                    <a:pt x="137" y="74"/>
                    <a:pt x="137" y="73"/>
                  </a:cubicBezTo>
                  <a:cubicBezTo>
                    <a:pt x="137" y="69"/>
                    <a:pt x="138" y="68"/>
                    <a:pt x="140" y="68"/>
                  </a:cubicBezTo>
                  <a:cubicBezTo>
                    <a:pt x="140" y="68"/>
                    <a:pt x="140" y="68"/>
                    <a:pt x="141" y="68"/>
                  </a:cubicBezTo>
                  <a:cubicBezTo>
                    <a:pt x="142" y="68"/>
                    <a:pt x="142" y="68"/>
                    <a:pt x="142" y="68"/>
                  </a:cubicBezTo>
                  <a:cubicBezTo>
                    <a:pt x="146" y="68"/>
                    <a:pt x="150" y="66"/>
                    <a:pt x="150" y="64"/>
                  </a:cubicBezTo>
                  <a:cubicBezTo>
                    <a:pt x="150" y="62"/>
                    <a:pt x="153" y="62"/>
                    <a:pt x="158" y="62"/>
                  </a:cubicBezTo>
                  <a:cubicBezTo>
                    <a:pt x="162" y="62"/>
                    <a:pt x="166" y="62"/>
                    <a:pt x="169" y="62"/>
                  </a:cubicBezTo>
                  <a:cubicBezTo>
                    <a:pt x="170" y="62"/>
                    <a:pt x="172" y="62"/>
                    <a:pt x="172" y="62"/>
                  </a:cubicBezTo>
                  <a:cubicBezTo>
                    <a:pt x="173" y="62"/>
                    <a:pt x="174" y="62"/>
                    <a:pt x="174" y="61"/>
                  </a:cubicBezTo>
                  <a:cubicBezTo>
                    <a:pt x="175" y="60"/>
                    <a:pt x="175" y="58"/>
                    <a:pt x="175" y="57"/>
                  </a:cubicBezTo>
                  <a:cubicBezTo>
                    <a:pt x="175" y="55"/>
                    <a:pt x="172" y="48"/>
                    <a:pt x="170" y="48"/>
                  </a:cubicBezTo>
                  <a:cubicBezTo>
                    <a:pt x="167" y="47"/>
                    <a:pt x="168" y="43"/>
                    <a:pt x="168" y="39"/>
                  </a:cubicBezTo>
                  <a:cubicBezTo>
                    <a:pt x="168" y="37"/>
                    <a:pt x="168" y="36"/>
                    <a:pt x="168" y="34"/>
                  </a:cubicBezTo>
                  <a:cubicBezTo>
                    <a:pt x="168" y="27"/>
                    <a:pt x="167" y="23"/>
                    <a:pt x="164" y="19"/>
                  </a:cubicBezTo>
                  <a:cubicBezTo>
                    <a:pt x="164" y="18"/>
                    <a:pt x="163" y="17"/>
                    <a:pt x="162" y="15"/>
                  </a:cubicBezTo>
                  <a:cubicBezTo>
                    <a:pt x="159" y="15"/>
                    <a:pt x="156" y="14"/>
                    <a:pt x="153" y="13"/>
                  </a:cubicBezTo>
                  <a:cubicBezTo>
                    <a:pt x="151" y="12"/>
                    <a:pt x="148" y="11"/>
                    <a:pt x="145" y="11"/>
                  </a:cubicBezTo>
                  <a:cubicBezTo>
                    <a:pt x="143" y="11"/>
                    <a:pt x="141" y="11"/>
                    <a:pt x="138" y="11"/>
                  </a:cubicBezTo>
                  <a:cubicBezTo>
                    <a:pt x="136" y="11"/>
                    <a:pt x="133" y="12"/>
                    <a:pt x="131" y="12"/>
                  </a:cubicBezTo>
                  <a:cubicBezTo>
                    <a:pt x="126" y="12"/>
                    <a:pt x="123" y="11"/>
                    <a:pt x="120" y="8"/>
                  </a:cubicBezTo>
                  <a:cubicBezTo>
                    <a:pt x="116" y="3"/>
                    <a:pt x="113" y="1"/>
                    <a:pt x="110" y="1"/>
                  </a:cubicBezTo>
                  <a:cubicBezTo>
                    <a:pt x="109" y="1"/>
                    <a:pt x="108" y="1"/>
                    <a:pt x="107" y="2"/>
                  </a:cubicBezTo>
                  <a:cubicBezTo>
                    <a:pt x="105" y="3"/>
                    <a:pt x="101" y="11"/>
                    <a:pt x="98" y="19"/>
                  </a:cubicBezTo>
                  <a:cubicBezTo>
                    <a:pt x="96" y="24"/>
                    <a:pt x="93" y="29"/>
                    <a:pt x="92" y="31"/>
                  </a:cubicBezTo>
                  <a:cubicBezTo>
                    <a:pt x="87" y="38"/>
                    <a:pt x="75" y="42"/>
                    <a:pt x="69" y="42"/>
                  </a:cubicBezTo>
                  <a:cubicBezTo>
                    <a:pt x="66" y="42"/>
                    <a:pt x="64" y="45"/>
                    <a:pt x="63" y="48"/>
                  </a:cubicBezTo>
                  <a:cubicBezTo>
                    <a:pt x="61" y="51"/>
                    <a:pt x="60" y="53"/>
                    <a:pt x="58" y="55"/>
                  </a:cubicBezTo>
                  <a:cubicBezTo>
                    <a:pt x="56" y="56"/>
                    <a:pt x="56" y="58"/>
                    <a:pt x="55" y="61"/>
                  </a:cubicBezTo>
                  <a:cubicBezTo>
                    <a:pt x="54" y="63"/>
                    <a:pt x="53" y="66"/>
                    <a:pt x="50" y="68"/>
                  </a:cubicBezTo>
                  <a:cubicBezTo>
                    <a:pt x="45" y="72"/>
                    <a:pt x="48" y="85"/>
                    <a:pt x="50" y="90"/>
                  </a:cubicBezTo>
                  <a:cubicBezTo>
                    <a:pt x="52" y="93"/>
                    <a:pt x="48" y="99"/>
                    <a:pt x="45" y="102"/>
                  </a:cubicBezTo>
                  <a:cubicBezTo>
                    <a:pt x="42" y="107"/>
                    <a:pt x="37" y="112"/>
                    <a:pt x="33" y="114"/>
                  </a:cubicBezTo>
                  <a:cubicBezTo>
                    <a:pt x="30" y="116"/>
                    <a:pt x="28" y="118"/>
                    <a:pt x="26" y="120"/>
                  </a:cubicBezTo>
                  <a:cubicBezTo>
                    <a:pt x="23" y="124"/>
                    <a:pt x="19" y="128"/>
                    <a:pt x="11" y="129"/>
                  </a:cubicBezTo>
                  <a:cubicBezTo>
                    <a:pt x="8" y="129"/>
                    <a:pt x="5" y="131"/>
                    <a:pt x="2" y="13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89" name="Freeform 16"/>
            <p:cNvSpPr>
              <a:spLocks noEditPoints="1"/>
            </p:cNvSpPr>
            <p:nvPr/>
          </p:nvSpPr>
          <p:spPr>
            <a:xfrm>
              <a:off x="4965701" y="2836863"/>
              <a:ext cx="104775" cy="198438"/>
            </a:xfrm>
            <a:custGeom>
              <a:gdLst>
                <a:gd name="T0" fmla="*/ 34 w 62"/>
                <a:gd name="T1" fmla="*/ 117 h 117"/>
                <a:gd name="T2" fmla="*/ 25 w 62"/>
                <a:gd name="T3" fmla="*/ 87 h 117"/>
                <a:gd name="T4" fmla="*/ 14 w 62"/>
                <a:gd name="T5" fmla="*/ 78 h 117"/>
                <a:gd name="T6" fmla="*/ 1 w 62"/>
                <a:gd name="T7" fmla="*/ 55 h 117"/>
                <a:gd name="T8" fmla="*/ 7 w 62"/>
                <a:gd name="T9" fmla="*/ 48 h 117"/>
                <a:gd name="T10" fmla="*/ 17 w 62"/>
                <a:gd name="T11" fmla="*/ 36 h 117"/>
                <a:gd name="T12" fmla="*/ 16 w 62"/>
                <a:gd name="T13" fmla="*/ 6 h 117"/>
                <a:gd name="T14" fmla="*/ 17 w 62"/>
                <a:gd name="T15" fmla="*/ 5 h 117"/>
                <a:gd name="T16" fmla="*/ 35 w 62"/>
                <a:gd name="T17" fmla="*/ 0 h 117"/>
                <a:gd name="T18" fmla="*/ 48 w 62"/>
                <a:gd name="T19" fmla="*/ 8 h 117"/>
                <a:gd name="T20" fmla="*/ 53 w 62"/>
                <a:gd name="T21" fmla="*/ 6 h 117"/>
                <a:gd name="T22" fmla="*/ 53 w 62"/>
                <a:gd name="T23" fmla="*/ 12 h 117"/>
                <a:gd name="T24" fmla="*/ 48 w 62"/>
                <a:gd name="T25" fmla="*/ 20 h 117"/>
                <a:gd name="T26" fmla="*/ 55 w 62"/>
                <a:gd name="T27" fmla="*/ 34 h 117"/>
                <a:gd name="T28" fmla="*/ 44 w 62"/>
                <a:gd name="T29" fmla="*/ 49 h 117"/>
                <a:gd name="T30" fmla="*/ 47 w 62"/>
                <a:gd name="T31" fmla="*/ 60 h 117"/>
                <a:gd name="T32" fmla="*/ 52 w 62"/>
                <a:gd name="T33" fmla="*/ 58 h 117"/>
                <a:gd name="T34" fmla="*/ 62 w 62"/>
                <a:gd name="T35" fmla="*/ 70 h 117"/>
                <a:gd name="T36" fmla="*/ 62 w 62"/>
                <a:gd name="T37" fmla="*/ 71 h 117"/>
                <a:gd name="T38" fmla="*/ 57 w 62"/>
                <a:gd name="T39" fmla="*/ 83 h 117"/>
                <a:gd name="T40" fmla="*/ 48 w 62"/>
                <a:gd name="T41" fmla="*/ 90 h 117"/>
                <a:gd name="T42" fmla="*/ 43 w 62"/>
                <a:gd name="T43" fmla="*/ 99 h 117"/>
                <a:gd name="T44" fmla="*/ 35 w 62"/>
                <a:gd name="T45" fmla="*/ 117 h 117"/>
                <a:gd name="T46" fmla="*/ 17 w 62"/>
                <a:gd name="T47" fmla="*/ 6 h 117"/>
                <a:gd name="T48" fmla="*/ 18 w 62"/>
                <a:gd name="T49" fmla="*/ 36 h 117"/>
                <a:gd name="T50" fmla="*/ 8 w 62"/>
                <a:gd name="T51" fmla="*/ 49 h 117"/>
                <a:gd name="T52" fmla="*/ 2 w 62"/>
                <a:gd name="T53" fmla="*/ 55 h 117"/>
                <a:gd name="T54" fmla="*/ 15 w 62"/>
                <a:gd name="T55" fmla="*/ 78 h 117"/>
                <a:gd name="T56" fmla="*/ 26 w 62"/>
                <a:gd name="T57" fmla="*/ 87 h 117"/>
                <a:gd name="T58" fmla="*/ 34 w 62"/>
                <a:gd name="T59" fmla="*/ 116 h 117"/>
                <a:gd name="T60" fmla="*/ 40 w 62"/>
                <a:gd name="T61" fmla="*/ 111 h 117"/>
                <a:gd name="T62" fmla="*/ 44 w 62"/>
                <a:gd name="T63" fmla="*/ 93 h 117"/>
                <a:gd name="T64" fmla="*/ 55 w 62"/>
                <a:gd name="T65" fmla="*/ 82 h 117"/>
                <a:gd name="T66" fmla="*/ 61 w 62"/>
                <a:gd name="T67" fmla="*/ 78 h 117"/>
                <a:gd name="T68" fmla="*/ 56 w 62"/>
                <a:gd name="T69" fmla="*/ 64 h 117"/>
                <a:gd name="T70" fmla="*/ 50 w 62"/>
                <a:gd name="T71" fmla="*/ 60 h 117"/>
                <a:gd name="T72" fmla="*/ 38 w 62"/>
                <a:gd name="T73" fmla="*/ 55 h 117"/>
                <a:gd name="T74" fmla="*/ 50 w 62"/>
                <a:gd name="T75" fmla="*/ 44 h 117"/>
                <a:gd name="T76" fmla="*/ 50 w 62"/>
                <a:gd name="T77" fmla="*/ 25 h 117"/>
                <a:gd name="T78" fmla="*/ 51 w 62"/>
                <a:gd name="T79" fmla="*/ 13 h 117"/>
                <a:gd name="T80" fmla="*/ 54 w 62"/>
                <a:gd name="T81" fmla="*/ 8 h 117"/>
                <a:gd name="T82" fmla="*/ 48 w 62"/>
                <a:gd name="T83" fmla="*/ 9 h 117"/>
                <a:gd name="T84" fmla="*/ 35 w 62"/>
                <a:gd name="T85" fmla="*/ 1 h 117"/>
                <a:gd name="T86" fmla="*/ 17 w 62"/>
                <a:gd name="T87" fmla="*/ 6 h 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117">
                  <a:moveTo>
                    <a:pt x="34" y="117"/>
                  </a:moveTo>
                  <a:cubicBezTo>
                    <a:pt x="34" y="117"/>
                    <a:pt x="34" y="117"/>
                    <a:pt x="34" y="117"/>
                  </a:cubicBezTo>
                  <a:cubicBezTo>
                    <a:pt x="33" y="116"/>
                    <a:pt x="32" y="114"/>
                    <a:pt x="32" y="113"/>
                  </a:cubicBezTo>
                  <a:cubicBezTo>
                    <a:pt x="32" y="107"/>
                    <a:pt x="28" y="91"/>
                    <a:pt x="25" y="87"/>
                  </a:cubicBezTo>
                  <a:cubicBezTo>
                    <a:pt x="24" y="86"/>
                    <a:pt x="22" y="84"/>
                    <a:pt x="19" y="83"/>
                  </a:cubicBezTo>
                  <a:cubicBezTo>
                    <a:pt x="17" y="81"/>
                    <a:pt x="14" y="80"/>
                    <a:pt x="14" y="78"/>
                  </a:cubicBezTo>
                  <a:cubicBezTo>
                    <a:pt x="14" y="76"/>
                    <a:pt x="14" y="72"/>
                    <a:pt x="8" y="69"/>
                  </a:cubicBezTo>
                  <a:cubicBezTo>
                    <a:pt x="3" y="67"/>
                    <a:pt x="0" y="58"/>
                    <a:pt x="1" y="55"/>
                  </a:cubicBezTo>
                  <a:cubicBezTo>
                    <a:pt x="1" y="53"/>
                    <a:pt x="2" y="53"/>
                    <a:pt x="3" y="53"/>
                  </a:cubicBezTo>
                  <a:cubicBezTo>
                    <a:pt x="4" y="53"/>
                    <a:pt x="6" y="51"/>
                    <a:pt x="7" y="48"/>
                  </a:cubicBezTo>
                  <a:cubicBezTo>
                    <a:pt x="9" y="46"/>
                    <a:pt x="10" y="44"/>
                    <a:pt x="12" y="43"/>
                  </a:cubicBezTo>
                  <a:cubicBezTo>
                    <a:pt x="14" y="43"/>
                    <a:pt x="16" y="39"/>
                    <a:pt x="17" y="36"/>
                  </a:cubicBezTo>
                  <a:cubicBezTo>
                    <a:pt x="17" y="33"/>
                    <a:pt x="17" y="31"/>
                    <a:pt x="16" y="29"/>
                  </a:cubicBezTo>
                  <a:cubicBezTo>
                    <a:pt x="14" y="26"/>
                    <a:pt x="14" y="19"/>
                    <a:pt x="16" y="6"/>
                  </a:cubicBezTo>
                  <a:cubicBezTo>
                    <a:pt x="16" y="5"/>
                    <a:pt x="16" y="5"/>
                    <a:pt x="16" y="5"/>
                  </a:cubicBezTo>
                  <a:cubicBezTo>
                    <a:pt x="17" y="5"/>
                    <a:pt x="17" y="5"/>
                    <a:pt x="17" y="5"/>
                  </a:cubicBezTo>
                  <a:cubicBezTo>
                    <a:pt x="20" y="5"/>
                    <a:pt x="22" y="5"/>
                    <a:pt x="24" y="3"/>
                  </a:cubicBezTo>
                  <a:cubicBezTo>
                    <a:pt x="26" y="1"/>
                    <a:pt x="30" y="0"/>
                    <a:pt x="35" y="0"/>
                  </a:cubicBezTo>
                  <a:cubicBezTo>
                    <a:pt x="39" y="0"/>
                    <a:pt x="44" y="1"/>
                    <a:pt x="45" y="5"/>
                  </a:cubicBezTo>
                  <a:cubicBezTo>
                    <a:pt x="45" y="6"/>
                    <a:pt x="46" y="8"/>
                    <a:pt x="48" y="8"/>
                  </a:cubicBezTo>
                  <a:cubicBezTo>
                    <a:pt x="49" y="8"/>
                    <a:pt x="50" y="7"/>
                    <a:pt x="51" y="7"/>
                  </a:cubicBezTo>
                  <a:cubicBezTo>
                    <a:pt x="51" y="6"/>
                    <a:pt x="52" y="6"/>
                    <a:pt x="53" y="6"/>
                  </a:cubicBezTo>
                  <a:cubicBezTo>
                    <a:pt x="54" y="6"/>
                    <a:pt x="55" y="6"/>
                    <a:pt x="55" y="7"/>
                  </a:cubicBezTo>
                  <a:cubicBezTo>
                    <a:pt x="56" y="8"/>
                    <a:pt x="56" y="10"/>
                    <a:pt x="53" y="12"/>
                  </a:cubicBezTo>
                  <a:cubicBezTo>
                    <a:pt x="53" y="13"/>
                    <a:pt x="52" y="14"/>
                    <a:pt x="52" y="14"/>
                  </a:cubicBezTo>
                  <a:cubicBezTo>
                    <a:pt x="49" y="16"/>
                    <a:pt x="48" y="18"/>
                    <a:pt x="48" y="20"/>
                  </a:cubicBezTo>
                  <a:cubicBezTo>
                    <a:pt x="48" y="21"/>
                    <a:pt x="49" y="23"/>
                    <a:pt x="51" y="24"/>
                  </a:cubicBezTo>
                  <a:cubicBezTo>
                    <a:pt x="54" y="27"/>
                    <a:pt x="55" y="30"/>
                    <a:pt x="55" y="34"/>
                  </a:cubicBezTo>
                  <a:cubicBezTo>
                    <a:pt x="56" y="38"/>
                    <a:pt x="54" y="42"/>
                    <a:pt x="50" y="45"/>
                  </a:cubicBezTo>
                  <a:cubicBezTo>
                    <a:pt x="48" y="47"/>
                    <a:pt x="46" y="48"/>
                    <a:pt x="44" y="49"/>
                  </a:cubicBezTo>
                  <a:cubicBezTo>
                    <a:pt x="40" y="50"/>
                    <a:pt x="39" y="51"/>
                    <a:pt x="39" y="54"/>
                  </a:cubicBezTo>
                  <a:cubicBezTo>
                    <a:pt x="40" y="58"/>
                    <a:pt x="44" y="60"/>
                    <a:pt x="47" y="60"/>
                  </a:cubicBezTo>
                  <a:cubicBezTo>
                    <a:pt x="48" y="60"/>
                    <a:pt x="49" y="60"/>
                    <a:pt x="50" y="59"/>
                  </a:cubicBezTo>
                  <a:cubicBezTo>
                    <a:pt x="50" y="58"/>
                    <a:pt x="51" y="58"/>
                    <a:pt x="52" y="58"/>
                  </a:cubicBezTo>
                  <a:cubicBezTo>
                    <a:pt x="54" y="58"/>
                    <a:pt x="57" y="62"/>
                    <a:pt x="57" y="64"/>
                  </a:cubicBezTo>
                  <a:cubicBezTo>
                    <a:pt x="57" y="65"/>
                    <a:pt x="58" y="68"/>
                    <a:pt x="62" y="70"/>
                  </a:cubicBezTo>
                  <a:cubicBezTo>
                    <a:pt x="62" y="70"/>
                    <a:pt x="62" y="70"/>
                    <a:pt x="62" y="70"/>
                  </a:cubicBezTo>
                  <a:cubicBezTo>
                    <a:pt x="62" y="71"/>
                    <a:pt x="62" y="71"/>
                    <a:pt x="62" y="71"/>
                  </a:cubicBezTo>
                  <a:cubicBezTo>
                    <a:pt x="62" y="74"/>
                    <a:pt x="62" y="77"/>
                    <a:pt x="62" y="78"/>
                  </a:cubicBezTo>
                  <a:cubicBezTo>
                    <a:pt x="62" y="82"/>
                    <a:pt x="59" y="83"/>
                    <a:pt x="57" y="83"/>
                  </a:cubicBezTo>
                  <a:cubicBezTo>
                    <a:pt x="56" y="83"/>
                    <a:pt x="56" y="83"/>
                    <a:pt x="55" y="83"/>
                  </a:cubicBezTo>
                  <a:cubicBezTo>
                    <a:pt x="54" y="83"/>
                    <a:pt x="50" y="88"/>
                    <a:pt x="48" y="90"/>
                  </a:cubicBezTo>
                  <a:cubicBezTo>
                    <a:pt x="46" y="92"/>
                    <a:pt x="45" y="93"/>
                    <a:pt x="44" y="94"/>
                  </a:cubicBezTo>
                  <a:cubicBezTo>
                    <a:pt x="42" y="95"/>
                    <a:pt x="42" y="98"/>
                    <a:pt x="43" y="99"/>
                  </a:cubicBezTo>
                  <a:cubicBezTo>
                    <a:pt x="44" y="101"/>
                    <a:pt x="42" y="108"/>
                    <a:pt x="40" y="111"/>
                  </a:cubicBezTo>
                  <a:cubicBezTo>
                    <a:pt x="39" y="114"/>
                    <a:pt x="37" y="115"/>
                    <a:pt x="35" y="117"/>
                  </a:cubicBezTo>
                  <a:lnTo>
                    <a:pt x="34" y="117"/>
                  </a:lnTo>
                  <a:close/>
                  <a:moveTo>
                    <a:pt x="17" y="6"/>
                  </a:moveTo>
                  <a:cubicBezTo>
                    <a:pt x="15" y="18"/>
                    <a:pt x="15" y="26"/>
                    <a:pt x="17" y="28"/>
                  </a:cubicBezTo>
                  <a:cubicBezTo>
                    <a:pt x="18" y="30"/>
                    <a:pt x="18" y="33"/>
                    <a:pt x="18" y="36"/>
                  </a:cubicBezTo>
                  <a:cubicBezTo>
                    <a:pt x="17" y="40"/>
                    <a:pt x="14" y="43"/>
                    <a:pt x="12" y="44"/>
                  </a:cubicBezTo>
                  <a:cubicBezTo>
                    <a:pt x="11" y="45"/>
                    <a:pt x="9" y="47"/>
                    <a:pt x="8" y="49"/>
                  </a:cubicBezTo>
                  <a:cubicBezTo>
                    <a:pt x="6" y="51"/>
                    <a:pt x="5" y="54"/>
                    <a:pt x="3" y="54"/>
                  </a:cubicBezTo>
                  <a:cubicBezTo>
                    <a:pt x="2" y="54"/>
                    <a:pt x="2" y="54"/>
                    <a:pt x="2" y="55"/>
                  </a:cubicBezTo>
                  <a:cubicBezTo>
                    <a:pt x="1" y="58"/>
                    <a:pt x="4" y="66"/>
                    <a:pt x="9" y="68"/>
                  </a:cubicBezTo>
                  <a:cubicBezTo>
                    <a:pt x="15" y="71"/>
                    <a:pt x="15" y="76"/>
                    <a:pt x="15" y="78"/>
                  </a:cubicBezTo>
                  <a:cubicBezTo>
                    <a:pt x="15" y="79"/>
                    <a:pt x="18" y="81"/>
                    <a:pt x="20" y="82"/>
                  </a:cubicBezTo>
                  <a:cubicBezTo>
                    <a:pt x="22" y="84"/>
                    <a:pt x="25" y="85"/>
                    <a:pt x="26" y="87"/>
                  </a:cubicBezTo>
                  <a:cubicBezTo>
                    <a:pt x="29" y="90"/>
                    <a:pt x="33" y="106"/>
                    <a:pt x="33" y="113"/>
                  </a:cubicBezTo>
                  <a:cubicBezTo>
                    <a:pt x="33" y="114"/>
                    <a:pt x="33" y="115"/>
                    <a:pt x="34" y="116"/>
                  </a:cubicBezTo>
                  <a:cubicBezTo>
                    <a:pt x="34" y="116"/>
                    <a:pt x="34" y="116"/>
                    <a:pt x="34" y="116"/>
                  </a:cubicBezTo>
                  <a:cubicBezTo>
                    <a:pt x="36" y="114"/>
                    <a:pt x="39" y="113"/>
                    <a:pt x="40" y="111"/>
                  </a:cubicBezTo>
                  <a:cubicBezTo>
                    <a:pt x="41" y="107"/>
                    <a:pt x="43" y="101"/>
                    <a:pt x="42" y="100"/>
                  </a:cubicBezTo>
                  <a:cubicBezTo>
                    <a:pt x="41" y="98"/>
                    <a:pt x="41" y="95"/>
                    <a:pt x="44" y="93"/>
                  </a:cubicBezTo>
                  <a:cubicBezTo>
                    <a:pt x="44" y="92"/>
                    <a:pt x="45" y="91"/>
                    <a:pt x="47" y="89"/>
                  </a:cubicBezTo>
                  <a:cubicBezTo>
                    <a:pt x="51" y="86"/>
                    <a:pt x="54" y="83"/>
                    <a:pt x="55" y="82"/>
                  </a:cubicBezTo>
                  <a:cubicBezTo>
                    <a:pt x="55" y="82"/>
                    <a:pt x="56" y="82"/>
                    <a:pt x="57" y="82"/>
                  </a:cubicBezTo>
                  <a:cubicBezTo>
                    <a:pt x="59" y="82"/>
                    <a:pt x="61" y="81"/>
                    <a:pt x="61" y="78"/>
                  </a:cubicBezTo>
                  <a:cubicBezTo>
                    <a:pt x="61" y="77"/>
                    <a:pt x="61" y="74"/>
                    <a:pt x="61" y="71"/>
                  </a:cubicBezTo>
                  <a:cubicBezTo>
                    <a:pt x="58" y="69"/>
                    <a:pt x="56" y="66"/>
                    <a:pt x="56" y="64"/>
                  </a:cubicBezTo>
                  <a:cubicBezTo>
                    <a:pt x="56" y="62"/>
                    <a:pt x="53" y="59"/>
                    <a:pt x="52" y="59"/>
                  </a:cubicBezTo>
                  <a:cubicBezTo>
                    <a:pt x="51" y="59"/>
                    <a:pt x="51" y="59"/>
                    <a:pt x="50" y="60"/>
                  </a:cubicBezTo>
                  <a:cubicBezTo>
                    <a:pt x="50" y="61"/>
                    <a:pt x="49" y="61"/>
                    <a:pt x="47" y="61"/>
                  </a:cubicBezTo>
                  <a:cubicBezTo>
                    <a:pt x="43" y="61"/>
                    <a:pt x="39" y="59"/>
                    <a:pt x="38" y="55"/>
                  </a:cubicBezTo>
                  <a:cubicBezTo>
                    <a:pt x="37" y="51"/>
                    <a:pt x="40" y="49"/>
                    <a:pt x="43" y="48"/>
                  </a:cubicBezTo>
                  <a:cubicBezTo>
                    <a:pt x="45" y="47"/>
                    <a:pt x="48" y="46"/>
                    <a:pt x="50" y="44"/>
                  </a:cubicBezTo>
                  <a:cubicBezTo>
                    <a:pt x="53" y="42"/>
                    <a:pt x="55" y="38"/>
                    <a:pt x="54" y="34"/>
                  </a:cubicBezTo>
                  <a:cubicBezTo>
                    <a:pt x="54" y="31"/>
                    <a:pt x="53" y="27"/>
                    <a:pt x="50" y="25"/>
                  </a:cubicBezTo>
                  <a:cubicBezTo>
                    <a:pt x="48" y="23"/>
                    <a:pt x="47" y="22"/>
                    <a:pt x="47" y="20"/>
                  </a:cubicBezTo>
                  <a:cubicBezTo>
                    <a:pt x="47" y="18"/>
                    <a:pt x="49" y="16"/>
                    <a:pt x="51" y="13"/>
                  </a:cubicBezTo>
                  <a:cubicBezTo>
                    <a:pt x="52" y="13"/>
                    <a:pt x="52" y="12"/>
                    <a:pt x="53" y="12"/>
                  </a:cubicBezTo>
                  <a:cubicBezTo>
                    <a:pt x="54" y="10"/>
                    <a:pt x="55" y="9"/>
                    <a:pt x="54" y="8"/>
                  </a:cubicBezTo>
                  <a:cubicBezTo>
                    <a:pt x="54" y="7"/>
                    <a:pt x="53" y="6"/>
                    <a:pt x="52" y="7"/>
                  </a:cubicBezTo>
                  <a:cubicBezTo>
                    <a:pt x="50" y="8"/>
                    <a:pt x="49" y="9"/>
                    <a:pt x="48" y="9"/>
                  </a:cubicBezTo>
                  <a:cubicBezTo>
                    <a:pt x="46" y="9"/>
                    <a:pt x="44" y="8"/>
                    <a:pt x="44" y="5"/>
                  </a:cubicBezTo>
                  <a:cubicBezTo>
                    <a:pt x="44" y="2"/>
                    <a:pt x="40" y="1"/>
                    <a:pt x="35" y="1"/>
                  </a:cubicBezTo>
                  <a:cubicBezTo>
                    <a:pt x="31" y="1"/>
                    <a:pt x="27" y="2"/>
                    <a:pt x="25" y="4"/>
                  </a:cubicBezTo>
                  <a:cubicBezTo>
                    <a:pt x="23" y="5"/>
                    <a:pt x="20" y="6"/>
                    <a:pt x="17"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0" name="Freeform 17"/>
            <p:cNvSpPr>
              <a:spLocks noEditPoints="1"/>
            </p:cNvSpPr>
            <p:nvPr/>
          </p:nvSpPr>
          <p:spPr>
            <a:xfrm>
              <a:off x="4565651" y="2840038"/>
              <a:ext cx="517525" cy="495300"/>
            </a:xfrm>
            <a:custGeom>
              <a:gdLst>
                <a:gd name="T0" fmla="*/ 171 w 305"/>
                <a:gd name="T1" fmla="*/ 277 h 292"/>
                <a:gd name="T2" fmla="*/ 154 w 305"/>
                <a:gd name="T3" fmla="*/ 271 h 292"/>
                <a:gd name="T4" fmla="*/ 1 w 305"/>
                <a:gd name="T5" fmla="*/ 161 h 292"/>
                <a:gd name="T6" fmla="*/ 1 w 305"/>
                <a:gd name="T7" fmla="*/ 141 h 292"/>
                <a:gd name="T8" fmla="*/ 30 w 305"/>
                <a:gd name="T9" fmla="*/ 125 h 292"/>
                <a:gd name="T10" fmla="*/ 46 w 305"/>
                <a:gd name="T11" fmla="*/ 120 h 292"/>
                <a:gd name="T12" fmla="*/ 65 w 305"/>
                <a:gd name="T13" fmla="*/ 108 h 292"/>
                <a:gd name="T14" fmla="*/ 73 w 305"/>
                <a:gd name="T15" fmla="*/ 103 h 292"/>
                <a:gd name="T16" fmla="*/ 76 w 305"/>
                <a:gd name="T17" fmla="*/ 90 h 292"/>
                <a:gd name="T18" fmla="*/ 86 w 305"/>
                <a:gd name="T19" fmla="*/ 86 h 292"/>
                <a:gd name="T20" fmla="*/ 108 w 305"/>
                <a:gd name="T21" fmla="*/ 84 h 292"/>
                <a:gd name="T22" fmla="*/ 106 w 305"/>
                <a:gd name="T23" fmla="*/ 70 h 292"/>
                <a:gd name="T24" fmla="*/ 100 w 305"/>
                <a:gd name="T25" fmla="*/ 41 h 292"/>
                <a:gd name="T26" fmla="*/ 98 w 305"/>
                <a:gd name="T27" fmla="*/ 36 h 292"/>
                <a:gd name="T28" fmla="*/ 135 w 305"/>
                <a:gd name="T29" fmla="*/ 17 h 292"/>
                <a:gd name="T30" fmla="*/ 197 w 305"/>
                <a:gd name="T31" fmla="*/ 5 h 292"/>
                <a:gd name="T32" fmla="*/ 217 w 305"/>
                <a:gd name="T33" fmla="*/ 4 h 292"/>
                <a:gd name="T34" fmla="*/ 239 w 305"/>
                <a:gd name="T35" fmla="*/ 1 h 292"/>
                <a:gd name="T36" fmla="*/ 253 w 305"/>
                <a:gd name="T37" fmla="*/ 4 h 292"/>
                <a:gd name="T38" fmla="*/ 248 w 305"/>
                <a:gd name="T39" fmla="*/ 42 h 292"/>
                <a:gd name="T40" fmla="*/ 238 w 305"/>
                <a:gd name="T41" fmla="*/ 53 h 292"/>
                <a:gd name="T42" fmla="*/ 256 w 305"/>
                <a:gd name="T43" fmla="*/ 80 h 292"/>
                <a:gd name="T44" fmla="*/ 270 w 305"/>
                <a:gd name="T45" fmla="*/ 114 h 292"/>
                <a:gd name="T46" fmla="*/ 267 w 305"/>
                <a:gd name="T47" fmla="*/ 118 h 292"/>
                <a:gd name="T48" fmla="*/ 274 w 305"/>
                <a:gd name="T49" fmla="*/ 140 h 292"/>
                <a:gd name="T50" fmla="*/ 272 w 305"/>
                <a:gd name="T51" fmla="*/ 162 h 292"/>
                <a:gd name="T52" fmla="*/ 274 w 305"/>
                <a:gd name="T53" fmla="*/ 172 h 292"/>
                <a:gd name="T54" fmla="*/ 271 w 305"/>
                <a:gd name="T55" fmla="*/ 183 h 292"/>
                <a:gd name="T56" fmla="*/ 276 w 305"/>
                <a:gd name="T57" fmla="*/ 199 h 292"/>
                <a:gd name="T58" fmla="*/ 297 w 305"/>
                <a:gd name="T59" fmla="*/ 208 h 292"/>
                <a:gd name="T60" fmla="*/ 304 w 305"/>
                <a:gd name="T61" fmla="*/ 221 h 292"/>
                <a:gd name="T62" fmla="*/ 192 w 305"/>
                <a:gd name="T63" fmla="*/ 289 h 292"/>
                <a:gd name="T64" fmla="*/ 171 w 305"/>
                <a:gd name="T65" fmla="*/ 276 h 292"/>
                <a:gd name="T66" fmla="*/ 215 w 305"/>
                <a:gd name="T67" fmla="*/ 281 h 292"/>
                <a:gd name="T68" fmla="*/ 297 w 305"/>
                <a:gd name="T69" fmla="*/ 209 h 292"/>
                <a:gd name="T70" fmla="*/ 275 w 305"/>
                <a:gd name="T71" fmla="*/ 199 h 292"/>
                <a:gd name="T72" fmla="*/ 270 w 305"/>
                <a:gd name="T73" fmla="*/ 184 h 292"/>
                <a:gd name="T74" fmla="*/ 274 w 305"/>
                <a:gd name="T75" fmla="*/ 171 h 292"/>
                <a:gd name="T76" fmla="*/ 271 w 305"/>
                <a:gd name="T77" fmla="*/ 163 h 292"/>
                <a:gd name="T78" fmla="*/ 273 w 305"/>
                <a:gd name="T79" fmla="*/ 139 h 292"/>
                <a:gd name="T80" fmla="*/ 266 w 305"/>
                <a:gd name="T81" fmla="*/ 118 h 292"/>
                <a:gd name="T82" fmla="*/ 261 w 305"/>
                <a:gd name="T83" fmla="*/ 85 h 292"/>
                <a:gd name="T84" fmla="*/ 244 w 305"/>
                <a:gd name="T85" fmla="*/ 67 h 292"/>
                <a:gd name="T86" fmla="*/ 243 w 305"/>
                <a:gd name="T87" fmla="*/ 46 h 292"/>
                <a:gd name="T88" fmla="*/ 252 w 305"/>
                <a:gd name="T89" fmla="*/ 27 h 292"/>
                <a:gd name="T90" fmla="*/ 231 w 305"/>
                <a:gd name="T91" fmla="*/ 2 h 292"/>
                <a:gd name="T92" fmla="*/ 207 w 305"/>
                <a:gd name="T93" fmla="*/ 8 h 292"/>
                <a:gd name="T94" fmla="*/ 166 w 305"/>
                <a:gd name="T95" fmla="*/ 9 h 292"/>
                <a:gd name="T96" fmla="*/ 127 w 305"/>
                <a:gd name="T97" fmla="*/ 22 h 292"/>
                <a:gd name="T98" fmla="*/ 101 w 305"/>
                <a:gd name="T99" fmla="*/ 40 h 292"/>
                <a:gd name="T100" fmla="*/ 106 w 305"/>
                <a:gd name="T101" fmla="*/ 69 h 292"/>
                <a:gd name="T102" fmla="*/ 108 w 305"/>
                <a:gd name="T103" fmla="*/ 85 h 292"/>
                <a:gd name="T104" fmla="*/ 87 w 305"/>
                <a:gd name="T105" fmla="*/ 86 h 292"/>
                <a:gd name="T106" fmla="*/ 76 w 305"/>
                <a:gd name="T107" fmla="*/ 91 h 292"/>
                <a:gd name="T108" fmla="*/ 73 w 305"/>
                <a:gd name="T109" fmla="*/ 104 h 292"/>
                <a:gd name="T110" fmla="*/ 65 w 305"/>
                <a:gd name="T111" fmla="*/ 109 h 292"/>
                <a:gd name="T112" fmla="*/ 47 w 305"/>
                <a:gd name="T113" fmla="*/ 121 h 292"/>
                <a:gd name="T114" fmla="*/ 30 w 305"/>
                <a:gd name="T115" fmla="*/ 126 h 292"/>
                <a:gd name="T116" fmla="*/ 2 w 305"/>
                <a:gd name="T117" fmla="*/ 141 h 292"/>
                <a:gd name="T118" fmla="*/ 4 w 305"/>
                <a:gd name="T119" fmla="*/ 163 h 2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292">
                  <a:moveTo>
                    <a:pt x="178" y="292"/>
                  </a:moveTo>
                  <a:cubicBezTo>
                    <a:pt x="178" y="292"/>
                    <a:pt x="178" y="292"/>
                    <a:pt x="178" y="292"/>
                  </a:cubicBezTo>
                  <a:cubicBezTo>
                    <a:pt x="178" y="291"/>
                    <a:pt x="177" y="281"/>
                    <a:pt x="171" y="277"/>
                  </a:cubicBezTo>
                  <a:cubicBezTo>
                    <a:pt x="164" y="273"/>
                    <a:pt x="155" y="272"/>
                    <a:pt x="155" y="272"/>
                  </a:cubicBezTo>
                  <a:cubicBezTo>
                    <a:pt x="154" y="272"/>
                    <a:pt x="154" y="272"/>
                    <a:pt x="154" y="272"/>
                  </a:cubicBezTo>
                  <a:cubicBezTo>
                    <a:pt x="154" y="271"/>
                    <a:pt x="154" y="271"/>
                    <a:pt x="154" y="271"/>
                  </a:cubicBezTo>
                  <a:cubicBezTo>
                    <a:pt x="154" y="271"/>
                    <a:pt x="149" y="262"/>
                    <a:pt x="145" y="258"/>
                  </a:cubicBezTo>
                  <a:cubicBezTo>
                    <a:pt x="141" y="254"/>
                    <a:pt x="11" y="168"/>
                    <a:pt x="4" y="164"/>
                  </a:cubicBezTo>
                  <a:cubicBezTo>
                    <a:pt x="3" y="163"/>
                    <a:pt x="2" y="162"/>
                    <a:pt x="1" y="161"/>
                  </a:cubicBezTo>
                  <a:cubicBezTo>
                    <a:pt x="1" y="161"/>
                    <a:pt x="1" y="161"/>
                    <a:pt x="1" y="161"/>
                  </a:cubicBezTo>
                  <a:cubicBezTo>
                    <a:pt x="1" y="155"/>
                    <a:pt x="1" y="155"/>
                    <a:pt x="1" y="155"/>
                  </a:cubicBezTo>
                  <a:cubicBezTo>
                    <a:pt x="0" y="147"/>
                    <a:pt x="0" y="142"/>
                    <a:pt x="1" y="141"/>
                  </a:cubicBezTo>
                  <a:cubicBezTo>
                    <a:pt x="1" y="139"/>
                    <a:pt x="24" y="126"/>
                    <a:pt x="24" y="126"/>
                  </a:cubicBezTo>
                  <a:cubicBezTo>
                    <a:pt x="26" y="125"/>
                    <a:pt x="28" y="125"/>
                    <a:pt x="29" y="125"/>
                  </a:cubicBezTo>
                  <a:cubicBezTo>
                    <a:pt x="30" y="125"/>
                    <a:pt x="30" y="125"/>
                    <a:pt x="30" y="125"/>
                  </a:cubicBezTo>
                  <a:cubicBezTo>
                    <a:pt x="33" y="125"/>
                    <a:pt x="33" y="124"/>
                    <a:pt x="33" y="123"/>
                  </a:cubicBezTo>
                  <a:cubicBezTo>
                    <a:pt x="33" y="120"/>
                    <a:pt x="37" y="120"/>
                    <a:pt x="41" y="120"/>
                  </a:cubicBezTo>
                  <a:cubicBezTo>
                    <a:pt x="43" y="120"/>
                    <a:pt x="45" y="120"/>
                    <a:pt x="46" y="120"/>
                  </a:cubicBezTo>
                  <a:cubicBezTo>
                    <a:pt x="51" y="119"/>
                    <a:pt x="54" y="116"/>
                    <a:pt x="54" y="112"/>
                  </a:cubicBezTo>
                  <a:cubicBezTo>
                    <a:pt x="54" y="108"/>
                    <a:pt x="58" y="108"/>
                    <a:pt x="62" y="108"/>
                  </a:cubicBezTo>
                  <a:cubicBezTo>
                    <a:pt x="63" y="108"/>
                    <a:pt x="64" y="108"/>
                    <a:pt x="65" y="108"/>
                  </a:cubicBezTo>
                  <a:cubicBezTo>
                    <a:pt x="67" y="107"/>
                    <a:pt x="68" y="106"/>
                    <a:pt x="69" y="105"/>
                  </a:cubicBezTo>
                  <a:cubicBezTo>
                    <a:pt x="69" y="104"/>
                    <a:pt x="70" y="103"/>
                    <a:pt x="72" y="103"/>
                  </a:cubicBezTo>
                  <a:cubicBezTo>
                    <a:pt x="72" y="103"/>
                    <a:pt x="72" y="103"/>
                    <a:pt x="73" y="103"/>
                  </a:cubicBezTo>
                  <a:cubicBezTo>
                    <a:pt x="73" y="102"/>
                    <a:pt x="73" y="101"/>
                    <a:pt x="73" y="99"/>
                  </a:cubicBezTo>
                  <a:cubicBezTo>
                    <a:pt x="73" y="98"/>
                    <a:pt x="73" y="96"/>
                    <a:pt x="73" y="95"/>
                  </a:cubicBezTo>
                  <a:cubicBezTo>
                    <a:pt x="73" y="91"/>
                    <a:pt x="74" y="90"/>
                    <a:pt x="76" y="90"/>
                  </a:cubicBezTo>
                  <a:cubicBezTo>
                    <a:pt x="76" y="90"/>
                    <a:pt x="76" y="90"/>
                    <a:pt x="77" y="90"/>
                  </a:cubicBezTo>
                  <a:cubicBezTo>
                    <a:pt x="78" y="90"/>
                    <a:pt x="78" y="90"/>
                    <a:pt x="78" y="90"/>
                  </a:cubicBezTo>
                  <a:cubicBezTo>
                    <a:pt x="82" y="90"/>
                    <a:pt x="86" y="88"/>
                    <a:pt x="86" y="86"/>
                  </a:cubicBezTo>
                  <a:cubicBezTo>
                    <a:pt x="86" y="84"/>
                    <a:pt x="89" y="84"/>
                    <a:pt x="94" y="84"/>
                  </a:cubicBezTo>
                  <a:cubicBezTo>
                    <a:pt x="98" y="84"/>
                    <a:pt x="102" y="84"/>
                    <a:pt x="105" y="84"/>
                  </a:cubicBezTo>
                  <a:cubicBezTo>
                    <a:pt x="106" y="84"/>
                    <a:pt x="108" y="84"/>
                    <a:pt x="108" y="84"/>
                  </a:cubicBezTo>
                  <a:cubicBezTo>
                    <a:pt x="109" y="84"/>
                    <a:pt x="110" y="84"/>
                    <a:pt x="110" y="83"/>
                  </a:cubicBezTo>
                  <a:cubicBezTo>
                    <a:pt x="111" y="82"/>
                    <a:pt x="111" y="80"/>
                    <a:pt x="111" y="79"/>
                  </a:cubicBezTo>
                  <a:cubicBezTo>
                    <a:pt x="111" y="77"/>
                    <a:pt x="108" y="70"/>
                    <a:pt x="106" y="70"/>
                  </a:cubicBezTo>
                  <a:cubicBezTo>
                    <a:pt x="103" y="69"/>
                    <a:pt x="104" y="65"/>
                    <a:pt x="104" y="61"/>
                  </a:cubicBezTo>
                  <a:cubicBezTo>
                    <a:pt x="104" y="59"/>
                    <a:pt x="104" y="58"/>
                    <a:pt x="104" y="56"/>
                  </a:cubicBezTo>
                  <a:cubicBezTo>
                    <a:pt x="104" y="49"/>
                    <a:pt x="103" y="45"/>
                    <a:pt x="100" y="41"/>
                  </a:cubicBezTo>
                  <a:cubicBezTo>
                    <a:pt x="100" y="40"/>
                    <a:pt x="99" y="39"/>
                    <a:pt x="98" y="36"/>
                  </a:cubicBezTo>
                  <a:cubicBezTo>
                    <a:pt x="97" y="36"/>
                    <a:pt x="97" y="36"/>
                    <a:pt x="97" y="36"/>
                  </a:cubicBezTo>
                  <a:cubicBezTo>
                    <a:pt x="98" y="36"/>
                    <a:pt x="98" y="36"/>
                    <a:pt x="98" y="36"/>
                  </a:cubicBezTo>
                  <a:cubicBezTo>
                    <a:pt x="100" y="36"/>
                    <a:pt x="102" y="35"/>
                    <a:pt x="103" y="33"/>
                  </a:cubicBezTo>
                  <a:cubicBezTo>
                    <a:pt x="109" y="27"/>
                    <a:pt x="120" y="21"/>
                    <a:pt x="127" y="21"/>
                  </a:cubicBezTo>
                  <a:cubicBezTo>
                    <a:pt x="129" y="21"/>
                    <a:pt x="132" y="19"/>
                    <a:pt x="135" y="17"/>
                  </a:cubicBezTo>
                  <a:cubicBezTo>
                    <a:pt x="138" y="13"/>
                    <a:pt x="143" y="10"/>
                    <a:pt x="149" y="9"/>
                  </a:cubicBezTo>
                  <a:cubicBezTo>
                    <a:pt x="153" y="9"/>
                    <a:pt x="159" y="9"/>
                    <a:pt x="166" y="8"/>
                  </a:cubicBezTo>
                  <a:cubicBezTo>
                    <a:pt x="177" y="6"/>
                    <a:pt x="189" y="5"/>
                    <a:pt x="197" y="5"/>
                  </a:cubicBezTo>
                  <a:cubicBezTo>
                    <a:pt x="201" y="5"/>
                    <a:pt x="203" y="5"/>
                    <a:pt x="204" y="6"/>
                  </a:cubicBezTo>
                  <a:cubicBezTo>
                    <a:pt x="205" y="7"/>
                    <a:pt x="206" y="7"/>
                    <a:pt x="207" y="7"/>
                  </a:cubicBezTo>
                  <a:cubicBezTo>
                    <a:pt x="209" y="7"/>
                    <a:pt x="213" y="6"/>
                    <a:pt x="217" y="4"/>
                  </a:cubicBezTo>
                  <a:cubicBezTo>
                    <a:pt x="219" y="3"/>
                    <a:pt x="222" y="2"/>
                    <a:pt x="224" y="2"/>
                  </a:cubicBezTo>
                  <a:cubicBezTo>
                    <a:pt x="226" y="2"/>
                    <a:pt x="228" y="2"/>
                    <a:pt x="230" y="1"/>
                  </a:cubicBezTo>
                  <a:cubicBezTo>
                    <a:pt x="234" y="1"/>
                    <a:pt x="237" y="0"/>
                    <a:pt x="239" y="1"/>
                  </a:cubicBezTo>
                  <a:cubicBezTo>
                    <a:pt x="244" y="2"/>
                    <a:pt x="249" y="3"/>
                    <a:pt x="252" y="3"/>
                  </a:cubicBezTo>
                  <a:cubicBezTo>
                    <a:pt x="253" y="3"/>
                    <a:pt x="253" y="3"/>
                    <a:pt x="253" y="3"/>
                  </a:cubicBezTo>
                  <a:cubicBezTo>
                    <a:pt x="253" y="4"/>
                    <a:pt x="253" y="4"/>
                    <a:pt x="253" y="4"/>
                  </a:cubicBezTo>
                  <a:cubicBezTo>
                    <a:pt x="251" y="16"/>
                    <a:pt x="251" y="24"/>
                    <a:pt x="253" y="26"/>
                  </a:cubicBezTo>
                  <a:cubicBezTo>
                    <a:pt x="254" y="28"/>
                    <a:pt x="254" y="31"/>
                    <a:pt x="254" y="34"/>
                  </a:cubicBezTo>
                  <a:cubicBezTo>
                    <a:pt x="253" y="38"/>
                    <a:pt x="250" y="41"/>
                    <a:pt x="248" y="42"/>
                  </a:cubicBezTo>
                  <a:cubicBezTo>
                    <a:pt x="247" y="43"/>
                    <a:pt x="245" y="45"/>
                    <a:pt x="244" y="47"/>
                  </a:cubicBezTo>
                  <a:cubicBezTo>
                    <a:pt x="242" y="49"/>
                    <a:pt x="241" y="52"/>
                    <a:pt x="239" y="52"/>
                  </a:cubicBezTo>
                  <a:cubicBezTo>
                    <a:pt x="238" y="52"/>
                    <a:pt x="238" y="52"/>
                    <a:pt x="238" y="53"/>
                  </a:cubicBezTo>
                  <a:cubicBezTo>
                    <a:pt x="237" y="56"/>
                    <a:pt x="240" y="64"/>
                    <a:pt x="245" y="66"/>
                  </a:cubicBezTo>
                  <a:cubicBezTo>
                    <a:pt x="251" y="69"/>
                    <a:pt x="251" y="74"/>
                    <a:pt x="251" y="76"/>
                  </a:cubicBezTo>
                  <a:cubicBezTo>
                    <a:pt x="251" y="77"/>
                    <a:pt x="254" y="79"/>
                    <a:pt x="256" y="80"/>
                  </a:cubicBezTo>
                  <a:cubicBezTo>
                    <a:pt x="258" y="82"/>
                    <a:pt x="261" y="83"/>
                    <a:pt x="262" y="85"/>
                  </a:cubicBezTo>
                  <a:cubicBezTo>
                    <a:pt x="265" y="88"/>
                    <a:pt x="269" y="104"/>
                    <a:pt x="269" y="111"/>
                  </a:cubicBezTo>
                  <a:cubicBezTo>
                    <a:pt x="269" y="112"/>
                    <a:pt x="270" y="113"/>
                    <a:pt x="270" y="114"/>
                  </a:cubicBezTo>
                  <a:cubicBezTo>
                    <a:pt x="271" y="115"/>
                    <a:pt x="271" y="115"/>
                    <a:pt x="271" y="115"/>
                  </a:cubicBezTo>
                  <a:cubicBezTo>
                    <a:pt x="270" y="115"/>
                    <a:pt x="270" y="115"/>
                    <a:pt x="270" y="115"/>
                  </a:cubicBezTo>
                  <a:cubicBezTo>
                    <a:pt x="269" y="116"/>
                    <a:pt x="267" y="117"/>
                    <a:pt x="267" y="118"/>
                  </a:cubicBezTo>
                  <a:cubicBezTo>
                    <a:pt x="267" y="119"/>
                    <a:pt x="268" y="121"/>
                    <a:pt x="270" y="124"/>
                  </a:cubicBezTo>
                  <a:cubicBezTo>
                    <a:pt x="271" y="126"/>
                    <a:pt x="273" y="128"/>
                    <a:pt x="274" y="131"/>
                  </a:cubicBezTo>
                  <a:cubicBezTo>
                    <a:pt x="275" y="134"/>
                    <a:pt x="275" y="137"/>
                    <a:pt x="274" y="140"/>
                  </a:cubicBezTo>
                  <a:cubicBezTo>
                    <a:pt x="273" y="142"/>
                    <a:pt x="272" y="144"/>
                    <a:pt x="273" y="146"/>
                  </a:cubicBezTo>
                  <a:cubicBezTo>
                    <a:pt x="276" y="151"/>
                    <a:pt x="275" y="154"/>
                    <a:pt x="272" y="156"/>
                  </a:cubicBezTo>
                  <a:cubicBezTo>
                    <a:pt x="271" y="158"/>
                    <a:pt x="271" y="160"/>
                    <a:pt x="272" y="162"/>
                  </a:cubicBezTo>
                  <a:cubicBezTo>
                    <a:pt x="272" y="163"/>
                    <a:pt x="272" y="164"/>
                    <a:pt x="272" y="165"/>
                  </a:cubicBezTo>
                  <a:cubicBezTo>
                    <a:pt x="272" y="166"/>
                    <a:pt x="273" y="168"/>
                    <a:pt x="274" y="169"/>
                  </a:cubicBezTo>
                  <a:cubicBezTo>
                    <a:pt x="274" y="170"/>
                    <a:pt x="275" y="171"/>
                    <a:pt x="274" y="172"/>
                  </a:cubicBezTo>
                  <a:cubicBezTo>
                    <a:pt x="274" y="172"/>
                    <a:pt x="274" y="173"/>
                    <a:pt x="273" y="173"/>
                  </a:cubicBezTo>
                  <a:cubicBezTo>
                    <a:pt x="272" y="174"/>
                    <a:pt x="268" y="178"/>
                    <a:pt x="268" y="179"/>
                  </a:cubicBezTo>
                  <a:cubicBezTo>
                    <a:pt x="268" y="180"/>
                    <a:pt x="269" y="181"/>
                    <a:pt x="271" y="183"/>
                  </a:cubicBezTo>
                  <a:cubicBezTo>
                    <a:pt x="272" y="184"/>
                    <a:pt x="273" y="186"/>
                    <a:pt x="275" y="188"/>
                  </a:cubicBezTo>
                  <a:cubicBezTo>
                    <a:pt x="277" y="191"/>
                    <a:pt x="277" y="194"/>
                    <a:pt x="276" y="196"/>
                  </a:cubicBezTo>
                  <a:cubicBezTo>
                    <a:pt x="276" y="197"/>
                    <a:pt x="276" y="198"/>
                    <a:pt x="276" y="199"/>
                  </a:cubicBezTo>
                  <a:cubicBezTo>
                    <a:pt x="277" y="203"/>
                    <a:pt x="282" y="205"/>
                    <a:pt x="286" y="205"/>
                  </a:cubicBezTo>
                  <a:cubicBezTo>
                    <a:pt x="288" y="205"/>
                    <a:pt x="290" y="206"/>
                    <a:pt x="292" y="207"/>
                  </a:cubicBezTo>
                  <a:cubicBezTo>
                    <a:pt x="294" y="207"/>
                    <a:pt x="295" y="208"/>
                    <a:pt x="297" y="208"/>
                  </a:cubicBezTo>
                  <a:cubicBezTo>
                    <a:pt x="300" y="208"/>
                    <a:pt x="302" y="213"/>
                    <a:pt x="305" y="221"/>
                  </a:cubicBezTo>
                  <a:cubicBezTo>
                    <a:pt x="305" y="221"/>
                    <a:pt x="305" y="221"/>
                    <a:pt x="305" y="221"/>
                  </a:cubicBezTo>
                  <a:cubicBezTo>
                    <a:pt x="304" y="221"/>
                    <a:pt x="304" y="221"/>
                    <a:pt x="304" y="221"/>
                  </a:cubicBezTo>
                  <a:cubicBezTo>
                    <a:pt x="242" y="260"/>
                    <a:pt x="242" y="260"/>
                    <a:pt x="242" y="260"/>
                  </a:cubicBezTo>
                  <a:cubicBezTo>
                    <a:pt x="215" y="282"/>
                    <a:pt x="215" y="282"/>
                    <a:pt x="215" y="282"/>
                  </a:cubicBezTo>
                  <a:cubicBezTo>
                    <a:pt x="214" y="282"/>
                    <a:pt x="198" y="288"/>
                    <a:pt x="192" y="289"/>
                  </a:cubicBezTo>
                  <a:cubicBezTo>
                    <a:pt x="187" y="290"/>
                    <a:pt x="178" y="292"/>
                    <a:pt x="178" y="292"/>
                  </a:cubicBezTo>
                  <a:close/>
                  <a:moveTo>
                    <a:pt x="155" y="271"/>
                  </a:moveTo>
                  <a:cubicBezTo>
                    <a:pt x="156" y="271"/>
                    <a:pt x="165" y="272"/>
                    <a:pt x="171" y="276"/>
                  </a:cubicBezTo>
                  <a:cubicBezTo>
                    <a:pt x="178" y="279"/>
                    <a:pt x="178" y="288"/>
                    <a:pt x="179" y="291"/>
                  </a:cubicBezTo>
                  <a:cubicBezTo>
                    <a:pt x="181" y="290"/>
                    <a:pt x="188" y="289"/>
                    <a:pt x="192" y="288"/>
                  </a:cubicBezTo>
                  <a:cubicBezTo>
                    <a:pt x="197" y="287"/>
                    <a:pt x="213" y="281"/>
                    <a:pt x="215" y="281"/>
                  </a:cubicBezTo>
                  <a:cubicBezTo>
                    <a:pt x="241" y="259"/>
                    <a:pt x="241" y="259"/>
                    <a:pt x="241" y="259"/>
                  </a:cubicBezTo>
                  <a:cubicBezTo>
                    <a:pt x="303" y="221"/>
                    <a:pt x="303" y="221"/>
                    <a:pt x="303" y="221"/>
                  </a:cubicBezTo>
                  <a:cubicBezTo>
                    <a:pt x="302" y="215"/>
                    <a:pt x="300" y="209"/>
                    <a:pt x="297" y="209"/>
                  </a:cubicBezTo>
                  <a:cubicBezTo>
                    <a:pt x="295" y="209"/>
                    <a:pt x="293" y="208"/>
                    <a:pt x="291" y="207"/>
                  </a:cubicBezTo>
                  <a:cubicBezTo>
                    <a:pt x="290" y="207"/>
                    <a:pt x="288" y="206"/>
                    <a:pt x="286" y="206"/>
                  </a:cubicBezTo>
                  <a:cubicBezTo>
                    <a:pt x="281" y="206"/>
                    <a:pt x="276" y="203"/>
                    <a:pt x="275" y="199"/>
                  </a:cubicBezTo>
                  <a:cubicBezTo>
                    <a:pt x="275" y="198"/>
                    <a:pt x="275" y="197"/>
                    <a:pt x="275" y="196"/>
                  </a:cubicBezTo>
                  <a:cubicBezTo>
                    <a:pt x="276" y="194"/>
                    <a:pt x="276" y="191"/>
                    <a:pt x="274" y="188"/>
                  </a:cubicBezTo>
                  <a:cubicBezTo>
                    <a:pt x="272" y="186"/>
                    <a:pt x="271" y="185"/>
                    <a:pt x="270" y="184"/>
                  </a:cubicBezTo>
                  <a:cubicBezTo>
                    <a:pt x="268" y="182"/>
                    <a:pt x="267" y="180"/>
                    <a:pt x="267" y="179"/>
                  </a:cubicBezTo>
                  <a:cubicBezTo>
                    <a:pt x="267" y="177"/>
                    <a:pt x="270" y="175"/>
                    <a:pt x="273" y="172"/>
                  </a:cubicBezTo>
                  <a:cubicBezTo>
                    <a:pt x="273" y="172"/>
                    <a:pt x="274" y="172"/>
                    <a:pt x="274" y="171"/>
                  </a:cubicBezTo>
                  <a:cubicBezTo>
                    <a:pt x="274" y="171"/>
                    <a:pt x="273" y="170"/>
                    <a:pt x="273" y="169"/>
                  </a:cubicBezTo>
                  <a:cubicBezTo>
                    <a:pt x="272" y="168"/>
                    <a:pt x="271" y="166"/>
                    <a:pt x="271" y="165"/>
                  </a:cubicBezTo>
                  <a:cubicBezTo>
                    <a:pt x="271" y="164"/>
                    <a:pt x="271" y="164"/>
                    <a:pt x="271" y="163"/>
                  </a:cubicBezTo>
                  <a:cubicBezTo>
                    <a:pt x="270" y="161"/>
                    <a:pt x="270" y="158"/>
                    <a:pt x="272" y="156"/>
                  </a:cubicBezTo>
                  <a:cubicBezTo>
                    <a:pt x="273" y="154"/>
                    <a:pt x="275" y="151"/>
                    <a:pt x="273" y="146"/>
                  </a:cubicBezTo>
                  <a:cubicBezTo>
                    <a:pt x="271" y="144"/>
                    <a:pt x="272" y="142"/>
                    <a:pt x="273" y="139"/>
                  </a:cubicBezTo>
                  <a:cubicBezTo>
                    <a:pt x="274" y="137"/>
                    <a:pt x="274" y="134"/>
                    <a:pt x="273" y="131"/>
                  </a:cubicBezTo>
                  <a:cubicBezTo>
                    <a:pt x="272" y="129"/>
                    <a:pt x="270" y="126"/>
                    <a:pt x="269" y="124"/>
                  </a:cubicBezTo>
                  <a:cubicBezTo>
                    <a:pt x="267" y="121"/>
                    <a:pt x="266" y="119"/>
                    <a:pt x="266" y="118"/>
                  </a:cubicBezTo>
                  <a:cubicBezTo>
                    <a:pt x="266" y="117"/>
                    <a:pt x="268" y="116"/>
                    <a:pt x="269" y="114"/>
                  </a:cubicBezTo>
                  <a:cubicBezTo>
                    <a:pt x="269" y="113"/>
                    <a:pt x="268" y="112"/>
                    <a:pt x="268" y="111"/>
                  </a:cubicBezTo>
                  <a:cubicBezTo>
                    <a:pt x="268" y="105"/>
                    <a:pt x="264" y="89"/>
                    <a:pt x="261" y="85"/>
                  </a:cubicBezTo>
                  <a:cubicBezTo>
                    <a:pt x="260" y="84"/>
                    <a:pt x="258" y="82"/>
                    <a:pt x="255" y="81"/>
                  </a:cubicBezTo>
                  <a:cubicBezTo>
                    <a:pt x="253" y="79"/>
                    <a:pt x="250" y="78"/>
                    <a:pt x="250" y="76"/>
                  </a:cubicBezTo>
                  <a:cubicBezTo>
                    <a:pt x="250" y="74"/>
                    <a:pt x="250" y="70"/>
                    <a:pt x="244" y="67"/>
                  </a:cubicBezTo>
                  <a:cubicBezTo>
                    <a:pt x="239" y="65"/>
                    <a:pt x="236" y="56"/>
                    <a:pt x="237" y="53"/>
                  </a:cubicBezTo>
                  <a:cubicBezTo>
                    <a:pt x="237" y="51"/>
                    <a:pt x="238" y="51"/>
                    <a:pt x="239" y="51"/>
                  </a:cubicBezTo>
                  <a:cubicBezTo>
                    <a:pt x="240" y="51"/>
                    <a:pt x="242" y="49"/>
                    <a:pt x="243" y="46"/>
                  </a:cubicBezTo>
                  <a:cubicBezTo>
                    <a:pt x="245" y="44"/>
                    <a:pt x="246" y="42"/>
                    <a:pt x="248" y="41"/>
                  </a:cubicBezTo>
                  <a:cubicBezTo>
                    <a:pt x="250" y="41"/>
                    <a:pt x="252" y="37"/>
                    <a:pt x="253" y="34"/>
                  </a:cubicBezTo>
                  <a:cubicBezTo>
                    <a:pt x="253" y="31"/>
                    <a:pt x="253" y="29"/>
                    <a:pt x="252" y="27"/>
                  </a:cubicBezTo>
                  <a:cubicBezTo>
                    <a:pt x="250" y="24"/>
                    <a:pt x="250" y="17"/>
                    <a:pt x="252" y="4"/>
                  </a:cubicBezTo>
                  <a:cubicBezTo>
                    <a:pt x="248" y="4"/>
                    <a:pt x="244" y="3"/>
                    <a:pt x="239" y="2"/>
                  </a:cubicBezTo>
                  <a:cubicBezTo>
                    <a:pt x="237" y="1"/>
                    <a:pt x="234" y="2"/>
                    <a:pt x="231" y="2"/>
                  </a:cubicBezTo>
                  <a:cubicBezTo>
                    <a:pt x="228" y="3"/>
                    <a:pt x="226" y="3"/>
                    <a:pt x="224" y="3"/>
                  </a:cubicBezTo>
                  <a:cubicBezTo>
                    <a:pt x="222" y="3"/>
                    <a:pt x="220" y="4"/>
                    <a:pt x="217" y="5"/>
                  </a:cubicBezTo>
                  <a:cubicBezTo>
                    <a:pt x="214" y="7"/>
                    <a:pt x="210" y="8"/>
                    <a:pt x="207" y="8"/>
                  </a:cubicBezTo>
                  <a:cubicBezTo>
                    <a:pt x="205" y="8"/>
                    <a:pt x="204" y="8"/>
                    <a:pt x="203" y="7"/>
                  </a:cubicBezTo>
                  <a:cubicBezTo>
                    <a:pt x="203" y="7"/>
                    <a:pt x="201" y="6"/>
                    <a:pt x="197" y="6"/>
                  </a:cubicBezTo>
                  <a:cubicBezTo>
                    <a:pt x="189" y="6"/>
                    <a:pt x="177" y="7"/>
                    <a:pt x="166" y="9"/>
                  </a:cubicBezTo>
                  <a:cubicBezTo>
                    <a:pt x="159" y="10"/>
                    <a:pt x="153" y="10"/>
                    <a:pt x="149" y="10"/>
                  </a:cubicBezTo>
                  <a:cubicBezTo>
                    <a:pt x="143" y="11"/>
                    <a:pt x="139" y="14"/>
                    <a:pt x="135" y="17"/>
                  </a:cubicBezTo>
                  <a:cubicBezTo>
                    <a:pt x="132" y="20"/>
                    <a:pt x="130" y="22"/>
                    <a:pt x="127" y="22"/>
                  </a:cubicBezTo>
                  <a:cubicBezTo>
                    <a:pt x="120" y="22"/>
                    <a:pt x="110" y="28"/>
                    <a:pt x="104" y="34"/>
                  </a:cubicBezTo>
                  <a:cubicBezTo>
                    <a:pt x="103" y="36"/>
                    <a:pt x="101" y="36"/>
                    <a:pt x="99" y="37"/>
                  </a:cubicBezTo>
                  <a:cubicBezTo>
                    <a:pt x="100" y="38"/>
                    <a:pt x="100" y="40"/>
                    <a:pt x="101" y="40"/>
                  </a:cubicBezTo>
                  <a:cubicBezTo>
                    <a:pt x="104" y="44"/>
                    <a:pt x="105" y="49"/>
                    <a:pt x="105" y="56"/>
                  </a:cubicBezTo>
                  <a:cubicBezTo>
                    <a:pt x="105" y="58"/>
                    <a:pt x="105" y="59"/>
                    <a:pt x="105" y="61"/>
                  </a:cubicBezTo>
                  <a:cubicBezTo>
                    <a:pt x="105" y="65"/>
                    <a:pt x="104" y="68"/>
                    <a:pt x="106" y="69"/>
                  </a:cubicBezTo>
                  <a:cubicBezTo>
                    <a:pt x="109" y="69"/>
                    <a:pt x="112" y="77"/>
                    <a:pt x="112" y="79"/>
                  </a:cubicBezTo>
                  <a:cubicBezTo>
                    <a:pt x="112" y="80"/>
                    <a:pt x="112" y="83"/>
                    <a:pt x="111" y="84"/>
                  </a:cubicBezTo>
                  <a:cubicBezTo>
                    <a:pt x="110" y="85"/>
                    <a:pt x="109" y="85"/>
                    <a:pt x="108" y="85"/>
                  </a:cubicBezTo>
                  <a:cubicBezTo>
                    <a:pt x="108" y="85"/>
                    <a:pt x="106" y="85"/>
                    <a:pt x="105" y="85"/>
                  </a:cubicBezTo>
                  <a:cubicBezTo>
                    <a:pt x="102" y="85"/>
                    <a:pt x="98" y="85"/>
                    <a:pt x="94" y="85"/>
                  </a:cubicBezTo>
                  <a:cubicBezTo>
                    <a:pt x="87" y="85"/>
                    <a:pt x="87" y="86"/>
                    <a:pt x="87" y="86"/>
                  </a:cubicBezTo>
                  <a:cubicBezTo>
                    <a:pt x="87" y="89"/>
                    <a:pt x="83" y="91"/>
                    <a:pt x="78" y="91"/>
                  </a:cubicBezTo>
                  <a:cubicBezTo>
                    <a:pt x="77" y="91"/>
                    <a:pt x="77" y="91"/>
                    <a:pt x="77" y="91"/>
                  </a:cubicBezTo>
                  <a:cubicBezTo>
                    <a:pt x="76" y="91"/>
                    <a:pt x="76" y="91"/>
                    <a:pt x="76" y="91"/>
                  </a:cubicBezTo>
                  <a:cubicBezTo>
                    <a:pt x="74" y="91"/>
                    <a:pt x="74" y="91"/>
                    <a:pt x="74" y="95"/>
                  </a:cubicBezTo>
                  <a:cubicBezTo>
                    <a:pt x="74" y="96"/>
                    <a:pt x="74" y="98"/>
                    <a:pt x="74" y="99"/>
                  </a:cubicBezTo>
                  <a:cubicBezTo>
                    <a:pt x="74" y="101"/>
                    <a:pt x="74" y="103"/>
                    <a:pt x="73" y="104"/>
                  </a:cubicBezTo>
                  <a:cubicBezTo>
                    <a:pt x="72" y="104"/>
                    <a:pt x="72" y="104"/>
                    <a:pt x="72" y="104"/>
                  </a:cubicBezTo>
                  <a:cubicBezTo>
                    <a:pt x="71" y="104"/>
                    <a:pt x="70" y="105"/>
                    <a:pt x="69" y="106"/>
                  </a:cubicBezTo>
                  <a:cubicBezTo>
                    <a:pt x="69" y="107"/>
                    <a:pt x="68" y="108"/>
                    <a:pt x="65" y="109"/>
                  </a:cubicBezTo>
                  <a:cubicBezTo>
                    <a:pt x="64" y="109"/>
                    <a:pt x="63" y="109"/>
                    <a:pt x="62" y="109"/>
                  </a:cubicBezTo>
                  <a:cubicBezTo>
                    <a:pt x="58" y="109"/>
                    <a:pt x="55" y="109"/>
                    <a:pt x="55" y="112"/>
                  </a:cubicBezTo>
                  <a:cubicBezTo>
                    <a:pt x="55" y="116"/>
                    <a:pt x="52" y="120"/>
                    <a:pt x="47" y="121"/>
                  </a:cubicBezTo>
                  <a:cubicBezTo>
                    <a:pt x="45" y="121"/>
                    <a:pt x="43" y="121"/>
                    <a:pt x="41" y="121"/>
                  </a:cubicBezTo>
                  <a:cubicBezTo>
                    <a:pt x="37" y="121"/>
                    <a:pt x="34" y="121"/>
                    <a:pt x="34" y="123"/>
                  </a:cubicBezTo>
                  <a:cubicBezTo>
                    <a:pt x="34" y="126"/>
                    <a:pt x="32" y="126"/>
                    <a:pt x="30" y="126"/>
                  </a:cubicBezTo>
                  <a:cubicBezTo>
                    <a:pt x="30" y="126"/>
                    <a:pt x="30" y="126"/>
                    <a:pt x="29" y="126"/>
                  </a:cubicBezTo>
                  <a:cubicBezTo>
                    <a:pt x="28" y="126"/>
                    <a:pt x="26" y="126"/>
                    <a:pt x="25" y="126"/>
                  </a:cubicBezTo>
                  <a:cubicBezTo>
                    <a:pt x="17" y="131"/>
                    <a:pt x="2" y="140"/>
                    <a:pt x="2" y="141"/>
                  </a:cubicBezTo>
                  <a:cubicBezTo>
                    <a:pt x="1" y="142"/>
                    <a:pt x="2" y="149"/>
                    <a:pt x="2" y="155"/>
                  </a:cubicBezTo>
                  <a:cubicBezTo>
                    <a:pt x="2" y="161"/>
                    <a:pt x="2" y="161"/>
                    <a:pt x="2" y="161"/>
                  </a:cubicBezTo>
                  <a:cubicBezTo>
                    <a:pt x="2" y="162"/>
                    <a:pt x="3" y="163"/>
                    <a:pt x="4" y="163"/>
                  </a:cubicBezTo>
                  <a:cubicBezTo>
                    <a:pt x="12" y="167"/>
                    <a:pt x="141" y="253"/>
                    <a:pt x="146" y="257"/>
                  </a:cubicBezTo>
                  <a:cubicBezTo>
                    <a:pt x="149" y="261"/>
                    <a:pt x="154" y="269"/>
                    <a:pt x="155" y="2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1" name="Freeform 18"/>
            <p:cNvSpPr>
              <a:spLocks noEditPoints="1"/>
            </p:cNvSpPr>
            <p:nvPr/>
          </p:nvSpPr>
          <p:spPr>
            <a:xfrm>
              <a:off x="5016501" y="2955925"/>
              <a:ext cx="374650" cy="360363"/>
            </a:xfrm>
            <a:custGeom>
              <a:gdLst>
                <a:gd name="T0" fmla="*/ 93 w 221"/>
                <a:gd name="T1" fmla="*/ 154 h 213"/>
                <a:gd name="T2" fmla="*/ 59 w 221"/>
                <a:gd name="T3" fmla="*/ 157 h 213"/>
                <a:gd name="T4" fmla="*/ 38 w 221"/>
                <a:gd name="T5" fmla="*/ 153 h 213"/>
                <a:gd name="T6" fmla="*/ 20 w 221"/>
                <a:gd name="T7" fmla="*/ 138 h 213"/>
                <a:gd name="T8" fmla="*/ 8 w 221"/>
                <a:gd name="T9" fmla="*/ 120 h 213"/>
                <a:gd name="T10" fmla="*/ 7 w 221"/>
                <a:gd name="T11" fmla="*/ 104 h 213"/>
                <a:gd name="T12" fmla="*/ 5 w 221"/>
                <a:gd name="T13" fmla="*/ 97 h 213"/>
                <a:gd name="T14" fmla="*/ 7 w 221"/>
                <a:gd name="T15" fmla="*/ 78 h 213"/>
                <a:gd name="T16" fmla="*/ 3 w 221"/>
                <a:gd name="T17" fmla="*/ 56 h 213"/>
                <a:gd name="T18" fmla="*/ 10 w 221"/>
                <a:gd name="T19" fmla="*/ 41 h 213"/>
                <a:gd name="T20" fmla="*/ 17 w 221"/>
                <a:gd name="T21" fmla="*/ 19 h 213"/>
                <a:gd name="T22" fmla="*/ 31 w 221"/>
                <a:gd name="T23" fmla="*/ 8 h 213"/>
                <a:gd name="T24" fmla="*/ 32 w 221"/>
                <a:gd name="T25" fmla="*/ 0 h 213"/>
                <a:gd name="T26" fmla="*/ 54 w 221"/>
                <a:gd name="T27" fmla="*/ 3 h 213"/>
                <a:gd name="T28" fmla="*/ 85 w 221"/>
                <a:gd name="T29" fmla="*/ 18 h 213"/>
                <a:gd name="T30" fmla="*/ 126 w 221"/>
                <a:gd name="T31" fmla="*/ 37 h 213"/>
                <a:gd name="T32" fmla="*/ 147 w 221"/>
                <a:gd name="T33" fmla="*/ 26 h 213"/>
                <a:gd name="T34" fmla="*/ 179 w 221"/>
                <a:gd name="T35" fmla="*/ 2 h 213"/>
                <a:gd name="T36" fmla="*/ 207 w 221"/>
                <a:gd name="T37" fmla="*/ 14 h 213"/>
                <a:gd name="T38" fmla="*/ 221 w 221"/>
                <a:gd name="T39" fmla="*/ 19 h 213"/>
                <a:gd name="T40" fmla="*/ 220 w 221"/>
                <a:gd name="T41" fmla="*/ 22 h 213"/>
                <a:gd name="T42" fmla="*/ 218 w 221"/>
                <a:gd name="T43" fmla="*/ 41 h 213"/>
                <a:gd name="T44" fmla="*/ 218 w 221"/>
                <a:gd name="T45" fmla="*/ 205 h 213"/>
                <a:gd name="T46" fmla="*/ 93 w 221"/>
                <a:gd name="T47" fmla="*/ 152 h 213"/>
                <a:gd name="T48" fmla="*/ 204 w 221"/>
                <a:gd name="T49" fmla="*/ 204 h 213"/>
                <a:gd name="T50" fmla="*/ 216 w 221"/>
                <a:gd name="T51" fmla="*/ 53 h 213"/>
                <a:gd name="T52" fmla="*/ 219 w 221"/>
                <a:gd name="T53" fmla="*/ 23 h 213"/>
                <a:gd name="T54" fmla="*/ 220 w 221"/>
                <a:gd name="T55" fmla="*/ 19 h 213"/>
                <a:gd name="T56" fmla="*/ 190 w 221"/>
                <a:gd name="T57" fmla="*/ 8 h 213"/>
                <a:gd name="T58" fmla="*/ 147 w 221"/>
                <a:gd name="T59" fmla="*/ 19 h 213"/>
                <a:gd name="T60" fmla="*/ 137 w 221"/>
                <a:gd name="T61" fmla="*/ 43 h 213"/>
                <a:gd name="T62" fmla="*/ 86 w 221"/>
                <a:gd name="T63" fmla="*/ 23 h 213"/>
                <a:gd name="T64" fmla="*/ 68 w 221"/>
                <a:gd name="T65" fmla="*/ 8 h 213"/>
                <a:gd name="T66" fmla="*/ 45 w 221"/>
                <a:gd name="T67" fmla="*/ 5 h 213"/>
                <a:gd name="T68" fmla="*/ 27 w 221"/>
                <a:gd name="T69" fmla="*/ 13 h 213"/>
                <a:gd name="T70" fmla="*/ 14 w 221"/>
                <a:gd name="T71" fmla="*/ 24 h 213"/>
                <a:gd name="T72" fmla="*/ 5 w 221"/>
                <a:gd name="T73" fmla="*/ 47 h 213"/>
                <a:gd name="T74" fmla="*/ 8 w 221"/>
                <a:gd name="T75" fmla="*/ 63 h 213"/>
                <a:gd name="T76" fmla="*/ 6 w 221"/>
                <a:gd name="T77" fmla="*/ 88 h 213"/>
                <a:gd name="T78" fmla="*/ 8 w 221"/>
                <a:gd name="T79" fmla="*/ 101 h 213"/>
                <a:gd name="T80" fmla="*/ 2 w 221"/>
                <a:gd name="T81" fmla="*/ 111 h 213"/>
                <a:gd name="T82" fmla="*/ 10 w 221"/>
                <a:gd name="T83" fmla="*/ 128 h 213"/>
                <a:gd name="T84" fmla="*/ 26 w 221"/>
                <a:gd name="T85" fmla="*/ 139 h 213"/>
                <a:gd name="T86" fmla="*/ 60 w 221"/>
                <a:gd name="T87" fmla="*/ 157 h 2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1" h="213">
                  <a:moveTo>
                    <a:pt x="205" y="213"/>
                  </a:moveTo>
                  <a:cubicBezTo>
                    <a:pt x="204" y="213"/>
                    <a:pt x="204" y="213"/>
                    <a:pt x="204" y="213"/>
                  </a:cubicBezTo>
                  <a:cubicBezTo>
                    <a:pt x="93" y="154"/>
                    <a:pt x="93" y="154"/>
                    <a:pt x="93" y="154"/>
                  </a:cubicBezTo>
                  <a:cubicBezTo>
                    <a:pt x="68" y="167"/>
                    <a:pt x="68" y="167"/>
                    <a:pt x="68" y="167"/>
                  </a:cubicBezTo>
                  <a:cubicBezTo>
                    <a:pt x="68" y="166"/>
                    <a:pt x="68" y="166"/>
                    <a:pt x="68" y="166"/>
                  </a:cubicBezTo>
                  <a:cubicBezTo>
                    <a:pt x="68" y="166"/>
                    <a:pt x="65" y="161"/>
                    <a:pt x="59" y="157"/>
                  </a:cubicBezTo>
                  <a:cubicBezTo>
                    <a:pt x="54" y="154"/>
                    <a:pt x="41" y="153"/>
                    <a:pt x="38" y="153"/>
                  </a:cubicBezTo>
                  <a:cubicBezTo>
                    <a:pt x="38" y="153"/>
                    <a:pt x="38" y="153"/>
                    <a:pt x="38" y="153"/>
                  </a:cubicBezTo>
                  <a:cubicBezTo>
                    <a:pt x="38" y="153"/>
                    <a:pt x="38" y="153"/>
                    <a:pt x="38" y="153"/>
                  </a:cubicBezTo>
                  <a:cubicBezTo>
                    <a:pt x="36" y="147"/>
                    <a:pt x="34" y="141"/>
                    <a:pt x="31" y="141"/>
                  </a:cubicBezTo>
                  <a:cubicBezTo>
                    <a:pt x="29" y="141"/>
                    <a:pt x="27" y="140"/>
                    <a:pt x="25" y="139"/>
                  </a:cubicBezTo>
                  <a:cubicBezTo>
                    <a:pt x="24" y="139"/>
                    <a:pt x="22" y="138"/>
                    <a:pt x="20" y="138"/>
                  </a:cubicBezTo>
                  <a:cubicBezTo>
                    <a:pt x="15" y="138"/>
                    <a:pt x="10" y="135"/>
                    <a:pt x="9" y="131"/>
                  </a:cubicBezTo>
                  <a:cubicBezTo>
                    <a:pt x="9" y="130"/>
                    <a:pt x="9" y="129"/>
                    <a:pt x="9" y="128"/>
                  </a:cubicBezTo>
                  <a:cubicBezTo>
                    <a:pt x="10" y="126"/>
                    <a:pt x="10" y="123"/>
                    <a:pt x="8" y="120"/>
                  </a:cubicBezTo>
                  <a:cubicBezTo>
                    <a:pt x="6" y="118"/>
                    <a:pt x="5" y="117"/>
                    <a:pt x="4" y="116"/>
                  </a:cubicBezTo>
                  <a:cubicBezTo>
                    <a:pt x="2" y="114"/>
                    <a:pt x="1" y="112"/>
                    <a:pt x="1" y="111"/>
                  </a:cubicBezTo>
                  <a:cubicBezTo>
                    <a:pt x="1" y="109"/>
                    <a:pt x="4" y="107"/>
                    <a:pt x="7" y="104"/>
                  </a:cubicBezTo>
                  <a:cubicBezTo>
                    <a:pt x="7" y="104"/>
                    <a:pt x="8" y="104"/>
                    <a:pt x="8" y="103"/>
                  </a:cubicBezTo>
                  <a:cubicBezTo>
                    <a:pt x="8" y="103"/>
                    <a:pt x="7" y="102"/>
                    <a:pt x="7" y="101"/>
                  </a:cubicBezTo>
                  <a:cubicBezTo>
                    <a:pt x="6" y="100"/>
                    <a:pt x="5" y="98"/>
                    <a:pt x="5" y="97"/>
                  </a:cubicBezTo>
                  <a:cubicBezTo>
                    <a:pt x="5" y="96"/>
                    <a:pt x="5" y="96"/>
                    <a:pt x="5" y="95"/>
                  </a:cubicBezTo>
                  <a:cubicBezTo>
                    <a:pt x="4" y="93"/>
                    <a:pt x="4" y="90"/>
                    <a:pt x="6" y="88"/>
                  </a:cubicBezTo>
                  <a:cubicBezTo>
                    <a:pt x="7" y="86"/>
                    <a:pt x="9" y="83"/>
                    <a:pt x="7" y="78"/>
                  </a:cubicBezTo>
                  <a:cubicBezTo>
                    <a:pt x="5" y="76"/>
                    <a:pt x="6" y="74"/>
                    <a:pt x="7" y="71"/>
                  </a:cubicBezTo>
                  <a:cubicBezTo>
                    <a:pt x="8" y="69"/>
                    <a:pt x="8" y="66"/>
                    <a:pt x="7" y="63"/>
                  </a:cubicBezTo>
                  <a:cubicBezTo>
                    <a:pt x="6" y="61"/>
                    <a:pt x="4" y="58"/>
                    <a:pt x="3" y="56"/>
                  </a:cubicBezTo>
                  <a:cubicBezTo>
                    <a:pt x="1" y="53"/>
                    <a:pt x="0" y="51"/>
                    <a:pt x="0" y="50"/>
                  </a:cubicBezTo>
                  <a:cubicBezTo>
                    <a:pt x="0" y="48"/>
                    <a:pt x="2" y="47"/>
                    <a:pt x="4" y="46"/>
                  </a:cubicBezTo>
                  <a:cubicBezTo>
                    <a:pt x="6" y="44"/>
                    <a:pt x="9" y="43"/>
                    <a:pt x="10" y="41"/>
                  </a:cubicBezTo>
                  <a:cubicBezTo>
                    <a:pt x="11" y="37"/>
                    <a:pt x="13" y="31"/>
                    <a:pt x="12" y="30"/>
                  </a:cubicBezTo>
                  <a:cubicBezTo>
                    <a:pt x="11" y="28"/>
                    <a:pt x="11" y="25"/>
                    <a:pt x="14" y="23"/>
                  </a:cubicBezTo>
                  <a:cubicBezTo>
                    <a:pt x="14" y="22"/>
                    <a:pt x="15" y="21"/>
                    <a:pt x="17" y="19"/>
                  </a:cubicBezTo>
                  <a:cubicBezTo>
                    <a:pt x="21" y="16"/>
                    <a:pt x="24" y="13"/>
                    <a:pt x="25" y="12"/>
                  </a:cubicBezTo>
                  <a:cubicBezTo>
                    <a:pt x="25" y="12"/>
                    <a:pt x="26" y="12"/>
                    <a:pt x="27" y="12"/>
                  </a:cubicBezTo>
                  <a:cubicBezTo>
                    <a:pt x="29" y="12"/>
                    <a:pt x="31" y="11"/>
                    <a:pt x="31" y="8"/>
                  </a:cubicBezTo>
                  <a:cubicBezTo>
                    <a:pt x="31" y="7"/>
                    <a:pt x="31" y="4"/>
                    <a:pt x="31" y="0"/>
                  </a:cubicBezTo>
                  <a:cubicBezTo>
                    <a:pt x="31" y="0"/>
                    <a:pt x="31" y="0"/>
                    <a:pt x="31" y="0"/>
                  </a:cubicBezTo>
                  <a:cubicBezTo>
                    <a:pt x="32" y="0"/>
                    <a:pt x="32" y="0"/>
                    <a:pt x="32" y="0"/>
                  </a:cubicBezTo>
                  <a:cubicBezTo>
                    <a:pt x="35" y="2"/>
                    <a:pt x="39" y="4"/>
                    <a:pt x="45" y="4"/>
                  </a:cubicBezTo>
                  <a:cubicBezTo>
                    <a:pt x="46" y="4"/>
                    <a:pt x="47" y="4"/>
                    <a:pt x="48" y="4"/>
                  </a:cubicBezTo>
                  <a:cubicBezTo>
                    <a:pt x="50" y="3"/>
                    <a:pt x="52" y="3"/>
                    <a:pt x="54" y="3"/>
                  </a:cubicBezTo>
                  <a:cubicBezTo>
                    <a:pt x="60" y="3"/>
                    <a:pt x="64" y="5"/>
                    <a:pt x="68" y="7"/>
                  </a:cubicBezTo>
                  <a:cubicBezTo>
                    <a:pt x="71" y="8"/>
                    <a:pt x="73" y="8"/>
                    <a:pt x="75" y="9"/>
                  </a:cubicBezTo>
                  <a:cubicBezTo>
                    <a:pt x="82" y="10"/>
                    <a:pt x="86" y="12"/>
                    <a:pt x="85" y="18"/>
                  </a:cubicBezTo>
                  <a:cubicBezTo>
                    <a:pt x="85" y="19"/>
                    <a:pt x="85" y="21"/>
                    <a:pt x="87" y="23"/>
                  </a:cubicBezTo>
                  <a:cubicBezTo>
                    <a:pt x="89" y="26"/>
                    <a:pt x="94" y="28"/>
                    <a:pt x="99" y="28"/>
                  </a:cubicBezTo>
                  <a:cubicBezTo>
                    <a:pt x="107" y="28"/>
                    <a:pt x="118" y="30"/>
                    <a:pt x="126" y="37"/>
                  </a:cubicBezTo>
                  <a:cubicBezTo>
                    <a:pt x="129" y="40"/>
                    <a:pt x="133" y="42"/>
                    <a:pt x="137" y="42"/>
                  </a:cubicBezTo>
                  <a:cubicBezTo>
                    <a:pt x="142" y="42"/>
                    <a:pt x="145" y="40"/>
                    <a:pt x="148" y="37"/>
                  </a:cubicBezTo>
                  <a:cubicBezTo>
                    <a:pt x="150" y="34"/>
                    <a:pt x="149" y="30"/>
                    <a:pt x="147" y="26"/>
                  </a:cubicBezTo>
                  <a:cubicBezTo>
                    <a:pt x="146" y="23"/>
                    <a:pt x="146" y="21"/>
                    <a:pt x="146" y="19"/>
                  </a:cubicBezTo>
                  <a:cubicBezTo>
                    <a:pt x="146" y="12"/>
                    <a:pt x="163" y="2"/>
                    <a:pt x="177" y="2"/>
                  </a:cubicBezTo>
                  <a:cubicBezTo>
                    <a:pt x="178" y="2"/>
                    <a:pt x="178" y="2"/>
                    <a:pt x="179" y="2"/>
                  </a:cubicBezTo>
                  <a:cubicBezTo>
                    <a:pt x="186" y="2"/>
                    <a:pt x="189" y="5"/>
                    <a:pt x="191" y="7"/>
                  </a:cubicBezTo>
                  <a:cubicBezTo>
                    <a:pt x="193" y="10"/>
                    <a:pt x="195" y="12"/>
                    <a:pt x="201" y="13"/>
                  </a:cubicBezTo>
                  <a:cubicBezTo>
                    <a:pt x="203" y="13"/>
                    <a:pt x="205" y="14"/>
                    <a:pt x="207" y="14"/>
                  </a:cubicBezTo>
                  <a:cubicBezTo>
                    <a:pt x="216" y="15"/>
                    <a:pt x="220" y="16"/>
                    <a:pt x="221" y="18"/>
                  </a:cubicBezTo>
                  <a:cubicBezTo>
                    <a:pt x="221" y="19"/>
                    <a:pt x="221" y="19"/>
                    <a:pt x="221" y="19"/>
                  </a:cubicBezTo>
                  <a:cubicBezTo>
                    <a:pt x="221" y="19"/>
                    <a:pt x="221" y="19"/>
                    <a:pt x="221" y="19"/>
                  </a:cubicBezTo>
                  <a:cubicBezTo>
                    <a:pt x="221" y="19"/>
                    <a:pt x="221" y="19"/>
                    <a:pt x="221" y="19"/>
                  </a:cubicBezTo>
                  <a:cubicBezTo>
                    <a:pt x="221" y="19"/>
                    <a:pt x="221" y="19"/>
                    <a:pt x="221" y="19"/>
                  </a:cubicBezTo>
                  <a:cubicBezTo>
                    <a:pt x="221" y="20"/>
                    <a:pt x="220" y="21"/>
                    <a:pt x="220" y="22"/>
                  </a:cubicBezTo>
                  <a:cubicBezTo>
                    <a:pt x="220" y="23"/>
                    <a:pt x="220" y="23"/>
                    <a:pt x="220" y="23"/>
                  </a:cubicBezTo>
                  <a:cubicBezTo>
                    <a:pt x="218" y="28"/>
                    <a:pt x="219" y="31"/>
                    <a:pt x="219" y="33"/>
                  </a:cubicBezTo>
                  <a:cubicBezTo>
                    <a:pt x="220" y="36"/>
                    <a:pt x="220" y="38"/>
                    <a:pt x="218" y="41"/>
                  </a:cubicBezTo>
                  <a:cubicBezTo>
                    <a:pt x="215" y="44"/>
                    <a:pt x="216" y="48"/>
                    <a:pt x="217" y="53"/>
                  </a:cubicBezTo>
                  <a:cubicBezTo>
                    <a:pt x="217" y="55"/>
                    <a:pt x="218" y="59"/>
                    <a:pt x="218" y="62"/>
                  </a:cubicBezTo>
                  <a:cubicBezTo>
                    <a:pt x="218" y="205"/>
                    <a:pt x="218" y="205"/>
                    <a:pt x="218" y="205"/>
                  </a:cubicBezTo>
                  <a:cubicBezTo>
                    <a:pt x="205" y="205"/>
                    <a:pt x="205" y="205"/>
                    <a:pt x="205" y="205"/>
                  </a:cubicBezTo>
                  <a:lnTo>
                    <a:pt x="205" y="213"/>
                  </a:lnTo>
                  <a:close/>
                  <a:moveTo>
                    <a:pt x="93" y="152"/>
                  </a:moveTo>
                  <a:cubicBezTo>
                    <a:pt x="93" y="152"/>
                    <a:pt x="93" y="152"/>
                    <a:pt x="93" y="152"/>
                  </a:cubicBezTo>
                  <a:cubicBezTo>
                    <a:pt x="204" y="212"/>
                    <a:pt x="204" y="212"/>
                    <a:pt x="204" y="212"/>
                  </a:cubicBezTo>
                  <a:cubicBezTo>
                    <a:pt x="204" y="204"/>
                    <a:pt x="204" y="204"/>
                    <a:pt x="204" y="204"/>
                  </a:cubicBezTo>
                  <a:cubicBezTo>
                    <a:pt x="217" y="204"/>
                    <a:pt x="217" y="204"/>
                    <a:pt x="217" y="204"/>
                  </a:cubicBezTo>
                  <a:cubicBezTo>
                    <a:pt x="217" y="62"/>
                    <a:pt x="217" y="62"/>
                    <a:pt x="217" y="62"/>
                  </a:cubicBezTo>
                  <a:cubicBezTo>
                    <a:pt x="217" y="59"/>
                    <a:pt x="216" y="56"/>
                    <a:pt x="216" y="53"/>
                  </a:cubicBezTo>
                  <a:cubicBezTo>
                    <a:pt x="215" y="48"/>
                    <a:pt x="214" y="44"/>
                    <a:pt x="217" y="40"/>
                  </a:cubicBezTo>
                  <a:cubicBezTo>
                    <a:pt x="219" y="38"/>
                    <a:pt x="219" y="36"/>
                    <a:pt x="218" y="34"/>
                  </a:cubicBezTo>
                  <a:cubicBezTo>
                    <a:pt x="218" y="31"/>
                    <a:pt x="217" y="28"/>
                    <a:pt x="219" y="23"/>
                  </a:cubicBezTo>
                  <a:cubicBezTo>
                    <a:pt x="219" y="22"/>
                    <a:pt x="219" y="22"/>
                    <a:pt x="219" y="22"/>
                  </a:cubicBezTo>
                  <a:cubicBezTo>
                    <a:pt x="219" y="21"/>
                    <a:pt x="220" y="20"/>
                    <a:pt x="220" y="19"/>
                  </a:cubicBezTo>
                  <a:cubicBezTo>
                    <a:pt x="220" y="19"/>
                    <a:pt x="220" y="19"/>
                    <a:pt x="220" y="19"/>
                  </a:cubicBezTo>
                  <a:cubicBezTo>
                    <a:pt x="219" y="17"/>
                    <a:pt x="215" y="16"/>
                    <a:pt x="207" y="15"/>
                  </a:cubicBezTo>
                  <a:cubicBezTo>
                    <a:pt x="205" y="15"/>
                    <a:pt x="203" y="14"/>
                    <a:pt x="201" y="14"/>
                  </a:cubicBezTo>
                  <a:cubicBezTo>
                    <a:pt x="194" y="13"/>
                    <a:pt x="192" y="11"/>
                    <a:pt x="190" y="8"/>
                  </a:cubicBezTo>
                  <a:cubicBezTo>
                    <a:pt x="188" y="6"/>
                    <a:pt x="186" y="3"/>
                    <a:pt x="179" y="3"/>
                  </a:cubicBezTo>
                  <a:cubicBezTo>
                    <a:pt x="178" y="3"/>
                    <a:pt x="178" y="3"/>
                    <a:pt x="177" y="3"/>
                  </a:cubicBezTo>
                  <a:cubicBezTo>
                    <a:pt x="163" y="3"/>
                    <a:pt x="147" y="13"/>
                    <a:pt x="147" y="19"/>
                  </a:cubicBezTo>
                  <a:cubicBezTo>
                    <a:pt x="147" y="21"/>
                    <a:pt x="147" y="23"/>
                    <a:pt x="148" y="25"/>
                  </a:cubicBezTo>
                  <a:cubicBezTo>
                    <a:pt x="150" y="30"/>
                    <a:pt x="152" y="34"/>
                    <a:pt x="148" y="38"/>
                  </a:cubicBezTo>
                  <a:cubicBezTo>
                    <a:pt x="146" y="41"/>
                    <a:pt x="142" y="43"/>
                    <a:pt x="137" y="43"/>
                  </a:cubicBezTo>
                  <a:cubicBezTo>
                    <a:pt x="133" y="43"/>
                    <a:pt x="129" y="41"/>
                    <a:pt x="125" y="38"/>
                  </a:cubicBezTo>
                  <a:cubicBezTo>
                    <a:pt x="118" y="31"/>
                    <a:pt x="107" y="29"/>
                    <a:pt x="99" y="29"/>
                  </a:cubicBezTo>
                  <a:cubicBezTo>
                    <a:pt x="94" y="29"/>
                    <a:pt x="89" y="27"/>
                    <a:pt x="86" y="23"/>
                  </a:cubicBezTo>
                  <a:cubicBezTo>
                    <a:pt x="84" y="22"/>
                    <a:pt x="84" y="20"/>
                    <a:pt x="84" y="18"/>
                  </a:cubicBezTo>
                  <a:cubicBezTo>
                    <a:pt x="84" y="13"/>
                    <a:pt x="82" y="11"/>
                    <a:pt x="75" y="10"/>
                  </a:cubicBezTo>
                  <a:cubicBezTo>
                    <a:pt x="73" y="9"/>
                    <a:pt x="70" y="9"/>
                    <a:pt x="68" y="8"/>
                  </a:cubicBezTo>
                  <a:cubicBezTo>
                    <a:pt x="64" y="6"/>
                    <a:pt x="60" y="4"/>
                    <a:pt x="54" y="4"/>
                  </a:cubicBezTo>
                  <a:cubicBezTo>
                    <a:pt x="52" y="4"/>
                    <a:pt x="50" y="4"/>
                    <a:pt x="49" y="5"/>
                  </a:cubicBezTo>
                  <a:cubicBezTo>
                    <a:pt x="47" y="5"/>
                    <a:pt x="46" y="5"/>
                    <a:pt x="45" y="5"/>
                  </a:cubicBezTo>
                  <a:cubicBezTo>
                    <a:pt x="39" y="5"/>
                    <a:pt x="35" y="3"/>
                    <a:pt x="32" y="1"/>
                  </a:cubicBezTo>
                  <a:cubicBezTo>
                    <a:pt x="32" y="4"/>
                    <a:pt x="32" y="7"/>
                    <a:pt x="32" y="8"/>
                  </a:cubicBezTo>
                  <a:cubicBezTo>
                    <a:pt x="32" y="12"/>
                    <a:pt x="29" y="13"/>
                    <a:pt x="27" y="13"/>
                  </a:cubicBezTo>
                  <a:cubicBezTo>
                    <a:pt x="26" y="13"/>
                    <a:pt x="26" y="13"/>
                    <a:pt x="25" y="13"/>
                  </a:cubicBezTo>
                  <a:cubicBezTo>
                    <a:pt x="24" y="13"/>
                    <a:pt x="20" y="18"/>
                    <a:pt x="18" y="20"/>
                  </a:cubicBezTo>
                  <a:cubicBezTo>
                    <a:pt x="16" y="22"/>
                    <a:pt x="15" y="23"/>
                    <a:pt x="14" y="24"/>
                  </a:cubicBezTo>
                  <a:cubicBezTo>
                    <a:pt x="12" y="25"/>
                    <a:pt x="12" y="28"/>
                    <a:pt x="13" y="29"/>
                  </a:cubicBezTo>
                  <a:cubicBezTo>
                    <a:pt x="14" y="31"/>
                    <a:pt x="12" y="38"/>
                    <a:pt x="10" y="41"/>
                  </a:cubicBezTo>
                  <a:cubicBezTo>
                    <a:pt x="9" y="44"/>
                    <a:pt x="7" y="45"/>
                    <a:pt x="5" y="47"/>
                  </a:cubicBezTo>
                  <a:cubicBezTo>
                    <a:pt x="3" y="48"/>
                    <a:pt x="1" y="49"/>
                    <a:pt x="1" y="50"/>
                  </a:cubicBezTo>
                  <a:cubicBezTo>
                    <a:pt x="1" y="51"/>
                    <a:pt x="2" y="53"/>
                    <a:pt x="4" y="56"/>
                  </a:cubicBezTo>
                  <a:cubicBezTo>
                    <a:pt x="5" y="58"/>
                    <a:pt x="7" y="60"/>
                    <a:pt x="8" y="63"/>
                  </a:cubicBezTo>
                  <a:cubicBezTo>
                    <a:pt x="9" y="66"/>
                    <a:pt x="9" y="69"/>
                    <a:pt x="8" y="72"/>
                  </a:cubicBezTo>
                  <a:cubicBezTo>
                    <a:pt x="7" y="74"/>
                    <a:pt x="6" y="76"/>
                    <a:pt x="7" y="78"/>
                  </a:cubicBezTo>
                  <a:cubicBezTo>
                    <a:pt x="10" y="83"/>
                    <a:pt x="9" y="86"/>
                    <a:pt x="6" y="88"/>
                  </a:cubicBezTo>
                  <a:cubicBezTo>
                    <a:pt x="5" y="90"/>
                    <a:pt x="5" y="92"/>
                    <a:pt x="6" y="94"/>
                  </a:cubicBezTo>
                  <a:cubicBezTo>
                    <a:pt x="6" y="95"/>
                    <a:pt x="6" y="96"/>
                    <a:pt x="6" y="97"/>
                  </a:cubicBezTo>
                  <a:cubicBezTo>
                    <a:pt x="6" y="98"/>
                    <a:pt x="7" y="100"/>
                    <a:pt x="8" y="101"/>
                  </a:cubicBezTo>
                  <a:cubicBezTo>
                    <a:pt x="8" y="102"/>
                    <a:pt x="9" y="103"/>
                    <a:pt x="8" y="104"/>
                  </a:cubicBezTo>
                  <a:cubicBezTo>
                    <a:pt x="8" y="104"/>
                    <a:pt x="8" y="105"/>
                    <a:pt x="7" y="105"/>
                  </a:cubicBezTo>
                  <a:cubicBezTo>
                    <a:pt x="6" y="106"/>
                    <a:pt x="2" y="110"/>
                    <a:pt x="2" y="111"/>
                  </a:cubicBezTo>
                  <a:cubicBezTo>
                    <a:pt x="2" y="112"/>
                    <a:pt x="3" y="113"/>
                    <a:pt x="5" y="115"/>
                  </a:cubicBezTo>
                  <a:cubicBezTo>
                    <a:pt x="6" y="116"/>
                    <a:pt x="7" y="118"/>
                    <a:pt x="9" y="120"/>
                  </a:cubicBezTo>
                  <a:cubicBezTo>
                    <a:pt x="11" y="123"/>
                    <a:pt x="11" y="126"/>
                    <a:pt x="10" y="128"/>
                  </a:cubicBezTo>
                  <a:cubicBezTo>
                    <a:pt x="10" y="129"/>
                    <a:pt x="10" y="130"/>
                    <a:pt x="10" y="131"/>
                  </a:cubicBezTo>
                  <a:cubicBezTo>
                    <a:pt x="11" y="135"/>
                    <a:pt x="16" y="137"/>
                    <a:pt x="20" y="137"/>
                  </a:cubicBezTo>
                  <a:cubicBezTo>
                    <a:pt x="22" y="137"/>
                    <a:pt x="24" y="138"/>
                    <a:pt x="26" y="139"/>
                  </a:cubicBezTo>
                  <a:cubicBezTo>
                    <a:pt x="28" y="139"/>
                    <a:pt x="29" y="140"/>
                    <a:pt x="31" y="140"/>
                  </a:cubicBezTo>
                  <a:cubicBezTo>
                    <a:pt x="34" y="140"/>
                    <a:pt x="36" y="145"/>
                    <a:pt x="38" y="152"/>
                  </a:cubicBezTo>
                  <a:cubicBezTo>
                    <a:pt x="42" y="153"/>
                    <a:pt x="54" y="153"/>
                    <a:pt x="60" y="157"/>
                  </a:cubicBezTo>
                  <a:cubicBezTo>
                    <a:pt x="65" y="160"/>
                    <a:pt x="68" y="164"/>
                    <a:pt x="69" y="166"/>
                  </a:cubicBezTo>
                  <a:lnTo>
                    <a:pt x="93" y="15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2" name="Freeform 19"/>
            <p:cNvSpPr>
              <a:spLocks noEditPoints="1"/>
            </p:cNvSpPr>
            <p:nvPr/>
          </p:nvSpPr>
          <p:spPr>
            <a:xfrm>
              <a:off x="4368801" y="3462338"/>
              <a:ext cx="74613" cy="22225"/>
            </a:xfrm>
            <a:custGeom>
              <a:gdLst>
                <a:gd name="T0" fmla="*/ 0 w 44"/>
                <a:gd name="T1" fmla="*/ 13 h 13"/>
                <a:gd name="T2" fmla="*/ 0 w 44"/>
                <a:gd name="T3" fmla="*/ 12 h 13"/>
                <a:gd name="T4" fmla="*/ 1 w 44"/>
                <a:gd name="T5" fmla="*/ 8 h 13"/>
                <a:gd name="T6" fmla="*/ 2 w 44"/>
                <a:gd name="T7" fmla="*/ 4 h 13"/>
                <a:gd name="T8" fmla="*/ 2 w 44"/>
                <a:gd name="T9" fmla="*/ 3 h 13"/>
                <a:gd name="T10" fmla="*/ 3 w 44"/>
                <a:gd name="T11" fmla="*/ 3 h 13"/>
                <a:gd name="T12" fmla="*/ 8 w 44"/>
                <a:gd name="T13" fmla="*/ 4 h 13"/>
                <a:gd name="T14" fmla="*/ 21 w 44"/>
                <a:gd name="T15" fmla="*/ 0 h 13"/>
                <a:gd name="T16" fmla="*/ 24 w 44"/>
                <a:gd name="T17" fmla="*/ 0 h 13"/>
                <a:gd name="T18" fmla="*/ 29 w 44"/>
                <a:gd name="T19" fmla="*/ 2 h 13"/>
                <a:gd name="T20" fmla="*/ 35 w 44"/>
                <a:gd name="T21" fmla="*/ 6 h 13"/>
                <a:gd name="T22" fmla="*/ 43 w 44"/>
                <a:gd name="T23" fmla="*/ 7 h 13"/>
                <a:gd name="T24" fmla="*/ 44 w 44"/>
                <a:gd name="T25" fmla="*/ 8 h 13"/>
                <a:gd name="T26" fmla="*/ 43 w 44"/>
                <a:gd name="T27" fmla="*/ 8 h 13"/>
                <a:gd name="T28" fmla="*/ 34 w 44"/>
                <a:gd name="T29" fmla="*/ 11 h 13"/>
                <a:gd name="T30" fmla="*/ 28 w 44"/>
                <a:gd name="T31" fmla="*/ 9 h 13"/>
                <a:gd name="T32" fmla="*/ 24 w 44"/>
                <a:gd name="T33" fmla="*/ 7 h 13"/>
                <a:gd name="T34" fmla="*/ 22 w 44"/>
                <a:gd name="T35" fmla="*/ 7 h 13"/>
                <a:gd name="T36" fmla="*/ 5 w 44"/>
                <a:gd name="T37" fmla="*/ 12 h 13"/>
                <a:gd name="T38" fmla="*/ 1 w 44"/>
                <a:gd name="T39" fmla="*/ 13 h 13"/>
                <a:gd name="T40" fmla="*/ 0 w 44"/>
                <a:gd name="T41" fmla="*/ 13 h 13"/>
                <a:gd name="T42" fmla="*/ 3 w 44"/>
                <a:gd name="T43" fmla="*/ 4 h 13"/>
                <a:gd name="T44" fmla="*/ 2 w 44"/>
                <a:gd name="T45" fmla="*/ 8 h 13"/>
                <a:gd name="T46" fmla="*/ 1 w 44"/>
                <a:gd name="T47" fmla="*/ 12 h 13"/>
                <a:gd name="T48" fmla="*/ 5 w 44"/>
                <a:gd name="T49" fmla="*/ 11 h 13"/>
                <a:gd name="T50" fmla="*/ 21 w 44"/>
                <a:gd name="T51" fmla="*/ 7 h 13"/>
                <a:gd name="T52" fmla="*/ 24 w 44"/>
                <a:gd name="T53" fmla="*/ 6 h 13"/>
                <a:gd name="T54" fmla="*/ 29 w 44"/>
                <a:gd name="T55" fmla="*/ 8 h 13"/>
                <a:gd name="T56" fmla="*/ 34 w 44"/>
                <a:gd name="T57" fmla="*/ 10 h 13"/>
                <a:gd name="T58" fmla="*/ 42 w 44"/>
                <a:gd name="T59" fmla="*/ 8 h 13"/>
                <a:gd name="T60" fmla="*/ 35 w 44"/>
                <a:gd name="T61" fmla="*/ 7 h 13"/>
                <a:gd name="T62" fmla="*/ 28 w 44"/>
                <a:gd name="T63" fmla="*/ 3 h 13"/>
                <a:gd name="T64" fmla="*/ 24 w 44"/>
                <a:gd name="T65" fmla="*/ 1 h 13"/>
                <a:gd name="T66" fmla="*/ 21 w 44"/>
                <a:gd name="T67" fmla="*/ 1 h 13"/>
                <a:gd name="T68" fmla="*/ 8 w 44"/>
                <a:gd name="T69" fmla="*/ 5 h 13"/>
                <a:gd name="T70" fmla="*/ 3 w 44"/>
                <a:gd name="T71" fmla="*/ 4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13">
                  <a:moveTo>
                    <a:pt x="0" y="13"/>
                  </a:moveTo>
                  <a:cubicBezTo>
                    <a:pt x="0" y="12"/>
                    <a:pt x="0" y="12"/>
                    <a:pt x="0" y="12"/>
                  </a:cubicBezTo>
                  <a:cubicBezTo>
                    <a:pt x="1" y="11"/>
                    <a:pt x="1" y="9"/>
                    <a:pt x="1" y="8"/>
                  </a:cubicBezTo>
                  <a:cubicBezTo>
                    <a:pt x="2" y="6"/>
                    <a:pt x="2" y="5"/>
                    <a:pt x="2" y="4"/>
                  </a:cubicBezTo>
                  <a:cubicBezTo>
                    <a:pt x="2" y="3"/>
                    <a:pt x="2" y="3"/>
                    <a:pt x="2" y="3"/>
                  </a:cubicBezTo>
                  <a:cubicBezTo>
                    <a:pt x="3" y="3"/>
                    <a:pt x="3" y="3"/>
                    <a:pt x="3" y="3"/>
                  </a:cubicBezTo>
                  <a:cubicBezTo>
                    <a:pt x="5" y="3"/>
                    <a:pt x="6" y="4"/>
                    <a:pt x="8" y="4"/>
                  </a:cubicBezTo>
                  <a:cubicBezTo>
                    <a:pt x="12" y="4"/>
                    <a:pt x="16" y="3"/>
                    <a:pt x="21" y="0"/>
                  </a:cubicBezTo>
                  <a:cubicBezTo>
                    <a:pt x="22" y="0"/>
                    <a:pt x="23" y="0"/>
                    <a:pt x="24" y="0"/>
                  </a:cubicBezTo>
                  <a:cubicBezTo>
                    <a:pt x="26" y="0"/>
                    <a:pt x="27" y="1"/>
                    <a:pt x="29" y="2"/>
                  </a:cubicBezTo>
                  <a:cubicBezTo>
                    <a:pt x="30" y="4"/>
                    <a:pt x="32" y="6"/>
                    <a:pt x="35" y="6"/>
                  </a:cubicBezTo>
                  <a:cubicBezTo>
                    <a:pt x="40" y="7"/>
                    <a:pt x="43" y="7"/>
                    <a:pt x="43" y="7"/>
                  </a:cubicBezTo>
                  <a:cubicBezTo>
                    <a:pt x="44" y="8"/>
                    <a:pt x="44" y="8"/>
                    <a:pt x="44" y="8"/>
                  </a:cubicBezTo>
                  <a:cubicBezTo>
                    <a:pt x="43" y="8"/>
                    <a:pt x="43" y="8"/>
                    <a:pt x="43" y="8"/>
                  </a:cubicBezTo>
                  <a:cubicBezTo>
                    <a:pt x="43" y="8"/>
                    <a:pt x="38" y="11"/>
                    <a:pt x="34" y="11"/>
                  </a:cubicBezTo>
                  <a:cubicBezTo>
                    <a:pt x="32" y="11"/>
                    <a:pt x="30" y="10"/>
                    <a:pt x="28" y="9"/>
                  </a:cubicBezTo>
                  <a:cubicBezTo>
                    <a:pt x="27" y="8"/>
                    <a:pt x="25" y="7"/>
                    <a:pt x="24" y="7"/>
                  </a:cubicBezTo>
                  <a:cubicBezTo>
                    <a:pt x="23" y="7"/>
                    <a:pt x="22" y="7"/>
                    <a:pt x="22" y="7"/>
                  </a:cubicBezTo>
                  <a:cubicBezTo>
                    <a:pt x="19" y="10"/>
                    <a:pt x="9" y="12"/>
                    <a:pt x="5" y="12"/>
                  </a:cubicBezTo>
                  <a:cubicBezTo>
                    <a:pt x="5" y="12"/>
                    <a:pt x="4" y="12"/>
                    <a:pt x="1" y="13"/>
                  </a:cubicBezTo>
                  <a:lnTo>
                    <a:pt x="0" y="13"/>
                  </a:lnTo>
                  <a:close/>
                  <a:moveTo>
                    <a:pt x="3" y="4"/>
                  </a:moveTo>
                  <a:cubicBezTo>
                    <a:pt x="3" y="5"/>
                    <a:pt x="3" y="7"/>
                    <a:pt x="2" y="8"/>
                  </a:cubicBezTo>
                  <a:cubicBezTo>
                    <a:pt x="2" y="9"/>
                    <a:pt x="2" y="11"/>
                    <a:pt x="1" y="12"/>
                  </a:cubicBezTo>
                  <a:cubicBezTo>
                    <a:pt x="3" y="11"/>
                    <a:pt x="4" y="11"/>
                    <a:pt x="5" y="11"/>
                  </a:cubicBezTo>
                  <a:cubicBezTo>
                    <a:pt x="9" y="11"/>
                    <a:pt x="18" y="9"/>
                    <a:pt x="21" y="7"/>
                  </a:cubicBezTo>
                  <a:cubicBezTo>
                    <a:pt x="22" y="6"/>
                    <a:pt x="23" y="6"/>
                    <a:pt x="24" y="6"/>
                  </a:cubicBezTo>
                  <a:cubicBezTo>
                    <a:pt x="25" y="6"/>
                    <a:pt x="27" y="7"/>
                    <a:pt x="29" y="8"/>
                  </a:cubicBezTo>
                  <a:cubicBezTo>
                    <a:pt x="31" y="9"/>
                    <a:pt x="32" y="10"/>
                    <a:pt x="34" y="10"/>
                  </a:cubicBezTo>
                  <a:cubicBezTo>
                    <a:pt x="37" y="10"/>
                    <a:pt x="40" y="9"/>
                    <a:pt x="42" y="8"/>
                  </a:cubicBezTo>
                  <a:cubicBezTo>
                    <a:pt x="41" y="8"/>
                    <a:pt x="39" y="7"/>
                    <a:pt x="35" y="7"/>
                  </a:cubicBezTo>
                  <a:cubicBezTo>
                    <a:pt x="32" y="7"/>
                    <a:pt x="30" y="5"/>
                    <a:pt x="28" y="3"/>
                  </a:cubicBezTo>
                  <a:cubicBezTo>
                    <a:pt x="26" y="2"/>
                    <a:pt x="25" y="1"/>
                    <a:pt x="24" y="1"/>
                  </a:cubicBezTo>
                  <a:cubicBezTo>
                    <a:pt x="23" y="1"/>
                    <a:pt x="22" y="1"/>
                    <a:pt x="21" y="1"/>
                  </a:cubicBezTo>
                  <a:cubicBezTo>
                    <a:pt x="16" y="4"/>
                    <a:pt x="13" y="5"/>
                    <a:pt x="8" y="5"/>
                  </a:cubicBezTo>
                  <a:cubicBezTo>
                    <a:pt x="6" y="5"/>
                    <a:pt x="5" y="4"/>
                    <a:pt x="3"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3" name="Freeform 20"/>
            <p:cNvSpPr>
              <a:spLocks noEditPoints="1"/>
            </p:cNvSpPr>
            <p:nvPr/>
          </p:nvSpPr>
          <p:spPr>
            <a:xfrm>
              <a:off x="4352926" y="3394075"/>
              <a:ext cx="147638" cy="111125"/>
            </a:xfrm>
            <a:custGeom>
              <a:gdLst>
                <a:gd name="T0" fmla="*/ 63 w 87"/>
                <a:gd name="T1" fmla="*/ 63 h 66"/>
                <a:gd name="T2" fmla="*/ 54 w 87"/>
                <a:gd name="T3" fmla="*/ 60 h 66"/>
                <a:gd name="T4" fmla="*/ 53 w 87"/>
                <a:gd name="T5" fmla="*/ 61 h 66"/>
                <a:gd name="T6" fmla="*/ 29 w 87"/>
                <a:gd name="T7" fmla="*/ 61 h 66"/>
                <a:gd name="T8" fmla="*/ 19 w 87"/>
                <a:gd name="T9" fmla="*/ 63 h 66"/>
                <a:gd name="T10" fmla="*/ 13 w 87"/>
                <a:gd name="T11" fmla="*/ 62 h 66"/>
                <a:gd name="T12" fmla="*/ 13 w 87"/>
                <a:gd name="T13" fmla="*/ 62 h 66"/>
                <a:gd name="T14" fmla="*/ 9 w 87"/>
                <a:gd name="T15" fmla="*/ 53 h 66"/>
                <a:gd name="T16" fmla="*/ 10 w 87"/>
                <a:gd name="T17" fmla="*/ 53 h 66"/>
                <a:gd name="T18" fmla="*/ 30 w 87"/>
                <a:gd name="T19" fmla="*/ 48 h 66"/>
                <a:gd name="T20" fmla="*/ 38 w 87"/>
                <a:gd name="T21" fmla="*/ 49 h 66"/>
                <a:gd name="T22" fmla="*/ 51 w 87"/>
                <a:gd name="T23" fmla="*/ 49 h 66"/>
                <a:gd name="T24" fmla="*/ 37 w 87"/>
                <a:gd name="T25" fmla="*/ 44 h 66"/>
                <a:gd name="T26" fmla="*/ 30 w 87"/>
                <a:gd name="T27" fmla="*/ 42 h 66"/>
                <a:gd name="T28" fmla="*/ 12 w 87"/>
                <a:gd name="T29" fmla="*/ 45 h 66"/>
                <a:gd name="T30" fmla="*/ 11 w 87"/>
                <a:gd name="T31" fmla="*/ 45 h 66"/>
                <a:gd name="T32" fmla="*/ 5 w 87"/>
                <a:gd name="T33" fmla="*/ 21 h 66"/>
                <a:gd name="T34" fmla="*/ 8 w 87"/>
                <a:gd name="T35" fmla="*/ 9 h 66"/>
                <a:gd name="T36" fmla="*/ 9 w 87"/>
                <a:gd name="T37" fmla="*/ 9 h 66"/>
                <a:gd name="T38" fmla="*/ 17 w 87"/>
                <a:gd name="T39" fmla="*/ 2 h 66"/>
                <a:gd name="T40" fmla="*/ 23 w 87"/>
                <a:gd name="T41" fmla="*/ 2 h 66"/>
                <a:gd name="T42" fmla="*/ 39 w 87"/>
                <a:gd name="T43" fmla="*/ 0 h 66"/>
                <a:gd name="T44" fmla="*/ 51 w 87"/>
                <a:gd name="T45" fmla="*/ 8 h 66"/>
                <a:gd name="T46" fmla="*/ 56 w 87"/>
                <a:gd name="T47" fmla="*/ 8 h 66"/>
                <a:gd name="T48" fmla="*/ 74 w 87"/>
                <a:gd name="T49" fmla="*/ 32 h 66"/>
                <a:gd name="T50" fmla="*/ 77 w 87"/>
                <a:gd name="T51" fmla="*/ 36 h 66"/>
                <a:gd name="T52" fmla="*/ 87 w 87"/>
                <a:gd name="T53" fmla="*/ 54 h 66"/>
                <a:gd name="T54" fmla="*/ 87 w 87"/>
                <a:gd name="T55" fmla="*/ 64 h 66"/>
                <a:gd name="T56" fmla="*/ 76 w 87"/>
                <a:gd name="T57" fmla="*/ 66 h 66"/>
                <a:gd name="T58" fmla="*/ 54 w 87"/>
                <a:gd name="T59" fmla="*/ 58 h 66"/>
                <a:gd name="T60" fmla="*/ 76 w 87"/>
                <a:gd name="T61" fmla="*/ 65 h 66"/>
                <a:gd name="T62" fmla="*/ 86 w 87"/>
                <a:gd name="T63" fmla="*/ 63 h 66"/>
                <a:gd name="T64" fmla="*/ 79 w 87"/>
                <a:gd name="T65" fmla="*/ 45 h 66"/>
                <a:gd name="T66" fmla="*/ 74 w 87"/>
                <a:gd name="T67" fmla="*/ 32 h 66"/>
                <a:gd name="T68" fmla="*/ 55 w 87"/>
                <a:gd name="T69" fmla="*/ 9 h 66"/>
                <a:gd name="T70" fmla="*/ 50 w 87"/>
                <a:gd name="T71" fmla="*/ 9 h 66"/>
                <a:gd name="T72" fmla="*/ 39 w 87"/>
                <a:gd name="T73" fmla="*/ 1 h 66"/>
                <a:gd name="T74" fmla="*/ 31 w 87"/>
                <a:gd name="T75" fmla="*/ 3 h 66"/>
                <a:gd name="T76" fmla="*/ 18 w 87"/>
                <a:gd name="T77" fmla="*/ 3 h 66"/>
                <a:gd name="T78" fmla="*/ 10 w 87"/>
                <a:gd name="T79" fmla="*/ 10 h 66"/>
                <a:gd name="T80" fmla="*/ 6 w 87"/>
                <a:gd name="T81" fmla="*/ 22 h 66"/>
                <a:gd name="T82" fmla="*/ 12 w 87"/>
                <a:gd name="T83" fmla="*/ 44 h 66"/>
                <a:gd name="T84" fmla="*/ 30 w 87"/>
                <a:gd name="T85" fmla="*/ 41 h 66"/>
                <a:gd name="T86" fmla="*/ 38 w 87"/>
                <a:gd name="T87" fmla="*/ 43 h 66"/>
                <a:gd name="T88" fmla="*/ 52 w 87"/>
                <a:gd name="T89" fmla="*/ 48 h 66"/>
                <a:gd name="T90" fmla="*/ 52 w 87"/>
                <a:gd name="T91" fmla="*/ 49 h 66"/>
                <a:gd name="T92" fmla="*/ 37 w 87"/>
                <a:gd name="T93" fmla="*/ 50 h 66"/>
                <a:gd name="T94" fmla="*/ 31 w 87"/>
                <a:gd name="T95" fmla="*/ 48 h 66"/>
                <a:gd name="T96" fmla="*/ 10 w 87"/>
                <a:gd name="T97" fmla="*/ 54 h 66"/>
                <a:gd name="T98" fmla="*/ 13 w 87"/>
                <a:gd name="T99" fmla="*/ 61 h 66"/>
                <a:gd name="T100" fmla="*/ 19 w 87"/>
                <a:gd name="T101" fmla="*/ 63 h 66"/>
                <a:gd name="T102" fmla="*/ 21 w 87"/>
                <a:gd name="T103" fmla="*/ 64 h 66"/>
                <a:gd name="T104" fmla="*/ 28 w 87"/>
                <a:gd name="T105" fmla="*/ 60 h 66"/>
                <a:gd name="T106" fmla="*/ 53 w 87"/>
                <a:gd name="T107" fmla="*/ 59 h 66"/>
                <a:gd name="T108" fmla="*/ 53 w 87"/>
                <a:gd name="T109" fmla="*/ 58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66">
                  <a:moveTo>
                    <a:pt x="76" y="66"/>
                  </a:moveTo>
                  <a:cubicBezTo>
                    <a:pt x="71" y="66"/>
                    <a:pt x="64" y="65"/>
                    <a:pt x="63" y="63"/>
                  </a:cubicBezTo>
                  <a:cubicBezTo>
                    <a:pt x="63" y="62"/>
                    <a:pt x="58" y="60"/>
                    <a:pt x="54" y="59"/>
                  </a:cubicBezTo>
                  <a:cubicBezTo>
                    <a:pt x="54" y="60"/>
                    <a:pt x="54" y="60"/>
                    <a:pt x="54" y="60"/>
                  </a:cubicBezTo>
                  <a:cubicBezTo>
                    <a:pt x="54" y="61"/>
                    <a:pt x="54" y="61"/>
                    <a:pt x="54" y="61"/>
                  </a:cubicBezTo>
                  <a:cubicBezTo>
                    <a:pt x="53" y="61"/>
                    <a:pt x="53" y="61"/>
                    <a:pt x="53" y="61"/>
                  </a:cubicBezTo>
                  <a:cubicBezTo>
                    <a:pt x="52" y="60"/>
                    <a:pt x="51" y="60"/>
                    <a:pt x="50" y="60"/>
                  </a:cubicBezTo>
                  <a:cubicBezTo>
                    <a:pt x="47" y="60"/>
                    <a:pt x="30" y="61"/>
                    <a:pt x="29" y="61"/>
                  </a:cubicBezTo>
                  <a:cubicBezTo>
                    <a:pt x="28" y="62"/>
                    <a:pt x="23" y="65"/>
                    <a:pt x="20" y="65"/>
                  </a:cubicBezTo>
                  <a:cubicBezTo>
                    <a:pt x="19" y="64"/>
                    <a:pt x="19" y="64"/>
                    <a:pt x="19" y="63"/>
                  </a:cubicBezTo>
                  <a:cubicBezTo>
                    <a:pt x="18" y="63"/>
                    <a:pt x="18" y="62"/>
                    <a:pt x="16" y="62"/>
                  </a:cubicBezTo>
                  <a:cubicBezTo>
                    <a:pt x="16" y="62"/>
                    <a:pt x="14" y="62"/>
                    <a:pt x="13" y="62"/>
                  </a:cubicBezTo>
                  <a:cubicBezTo>
                    <a:pt x="13" y="63"/>
                    <a:pt x="13" y="63"/>
                    <a:pt x="13" y="63"/>
                  </a:cubicBezTo>
                  <a:cubicBezTo>
                    <a:pt x="13" y="62"/>
                    <a:pt x="13" y="62"/>
                    <a:pt x="13" y="62"/>
                  </a:cubicBezTo>
                  <a:cubicBezTo>
                    <a:pt x="12" y="62"/>
                    <a:pt x="12" y="61"/>
                    <a:pt x="11" y="61"/>
                  </a:cubicBezTo>
                  <a:cubicBezTo>
                    <a:pt x="9" y="58"/>
                    <a:pt x="9" y="55"/>
                    <a:pt x="9" y="53"/>
                  </a:cubicBezTo>
                  <a:cubicBezTo>
                    <a:pt x="9" y="53"/>
                    <a:pt x="9" y="53"/>
                    <a:pt x="9" y="53"/>
                  </a:cubicBezTo>
                  <a:cubicBezTo>
                    <a:pt x="10" y="53"/>
                    <a:pt x="10" y="53"/>
                    <a:pt x="10" y="53"/>
                  </a:cubicBezTo>
                  <a:cubicBezTo>
                    <a:pt x="12" y="52"/>
                    <a:pt x="13" y="52"/>
                    <a:pt x="14" y="52"/>
                  </a:cubicBezTo>
                  <a:cubicBezTo>
                    <a:pt x="18" y="52"/>
                    <a:pt x="27" y="50"/>
                    <a:pt x="30" y="48"/>
                  </a:cubicBezTo>
                  <a:cubicBezTo>
                    <a:pt x="31" y="47"/>
                    <a:pt x="32" y="47"/>
                    <a:pt x="33" y="47"/>
                  </a:cubicBezTo>
                  <a:cubicBezTo>
                    <a:pt x="34" y="47"/>
                    <a:pt x="36" y="48"/>
                    <a:pt x="38" y="49"/>
                  </a:cubicBezTo>
                  <a:cubicBezTo>
                    <a:pt x="40" y="50"/>
                    <a:pt x="41" y="51"/>
                    <a:pt x="43" y="51"/>
                  </a:cubicBezTo>
                  <a:cubicBezTo>
                    <a:pt x="46" y="51"/>
                    <a:pt x="49" y="50"/>
                    <a:pt x="51" y="49"/>
                  </a:cubicBezTo>
                  <a:cubicBezTo>
                    <a:pt x="50" y="49"/>
                    <a:pt x="48" y="48"/>
                    <a:pt x="44" y="48"/>
                  </a:cubicBezTo>
                  <a:cubicBezTo>
                    <a:pt x="41" y="48"/>
                    <a:pt x="39" y="46"/>
                    <a:pt x="37" y="44"/>
                  </a:cubicBezTo>
                  <a:cubicBezTo>
                    <a:pt x="35" y="43"/>
                    <a:pt x="34" y="42"/>
                    <a:pt x="33" y="42"/>
                  </a:cubicBezTo>
                  <a:cubicBezTo>
                    <a:pt x="32" y="42"/>
                    <a:pt x="31" y="42"/>
                    <a:pt x="30" y="42"/>
                  </a:cubicBezTo>
                  <a:cubicBezTo>
                    <a:pt x="25" y="45"/>
                    <a:pt x="22" y="46"/>
                    <a:pt x="17" y="46"/>
                  </a:cubicBezTo>
                  <a:cubicBezTo>
                    <a:pt x="15" y="46"/>
                    <a:pt x="14" y="45"/>
                    <a:pt x="12" y="45"/>
                  </a:cubicBezTo>
                  <a:cubicBezTo>
                    <a:pt x="11" y="45"/>
                    <a:pt x="11" y="45"/>
                    <a:pt x="11" y="45"/>
                  </a:cubicBezTo>
                  <a:cubicBezTo>
                    <a:pt x="11" y="45"/>
                    <a:pt x="11" y="45"/>
                    <a:pt x="11" y="45"/>
                  </a:cubicBezTo>
                  <a:cubicBezTo>
                    <a:pt x="11" y="44"/>
                    <a:pt x="11" y="43"/>
                    <a:pt x="11" y="42"/>
                  </a:cubicBezTo>
                  <a:cubicBezTo>
                    <a:pt x="7" y="39"/>
                    <a:pt x="0" y="29"/>
                    <a:pt x="5" y="21"/>
                  </a:cubicBezTo>
                  <a:cubicBezTo>
                    <a:pt x="7" y="18"/>
                    <a:pt x="8" y="14"/>
                    <a:pt x="8" y="10"/>
                  </a:cubicBezTo>
                  <a:cubicBezTo>
                    <a:pt x="8" y="9"/>
                    <a:pt x="8" y="9"/>
                    <a:pt x="8" y="9"/>
                  </a:cubicBezTo>
                  <a:cubicBezTo>
                    <a:pt x="9" y="9"/>
                    <a:pt x="9" y="9"/>
                    <a:pt x="9" y="9"/>
                  </a:cubicBezTo>
                  <a:cubicBezTo>
                    <a:pt x="9" y="9"/>
                    <a:pt x="9" y="9"/>
                    <a:pt x="9" y="9"/>
                  </a:cubicBezTo>
                  <a:cubicBezTo>
                    <a:pt x="11" y="9"/>
                    <a:pt x="12" y="7"/>
                    <a:pt x="13" y="6"/>
                  </a:cubicBezTo>
                  <a:cubicBezTo>
                    <a:pt x="13" y="4"/>
                    <a:pt x="14" y="2"/>
                    <a:pt x="17" y="2"/>
                  </a:cubicBezTo>
                  <a:cubicBezTo>
                    <a:pt x="17" y="2"/>
                    <a:pt x="17" y="2"/>
                    <a:pt x="18" y="2"/>
                  </a:cubicBezTo>
                  <a:cubicBezTo>
                    <a:pt x="19" y="2"/>
                    <a:pt x="21" y="2"/>
                    <a:pt x="23" y="2"/>
                  </a:cubicBezTo>
                  <a:cubicBezTo>
                    <a:pt x="27" y="2"/>
                    <a:pt x="30" y="2"/>
                    <a:pt x="31" y="2"/>
                  </a:cubicBezTo>
                  <a:cubicBezTo>
                    <a:pt x="31" y="2"/>
                    <a:pt x="35" y="0"/>
                    <a:pt x="39" y="0"/>
                  </a:cubicBezTo>
                  <a:cubicBezTo>
                    <a:pt x="40" y="0"/>
                    <a:pt x="42" y="0"/>
                    <a:pt x="43" y="1"/>
                  </a:cubicBezTo>
                  <a:cubicBezTo>
                    <a:pt x="46" y="3"/>
                    <a:pt x="50" y="7"/>
                    <a:pt x="51" y="8"/>
                  </a:cubicBezTo>
                  <a:cubicBezTo>
                    <a:pt x="56" y="8"/>
                    <a:pt x="56" y="8"/>
                    <a:pt x="56" y="8"/>
                  </a:cubicBezTo>
                  <a:cubicBezTo>
                    <a:pt x="56" y="8"/>
                    <a:pt x="56" y="8"/>
                    <a:pt x="56" y="8"/>
                  </a:cubicBezTo>
                  <a:cubicBezTo>
                    <a:pt x="56" y="8"/>
                    <a:pt x="60" y="19"/>
                    <a:pt x="66" y="21"/>
                  </a:cubicBezTo>
                  <a:cubicBezTo>
                    <a:pt x="72" y="23"/>
                    <a:pt x="74" y="31"/>
                    <a:pt x="74" y="32"/>
                  </a:cubicBezTo>
                  <a:cubicBezTo>
                    <a:pt x="77" y="36"/>
                    <a:pt x="77" y="36"/>
                    <a:pt x="77" y="36"/>
                  </a:cubicBezTo>
                  <a:cubicBezTo>
                    <a:pt x="77" y="36"/>
                    <a:pt x="77" y="36"/>
                    <a:pt x="77" y="36"/>
                  </a:cubicBezTo>
                  <a:cubicBezTo>
                    <a:pt x="77" y="36"/>
                    <a:pt x="77" y="42"/>
                    <a:pt x="79" y="45"/>
                  </a:cubicBezTo>
                  <a:cubicBezTo>
                    <a:pt x="83" y="48"/>
                    <a:pt x="87" y="52"/>
                    <a:pt x="87" y="54"/>
                  </a:cubicBezTo>
                  <a:cubicBezTo>
                    <a:pt x="87" y="56"/>
                    <a:pt x="87" y="60"/>
                    <a:pt x="87" y="64"/>
                  </a:cubicBezTo>
                  <a:cubicBezTo>
                    <a:pt x="87" y="64"/>
                    <a:pt x="87" y="64"/>
                    <a:pt x="87" y="64"/>
                  </a:cubicBezTo>
                  <a:cubicBezTo>
                    <a:pt x="85" y="65"/>
                    <a:pt x="85" y="65"/>
                    <a:pt x="85" y="65"/>
                  </a:cubicBezTo>
                  <a:cubicBezTo>
                    <a:pt x="82" y="66"/>
                    <a:pt x="78" y="66"/>
                    <a:pt x="76" y="66"/>
                  </a:cubicBezTo>
                  <a:close/>
                  <a:moveTo>
                    <a:pt x="53" y="58"/>
                  </a:moveTo>
                  <a:cubicBezTo>
                    <a:pt x="54" y="58"/>
                    <a:pt x="54" y="58"/>
                    <a:pt x="54" y="58"/>
                  </a:cubicBezTo>
                  <a:cubicBezTo>
                    <a:pt x="55" y="59"/>
                    <a:pt x="64" y="60"/>
                    <a:pt x="64" y="63"/>
                  </a:cubicBezTo>
                  <a:cubicBezTo>
                    <a:pt x="64" y="64"/>
                    <a:pt x="69" y="65"/>
                    <a:pt x="76" y="65"/>
                  </a:cubicBezTo>
                  <a:cubicBezTo>
                    <a:pt x="79" y="65"/>
                    <a:pt x="82" y="65"/>
                    <a:pt x="85" y="64"/>
                  </a:cubicBezTo>
                  <a:cubicBezTo>
                    <a:pt x="86" y="63"/>
                    <a:pt x="86" y="63"/>
                    <a:pt x="86" y="63"/>
                  </a:cubicBezTo>
                  <a:cubicBezTo>
                    <a:pt x="86" y="61"/>
                    <a:pt x="86" y="56"/>
                    <a:pt x="86" y="55"/>
                  </a:cubicBezTo>
                  <a:cubicBezTo>
                    <a:pt x="86" y="53"/>
                    <a:pt x="81" y="48"/>
                    <a:pt x="79" y="45"/>
                  </a:cubicBezTo>
                  <a:cubicBezTo>
                    <a:pt x="76" y="43"/>
                    <a:pt x="76" y="37"/>
                    <a:pt x="76" y="36"/>
                  </a:cubicBezTo>
                  <a:cubicBezTo>
                    <a:pt x="74" y="32"/>
                    <a:pt x="74" y="32"/>
                    <a:pt x="74" y="32"/>
                  </a:cubicBezTo>
                  <a:cubicBezTo>
                    <a:pt x="73" y="32"/>
                    <a:pt x="71" y="24"/>
                    <a:pt x="66" y="22"/>
                  </a:cubicBezTo>
                  <a:cubicBezTo>
                    <a:pt x="60" y="20"/>
                    <a:pt x="56" y="11"/>
                    <a:pt x="55" y="9"/>
                  </a:cubicBezTo>
                  <a:cubicBezTo>
                    <a:pt x="50" y="9"/>
                    <a:pt x="50" y="9"/>
                    <a:pt x="50" y="9"/>
                  </a:cubicBezTo>
                  <a:cubicBezTo>
                    <a:pt x="50" y="9"/>
                    <a:pt x="50" y="9"/>
                    <a:pt x="50" y="9"/>
                  </a:cubicBezTo>
                  <a:cubicBezTo>
                    <a:pt x="50" y="9"/>
                    <a:pt x="46" y="4"/>
                    <a:pt x="42" y="2"/>
                  </a:cubicBezTo>
                  <a:cubicBezTo>
                    <a:pt x="41" y="1"/>
                    <a:pt x="40" y="1"/>
                    <a:pt x="39" y="1"/>
                  </a:cubicBezTo>
                  <a:cubicBezTo>
                    <a:pt x="35" y="1"/>
                    <a:pt x="31" y="3"/>
                    <a:pt x="31" y="3"/>
                  </a:cubicBezTo>
                  <a:cubicBezTo>
                    <a:pt x="31" y="3"/>
                    <a:pt x="31" y="3"/>
                    <a:pt x="31" y="3"/>
                  </a:cubicBezTo>
                  <a:cubicBezTo>
                    <a:pt x="31" y="3"/>
                    <a:pt x="27" y="3"/>
                    <a:pt x="23" y="3"/>
                  </a:cubicBezTo>
                  <a:cubicBezTo>
                    <a:pt x="21" y="3"/>
                    <a:pt x="19" y="3"/>
                    <a:pt x="18" y="3"/>
                  </a:cubicBezTo>
                  <a:cubicBezTo>
                    <a:pt x="15" y="2"/>
                    <a:pt x="14" y="4"/>
                    <a:pt x="13" y="6"/>
                  </a:cubicBezTo>
                  <a:cubicBezTo>
                    <a:pt x="13" y="8"/>
                    <a:pt x="12" y="9"/>
                    <a:pt x="10" y="10"/>
                  </a:cubicBezTo>
                  <a:cubicBezTo>
                    <a:pt x="9" y="10"/>
                    <a:pt x="9" y="10"/>
                    <a:pt x="9" y="10"/>
                  </a:cubicBezTo>
                  <a:cubicBezTo>
                    <a:pt x="9" y="14"/>
                    <a:pt x="8" y="18"/>
                    <a:pt x="6" y="22"/>
                  </a:cubicBezTo>
                  <a:cubicBezTo>
                    <a:pt x="1" y="29"/>
                    <a:pt x="8" y="39"/>
                    <a:pt x="11" y="42"/>
                  </a:cubicBezTo>
                  <a:cubicBezTo>
                    <a:pt x="12" y="42"/>
                    <a:pt x="12" y="43"/>
                    <a:pt x="12" y="44"/>
                  </a:cubicBezTo>
                  <a:cubicBezTo>
                    <a:pt x="14" y="44"/>
                    <a:pt x="15" y="45"/>
                    <a:pt x="17" y="45"/>
                  </a:cubicBezTo>
                  <a:cubicBezTo>
                    <a:pt x="21" y="45"/>
                    <a:pt x="25" y="44"/>
                    <a:pt x="30" y="41"/>
                  </a:cubicBezTo>
                  <a:cubicBezTo>
                    <a:pt x="31" y="41"/>
                    <a:pt x="32" y="41"/>
                    <a:pt x="33" y="41"/>
                  </a:cubicBezTo>
                  <a:cubicBezTo>
                    <a:pt x="35" y="41"/>
                    <a:pt x="36" y="42"/>
                    <a:pt x="38" y="43"/>
                  </a:cubicBezTo>
                  <a:cubicBezTo>
                    <a:pt x="39" y="45"/>
                    <a:pt x="41" y="47"/>
                    <a:pt x="44" y="47"/>
                  </a:cubicBezTo>
                  <a:cubicBezTo>
                    <a:pt x="49" y="48"/>
                    <a:pt x="52" y="48"/>
                    <a:pt x="52" y="48"/>
                  </a:cubicBezTo>
                  <a:cubicBezTo>
                    <a:pt x="53" y="49"/>
                    <a:pt x="53" y="49"/>
                    <a:pt x="53" y="49"/>
                  </a:cubicBezTo>
                  <a:cubicBezTo>
                    <a:pt x="52" y="49"/>
                    <a:pt x="52" y="49"/>
                    <a:pt x="52" y="49"/>
                  </a:cubicBezTo>
                  <a:cubicBezTo>
                    <a:pt x="52" y="49"/>
                    <a:pt x="47" y="52"/>
                    <a:pt x="43" y="52"/>
                  </a:cubicBezTo>
                  <a:cubicBezTo>
                    <a:pt x="41" y="52"/>
                    <a:pt x="39" y="51"/>
                    <a:pt x="37" y="50"/>
                  </a:cubicBezTo>
                  <a:cubicBezTo>
                    <a:pt x="36" y="49"/>
                    <a:pt x="34" y="48"/>
                    <a:pt x="33" y="48"/>
                  </a:cubicBezTo>
                  <a:cubicBezTo>
                    <a:pt x="32" y="48"/>
                    <a:pt x="31" y="48"/>
                    <a:pt x="31" y="48"/>
                  </a:cubicBezTo>
                  <a:cubicBezTo>
                    <a:pt x="28" y="51"/>
                    <a:pt x="18" y="53"/>
                    <a:pt x="14" y="53"/>
                  </a:cubicBezTo>
                  <a:cubicBezTo>
                    <a:pt x="14" y="53"/>
                    <a:pt x="13" y="53"/>
                    <a:pt x="10" y="54"/>
                  </a:cubicBezTo>
                  <a:cubicBezTo>
                    <a:pt x="10" y="57"/>
                    <a:pt x="10" y="58"/>
                    <a:pt x="12" y="60"/>
                  </a:cubicBezTo>
                  <a:cubicBezTo>
                    <a:pt x="13" y="61"/>
                    <a:pt x="13" y="61"/>
                    <a:pt x="13" y="61"/>
                  </a:cubicBezTo>
                  <a:cubicBezTo>
                    <a:pt x="14" y="61"/>
                    <a:pt x="16" y="61"/>
                    <a:pt x="16" y="61"/>
                  </a:cubicBezTo>
                  <a:cubicBezTo>
                    <a:pt x="19" y="61"/>
                    <a:pt x="19" y="62"/>
                    <a:pt x="19" y="63"/>
                  </a:cubicBezTo>
                  <a:cubicBezTo>
                    <a:pt x="20" y="63"/>
                    <a:pt x="20" y="63"/>
                    <a:pt x="20" y="64"/>
                  </a:cubicBezTo>
                  <a:cubicBezTo>
                    <a:pt x="21" y="64"/>
                    <a:pt x="21" y="64"/>
                    <a:pt x="21" y="64"/>
                  </a:cubicBezTo>
                  <a:cubicBezTo>
                    <a:pt x="23" y="64"/>
                    <a:pt x="28" y="60"/>
                    <a:pt x="28" y="60"/>
                  </a:cubicBezTo>
                  <a:cubicBezTo>
                    <a:pt x="28" y="60"/>
                    <a:pt x="28" y="60"/>
                    <a:pt x="28" y="60"/>
                  </a:cubicBezTo>
                  <a:cubicBezTo>
                    <a:pt x="29" y="60"/>
                    <a:pt x="47" y="59"/>
                    <a:pt x="50" y="59"/>
                  </a:cubicBezTo>
                  <a:cubicBezTo>
                    <a:pt x="51" y="59"/>
                    <a:pt x="52" y="59"/>
                    <a:pt x="53" y="59"/>
                  </a:cubicBezTo>
                  <a:cubicBezTo>
                    <a:pt x="53" y="59"/>
                    <a:pt x="53" y="59"/>
                    <a:pt x="53" y="59"/>
                  </a:cubicBezTo>
                  <a:lnTo>
                    <a:pt x="53" y="5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4" name="Freeform 21"/>
            <p:cNvSpPr>
              <a:spLocks noEditPoints="1"/>
            </p:cNvSpPr>
            <p:nvPr/>
          </p:nvSpPr>
          <p:spPr>
            <a:xfrm>
              <a:off x="4373564" y="3494088"/>
              <a:ext cx="71438" cy="41275"/>
            </a:xfrm>
            <a:custGeom>
              <a:gdLst>
                <a:gd name="T0" fmla="*/ 21 w 42"/>
                <a:gd name="T1" fmla="*/ 25 h 25"/>
                <a:gd name="T2" fmla="*/ 20 w 42"/>
                <a:gd name="T3" fmla="*/ 24 h 25"/>
                <a:gd name="T4" fmla="*/ 19 w 42"/>
                <a:gd name="T5" fmla="*/ 23 h 25"/>
                <a:gd name="T6" fmla="*/ 16 w 42"/>
                <a:gd name="T7" fmla="*/ 17 h 25"/>
                <a:gd name="T8" fmla="*/ 12 w 42"/>
                <a:gd name="T9" fmla="*/ 12 h 25"/>
                <a:gd name="T10" fmla="*/ 2 w 42"/>
                <a:gd name="T11" fmla="*/ 5 h 25"/>
                <a:gd name="T12" fmla="*/ 1 w 42"/>
                <a:gd name="T13" fmla="*/ 3 h 25"/>
                <a:gd name="T14" fmla="*/ 0 w 42"/>
                <a:gd name="T15" fmla="*/ 3 h 25"/>
                <a:gd name="T16" fmla="*/ 1 w 42"/>
                <a:gd name="T17" fmla="*/ 3 h 25"/>
                <a:gd name="T18" fmla="*/ 4 w 42"/>
                <a:gd name="T19" fmla="*/ 2 h 25"/>
                <a:gd name="T20" fmla="*/ 7 w 42"/>
                <a:gd name="T21" fmla="*/ 4 h 25"/>
                <a:gd name="T22" fmla="*/ 8 w 42"/>
                <a:gd name="T23" fmla="*/ 5 h 25"/>
                <a:gd name="T24" fmla="*/ 9 w 42"/>
                <a:gd name="T25" fmla="*/ 5 h 25"/>
                <a:gd name="T26" fmla="*/ 16 w 42"/>
                <a:gd name="T27" fmla="*/ 1 h 25"/>
                <a:gd name="T28" fmla="*/ 16 w 42"/>
                <a:gd name="T29" fmla="*/ 1 h 25"/>
                <a:gd name="T30" fmla="*/ 38 w 42"/>
                <a:gd name="T31" fmla="*/ 0 h 25"/>
                <a:gd name="T32" fmla="*/ 42 w 42"/>
                <a:gd name="T33" fmla="*/ 1 h 25"/>
                <a:gd name="T34" fmla="*/ 42 w 42"/>
                <a:gd name="T35" fmla="*/ 1 h 25"/>
                <a:gd name="T36" fmla="*/ 42 w 42"/>
                <a:gd name="T37" fmla="*/ 1 h 25"/>
                <a:gd name="T38" fmla="*/ 38 w 42"/>
                <a:gd name="T39" fmla="*/ 7 h 25"/>
                <a:gd name="T40" fmla="*/ 37 w 42"/>
                <a:gd name="T41" fmla="*/ 8 h 25"/>
                <a:gd name="T42" fmla="*/ 39 w 42"/>
                <a:gd name="T43" fmla="*/ 11 h 25"/>
                <a:gd name="T44" fmla="*/ 40 w 42"/>
                <a:gd name="T45" fmla="*/ 13 h 25"/>
                <a:gd name="T46" fmla="*/ 35 w 42"/>
                <a:gd name="T47" fmla="*/ 16 h 25"/>
                <a:gd name="T48" fmla="*/ 34 w 42"/>
                <a:gd name="T49" fmla="*/ 16 h 25"/>
                <a:gd name="T50" fmla="*/ 33 w 42"/>
                <a:gd name="T51" fmla="*/ 16 h 25"/>
                <a:gd name="T52" fmla="*/ 25 w 42"/>
                <a:gd name="T53" fmla="*/ 21 h 25"/>
                <a:gd name="T54" fmla="*/ 22 w 42"/>
                <a:gd name="T55" fmla="*/ 23 h 25"/>
                <a:gd name="T56" fmla="*/ 21 w 42"/>
                <a:gd name="T57" fmla="*/ 25 h 25"/>
                <a:gd name="T58" fmla="*/ 2 w 42"/>
                <a:gd name="T59" fmla="*/ 3 h 25"/>
                <a:gd name="T60" fmla="*/ 3 w 42"/>
                <a:gd name="T61" fmla="*/ 5 h 25"/>
                <a:gd name="T62" fmla="*/ 13 w 42"/>
                <a:gd name="T63" fmla="*/ 12 h 25"/>
                <a:gd name="T64" fmla="*/ 17 w 42"/>
                <a:gd name="T65" fmla="*/ 17 h 25"/>
                <a:gd name="T66" fmla="*/ 19 w 42"/>
                <a:gd name="T67" fmla="*/ 23 h 25"/>
                <a:gd name="T68" fmla="*/ 20 w 42"/>
                <a:gd name="T69" fmla="*/ 24 h 25"/>
                <a:gd name="T70" fmla="*/ 22 w 42"/>
                <a:gd name="T71" fmla="*/ 22 h 25"/>
                <a:gd name="T72" fmla="*/ 24 w 42"/>
                <a:gd name="T73" fmla="*/ 20 h 25"/>
                <a:gd name="T74" fmla="*/ 34 w 42"/>
                <a:gd name="T75" fmla="*/ 15 h 25"/>
                <a:gd name="T76" fmla="*/ 35 w 42"/>
                <a:gd name="T77" fmla="*/ 15 h 25"/>
                <a:gd name="T78" fmla="*/ 39 w 42"/>
                <a:gd name="T79" fmla="*/ 13 h 25"/>
                <a:gd name="T80" fmla="*/ 38 w 42"/>
                <a:gd name="T81" fmla="*/ 12 h 25"/>
                <a:gd name="T82" fmla="*/ 36 w 42"/>
                <a:gd name="T83" fmla="*/ 7 h 25"/>
                <a:gd name="T84" fmla="*/ 38 w 42"/>
                <a:gd name="T85" fmla="*/ 6 h 25"/>
                <a:gd name="T86" fmla="*/ 41 w 42"/>
                <a:gd name="T87" fmla="*/ 1 h 25"/>
                <a:gd name="T88" fmla="*/ 38 w 42"/>
                <a:gd name="T89" fmla="*/ 1 h 25"/>
                <a:gd name="T90" fmla="*/ 17 w 42"/>
                <a:gd name="T91" fmla="*/ 2 h 25"/>
                <a:gd name="T92" fmla="*/ 8 w 42"/>
                <a:gd name="T93" fmla="*/ 6 h 25"/>
                <a:gd name="T94" fmla="*/ 7 w 42"/>
                <a:gd name="T95" fmla="*/ 4 h 25"/>
                <a:gd name="T96" fmla="*/ 4 w 42"/>
                <a:gd name="T97" fmla="*/ 3 h 25"/>
                <a:gd name="T98" fmla="*/ 2 w 42"/>
                <a:gd name="T99" fmla="*/ 3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25">
                  <a:moveTo>
                    <a:pt x="21" y="25"/>
                  </a:moveTo>
                  <a:cubicBezTo>
                    <a:pt x="20" y="24"/>
                    <a:pt x="20" y="24"/>
                    <a:pt x="20" y="24"/>
                  </a:cubicBezTo>
                  <a:cubicBezTo>
                    <a:pt x="20" y="24"/>
                    <a:pt x="19" y="24"/>
                    <a:pt x="19" y="23"/>
                  </a:cubicBezTo>
                  <a:cubicBezTo>
                    <a:pt x="15" y="21"/>
                    <a:pt x="15" y="19"/>
                    <a:pt x="16" y="17"/>
                  </a:cubicBezTo>
                  <a:cubicBezTo>
                    <a:pt x="16" y="15"/>
                    <a:pt x="16" y="14"/>
                    <a:pt x="12" y="12"/>
                  </a:cubicBezTo>
                  <a:cubicBezTo>
                    <a:pt x="6" y="11"/>
                    <a:pt x="5" y="9"/>
                    <a:pt x="2" y="5"/>
                  </a:cubicBezTo>
                  <a:cubicBezTo>
                    <a:pt x="2" y="5"/>
                    <a:pt x="1" y="4"/>
                    <a:pt x="1" y="3"/>
                  </a:cubicBezTo>
                  <a:cubicBezTo>
                    <a:pt x="0" y="3"/>
                    <a:pt x="0" y="3"/>
                    <a:pt x="0" y="3"/>
                  </a:cubicBezTo>
                  <a:cubicBezTo>
                    <a:pt x="1" y="3"/>
                    <a:pt x="1" y="3"/>
                    <a:pt x="1" y="3"/>
                  </a:cubicBezTo>
                  <a:cubicBezTo>
                    <a:pt x="2" y="2"/>
                    <a:pt x="3" y="2"/>
                    <a:pt x="4" y="2"/>
                  </a:cubicBezTo>
                  <a:cubicBezTo>
                    <a:pt x="7" y="2"/>
                    <a:pt x="7" y="3"/>
                    <a:pt x="7" y="4"/>
                  </a:cubicBezTo>
                  <a:cubicBezTo>
                    <a:pt x="8" y="4"/>
                    <a:pt x="8" y="4"/>
                    <a:pt x="8" y="5"/>
                  </a:cubicBezTo>
                  <a:cubicBezTo>
                    <a:pt x="9" y="5"/>
                    <a:pt x="9" y="5"/>
                    <a:pt x="9" y="5"/>
                  </a:cubicBezTo>
                  <a:cubicBezTo>
                    <a:pt x="11" y="5"/>
                    <a:pt x="16" y="1"/>
                    <a:pt x="16" y="1"/>
                  </a:cubicBezTo>
                  <a:cubicBezTo>
                    <a:pt x="16" y="1"/>
                    <a:pt x="16" y="1"/>
                    <a:pt x="16" y="1"/>
                  </a:cubicBezTo>
                  <a:cubicBezTo>
                    <a:pt x="17" y="1"/>
                    <a:pt x="35" y="0"/>
                    <a:pt x="38" y="0"/>
                  </a:cubicBezTo>
                  <a:cubicBezTo>
                    <a:pt x="39" y="0"/>
                    <a:pt x="40" y="0"/>
                    <a:pt x="42" y="1"/>
                  </a:cubicBezTo>
                  <a:cubicBezTo>
                    <a:pt x="42" y="1"/>
                    <a:pt x="42" y="1"/>
                    <a:pt x="42" y="1"/>
                  </a:cubicBezTo>
                  <a:cubicBezTo>
                    <a:pt x="42" y="1"/>
                    <a:pt x="42" y="1"/>
                    <a:pt x="42" y="1"/>
                  </a:cubicBezTo>
                  <a:cubicBezTo>
                    <a:pt x="42" y="3"/>
                    <a:pt x="41" y="6"/>
                    <a:pt x="38" y="7"/>
                  </a:cubicBezTo>
                  <a:cubicBezTo>
                    <a:pt x="38" y="7"/>
                    <a:pt x="38" y="7"/>
                    <a:pt x="37" y="8"/>
                  </a:cubicBezTo>
                  <a:cubicBezTo>
                    <a:pt x="37" y="9"/>
                    <a:pt x="38" y="10"/>
                    <a:pt x="39" y="11"/>
                  </a:cubicBezTo>
                  <a:cubicBezTo>
                    <a:pt x="39" y="12"/>
                    <a:pt x="40" y="13"/>
                    <a:pt x="40" y="13"/>
                  </a:cubicBezTo>
                  <a:cubicBezTo>
                    <a:pt x="40" y="15"/>
                    <a:pt x="37" y="16"/>
                    <a:pt x="35" y="16"/>
                  </a:cubicBezTo>
                  <a:cubicBezTo>
                    <a:pt x="34" y="16"/>
                    <a:pt x="34" y="16"/>
                    <a:pt x="34" y="16"/>
                  </a:cubicBezTo>
                  <a:cubicBezTo>
                    <a:pt x="34" y="16"/>
                    <a:pt x="34" y="16"/>
                    <a:pt x="33" y="16"/>
                  </a:cubicBezTo>
                  <a:cubicBezTo>
                    <a:pt x="32" y="16"/>
                    <a:pt x="28" y="19"/>
                    <a:pt x="25" y="21"/>
                  </a:cubicBezTo>
                  <a:cubicBezTo>
                    <a:pt x="24" y="22"/>
                    <a:pt x="23" y="23"/>
                    <a:pt x="22" y="23"/>
                  </a:cubicBezTo>
                  <a:cubicBezTo>
                    <a:pt x="22" y="23"/>
                    <a:pt x="22" y="24"/>
                    <a:pt x="21" y="25"/>
                  </a:cubicBezTo>
                  <a:close/>
                  <a:moveTo>
                    <a:pt x="2" y="3"/>
                  </a:moveTo>
                  <a:cubicBezTo>
                    <a:pt x="2" y="4"/>
                    <a:pt x="3" y="4"/>
                    <a:pt x="3" y="5"/>
                  </a:cubicBezTo>
                  <a:cubicBezTo>
                    <a:pt x="5" y="8"/>
                    <a:pt x="7" y="10"/>
                    <a:pt x="13" y="12"/>
                  </a:cubicBezTo>
                  <a:cubicBezTo>
                    <a:pt x="18" y="13"/>
                    <a:pt x="17" y="15"/>
                    <a:pt x="17" y="17"/>
                  </a:cubicBezTo>
                  <a:cubicBezTo>
                    <a:pt x="16" y="19"/>
                    <a:pt x="16" y="21"/>
                    <a:pt x="19" y="23"/>
                  </a:cubicBezTo>
                  <a:cubicBezTo>
                    <a:pt x="20" y="23"/>
                    <a:pt x="20" y="23"/>
                    <a:pt x="20" y="24"/>
                  </a:cubicBezTo>
                  <a:cubicBezTo>
                    <a:pt x="21" y="23"/>
                    <a:pt x="21" y="22"/>
                    <a:pt x="22" y="22"/>
                  </a:cubicBezTo>
                  <a:cubicBezTo>
                    <a:pt x="23" y="22"/>
                    <a:pt x="23" y="21"/>
                    <a:pt x="24" y="20"/>
                  </a:cubicBezTo>
                  <a:cubicBezTo>
                    <a:pt x="28" y="17"/>
                    <a:pt x="32" y="14"/>
                    <a:pt x="34" y="15"/>
                  </a:cubicBezTo>
                  <a:cubicBezTo>
                    <a:pt x="35" y="15"/>
                    <a:pt x="35" y="15"/>
                    <a:pt x="35" y="15"/>
                  </a:cubicBezTo>
                  <a:cubicBezTo>
                    <a:pt x="37" y="15"/>
                    <a:pt x="39" y="14"/>
                    <a:pt x="39" y="13"/>
                  </a:cubicBezTo>
                  <a:cubicBezTo>
                    <a:pt x="38" y="12"/>
                    <a:pt x="38" y="12"/>
                    <a:pt x="38" y="12"/>
                  </a:cubicBezTo>
                  <a:cubicBezTo>
                    <a:pt x="37" y="10"/>
                    <a:pt x="36" y="9"/>
                    <a:pt x="36" y="7"/>
                  </a:cubicBezTo>
                  <a:cubicBezTo>
                    <a:pt x="37" y="7"/>
                    <a:pt x="37" y="6"/>
                    <a:pt x="38" y="6"/>
                  </a:cubicBezTo>
                  <a:cubicBezTo>
                    <a:pt x="40" y="5"/>
                    <a:pt x="41" y="3"/>
                    <a:pt x="41" y="1"/>
                  </a:cubicBezTo>
                  <a:cubicBezTo>
                    <a:pt x="40" y="1"/>
                    <a:pt x="39" y="1"/>
                    <a:pt x="38" y="1"/>
                  </a:cubicBezTo>
                  <a:cubicBezTo>
                    <a:pt x="35" y="1"/>
                    <a:pt x="18" y="2"/>
                    <a:pt x="17" y="2"/>
                  </a:cubicBezTo>
                  <a:cubicBezTo>
                    <a:pt x="16" y="3"/>
                    <a:pt x="11" y="6"/>
                    <a:pt x="8" y="6"/>
                  </a:cubicBezTo>
                  <a:cubicBezTo>
                    <a:pt x="7" y="5"/>
                    <a:pt x="7" y="5"/>
                    <a:pt x="7" y="4"/>
                  </a:cubicBezTo>
                  <a:cubicBezTo>
                    <a:pt x="6" y="4"/>
                    <a:pt x="6" y="3"/>
                    <a:pt x="4" y="3"/>
                  </a:cubicBezTo>
                  <a:cubicBezTo>
                    <a:pt x="4" y="3"/>
                    <a:pt x="3" y="3"/>
                    <a:pt x="2"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5" name="Freeform 22"/>
            <p:cNvSpPr>
              <a:spLocks noEditPoints="1"/>
            </p:cNvSpPr>
            <p:nvPr/>
          </p:nvSpPr>
          <p:spPr>
            <a:xfrm>
              <a:off x="5138739" y="3530600"/>
              <a:ext cx="303213" cy="214313"/>
            </a:xfrm>
            <a:custGeom>
              <a:gdLst>
                <a:gd name="T0" fmla="*/ 21 w 179"/>
                <a:gd name="T1" fmla="*/ 123 h 126"/>
                <a:gd name="T2" fmla="*/ 8 w 179"/>
                <a:gd name="T3" fmla="*/ 109 h 126"/>
                <a:gd name="T4" fmla="*/ 6 w 179"/>
                <a:gd name="T5" fmla="*/ 101 h 126"/>
                <a:gd name="T6" fmla="*/ 0 w 179"/>
                <a:gd name="T7" fmla="*/ 77 h 126"/>
                <a:gd name="T8" fmla="*/ 14 w 179"/>
                <a:gd name="T9" fmla="*/ 53 h 126"/>
                <a:gd name="T10" fmla="*/ 16 w 179"/>
                <a:gd name="T11" fmla="*/ 54 h 126"/>
                <a:gd name="T12" fmla="*/ 26 w 179"/>
                <a:gd name="T13" fmla="*/ 50 h 126"/>
                <a:gd name="T14" fmla="*/ 33 w 179"/>
                <a:gd name="T15" fmla="*/ 51 h 126"/>
                <a:gd name="T16" fmla="*/ 51 w 179"/>
                <a:gd name="T17" fmla="*/ 45 h 126"/>
                <a:gd name="T18" fmla="*/ 63 w 179"/>
                <a:gd name="T19" fmla="*/ 32 h 126"/>
                <a:gd name="T20" fmla="*/ 83 w 179"/>
                <a:gd name="T21" fmla="*/ 27 h 126"/>
                <a:gd name="T22" fmla="*/ 99 w 179"/>
                <a:gd name="T23" fmla="*/ 10 h 126"/>
                <a:gd name="T24" fmla="*/ 113 w 179"/>
                <a:gd name="T25" fmla="*/ 1 h 126"/>
                <a:gd name="T26" fmla="*/ 116 w 179"/>
                <a:gd name="T27" fmla="*/ 2 h 126"/>
                <a:gd name="T28" fmla="*/ 129 w 179"/>
                <a:gd name="T29" fmla="*/ 26 h 126"/>
                <a:gd name="T30" fmla="*/ 125 w 179"/>
                <a:gd name="T31" fmla="*/ 33 h 126"/>
                <a:gd name="T32" fmla="*/ 145 w 179"/>
                <a:gd name="T33" fmla="*/ 44 h 126"/>
                <a:gd name="T34" fmla="*/ 155 w 179"/>
                <a:gd name="T35" fmla="*/ 57 h 126"/>
                <a:gd name="T36" fmla="*/ 175 w 179"/>
                <a:gd name="T37" fmla="*/ 78 h 126"/>
                <a:gd name="T38" fmla="*/ 168 w 179"/>
                <a:gd name="T39" fmla="*/ 90 h 126"/>
                <a:gd name="T40" fmla="*/ 152 w 179"/>
                <a:gd name="T41" fmla="*/ 88 h 126"/>
                <a:gd name="T42" fmla="*/ 140 w 179"/>
                <a:gd name="T43" fmla="*/ 90 h 126"/>
                <a:gd name="T44" fmla="*/ 119 w 179"/>
                <a:gd name="T45" fmla="*/ 94 h 126"/>
                <a:gd name="T46" fmla="*/ 109 w 179"/>
                <a:gd name="T47" fmla="*/ 104 h 126"/>
                <a:gd name="T48" fmla="*/ 81 w 179"/>
                <a:gd name="T49" fmla="*/ 99 h 126"/>
                <a:gd name="T50" fmla="*/ 55 w 179"/>
                <a:gd name="T51" fmla="*/ 112 h 126"/>
                <a:gd name="T52" fmla="*/ 28 w 179"/>
                <a:gd name="T53" fmla="*/ 114 h 126"/>
                <a:gd name="T54" fmla="*/ 9 w 179"/>
                <a:gd name="T55" fmla="*/ 109 h 126"/>
                <a:gd name="T56" fmla="*/ 22 w 179"/>
                <a:gd name="T57" fmla="*/ 123 h 126"/>
                <a:gd name="T58" fmla="*/ 27 w 179"/>
                <a:gd name="T59" fmla="*/ 114 h 126"/>
                <a:gd name="T60" fmla="*/ 41 w 179"/>
                <a:gd name="T61" fmla="*/ 109 h 126"/>
                <a:gd name="T62" fmla="*/ 54 w 179"/>
                <a:gd name="T63" fmla="*/ 102 h 126"/>
                <a:gd name="T64" fmla="*/ 81 w 179"/>
                <a:gd name="T65" fmla="*/ 98 h 126"/>
                <a:gd name="T66" fmla="*/ 119 w 179"/>
                <a:gd name="T67" fmla="*/ 93 h 126"/>
                <a:gd name="T68" fmla="*/ 146 w 179"/>
                <a:gd name="T69" fmla="*/ 90 h 126"/>
                <a:gd name="T70" fmla="*/ 156 w 179"/>
                <a:gd name="T71" fmla="*/ 85 h 126"/>
                <a:gd name="T72" fmla="*/ 175 w 179"/>
                <a:gd name="T73" fmla="*/ 79 h 126"/>
                <a:gd name="T74" fmla="*/ 155 w 179"/>
                <a:gd name="T75" fmla="*/ 58 h 126"/>
                <a:gd name="T76" fmla="*/ 144 w 179"/>
                <a:gd name="T77" fmla="*/ 45 h 126"/>
                <a:gd name="T78" fmla="*/ 131 w 179"/>
                <a:gd name="T79" fmla="*/ 35 h 126"/>
                <a:gd name="T80" fmla="*/ 123 w 179"/>
                <a:gd name="T81" fmla="*/ 31 h 126"/>
                <a:gd name="T82" fmla="*/ 126 w 179"/>
                <a:gd name="T83" fmla="*/ 18 h 126"/>
                <a:gd name="T84" fmla="*/ 113 w 179"/>
                <a:gd name="T85" fmla="*/ 2 h 126"/>
                <a:gd name="T86" fmla="*/ 100 w 179"/>
                <a:gd name="T87" fmla="*/ 10 h 126"/>
                <a:gd name="T88" fmla="*/ 84 w 179"/>
                <a:gd name="T89" fmla="*/ 28 h 126"/>
                <a:gd name="T90" fmla="*/ 68 w 179"/>
                <a:gd name="T91" fmla="*/ 32 h 126"/>
                <a:gd name="T92" fmla="*/ 63 w 179"/>
                <a:gd name="T93" fmla="*/ 40 h 126"/>
                <a:gd name="T94" fmla="*/ 45 w 179"/>
                <a:gd name="T95" fmla="*/ 48 h 126"/>
                <a:gd name="T96" fmla="*/ 29 w 179"/>
                <a:gd name="T97" fmla="*/ 52 h 126"/>
                <a:gd name="T98" fmla="*/ 18 w 179"/>
                <a:gd name="T99" fmla="*/ 56 h 126"/>
                <a:gd name="T100" fmla="*/ 14 w 179"/>
                <a:gd name="T101" fmla="*/ 54 h 126"/>
                <a:gd name="T102" fmla="*/ 1 w 179"/>
                <a:gd name="T103" fmla="*/ 77 h 126"/>
                <a:gd name="T104" fmla="*/ 7 w 179"/>
                <a:gd name="T105" fmla="*/ 100 h 1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126">
                  <a:moveTo>
                    <a:pt x="24" y="126"/>
                  </a:moveTo>
                  <a:cubicBezTo>
                    <a:pt x="23" y="126"/>
                    <a:pt x="23" y="126"/>
                    <a:pt x="23" y="126"/>
                  </a:cubicBezTo>
                  <a:cubicBezTo>
                    <a:pt x="22" y="125"/>
                    <a:pt x="21" y="124"/>
                    <a:pt x="21" y="123"/>
                  </a:cubicBezTo>
                  <a:cubicBezTo>
                    <a:pt x="20" y="122"/>
                    <a:pt x="18" y="120"/>
                    <a:pt x="16" y="118"/>
                  </a:cubicBezTo>
                  <a:cubicBezTo>
                    <a:pt x="14" y="117"/>
                    <a:pt x="12" y="115"/>
                    <a:pt x="11" y="114"/>
                  </a:cubicBezTo>
                  <a:cubicBezTo>
                    <a:pt x="9" y="111"/>
                    <a:pt x="8" y="109"/>
                    <a:pt x="8" y="109"/>
                  </a:cubicBezTo>
                  <a:cubicBezTo>
                    <a:pt x="8" y="109"/>
                    <a:pt x="8" y="109"/>
                    <a:pt x="8" y="109"/>
                  </a:cubicBezTo>
                  <a:cubicBezTo>
                    <a:pt x="8" y="109"/>
                    <a:pt x="8" y="109"/>
                    <a:pt x="8" y="109"/>
                  </a:cubicBezTo>
                  <a:cubicBezTo>
                    <a:pt x="8" y="109"/>
                    <a:pt x="9" y="104"/>
                    <a:pt x="6" y="101"/>
                  </a:cubicBezTo>
                  <a:cubicBezTo>
                    <a:pt x="3" y="97"/>
                    <a:pt x="2" y="94"/>
                    <a:pt x="2" y="89"/>
                  </a:cubicBezTo>
                  <a:cubicBezTo>
                    <a:pt x="2" y="86"/>
                    <a:pt x="1" y="83"/>
                    <a:pt x="0" y="81"/>
                  </a:cubicBezTo>
                  <a:cubicBezTo>
                    <a:pt x="0" y="80"/>
                    <a:pt x="0" y="78"/>
                    <a:pt x="0" y="77"/>
                  </a:cubicBezTo>
                  <a:cubicBezTo>
                    <a:pt x="0" y="75"/>
                    <a:pt x="1" y="73"/>
                    <a:pt x="3" y="71"/>
                  </a:cubicBezTo>
                  <a:cubicBezTo>
                    <a:pt x="4" y="68"/>
                    <a:pt x="6" y="65"/>
                    <a:pt x="7" y="62"/>
                  </a:cubicBezTo>
                  <a:cubicBezTo>
                    <a:pt x="8" y="59"/>
                    <a:pt x="11" y="56"/>
                    <a:pt x="14" y="53"/>
                  </a:cubicBezTo>
                  <a:cubicBezTo>
                    <a:pt x="15" y="52"/>
                    <a:pt x="15" y="52"/>
                    <a:pt x="15" y="52"/>
                  </a:cubicBezTo>
                  <a:cubicBezTo>
                    <a:pt x="15" y="53"/>
                    <a:pt x="15" y="53"/>
                    <a:pt x="15" y="53"/>
                  </a:cubicBezTo>
                  <a:cubicBezTo>
                    <a:pt x="15" y="54"/>
                    <a:pt x="16" y="54"/>
                    <a:pt x="16" y="54"/>
                  </a:cubicBezTo>
                  <a:cubicBezTo>
                    <a:pt x="17" y="55"/>
                    <a:pt x="17" y="55"/>
                    <a:pt x="18" y="55"/>
                  </a:cubicBezTo>
                  <a:cubicBezTo>
                    <a:pt x="20" y="55"/>
                    <a:pt x="22" y="53"/>
                    <a:pt x="24" y="51"/>
                  </a:cubicBezTo>
                  <a:cubicBezTo>
                    <a:pt x="24" y="50"/>
                    <a:pt x="25" y="50"/>
                    <a:pt x="26" y="50"/>
                  </a:cubicBezTo>
                  <a:cubicBezTo>
                    <a:pt x="27" y="50"/>
                    <a:pt x="28" y="50"/>
                    <a:pt x="29" y="51"/>
                  </a:cubicBezTo>
                  <a:cubicBezTo>
                    <a:pt x="30" y="51"/>
                    <a:pt x="31" y="52"/>
                    <a:pt x="32" y="52"/>
                  </a:cubicBezTo>
                  <a:cubicBezTo>
                    <a:pt x="32" y="52"/>
                    <a:pt x="32" y="52"/>
                    <a:pt x="33" y="51"/>
                  </a:cubicBezTo>
                  <a:cubicBezTo>
                    <a:pt x="35" y="48"/>
                    <a:pt x="40" y="48"/>
                    <a:pt x="45" y="47"/>
                  </a:cubicBezTo>
                  <a:cubicBezTo>
                    <a:pt x="47" y="47"/>
                    <a:pt x="48" y="47"/>
                    <a:pt x="49" y="46"/>
                  </a:cubicBezTo>
                  <a:cubicBezTo>
                    <a:pt x="50" y="46"/>
                    <a:pt x="50" y="45"/>
                    <a:pt x="51" y="45"/>
                  </a:cubicBezTo>
                  <a:cubicBezTo>
                    <a:pt x="55" y="43"/>
                    <a:pt x="60" y="41"/>
                    <a:pt x="62" y="39"/>
                  </a:cubicBezTo>
                  <a:cubicBezTo>
                    <a:pt x="63" y="39"/>
                    <a:pt x="63" y="38"/>
                    <a:pt x="62" y="36"/>
                  </a:cubicBezTo>
                  <a:cubicBezTo>
                    <a:pt x="61" y="35"/>
                    <a:pt x="60" y="33"/>
                    <a:pt x="63" y="32"/>
                  </a:cubicBezTo>
                  <a:cubicBezTo>
                    <a:pt x="64" y="31"/>
                    <a:pt x="66" y="31"/>
                    <a:pt x="68" y="31"/>
                  </a:cubicBezTo>
                  <a:cubicBezTo>
                    <a:pt x="69" y="31"/>
                    <a:pt x="69" y="31"/>
                    <a:pt x="70" y="31"/>
                  </a:cubicBezTo>
                  <a:cubicBezTo>
                    <a:pt x="75" y="31"/>
                    <a:pt x="81" y="31"/>
                    <a:pt x="83" y="27"/>
                  </a:cubicBezTo>
                  <a:cubicBezTo>
                    <a:pt x="87" y="23"/>
                    <a:pt x="92" y="18"/>
                    <a:pt x="96" y="15"/>
                  </a:cubicBezTo>
                  <a:cubicBezTo>
                    <a:pt x="96" y="14"/>
                    <a:pt x="97" y="13"/>
                    <a:pt x="98" y="13"/>
                  </a:cubicBezTo>
                  <a:cubicBezTo>
                    <a:pt x="98" y="12"/>
                    <a:pt x="99" y="11"/>
                    <a:pt x="99" y="10"/>
                  </a:cubicBezTo>
                  <a:cubicBezTo>
                    <a:pt x="99" y="9"/>
                    <a:pt x="99" y="8"/>
                    <a:pt x="101" y="6"/>
                  </a:cubicBezTo>
                  <a:cubicBezTo>
                    <a:pt x="103" y="3"/>
                    <a:pt x="108" y="0"/>
                    <a:pt x="111" y="0"/>
                  </a:cubicBezTo>
                  <a:cubicBezTo>
                    <a:pt x="112" y="0"/>
                    <a:pt x="113" y="1"/>
                    <a:pt x="113" y="1"/>
                  </a:cubicBezTo>
                  <a:cubicBezTo>
                    <a:pt x="114" y="1"/>
                    <a:pt x="115" y="1"/>
                    <a:pt x="116" y="1"/>
                  </a:cubicBezTo>
                  <a:cubicBezTo>
                    <a:pt x="116" y="1"/>
                    <a:pt x="116" y="1"/>
                    <a:pt x="116" y="1"/>
                  </a:cubicBezTo>
                  <a:cubicBezTo>
                    <a:pt x="116" y="2"/>
                    <a:pt x="116" y="2"/>
                    <a:pt x="116" y="2"/>
                  </a:cubicBezTo>
                  <a:cubicBezTo>
                    <a:pt x="118" y="4"/>
                    <a:pt x="126" y="13"/>
                    <a:pt x="126" y="16"/>
                  </a:cubicBezTo>
                  <a:cubicBezTo>
                    <a:pt x="127" y="16"/>
                    <a:pt x="127" y="17"/>
                    <a:pt x="127" y="18"/>
                  </a:cubicBezTo>
                  <a:cubicBezTo>
                    <a:pt x="129" y="20"/>
                    <a:pt x="130" y="24"/>
                    <a:pt x="129" y="26"/>
                  </a:cubicBezTo>
                  <a:cubicBezTo>
                    <a:pt x="129" y="27"/>
                    <a:pt x="128" y="28"/>
                    <a:pt x="127" y="29"/>
                  </a:cubicBezTo>
                  <a:cubicBezTo>
                    <a:pt x="125" y="30"/>
                    <a:pt x="124" y="31"/>
                    <a:pt x="124" y="31"/>
                  </a:cubicBezTo>
                  <a:cubicBezTo>
                    <a:pt x="124" y="32"/>
                    <a:pt x="125" y="33"/>
                    <a:pt x="125" y="33"/>
                  </a:cubicBezTo>
                  <a:cubicBezTo>
                    <a:pt x="132" y="34"/>
                    <a:pt x="132" y="34"/>
                    <a:pt x="132" y="34"/>
                  </a:cubicBezTo>
                  <a:cubicBezTo>
                    <a:pt x="133" y="39"/>
                    <a:pt x="133" y="39"/>
                    <a:pt x="133" y="39"/>
                  </a:cubicBezTo>
                  <a:cubicBezTo>
                    <a:pt x="135" y="39"/>
                    <a:pt x="141" y="39"/>
                    <a:pt x="145" y="44"/>
                  </a:cubicBezTo>
                  <a:cubicBezTo>
                    <a:pt x="146" y="46"/>
                    <a:pt x="147" y="47"/>
                    <a:pt x="148" y="48"/>
                  </a:cubicBezTo>
                  <a:cubicBezTo>
                    <a:pt x="150" y="50"/>
                    <a:pt x="151" y="51"/>
                    <a:pt x="151" y="53"/>
                  </a:cubicBezTo>
                  <a:cubicBezTo>
                    <a:pt x="151" y="55"/>
                    <a:pt x="153" y="56"/>
                    <a:pt x="155" y="57"/>
                  </a:cubicBezTo>
                  <a:cubicBezTo>
                    <a:pt x="157" y="58"/>
                    <a:pt x="158" y="60"/>
                    <a:pt x="160" y="61"/>
                  </a:cubicBezTo>
                  <a:cubicBezTo>
                    <a:pt x="166" y="66"/>
                    <a:pt x="166" y="69"/>
                    <a:pt x="166" y="71"/>
                  </a:cubicBezTo>
                  <a:cubicBezTo>
                    <a:pt x="166" y="73"/>
                    <a:pt x="171" y="76"/>
                    <a:pt x="175" y="78"/>
                  </a:cubicBezTo>
                  <a:cubicBezTo>
                    <a:pt x="176" y="78"/>
                    <a:pt x="176" y="78"/>
                    <a:pt x="176" y="78"/>
                  </a:cubicBezTo>
                  <a:cubicBezTo>
                    <a:pt x="179" y="88"/>
                    <a:pt x="179" y="88"/>
                    <a:pt x="179" y="88"/>
                  </a:cubicBezTo>
                  <a:cubicBezTo>
                    <a:pt x="168" y="90"/>
                    <a:pt x="168" y="90"/>
                    <a:pt x="168" y="90"/>
                  </a:cubicBezTo>
                  <a:cubicBezTo>
                    <a:pt x="168" y="90"/>
                    <a:pt x="168" y="90"/>
                    <a:pt x="168" y="90"/>
                  </a:cubicBezTo>
                  <a:cubicBezTo>
                    <a:pt x="168" y="90"/>
                    <a:pt x="161" y="86"/>
                    <a:pt x="156" y="86"/>
                  </a:cubicBezTo>
                  <a:cubicBezTo>
                    <a:pt x="154" y="86"/>
                    <a:pt x="153" y="87"/>
                    <a:pt x="152" y="88"/>
                  </a:cubicBezTo>
                  <a:cubicBezTo>
                    <a:pt x="151" y="90"/>
                    <a:pt x="150" y="91"/>
                    <a:pt x="148" y="91"/>
                  </a:cubicBezTo>
                  <a:cubicBezTo>
                    <a:pt x="147" y="91"/>
                    <a:pt x="146" y="91"/>
                    <a:pt x="145" y="91"/>
                  </a:cubicBezTo>
                  <a:cubicBezTo>
                    <a:pt x="144" y="90"/>
                    <a:pt x="142" y="90"/>
                    <a:pt x="140" y="90"/>
                  </a:cubicBezTo>
                  <a:cubicBezTo>
                    <a:pt x="134" y="90"/>
                    <a:pt x="129" y="92"/>
                    <a:pt x="125" y="94"/>
                  </a:cubicBezTo>
                  <a:cubicBezTo>
                    <a:pt x="124" y="95"/>
                    <a:pt x="124" y="95"/>
                    <a:pt x="122" y="95"/>
                  </a:cubicBezTo>
                  <a:cubicBezTo>
                    <a:pt x="121" y="95"/>
                    <a:pt x="120" y="95"/>
                    <a:pt x="119" y="94"/>
                  </a:cubicBezTo>
                  <a:cubicBezTo>
                    <a:pt x="116" y="94"/>
                    <a:pt x="115" y="94"/>
                    <a:pt x="114" y="94"/>
                  </a:cubicBezTo>
                  <a:cubicBezTo>
                    <a:pt x="112" y="96"/>
                    <a:pt x="110" y="102"/>
                    <a:pt x="109" y="104"/>
                  </a:cubicBezTo>
                  <a:cubicBezTo>
                    <a:pt x="109" y="104"/>
                    <a:pt x="109" y="104"/>
                    <a:pt x="109" y="104"/>
                  </a:cubicBezTo>
                  <a:cubicBezTo>
                    <a:pt x="109" y="104"/>
                    <a:pt x="109" y="104"/>
                    <a:pt x="109" y="104"/>
                  </a:cubicBezTo>
                  <a:cubicBezTo>
                    <a:pt x="81" y="99"/>
                    <a:pt x="81" y="99"/>
                    <a:pt x="81" y="99"/>
                  </a:cubicBezTo>
                  <a:cubicBezTo>
                    <a:pt x="81" y="99"/>
                    <a:pt x="81" y="99"/>
                    <a:pt x="81" y="99"/>
                  </a:cubicBezTo>
                  <a:cubicBezTo>
                    <a:pt x="81" y="99"/>
                    <a:pt x="75" y="91"/>
                    <a:pt x="69" y="91"/>
                  </a:cubicBezTo>
                  <a:cubicBezTo>
                    <a:pt x="64" y="91"/>
                    <a:pt x="56" y="101"/>
                    <a:pt x="55" y="102"/>
                  </a:cubicBezTo>
                  <a:cubicBezTo>
                    <a:pt x="55" y="112"/>
                    <a:pt x="55" y="112"/>
                    <a:pt x="55" y="112"/>
                  </a:cubicBezTo>
                  <a:cubicBezTo>
                    <a:pt x="42" y="110"/>
                    <a:pt x="42" y="110"/>
                    <a:pt x="42" y="110"/>
                  </a:cubicBezTo>
                  <a:cubicBezTo>
                    <a:pt x="35" y="112"/>
                    <a:pt x="35" y="112"/>
                    <a:pt x="35" y="112"/>
                  </a:cubicBezTo>
                  <a:cubicBezTo>
                    <a:pt x="28" y="114"/>
                    <a:pt x="28" y="114"/>
                    <a:pt x="28" y="114"/>
                  </a:cubicBezTo>
                  <a:cubicBezTo>
                    <a:pt x="28" y="116"/>
                    <a:pt x="28" y="121"/>
                    <a:pt x="25" y="125"/>
                  </a:cubicBezTo>
                  <a:cubicBezTo>
                    <a:pt x="25" y="125"/>
                    <a:pt x="24" y="125"/>
                    <a:pt x="24" y="126"/>
                  </a:cubicBezTo>
                  <a:close/>
                  <a:moveTo>
                    <a:pt x="9" y="109"/>
                  </a:moveTo>
                  <a:cubicBezTo>
                    <a:pt x="9" y="109"/>
                    <a:pt x="10" y="111"/>
                    <a:pt x="12" y="114"/>
                  </a:cubicBezTo>
                  <a:cubicBezTo>
                    <a:pt x="13" y="115"/>
                    <a:pt x="15" y="116"/>
                    <a:pt x="17" y="118"/>
                  </a:cubicBezTo>
                  <a:cubicBezTo>
                    <a:pt x="19" y="120"/>
                    <a:pt x="21" y="122"/>
                    <a:pt x="22" y="123"/>
                  </a:cubicBezTo>
                  <a:cubicBezTo>
                    <a:pt x="22" y="124"/>
                    <a:pt x="22" y="124"/>
                    <a:pt x="23" y="125"/>
                  </a:cubicBezTo>
                  <a:cubicBezTo>
                    <a:pt x="24" y="125"/>
                    <a:pt x="24" y="124"/>
                    <a:pt x="24" y="124"/>
                  </a:cubicBezTo>
                  <a:cubicBezTo>
                    <a:pt x="28" y="120"/>
                    <a:pt x="27" y="114"/>
                    <a:pt x="27" y="114"/>
                  </a:cubicBezTo>
                  <a:cubicBezTo>
                    <a:pt x="27" y="113"/>
                    <a:pt x="27" y="113"/>
                    <a:pt x="27" y="113"/>
                  </a:cubicBezTo>
                  <a:cubicBezTo>
                    <a:pt x="35" y="111"/>
                    <a:pt x="35" y="111"/>
                    <a:pt x="35" y="111"/>
                  </a:cubicBezTo>
                  <a:cubicBezTo>
                    <a:pt x="41" y="109"/>
                    <a:pt x="41" y="109"/>
                    <a:pt x="41" y="109"/>
                  </a:cubicBezTo>
                  <a:cubicBezTo>
                    <a:pt x="42" y="109"/>
                    <a:pt x="42" y="109"/>
                    <a:pt x="42" y="109"/>
                  </a:cubicBezTo>
                  <a:cubicBezTo>
                    <a:pt x="54" y="111"/>
                    <a:pt x="54" y="111"/>
                    <a:pt x="54" y="111"/>
                  </a:cubicBezTo>
                  <a:cubicBezTo>
                    <a:pt x="54" y="102"/>
                    <a:pt x="54" y="102"/>
                    <a:pt x="54" y="102"/>
                  </a:cubicBezTo>
                  <a:cubicBezTo>
                    <a:pt x="54" y="102"/>
                    <a:pt x="54" y="102"/>
                    <a:pt x="54" y="102"/>
                  </a:cubicBezTo>
                  <a:cubicBezTo>
                    <a:pt x="54" y="101"/>
                    <a:pt x="63" y="90"/>
                    <a:pt x="69" y="90"/>
                  </a:cubicBezTo>
                  <a:cubicBezTo>
                    <a:pt x="75" y="90"/>
                    <a:pt x="80" y="97"/>
                    <a:pt x="81" y="98"/>
                  </a:cubicBezTo>
                  <a:cubicBezTo>
                    <a:pt x="108" y="103"/>
                    <a:pt x="108" y="103"/>
                    <a:pt x="108" y="103"/>
                  </a:cubicBezTo>
                  <a:cubicBezTo>
                    <a:pt x="109" y="101"/>
                    <a:pt x="111" y="95"/>
                    <a:pt x="113" y="93"/>
                  </a:cubicBezTo>
                  <a:cubicBezTo>
                    <a:pt x="114" y="93"/>
                    <a:pt x="116" y="93"/>
                    <a:pt x="119" y="93"/>
                  </a:cubicBezTo>
                  <a:cubicBezTo>
                    <a:pt x="121" y="94"/>
                    <a:pt x="123" y="94"/>
                    <a:pt x="125" y="93"/>
                  </a:cubicBezTo>
                  <a:cubicBezTo>
                    <a:pt x="128" y="92"/>
                    <a:pt x="134" y="89"/>
                    <a:pt x="140" y="89"/>
                  </a:cubicBezTo>
                  <a:cubicBezTo>
                    <a:pt x="142" y="89"/>
                    <a:pt x="144" y="89"/>
                    <a:pt x="146" y="90"/>
                  </a:cubicBezTo>
                  <a:cubicBezTo>
                    <a:pt x="147" y="90"/>
                    <a:pt x="147" y="90"/>
                    <a:pt x="148" y="90"/>
                  </a:cubicBezTo>
                  <a:cubicBezTo>
                    <a:pt x="149" y="90"/>
                    <a:pt x="150" y="90"/>
                    <a:pt x="151" y="87"/>
                  </a:cubicBezTo>
                  <a:cubicBezTo>
                    <a:pt x="152" y="86"/>
                    <a:pt x="154" y="85"/>
                    <a:pt x="156" y="85"/>
                  </a:cubicBezTo>
                  <a:cubicBezTo>
                    <a:pt x="161" y="85"/>
                    <a:pt x="167" y="88"/>
                    <a:pt x="168" y="89"/>
                  </a:cubicBezTo>
                  <a:cubicBezTo>
                    <a:pt x="178" y="87"/>
                    <a:pt x="178" y="87"/>
                    <a:pt x="178" y="87"/>
                  </a:cubicBezTo>
                  <a:cubicBezTo>
                    <a:pt x="175" y="79"/>
                    <a:pt x="175" y="79"/>
                    <a:pt x="175" y="79"/>
                  </a:cubicBezTo>
                  <a:cubicBezTo>
                    <a:pt x="173" y="78"/>
                    <a:pt x="165" y="74"/>
                    <a:pt x="165" y="71"/>
                  </a:cubicBezTo>
                  <a:cubicBezTo>
                    <a:pt x="165" y="69"/>
                    <a:pt x="165" y="66"/>
                    <a:pt x="160" y="62"/>
                  </a:cubicBezTo>
                  <a:cubicBezTo>
                    <a:pt x="158" y="60"/>
                    <a:pt x="156" y="59"/>
                    <a:pt x="155" y="58"/>
                  </a:cubicBezTo>
                  <a:cubicBezTo>
                    <a:pt x="152" y="57"/>
                    <a:pt x="150" y="55"/>
                    <a:pt x="150" y="53"/>
                  </a:cubicBezTo>
                  <a:cubicBezTo>
                    <a:pt x="150" y="52"/>
                    <a:pt x="150" y="51"/>
                    <a:pt x="148" y="48"/>
                  </a:cubicBezTo>
                  <a:cubicBezTo>
                    <a:pt x="147" y="48"/>
                    <a:pt x="146" y="46"/>
                    <a:pt x="144" y="45"/>
                  </a:cubicBezTo>
                  <a:cubicBezTo>
                    <a:pt x="140" y="40"/>
                    <a:pt x="133" y="40"/>
                    <a:pt x="133" y="40"/>
                  </a:cubicBezTo>
                  <a:cubicBezTo>
                    <a:pt x="133" y="40"/>
                    <a:pt x="133" y="40"/>
                    <a:pt x="133" y="40"/>
                  </a:cubicBezTo>
                  <a:cubicBezTo>
                    <a:pt x="131" y="35"/>
                    <a:pt x="131" y="35"/>
                    <a:pt x="131" y="35"/>
                  </a:cubicBezTo>
                  <a:cubicBezTo>
                    <a:pt x="125" y="34"/>
                    <a:pt x="125" y="34"/>
                    <a:pt x="125" y="34"/>
                  </a:cubicBezTo>
                  <a:cubicBezTo>
                    <a:pt x="125" y="34"/>
                    <a:pt x="125" y="34"/>
                    <a:pt x="125" y="34"/>
                  </a:cubicBezTo>
                  <a:cubicBezTo>
                    <a:pt x="125" y="34"/>
                    <a:pt x="123" y="33"/>
                    <a:pt x="123" y="31"/>
                  </a:cubicBezTo>
                  <a:cubicBezTo>
                    <a:pt x="123" y="30"/>
                    <a:pt x="125" y="29"/>
                    <a:pt x="127" y="28"/>
                  </a:cubicBezTo>
                  <a:cubicBezTo>
                    <a:pt x="128" y="27"/>
                    <a:pt x="128" y="27"/>
                    <a:pt x="128" y="26"/>
                  </a:cubicBezTo>
                  <a:cubicBezTo>
                    <a:pt x="129" y="24"/>
                    <a:pt x="128" y="20"/>
                    <a:pt x="126" y="18"/>
                  </a:cubicBezTo>
                  <a:cubicBezTo>
                    <a:pt x="126" y="17"/>
                    <a:pt x="126" y="17"/>
                    <a:pt x="125" y="16"/>
                  </a:cubicBezTo>
                  <a:cubicBezTo>
                    <a:pt x="125" y="14"/>
                    <a:pt x="119" y="7"/>
                    <a:pt x="115" y="2"/>
                  </a:cubicBezTo>
                  <a:cubicBezTo>
                    <a:pt x="114" y="2"/>
                    <a:pt x="113" y="2"/>
                    <a:pt x="113" y="2"/>
                  </a:cubicBezTo>
                  <a:cubicBezTo>
                    <a:pt x="112" y="2"/>
                    <a:pt x="112" y="1"/>
                    <a:pt x="111" y="1"/>
                  </a:cubicBezTo>
                  <a:cubicBezTo>
                    <a:pt x="108" y="1"/>
                    <a:pt x="104" y="4"/>
                    <a:pt x="101" y="6"/>
                  </a:cubicBezTo>
                  <a:cubicBezTo>
                    <a:pt x="100" y="8"/>
                    <a:pt x="100" y="9"/>
                    <a:pt x="100" y="10"/>
                  </a:cubicBezTo>
                  <a:cubicBezTo>
                    <a:pt x="100" y="11"/>
                    <a:pt x="99" y="12"/>
                    <a:pt x="98" y="13"/>
                  </a:cubicBezTo>
                  <a:cubicBezTo>
                    <a:pt x="98" y="14"/>
                    <a:pt x="97" y="15"/>
                    <a:pt x="96" y="15"/>
                  </a:cubicBezTo>
                  <a:cubicBezTo>
                    <a:pt x="93" y="18"/>
                    <a:pt x="88" y="23"/>
                    <a:pt x="84" y="28"/>
                  </a:cubicBezTo>
                  <a:cubicBezTo>
                    <a:pt x="82" y="31"/>
                    <a:pt x="77" y="32"/>
                    <a:pt x="72" y="32"/>
                  </a:cubicBezTo>
                  <a:cubicBezTo>
                    <a:pt x="72" y="32"/>
                    <a:pt x="71" y="32"/>
                    <a:pt x="70" y="32"/>
                  </a:cubicBezTo>
                  <a:cubicBezTo>
                    <a:pt x="69" y="32"/>
                    <a:pt x="69" y="32"/>
                    <a:pt x="68" y="32"/>
                  </a:cubicBezTo>
                  <a:cubicBezTo>
                    <a:pt x="66" y="32"/>
                    <a:pt x="64" y="32"/>
                    <a:pt x="63" y="32"/>
                  </a:cubicBezTo>
                  <a:cubicBezTo>
                    <a:pt x="62" y="33"/>
                    <a:pt x="62" y="34"/>
                    <a:pt x="63" y="36"/>
                  </a:cubicBezTo>
                  <a:cubicBezTo>
                    <a:pt x="63" y="37"/>
                    <a:pt x="64" y="39"/>
                    <a:pt x="63" y="40"/>
                  </a:cubicBezTo>
                  <a:cubicBezTo>
                    <a:pt x="61" y="42"/>
                    <a:pt x="55" y="44"/>
                    <a:pt x="52" y="46"/>
                  </a:cubicBezTo>
                  <a:cubicBezTo>
                    <a:pt x="51" y="46"/>
                    <a:pt x="50" y="47"/>
                    <a:pt x="50" y="47"/>
                  </a:cubicBezTo>
                  <a:cubicBezTo>
                    <a:pt x="49" y="47"/>
                    <a:pt x="47" y="48"/>
                    <a:pt x="45" y="48"/>
                  </a:cubicBezTo>
                  <a:cubicBezTo>
                    <a:pt x="41" y="49"/>
                    <a:pt x="36" y="49"/>
                    <a:pt x="34" y="52"/>
                  </a:cubicBezTo>
                  <a:cubicBezTo>
                    <a:pt x="33" y="52"/>
                    <a:pt x="32" y="53"/>
                    <a:pt x="32" y="53"/>
                  </a:cubicBezTo>
                  <a:cubicBezTo>
                    <a:pt x="31" y="53"/>
                    <a:pt x="30" y="52"/>
                    <a:pt x="29" y="52"/>
                  </a:cubicBezTo>
                  <a:cubicBezTo>
                    <a:pt x="28" y="51"/>
                    <a:pt x="27" y="51"/>
                    <a:pt x="26" y="51"/>
                  </a:cubicBezTo>
                  <a:cubicBezTo>
                    <a:pt x="26" y="51"/>
                    <a:pt x="25" y="51"/>
                    <a:pt x="24" y="52"/>
                  </a:cubicBezTo>
                  <a:cubicBezTo>
                    <a:pt x="23" y="54"/>
                    <a:pt x="20" y="56"/>
                    <a:pt x="18" y="56"/>
                  </a:cubicBezTo>
                  <a:cubicBezTo>
                    <a:pt x="17" y="56"/>
                    <a:pt x="16" y="56"/>
                    <a:pt x="16" y="55"/>
                  </a:cubicBezTo>
                  <a:cubicBezTo>
                    <a:pt x="15" y="55"/>
                    <a:pt x="15" y="55"/>
                    <a:pt x="14" y="54"/>
                  </a:cubicBezTo>
                  <a:cubicBezTo>
                    <a:pt x="14" y="54"/>
                    <a:pt x="14" y="54"/>
                    <a:pt x="14" y="54"/>
                  </a:cubicBezTo>
                  <a:cubicBezTo>
                    <a:pt x="12" y="57"/>
                    <a:pt x="9" y="59"/>
                    <a:pt x="8" y="62"/>
                  </a:cubicBezTo>
                  <a:cubicBezTo>
                    <a:pt x="7" y="66"/>
                    <a:pt x="5" y="68"/>
                    <a:pt x="3" y="71"/>
                  </a:cubicBezTo>
                  <a:cubicBezTo>
                    <a:pt x="2" y="73"/>
                    <a:pt x="1" y="75"/>
                    <a:pt x="1" y="77"/>
                  </a:cubicBezTo>
                  <a:cubicBezTo>
                    <a:pt x="1" y="78"/>
                    <a:pt x="1" y="79"/>
                    <a:pt x="1" y="81"/>
                  </a:cubicBezTo>
                  <a:cubicBezTo>
                    <a:pt x="2" y="83"/>
                    <a:pt x="3" y="86"/>
                    <a:pt x="3" y="89"/>
                  </a:cubicBezTo>
                  <a:cubicBezTo>
                    <a:pt x="3" y="94"/>
                    <a:pt x="4" y="96"/>
                    <a:pt x="7" y="100"/>
                  </a:cubicBezTo>
                  <a:cubicBezTo>
                    <a:pt x="9" y="104"/>
                    <a:pt x="9" y="108"/>
                    <a:pt x="9" y="1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6" name="Freeform 23"/>
            <p:cNvSpPr>
              <a:spLocks noEditPoints="1"/>
            </p:cNvSpPr>
            <p:nvPr/>
          </p:nvSpPr>
          <p:spPr>
            <a:xfrm>
              <a:off x="4849814" y="3462338"/>
              <a:ext cx="293688" cy="239713"/>
            </a:xfrm>
            <a:custGeom>
              <a:gdLst>
                <a:gd name="T0" fmla="*/ 41 w 173"/>
                <a:gd name="T1" fmla="*/ 128 h 141"/>
                <a:gd name="T2" fmla="*/ 6 w 173"/>
                <a:gd name="T3" fmla="*/ 108 h 141"/>
                <a:gd name="T4" fmla="*/ 3 w 173"/>
                <a:gd name="T5" fmla="*/ 102 h 141"/>
                <a:gd name="T6" fmla="*/ 1 w 173"/>
                <a:gd name="T7" fmla="*/ 79 h 141"/>
                <a:gd name="T8" fmla="*/ 14 w 173"/>
                <a:gd name="T9" fmla="*/ 39 h 141"/>
                <a:gd name="T10" fmla="*/ 13 w 173"/>
                <a:gd name="T11" fmla="*/ 29 h 141"/>
                <a:gd name="T12" fmla="*/ 21 w 173"/>
                <a:gd name="T13" fmla="*/ 12 h 141"/>
                <a:gd name="T14" fmla="*/ 36 w 173"/>
                <a:gd name="T15" fmla="*/ 4 h 141"/>
                <a:gd name="T16" fmla="*/ 44 w 173"/>
                <a:gd name="T17" fmla="*/ 0 h 141"/>
                <a:gd name="T18" fmla="*/ 58 w 173"/>
                <a:gd name="T19" fmla="*/ 5 h 141"/>
                <a:gd name="T20" fmla="*/ 66 w 173"/>
                <a:gd name="T21" fmla="*/ 12 h 141"/>
                <a:gd name="T22" fmla="*/ 89 w 173"/>
                <a:gd name="T23" fmla="*/ 15 h 141"/>
                <a:gd name="T24" fmla="*/ 106 w 173"/>
                <a:gd name="T25" fmla="*/ 12 h 141"/>
                <a:gd name="T26" fmla="*/ 127 w 173"/>
                <a:gd name="T27" fmla="*/ 8 h 141"/>
                <a:gd name="T28" fmla="*/ 142 w 173"/>
                <a:gd name="T29" fmla="*/ 12 h 141"/>
                <a:gd name="T30" fmla="*/ 155 w 173"/>
                <a:gd name="T31" fmla="*/ 2 h 141"/>
                <a:gd name="T32" fmla="*/ 162 w 173"/>
                <a:gd name="T33" fmla="*/ 7 h 141"/>
                <a:gd name="T34" fmla="*/ 166 w 173"/>
                <a:gd name="T35" fmla="*/ 11 h 141"/>
                <a:gd name="T36" fmla="*/ 172 w 173"/>
                <a:gd name="T37" fmla="*/ 32 h 141"/>
                <a:gd name="T38" fmla="*/ 163 w 173"/>
                <a:gd name="T39" fmla="*/ 39 h 141"/>
                <a:gd name="T40" fmla="*/ 150 w 173"/>
                <a:gd name="T41" fmla="*/ 71 h 141"/>
                <a:gd name="T42" fmla="*/ 143 w 173"/>
                <a:gd name="T43" fmla="*/ 81 h 141"/>
                <a:gd name="T44" fmla="*/ 131 w 173"/>
                <a:gd name="T45" fmla="*/ 105 h 141"/>
                <a:gd name="T46" fmla="*/ 117 w 173"/>
                <a:gd name="T47" fmla="*/ 102 h 141"/>
                <a:gd name="T48" fmla="*/ 109 w 173"/>
                <a:gd name="T49" fmla="*/ 104 h 141"/>
                <a:gd name="T50" fmla="*/ 86 w 173"/>
                <a:gd name="T51" fmla="*/ 135 h 141"/>
                <a:gd name="T52" fmla="*/ 84 w 173"/>
                <a:gd name="T53" fmla="*/ 135 h 141"/>
                <a:gd name="T54" fmla="*/ 58 w 173"/>
                <a:gd name="T55" fmla="*/ 139 h 141"/>
                <a:gd name="T56" fmla="*/ 6 w 173"/>
                <a:gd name="T57" fmla="*/ 107 h 141"/>
                <a:gd name="T58" fmla="*/ 42 w 173"/>
                <a:gd name="T59" fmla="*/ 128 h 141"/>
                <a:gd name="T60" fmla="*/ 58 w 173"/>
                <a:gd name="T61" fmla="*/ 138 h 141"/>
                <a:gd name="T62" fmla="*/ 83 w 173"/>
                <a:gd name="T63" fmla="*/ 135 h 141"/>
                <a:gd name="T64" fmla="*/ 90 w 173"/>
                <a:gd name="T65" fmla="*/ 119 h 141"/>
                <a:gd name="T66" fmla="*/ 109 w 173"/>
                <a:gd name="T67" fmla="*/ 103 h 141"/>
                <a:gd name="T68" fmla="*/ 117 w 173"/>
                <a:gd name="T69" fmla="*/ 101 h 141"/>
                <a:gd name="T70" fmla="*/ 130 w 173"/>
                <a:gd name="T71" fmla="*/ 105 h 141"/>
                <a:gd name="T72" fmla="*/ 142 w 173"/>
                <a:gd name="T73" fmla="*/ 81 h 141"/>
                <a:gd name="T74" fmla="*/ 149 w 173"/>
                <a:gd name="T75" fmla="*/ 71 h 141"/>
                <a:gd name="T76" fmla="*/ 163 w 173"/>
                <a:gd name="T77" fmla="*/ 39 h 141"/>
                <a:gd name="T78" fmla="*/ 171 w 173"/>
                <a:gd name="T79" fmla="*/ 32 h 141"/>
                <a:gd name="T80" fmla="*/ 165 w 173"/>
                <a:gd name="T81" fmla="*/ 12 h 141"/>
                <a:gd name="T82" fmla="*/ 158 w 173"/>
                <a:gd name="T83" fmla="*/ 4 h 141"/>
                <a:gd name="T84" fmla="*/ 145 w 173"/>
                <a:gd name="T85" fmla="*/ 12 h 141"/>
                <a:gd name="T86" fmla="*/ 132 w 173"/>
                <a:gd name="T87" fmla="*/ 9 h 141"/>
                <a:gd name="T88" fmla="*/ 114 w 173"/>
                <a:gd name="T89" fmla="*/ 9 h 141"/>
                <a:gd name="T90" fmla="*/ 97 w 173"/>
                <a:gd name="T91" fmla="*/ 17 h 141"/>
                <a:gd name="T92" fmla="*/ 78 w 173"/>
                <a:gd name="T93" fmla="*/ 10 h 141"/>
                <a:gd name="T94" fmla="*/ 59 w 173"/>
                <a:gd name="T95" fmla="*/ 9 h 141"/>
                <a:gd name="T96" fmla="*/ 46 w 173"/>
                <a:gd name="T97" fmla="*/ 2 h 141"/>
                <a:gd name="T98" fmla="*/ 37 w 173"/>
                <a:gd name="T99" fmla="*/ 5 h 141"/>
                <a:gd name="T100" fmla="*/ 24 w 173"/>
                <a:gd name="T101" fmla="*/ 5 h 141"/>
                <a:gd name="T102" fmla="*/ 15 w 173"/>
                <a:gd name="T103" fmla="*/ 26 h 141"/>
                <a:gd name="T104" fmla="*/ 13 w 173"/>
                <a:gd name="T105" fmla="*/ 60 h 141"/>
                <a:gd name="T106" fmla="*/ 8 w 173"/>
                <a:gd name="T107" fmla="*/ 68 h 141"/>
                <a:gd name="T108" fmla="*/ 2 w 173"/>
                <a:gd name="T109" fmla="*/ 96 h 1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141">
                  <a:moveTo>
                    <a:pt x="51" y="141"/>
                  </a:moveTo>
                  <a:cubicBezTo>
                    <a:pt x="50" y="141"/>
                    <a:pt x="50" y="141"/>
                    <a:pt x="49" y="141"/>
                  </a:cubicBezTo>
                  <a:cubicBezTo>
                    <a:pt x="46" y="139"/>
                    <a:pt x="41" y="132"/>
                    <a:pt x="41" y="128"/>
                  </a:cubicBezTo>
                  <a:cubicBezTo>
                    <a:pt x="41" y="124"/>
                    <a:pt x="34" y="115"/>
                    <a:pt x="28" y="114"/>
                  </a:cubicBezTo>
                  <a:cubicBezTo>
                    <a:pt x="26" y="113"/>
                    <a:pt x="23" y="113"/>
                    <a:pt x="21" y="112"/>
                  </a:cubicBezTo>
                  <a:cubicBezTo>
                    <a:pt x="14" y="111"/>
                    <a:pt x="8" y="110"/>
                    <a:pt x="6" y="108"/>
                  </a:cubicBezTo>
                  <a:cubicBezTo>
                    <a:pt x="6" y="108"/>
                    <a:pt x="6" y="108"/>
                    <a:pt x="6" y="108"/>
                  </a:cubicBezTo>
                  <a:cubicBezTo>
                    <a:pt x="5" y="107"/>
                    <a:pt x="5" y="107"/>
                    <a:pt x="5" y="107"/>
                  </a:cubicBezTo>
                  <a:cubicBezTo>
                    <a:pt x="5" y="106"/>
                    <a:pt x="4" y="104"/>
                    <a:pt x="3" y="102"/>
                  </a:cubicBezTo>
                  <a:cubicBezTo>
                    <a:pt x="2" y="100"/>
                    <a:pt x="1" y="98"/>
                    <a:pt x="1" y="96"/>
                  </a:cubicBezTo>
                  <a:cubicBezTo>
                    <a:pt x="1" y="94"/>
                    <a:pt x="1" y="92"/>
                    <a:pt x="1" y="90"/>
                  </a:cubicBezTo>
                  <a:cubicBezTo>
                    <a:pt x="0" y="87"/>
                    <a:pt x="0" y="83"/>
                    <a:pt x="1" y="79"/>
                  </a:cubicBezTo>
                  <a:cubicBezTo>
                    <a:pt x="2" y="72"/>
                    <a:pt x="6" y="68"/>
                    <a:pt x="7" y="68"/>
                  </a:cubicBezTo>
                  <a:cubicBezTo>
                    <a:pt x="7" y="67"/>
                    <a:pt x="9" y="62"/>
                    <a:pt x="12" y="59"/>
                  </a:cubicBezTo>
                  <a:cubicBezTo>
                    <a:pt x="15" y="57"/>
                    <a:pt x="14" y="45"/>
                    <a:pt x="14" y="39"/>
                  </a:cubicBezTo>
                  <a:cubicBezTo>
                    <a:pt x="14" y="37"/>
                    <a:pt x="13" y="33"/>
                    <a:pt x="12" y="29"/>
                  </a:cubicBezTo>
                  <a:cubicBezTo>
                    <a:pt x="12" y="29"/>
                    <a:pt x="12" y="29"/>
                    <a:pt x="12" y="29"/>
                  </a:cubicBezTo>
                  <a:cubicBezTo>
                    <a:pt x="13" y="29"/>
                    <a:pt x="13" y="29"/>
                    <a:pt x="13" y="29"/>
                  </a:cubicBezTo>
                  <a:cubicBezTo>
                    <a:pt x="13" y="28"/>
                    <a:pt x="14" y="28"/>
                    <a:pt x="14" y="26"/>
                  </a:cubicBezTo>
                  <a:cubicBezTo>
                    <a:pt x="14" y="23"/>
                    <a:pt x="19" y="17"/>
                    <a:pt x="20" y="16"/>
                  </a:cubicBezTo>
                  <a:cubicBezTo>
                    <a:pt x="21" y="15"/>
                    <a:pt x="21" y="13"/>
                    <a:pt x="21" y="12"/>
                  </a:cubicBezTo>
                  <a:cubicBezTo>
                    <a:pt x="22" y="9"/>
                    <a:pt x="22" y="5"/>
                    <a:pt x="24" y="4"/>
                  </a:cubicBezTo>
                  <a:cubicBezTo>
                    <a:pt x="25" y="3"/>
                    <a:pt x="26" y="3"/>
                    <a:pt x="29" y="3"/>
                  </a:cubicBezTo>
                  <a:cubicBezTo>
                    <a:pt x="31" y="3"/>
                    <a:pt x="34" y="3"/>
                    <a:pt x="36" y="4"/>
                  </a:cubicBezTo>
                  <a:cubicBezTo>
                    <a:pt x="37" y="4"/>
                    <a:pt x="37" y="4"/>
                    <a:pt x="38" y="4"/>
                  </a:cubicBezTo>
                  <a:cubicBezTo>
                    <a:pt x="39" y="4"/>
                    <a:pt x="40" y="3"/>
                    <a:pt x="41" y="2"/>
                  </a:cubicBezTo>
                  <a:cubicBezTo>
                    <a:pt x="42" y="1"/>
                    <a:pt x="43" y="0"/>
                    <a:pt x="44" y="0"/>
                  </a:cubicBezTo>
                  <a:cubicBezTo>
                    <a:pt x="45" y="0"/>
                    <a:pt x="46" y="0"/>
                    <a:pt x="46" y="1"/>
                  </a:cubicBezTo>
                  <a:cubicBezTo>
                    <a:pt x="48" y="2"/>
                    <a:pt x="50" y="3"/>
                    <a:pt x="52" y="3"/>
                  </a:cubicBezTo>
                  <a:cubicBezTo>
                    <a:pt x="54" y="3"/>
                    <a:pt x="57" y="3"/>
                    <a:pt x="58" y="5"/>
                  </a:cubicBezTo>
                  <a:cubicBezTo>
                    <a:pt x="59" y="5"/>
                    <a:pt x="60" y="7"/>
                    <a:pt x="60" y="8"/>
                  </a:cubicBezTo>
                  <a:cubicBezTo>
                    <a:pt x="61" y="10"/>
                    <a:pt x="62" y="13"/>
                    <a:pt x="64" y="13"/>
                  </a:cubicBezTo>
                  <a:cubicBezTo>
                    <a:pt x="65" y="13"/>
                    <a:pt x="65" y="12"/>
                    <a:pt x="66" y="12"/>
                  </a:cubicBezTo>
                  <a:cubicBezTo>
                    <a:pt x="70" y="9"/>
                    <a:pt x="75" y="9"/>
                    <a:pt x="78" y="9"/>
                  </a:cubicBezTo>
                  <a:cubicBezTo>
                    <a:pt x="80" y="9"/>
                    <a:pt x="82" y="10"/>
                    <a:pt x="85" y="12"/>
                  </a:cubicBezTo>
                  <a:cubicBezTo>
                    <a:pt x="87" y="13"/>
                    <a:pt x="88" y="14"/>
                    <a:pt x="89" y="15"/>
                  </a:cubicBezTo>
                  <a:cubicBezTo>
                    <a:pt x="91" y="15"/>
                    <a:pt x="94" y="16"/>
                    <a:pt x="97" y="16"/>
                  </a:cubicBezTo>
                  <a:cubicBezTo>
                    <a:pt x="100" y="16"/>
                    <a:pt x="102" y="15"/>
                    <a:pt x="103" y="15"/>
                  </a:cubicBezTo>
                  <a:cubicBezTo>
                    <a:pt x="104" y="14"/>
                    <a:pt x="105" y="13"/>
                    <a:pt x="106" y="12"/>
                  </a:cubicBezTo>
                  <a:cubicBezTo>
                    <a:pt x="109" y="10"/>
                    <a:pt x="111" y="7"/>
                    <a:pt x="114" y="8"/>
                  </a:cubicBezTo>
                  <a:cubicBezTo>
                    <a:pt x="115" y="8"/>
                    <a:pt x="118" y="8"/>
                    <a:pt x="121" y="8"/>
                  </a:cubicBezTo>
                  <a:cubicBezTo>
                    <a:pt x="123" y="8"/>
                    <a:pt x="125" y="8"/>
                    <a:pt x="127" y="8"/>
                  </a:cubicBezTo>
                  <a:cubicBezTo>
                    <a:pt x="130" y="8"/>
                    <a:pt x="132" y="8"/>
                    <a:pt x="133" y="8"/>
                  </a:cubicBezTo>
                  <a:cubicBezTo>
                    <a:pt x="133" y="9"/>
                    <a:pt x="133" y="9"/>
                    <a:pt x="133" y="9"/>
                  </a:cubicBezTo>
                  <a:cubicBezTo>
                    <a:pt x="135" y="10"/>
                    <a:pt x="139" y="12"/>
                    <a:pt x="142" y="12"/>
                  </a:cubicBezTo>
                  <a:cubicBezTo>
                    <a:pt x="143" y="12"/>
                    <a:pt x="144" y="11"/>
                    <a:pt x="144" y="11"/>
                  </a:cubicBezTo>
                  <a:cubicBezTo>
                    <a:pt x="146" y="11"/>
                    <a:pt x="148" y="8"/>
                    <a:pt x="150" y="6"/>
                  </a:cubicBezTo>
                  <a:cubicBezTo>
                    <a:pt x="152" y="4"/>
                    <a:pt x="153" y="2"/>
                    <a:pt x="155" y="2"/>
                  </a:cubicBezTo>
                  <a:cubicBezTo>
                    <a:pt x="157" y="1"/>
                    <a:pt x="158" y="2"/>
                    <a:pt x="159" y="3"/>
                  </a:cubicBezTo>
                  <a:cubicBezTo>
                    <a:pt x="159" y="4"/>
                    <a:pt x="160" y="4"/>
                    <a:pt x="160" y="5"/>
                  </a:cubicBezTo>
                  <a:cubicBezTo>
                    <a:pt x="161" y="6"/>
                    <a:pt x="162" y="7"/>
                    <a:pt x="162" y="7"/>
                  </a:cubicBezTo>
                  <a:cubicBezTo>
                    <a:pt x="163" y="9"/>
                    <a:pt x="164" y="10"/>
                    <a:pt x="166" y="11"/>
                  </a:cubicBezTo>
                  <a:cubicBezTo>
                    <a:pt x="166" y="11"/>
                    <a:pt x="166" y="11"/>
                    <a:pt x="166" y="11"/>
                  </a:cubicBezTo>
                  <a:cubicBezTo>
                    <a:pt x="166" y="11"/>
                    <a:pt x="166" y="11"/>
                    <a:pt x="166" y="11"/>
                  </a:cubicBezTo>
                  <a:cubicBezTo>
                    <a:pt x="165" y="14"/>
                    <a:pt x="165" y="18"/>
                    <a:pt x="165" y="19"/>
                  </a:cubicBezTo>
                  <a:cubicBezTo>
                    <a:pt x="165" y="21"/>
                    <a:pt x="169" y="24"/>
                    <a:pt x="171" y="25"/>
                  </a:cubicBezTo>
                  <a:cubicBezTo>
                    <a:pt x="173" y="25"/>
                    <a:pt x="173" y="29"/>
                    <a:pt x="172" y="32"/>
                  </a:cubicBezTo>
                  <a:cubicBezTo>
                    <a:pt x="172" y="33"/>
                    <a:pt x="172" y="33"/>
                    <a:pt x="172" y="34"/>
                  </a:cubicBezTo>
                  <a:cubicBezTo>
                    <a:pt x="172" y="37"/>
                    <a:pt x="169" y="38"/>
                    <a:pt x="166" y="38"/>
                  </a:cubicBezTo>
                  <a:cubicBezTo>
                    <a:pt x="165" y="38"/>
                    <a:pt x="164" y="39"/>
                    <a:pt x="163" y="39"/>
                  </a:cubicBezTo>
                  <a:cubicBezTo>
                    <a:pt x="162" y="42"/>
                    <a:pt x="155" y="53"/>
                    <a:pt x="155" y="55"/>
                  </a:cubicBezTo>
                  <a:cubicBezTo>
                    <a:pt x="155" y="57"/>
                    <a:pt x="154" y="64"/>
                    <a:pt x="151" y="65"/>
                  </a:cubicBezTo>
                  <a:cubicBezTo>
                    <a:pt x="150" y="65"/>
                    <a:pt x="150" y="69"/>
                    <a:pt x="150" y="71"/>
                  </a:cubicBezTo>
                  <a:cubicBezTo>
                    <a:pt x="150" y="72"/>
                    <a:pt x="150" y="72"/>
                    <a:pt x="150" y="72"/>
                  </a:cubicBezTo>
                  <a:cubicBezTo>
                    <a:pt x="150" y="73"/>
                    <a:pt x="148" y="74"/>
                    <a:pt x="147" y="76"/>
                  </a:cubicBezTo>
                  <a:cubicBezTo>
                    <a:pt x="145" y="77"/>
                    <a:pt x="143" y="79"/>
                    <a:pt x="143" y="81"/>
                  </a:cubicBezTo>
                  <a:cubicBezTo>
                    <a:pt x="143" y="83"/>
                    <a:pt x="138" y="92"/>
                    <a:pt x="133" y="101"/>
                  </a:cubicBezTo>
                  <a:cubicBezTo>
                    <a:pt x="133" y="102"/>
                    <a:pt x="132" y="103"/>
                    <a:pt x="132" y="103"/>
                  </a:cubicBezTo>
                  <a:cubicBezTo>
                    <a:pt x="132" y="104"/>
                    <a:pt x="131" y="105"/>
                    <a:pt x="131" y="105"/>
                  </a:cubicBezTo>
                  <a:cubicBezTo>
                    <a:pt x="129" y="109"/>
                    <a:pt x="128" y="111"/>
                    <a:pt x="127" y="111"/>
                  </a:cubicBezTo>
                  <a:cubicBezTo>
                    <a:pt x="126" y="111"/>
                    <a:pt x="125" y="110"/>
                    <a:pt x="125" y="109"/>
                  </a:cubicBezTo>
                  <a:cubicBezTo>
                    <a:pt x="124" y="106"/>
                    <a:pt x="120" y="102"/>
                    <a:pt x="117" y="102"/>
                  </a:cubicBezTo>
                  <a:cubicBezTo>
                    <a:pt x="116" y="102"/>
                    <a:pt x="116" y="102"/>
                    <a:pt x="116" y="102"/>
                  </a:cubicBezTo>
                  <a:cubicBezTo>
                    <a:pt x="114" y="104"/>
                    <a:pt x="112" y="104"/>
                    <a:pt x="111" y="104"/>
                  </a:cubicBezTo>
                  <a:cubicBezTo>
                    <a:pt x="110" y="104"/>
                    <a:pt x="109" y="104"/>
                    <a:pt x="109" y="104"/>
                  </a:cubicBezTo>
                  <a:cubicBezTo>
                    <a:pt x="108" y="104"/>
                    <a:pt x="107" y="104"/>
                    <a:pt x="107" y="104"/>
                  </a:cubicBezTo>
                  <a:cubicBezTo>
                    <a:pt x="106" y="104"/>
                    <a:pt x="96" y="114"/>
                    <a:pt x="90" y="119"/>
                  </a:cubicBezTo>
                  <a:cubicBezTo>
                    <a:pt x="90" y="121"/>
                    <a:pt x="89" y="127"/>
                    <a:pt x="86" y="135"/>
                  </a:cubicBezTo>
                  <a:cubicBezTo>
                    <a:pt x="86" y="136"/>
                    <a:pt x="86" y="136"/>
                    <a:pt x="86" y="136"/>
                  </a:cubicBezTo>
                  <a:cubicBezTo>
                    <a:pt x="86" y="135"/>
                    <a:pt x="86" y="135"/>
                    <a:pt x="86" y="135"/>
                  </a:cubicBezTo>
                  <a:cubicBezTo>
                    <a:pt x="85" y="135"/>
                    <a:pt x="84" y="135"/>
                    <a:pt x="84" y="135"/>
                  </a:cubicBezTo>
                  <a:cubicBezTo>
                    <a:pt x="82" y="137"/>
                    <a:pt x="77" y="138"/>
                    <a:pt x="66" y="138"/>
                  </a:cubicBezTo>
                  <a:cubicBezTo>
                    <a:pt x="64" y="138"/>
                    <a:pt x="64" y="138"/>
                    <a:pt x="64" y="138"/>
                  </a:cubicBezTo>
                  <a:cubicBezTo>
                    <a:pt x="63" y="138"/>
                    <a:pt x="61" y="138"/>
                    <a:pt x="58" y="139"/>
                  </a:cubicBezTo>
                  <a:cubicBezTo>
                    <a:pt x="56" y="140"/>
                    <a:pt x="53" y="141"/>
                    <a:pt x="51" y="141"/>
                  </a:cubicBezTo>
                  <a:close/>
                  <a:moveTo>
                    <a:pt x="6" y="107"/>
                  </a:moveTo>
                  <a:cubicBezTo>
                    <a:pt x="6" y="107"/>
                    <a:pt x="6" y="107"/>
                    <a:pt x="6" y="107"/>
                  </a:cubicBezTo>
                  <a:cubicBezTo>
                    <a:pt x="8" y="109"/>
                    <a:pt x="15" y="110"/>
                    <a:pt x="21" y="111"/>
                  </a:cubicBezTo>
                  <a:cubicBezTo>
                    <a:pt x="24" y="112"/>
                    <a:pt x="26" y="112"/>
                    <a:pt x="28" y="113"/>
                  </a:cubicBezTo>
                  <a:cubicBezTo>
                    <a:pt x="35" y="114"/>
                    <a:pt x="42" y="124"/>
                    <a:pt x="42" y="128"/>
                  </a:cubicBezTo>
                  <a:cubicBezTo>
                    <a:pt x="42" y="131"/>
                    <a:pt x="46" y="138"/>
                    <a:pt x="50" y="140"/>
                  </a:cubicBezTo>
                  <a:cubicBezTo>
                    <a:pt x="50" y="140"/>
                    <a:pt x="50" y="140"/>
                    <a:pt x="51" y="140"/>
                  </a:cubicBezTo>
                  <a:cubicBezTo>
                    <a:pt x="53" y="140"/>
                    <a:pt x="55" y="139"/>
                    <a:pt x="58" y="138"/>
                  </a:cubicBezTo>
                  <a:cubicBezTo>
                    <a:pt x="60" y="137"/>
                    <a:pt x="63" y="137"/>
                    <a:pt x="64" y="137"/>
                  </a:cubicBezTo>
                  <a:cubicBezTo>
                    <a:pt x="66" y="137"/>
                    <a:pt x="66" y="137"/>
                    <a:pt x="66" y="137"/>
                  </a:cubicBezTo>
                  <a:cubicBezTo>
                    <a:pt x="76" y="137"/>
                    <a:pt x="82" y="136"/>
                    <a:pt x="83" y="135"/>
                  </a:cubicBezTo>
                  <a:cubicBezTo>
                    <a:pt x="84" y="134"/>
                    <a:pt x="85" y="134"/>
                    <a:pt x="86" y="134"/>
                  </a:cubicBezTo>
                  <a:cubicBezTo>
                    <a:pt x="88" y="126"/>
                    <a:pt x="90" y="119"/>
                    <a:pt x="90" y="119"/>
                  </a:cubicBezTo>
                  <a:cubicBezTo>
                    <a:pt x="90" y="119"/>
                    <a:pt x="90" y="119"/>
                    <a:pt x="90" y="119"/>
                  </a:cubicBezTo>
                  <a:cubicBezTo>
                    <a:pt x="90" y="119"/>
                    <a:pt x="90" y="119"/>
                    <a:pt x="90" y="119"/>
                  </a:cubicBezTo>
                  <a:cubicBezTo>
                    <a:pt x="92" y="116"/>
                    <a:pt x="105" y="103"/>
                    <a:pt x="107" y="103"/>
                  </a:cubicBezTo>
                  <a:cubicBezTo>
                    <a:pt x="107" y="103"/>
                    <a:pt x="108" y="103"/>
                    <a:pt x="109" y="103"/>
                  </a:cubicBezTo>
                  <a:cubicBezTo>
                    <a:pt x="109" y="103"/>
                    <a:pt x="110" y="103"/>
                    <a:pt x="111" y="103"/>
                  </a:cubicBezTo>
                  <a:cubicBezTo>
                    <a:pt x="112" y="103"/>
                    <a:pt x="114" y="103"/>
                    <a:pt x="115" y="102"/>
                  </a:cubicBezTo>
                  <a:cubicBezTo>
                    <a:pt x="116" y="101"/>
                    <a:pt x="116" y="101"/>
                    <a:pt x="117" y="101"/>
                  </a:cubicBezTo>
                  <a:cubicBezTo>
                    <a:pt x="120" y="101"/>
                    <a:pt x="125" y="105"/>
                    <a:pt x="126" y="109"/>
                  </a:cubicBezTo>
                  <a:cubicBezTo>
                    <a:pt x="126" y="110"/>
                    <a:pt x="127" y="110"/>
                    <a:pt x="127" y="110"/>
                  </a:cubicBezTo>
                  <a:cubicBezTo>
                    <a:pt x="127" y="110"/>
                    <a:pt x="129" y="107"/>
                    <a:pt x="130" y="105"/>
                  </a:cubicBezTo>
                  <a:cubicBezTo>
                    <a:pt x="130" y="104"/>
                    <a:pt x="131" y="103"/>
                    <a:pt x="131" y="103"/>
                  </a:cubicBezTo>
                  <a:cubicBezTo>
                    <a:pt x="132" y="102"/>
                    <a:pt x="132" y="101"/>
                    <a:pt x="133" y="100"/>
                  </a:cubicBezTo>
                  <a:cubicBezTo>
                    <a:pt x="136" y="95"/>
                    <a:pt x="142" y="83"/>
                    <a:pt x="142" y="81"/>
                  </a:cubicBezTo>
                  <a:cubicBezTo>
                    <a:pt x="142" y="78"/>
                    <a:pt x="144" y="77"/>
                    <a:pt x="146" y="75"/>
                  </a:cubicBezTo>
                  <a:cubicBezTo>
                    <a:pt x="147" y="74"/>
                    <a:pt x="149" y="73"/>
                    <a:pt x="149" y="72"/>
                  </a:cubicBezTo>
                  <a:cubicBezTo>
                    <a:pt x="149" y="71"/>
                    <a:pt x="149" y="71"/>
                    <a:pt x="149" y="71"/>
                  </a:cubicBezTo>
                  <a:cubicBezTo>
                    <a:pt x="149" y="68"/>
                    <a:pt x="149" y="65"/>
                    <a:pt x="151" y="64"/>
                  </a:cubicBezTo>
                  <a:cubicBezTo>
                    <a:pt x="153" y="63"/>
                    <a:pt x="154" y="57"/>
                    <a:pt x="154" y="55"/>
                  </a:cubicBezTo>
                  <a:cubicBezTo>
                    <a:pt x="153" y="52"/>
                    <a:pt x="162" y="39"/>
                    <a:pt x="163" y="39"/>
                  </a:cubicBezTo>
                  <a:cubicBezTo>
                    <a:pt x="163" y="38"/>
                    <a:pt x="165" y="37"/>
                    <a:pt x="166" y="37"/>
                  </a:cubicBezTo>
                  <a:cubicBezTo>
                    <a:pt x="168" y="37"/>
                    <a:pt x="171" y="36"/>
                    <a:pt x="171" y="34"/>
                  </a:cubicBezTo>
                  <a:cubicBezTo>
                    <a:pt x="171" y="33"/>
                    <a:pt x="171" y="33"/>
                    <a:pt x="171" y="32"/>
                  </a:cubicBezTo>
                  <a:cubicBezTo>
                    <a:pt x="172" y="29"/>
                    <a:pt x="172" y="26"/>
                    <a:pt x="171" y="26"/>
                  </a:cubicBezTo>
                  <a:cubicBezTo>
                    <a:pt x="168" y="25"/>
                    <a:pt x="164" y="22"/>
                    <a:pt x="164" y="19"/>
                  </a:cubicBezTo>
                  <a:cubicBezTo>
                    <a:pt x="164" y="18"/>
                    <a:pt x="164" y="14"/>
                    <a:pt x="165" y="12"/>
                  </a:cubicBezTo>
                  <a:cubicBezTo>
                    <a:pt x="163" y="11"/>
                    <a:pt x="162" y="9"/>
                    <a:pt x="161" y="8"/>
                  </a:cubicBezTo>
                  <a:cubicBezTo>
                    <a:pt x="161" y="7"/>
                    <a:pt x="160" y="6"/>
                    <a:pt x="160" y="6"/>
                  </a:cubicBezTo>
                  <a:cubicBezTo>
                    <a:pt x="159" y="5"/>
                    <a:pt x="159" y="4"/>
                    <a:pt x="158" y="4"/>
                  </a:cubicBezTo>
                  <a:cubicBezTo>
                    <a:pt x="157" y="3"/>
                    <a:pt x="157" y="2"/>
                    <a:pt x="155" y="3"/>
                  </a:cubicBezTo>
                  <a:cubicBezTo>
                    <a:pt x="154" y="3"/>
                    <a:pt x="152" y="5"/>
                    <a:pt x="151" y="7"/>
                  </a:cubicBezTo>
                  <a:cubicBezTo>
                    <a:pt x="149" y="9"/>
                    <a:pt x="147" y="11"/>
                    <a:pt x="145" y="12"/>
                  </a:cubicBezTo>
                  <a:cubicBezTo>
                    <a:pt x="144" y="12"/>
                    <a:pt x="143" y="13"/>
                    <a:pt x="142" y="13"/>
                  </a:cubicBezTo>
                  <a:cubicBezTo>
                    <a:pt x="139" y="13"/>
                    <a:pt x="135" y="11"/>
                    <a:pt x="133" y="9"/>
                  </a:cubicBezTo>
                  <a:cubicBezTo>
                    <a:pt x="132" y="9"/>
                    <a:pt x="132" y="9"/>
                    <a:pt x="132" y="9"/>
                  </a:cubicBezTo>
                  <a:cubicBezTo>
                    <a:pt x="131" y="9"/>
                    <a:pt x="128" y="9"/>
                    <a:pt x="127" y="9"/>
                  </a:cubicBezTo>
                  <a:cubicBezTo>
                    <a:pt x="125" y="9"/>
                    <a:pt x="123" y="9"/>
                    <a:pt x="121" y="9"/>
                  </a:cubicBezTo>
                  <a:cubicBezTo>
                    <a:pt x="118" y="9"/>
                    <a:pt x="115" y="9"/>
                    <a:pt x="114" y="9"/>
                  </a:cubicBezTo>
                  <a:cubicBezTo>
                    <a:pt x="112" y="9"/>
                    <a:pt x="109" y="11"/>
                    <a:pt x="107" y="13"/>
                  </a:cubicBezTo>
                  <a:cubicBezTo>
                    <a:pt x="106" y="14"/>
                    <a:pt x="105" y="15"/>
                    <a:pt x="104" y="16"/>
                  </a:cubicBezTo>
                  <a:cubicBezTo>
                    <a:pt x="102" y="16"/>
                    <a:pt x="99" y="17"/>
                    <a:pt x="97" y="17"/>
                  </a:cubicBezTo>
                  <a:cubicBezTo>
                    <a:pt x="94" y="17"/>
                    <a:pt x="90" y="16"/>
                    <a:pt x="89" y="16"/>
                  </a:cubicBezTo>
                  <a:cubicBezTo>
                    <a:pt x="88" y="15"/>
                    <a:pt x="86" y="14"/>
                    <a:pt x="84" y="13"/>
                  </a:cubicBezTo>
                  <a:cubicBezTo>
                    <a:pt x="82" y="11"/>
                    <a:pt x="79" y="10"/>
                    <a:pt x="78" y="10"/>
                  </a:cubicBezTo>
                  <a:cubicBezTo>
                    <a:pt x="76" y="10"/>
                    <a:pt x="71" y="10"/>
                    <a:pt x="66" y="13"/>
                  </a:cubicBezTo>
                  <a:cubicBezTo>
                    <a:pt x="65" y="13"/>
                    <a:pt x="65" y="14"/>
                    <a:pt x="64" y="14"/>
                  </a:cubicBezTo>
                  <a:cubicBezTo>
                    <a:pt x="62" y="14"/>
                    <a:pt x="61" y="11"/>
                    <a:pt x="59" y="9"/>
                  </a:cubicBezTo>
                  <a:cubicBezTo>
                    <a:pt x="59" y="7"/>
                    <a:pt x="58" y="6"/>
                    <a:pt x="57" y="5"/>
                  </a:cubicBezTo>
                  <a:cubicBezTo>
                    <a:pt x="56" y="4"/>
                    <a:pt x="54" y="4"/>
                    <a:pt x="52" y="4"/>
                  </a:cubicBezTo>
                  <a:cubicBezTo>
                    <a:pt x="50" y="4"/>
                    <a:pt x="48" y="3"/>
                    <a:pt x="46" y="2"/>
                  </a:cubicBezTo>
                  <a:cubicBezTo>
                    <a:pt x="45" y="1"/>
                    <a:pt x="45" y="1"/>
                    <a:pt x="44" y="1"/>
                  </a:cubicBezTo>
                  <a:cubicBezTo>
                    <a:pt x="43" y="1"/>
                    <a:pt x="42" y="2"/>
                    <a:pt x="41" y="3"/>
                  </a:cubicBezTo>
                  <a:cubicBezTo>
                    <a:pt x="40" y="4"/>
                    <a:pt x="39" y="5"/>
                    <a:pt x="37" y="5"/>
                  </a:cubicBezTo>
                  <a:cubicBezTo>
                    <a:pt x="36" y="5"/>
                    <a:pt x="36" y="5"/>
                    <a:pt x="36" y="5"/>
                  </a:cubicBezTo>
                  <a:cubicBezTo>
                    <a:pt x="34" y="4"/>
                    <a:pt x="31" y="4"/>
                    <a:pt x="29" y="4"/>
                  </a:cubicBezTo>
                  <a:cubicBezTo>
                    <a:pt x="27" y="4"/>
                    <a:pt x="25" y="4"/>
                    <a:pt x="24" y="5"/>
                  </a:cubicBezTo>
                  <a:cubicBezTo>
                    <a:pt x="23" y="6"/>
                    <a:pt x="23" y="9"/>
                    <a:pt x="22" y="12"/>
                  </a:cubicBezTo>
                  <a:cubicBezTo>
                    <a:pt x="22" y="14"/>
                    <a:pt x="22" y="16"/>
                    <a:pt x="21" y="16"/>
                  </a:cubicBezTo>
                  <a:cubicBezTo>
                    <a:pt x="19" y="18"/>
                    <a:pt x="15" y="24"/>
                    <a:pt x="15" y="26"/>
                  </a:cubicBezTo>
                  <a:cubicBezTo>
                    <a:pt x="15" y="28"/>
                    <a:pt x="14" y="29"/>
                    <a:pt x="13" y="29"/>
                  </a:cubicBezTo>
                  <a:cubicBezTo>
                    <a:pt x="14" y="33"/>
                    <a:pt x="15" y="37"/>
                    <a:pt x="15" y="39"/>
                  </a:cubicBezTo>
                  <a:cubicBezTo>
                    <a:pt x="15" y="41"/>
                    <a:pt x="17" y="56"/>
                    <a:pt x="13" y="60"/>
                  </a:cubicBezTo>
                  <a:cubicBezTo>
                    <a:pt x="10" y="63"/>
                    <a:pt x="8" y="68"/>
                    <a:pt x="8" y="68"/>
                  </a:cubicBezTo>
                  <a:cubicBezTo>
                    <a:pt x="8" y="68"/>
                    <a:pt x="8" y="68"/>
                    <a:pt x="8" y="68"/>
                  </a:cubicBezTo>
                  <a:cubicBezTo>
                    <a:pt x="8" y="68"/>
                    <a:pt x="8" y="68"/>
                    <a:pt x="8" y="68"/>
                  </a:cubicBezTo>
                  <a:cubicBezTo>
                    <a:pt x="7" y="69"/>
                    <a:pt x="3" y="72"/>
                    <a:pt x="2" y="79"/>
                  </a:cubicBezTo>
                  <a:cubicBezTo>
                    <a:pt x="1" y="83"/>
                    <a:pt x="1" y="87"/>
                    <a:pt x="2" y="90"/>
                  </a:cubicBezTo>
                  <a:cubicBezTo>
                    <a:pt x="2" y="92"/>
                    <a:pt x="2" y="94"/>
                    <a:pt x="2" y="96"/>
                  </a:cubicBezTo>
                  <a:cubicBezTo>
                    <a:pt x="2" y="98"/>
                    <a:pt x="3" y="100"/>
                    <a:pt x="4" y="102"/>
                  </a:cubicBezTo>
                  <a:cubicBezTo>
                    <a:pt x="5" y="103"/>
                    <a:pt x="6" y="105"/>
                    <a:pt x="6" y="10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7" name="Freeform 24"/>
            <p:cNvSpPr>
              <a:spLocks noEditPoints="1"/>
            </p:cNvSpPr>
            <p:nvPr/>
          </p:nvSpPr>
          <p:spPr>
            <a:xfrm>
              <a:off x="4800601" y="3498850"/>
              <a:ext cx="77788" cy="153988"/>
            </a:xfrm>
            <a:custGeom>
              <a:gdLst>
                <a:gd name="T0" fmla="*/ 15 w 46"/>
                <a:gd name="T1" fmla="*/ 90 h 91"/>
                <a:gd name="T2" fmla="*/ 13 w 46"/>
                <a:gd name="T3" fmla="*/ 57 h 91"/>
                <a:gd name="T4" fmla="*/ 11 w 46"/>
                <a:gd name="T5" fmla="*/ 42 h 91"/>
                <a:gd name="T6" fmla="*/ 6 w 46"/>
                <a:gd name="T7" fmla="*/ 35 h 91"/>
                <a:gd name="T8" fmla="*/ 0 w 46"/>
                <a:gd name="T9" fmla="*/ 21 h 91"/>
                <a:gd name="T10" fmla="*/ 3 w 46"/>
                <a:gd name="T11" fmla="*/ 21 h 91"/>
                <a:gd name="T12" fmla="*/ 11 w 46"/>
                <a:gd name="T13" fmla="*/ 16 h 91"/>
                <a:gd name="T14" fmla="*/ 25 w 46"/>
                <a:gd name="T15" fmla="*/ 11 h 91"/>
                <a:gd name="T16" fmla="*/ 28 w 46"/>
                <a:gd name="T17" fmla="*/ 2 h 91"/>
                <a:gd name="T18" fmla="*/ 35 w 46"/>
                <a:gd name="T19" fmla="*/ 4 h 91"/>
                <a:gd name="T20" fmla="*/ 42 w 46"/>
                <a:gd name="T21" fmla="*/ 8 h 91"/>
                <a:gd name="T22" fmla="*/ 42 w 46"/>
                <a:gd name="T23" fmla="*/ 8 h 91"/>
                <a:gd name="T24" fmla="*/ 42 w 46"/>
                <a:gd name="T25" fmla="*/ 39 h 91"/>
                <a:gd name="T26" fmla="*/ 37 w 46"/>
                <a:gd name="T27" fmla="*/ 47 h 91"/>
                <a:gd name="T28" fmla="*/ 31 w 46"/>
                <a:gd name="T29" fmla="*/ 58 h 91"/>
                <a:gd name="T30" fmla="*/ 31 w 46"/>
                <a:gd name="T31" fmla="*/ 75 h 91"/>
                <a:gd name="T32" fmla="*/ 35 w 46"/>
                <a:gd name="T33" fmla="*/ 86 h 91"/>
                <a:gd name="T34" fmla="*/ 34 w 46"/>
                <a:gd name="T35" fmla="*/ 87 h 91"/>
                <a:gd name="T36" fmla="*/ 31 w 46"/>
                <a:gd name="T37" fmla="*/ 87 h 91"/>
                <a:gd name="T38" fmla="*/ 15 w 46"/>
                <a:gd name="T39" fmla="*/ 91 h 91"/>
                <a:gd name="T40" fmla="*/ 7 w 46"/>
                <a:gd name="T41" fmla="*/ 34 h 91"/>
                <a:gd name="T42" fmla="*/ 12 w 46"/>
                <a:gd name="T43" fmla="*/ 43 h 91"/>
                <a:gd name="T44" fmla="*/ 14 w 46"/>
                <a:gd name="T45" fmla="*/ 57 h 91"/>
                <a:gd name="T46" fmla="*/ 16 w 46"/>
                <a:gd name="T47" fmla="*/ 90 h 91"/>
                <a:gd name="T48" fmla="*/ 30 w 46"/>
                <a:gd name="T49" fmla="*/ 87 h 91"/>
                <a:gd name="T50" fmla="*/ 32 w 46"/>
                <a:gd name="T51" fmla="*/ 81 h 91"/>
                <a:gd name="T52" fmla="*/ 30 w 46"/>
                <a:gd name="T53" fmla="*/ 69 h 91"/>
                <a:gd name="T54" fmla="*/ 36 w 46"/>
                <a:gd name="T55" fmla="*/ 47 h 91"/>
                <a:gd name="T56" fmla="*/ 43 w 46"/>
                <a:gd name="T57" fmla="*/ 18 h 91"/>
                <a:gd name="T58" fmla="*/ 37 w 46"/>
                <a:gd name="T59" fmla="*/ 8 h 91"/>
                <a:gd name="T60" fmla="*/ 32 w 46"/>
                <a:gd name="T61" fmla="*/ 2 h 91"/>
                <a:gd name="T62" fmla="*/ 28 w 46"/>
                <a:gd name="T63" fmla="*/ 8 h 91"/>
                <a:gd name="T64" fmla="*/ 24 w 46"/>
                <a:gd name="T65" fmla="*/ 14 h 91"/>
                <a:gd name="T66" fmla="*/ 7 w 46"/>
                <a:gd name="T67" fmla="*/ 19 h 91"/>
                <a:gd name="T68" fmla="*/ 1 w 46"/>
                <a:gd name="T69" fmla="*/ 22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91">
                  <a:moveTo>
                    <a:pt x="15" y="91"/>
                  </a:moveTo>
                  <a:cubicBezTo>
                    <a:pt x="15" y="90"/>
                    <a:pt x="15" y="90"/>
                    <a:pt x="15" y="90"/>
                  </a:cubicBezTo>
                  <a:cubicBezTo>
                    <a:pt x="14" y="76"/>
                    <a:pt x="14" y="67"/>
                    <a:pt x="13" y="64"/>
                  </a:cubicBezTo>
                  <a:cubicBezTo>
                    <a:pt x="13" y="61"/>
                    <a:pt x="13" y="59"/>
                    <a:pt x="13" y="57"/>
                  </a:cubicBezTo>
                  <a:cubicBezTo>
                    <a:pt x="13" y="52"/>
                    <a:pt x="13" y="48"/>
                    <a:pt x="11" y="47"/>
                  </a:cubicBezTo>
                  <a:cubicBezTo>
                    <a:pt x="10" y="46"/>
                    <a:pt x="10" y="44"/>
                    <a:pt x="11" y="42"/>
                  </a:cubicBezTo>
                  <a:cubicBezTo>
                    <a:pt x="11" y="40"/>
                    <a:pt x="12" y="38"/>
                    <a:pt x="9" y="36"/>
                  </a:cubicBezTo>
                  <a:cubicBezTo>
                    <a:pt x="8" y="35"/>
                    <a:pt x="7" y="35"/>
                    <a:pt x="6" y="35"/>
                  </a:cubicBezTo>
                  <a:cubicBezTo>
                    <a:pt x="3" y="33"/>
                    <a:pt x="1" y="32"/>
                    <a:pt x="0" y="22"/>
                  </a:cubicBezTo>
                  <a:cubicBezTo>
                    <a:pt x="0" y="21"/>
                    <a:pt x="0" y="21"/>
                    <a:pt x="0" y="21"/>
                  </a:cubicBezTo>
                  <a:cubicBezTo>
                    <a:pt x="1" y="21"/>
                    <a:pt x="1" y="21"/>
                    <a:pt x="1" y="21"/>
                  </a:cubicBezTo>
                  <a:cubicBezTo>
                    <a:pt x="2" y="21"/>
                    <a:pt x="3" y="21"/>
                    <a:pt x="3" y="21"/>
                  </a:cubicBezTo>
                  <a:cubicBezTo>
                    <a:pt x="4" y="21"/>
                    <a:pt x="5" y="20"/>
                    <a:pt x="6" y="19"/>
                  </a:cubicBezTo>
                  <a:cubicBezTo>
                    <a:pt x="8" y="17"/>
                    <a:pt x="10" y="16"/>
                    <a:pt x="11" y="16"/>
                  </a:cubicBezTo>
                  <a:cubicBezTo>
                    <a:pt x="15" y="16"/>
                    <a:pt x="22" y="15"/>
                    <a:pt x="23" y="13"/>
                  </a:cubicBezTo>
                  <a:cubicBezTo>
                    <a:pt x="24" y="12"/>
                    <a:pt x="24" y="12"/>
                    <a:pt x="25" y="11"/>
                  </a:cubicBezTo>
                  <a:cubicBezTo>
                    <a:pt x="26" y="11"/>
                    <a:pt x="27" y="10"/>
                    <a:pt x="27" y="8"/>
                  </a:cubicBezTo>
                  <a:cubicBezTo>
                    <a:pt x="26" y="6"/>
                    <a:pt x="27" y="3"/>
                    <a:pt x="28" y="2"/>
                  </a:cubicBezTo>
                  <a:cubicBezTo>
                    <a:pt x="29" y="0"/>
                    <a:pt x="31" y="0"/>
                    <a:pt x="33" y="1"/>
                  </a:cubicBezTo>
                  <a:cubicBezTo>
                    <a:pt x="35" y="1"/>
                    <a:pt x="35" y="3"/>
                    <a:pt x="35" y="4"/>
                  </a:cubicBezTo>
                  <a:cubicBezTo>
                    <a:pt x="36" y="6"/>
                    <a:pt x="36" y="7"/>
                    <a:pt x="37" y="7"/>
                  </a:cubicBezTo>
                  <a:cubicBezTo>
                    <a:pt x="39" y="8"/>
                    <a:pt x="41" y="8"/>
                    <a:pt x="42" y="8"/>
                  </a:cubicBezTo>
                  <a:cubicBezTo>
                    <a:pt x="42" y="7"/>
                    <a:pt x="42" y="7"/>
                    <a:pt x="42" y="7"/>
                  </a:cubicBezTo>
                  <a:cubicBezTo>
                    <a:pt x="42" y="8"/>
                    <a:pt x="42" y="8"/>
                    <a:pt x="42" y="8"/>
                  </a:cubicBezTo>
                  <a:cubicBezTo>
                    <a:pt x="43" y="12"/>
                    <a:pt x="44" y="16"/>
                    <a:pt x="44" y="18"/>
                  </a:cubicBezTo>
                  <a:cubicBezTo>
                    <a:pt x="44" y="20"/>
                    <a:pt x="46" y="35"/>
                    <a:pt x="42" y="39"/>
                  </a:cubicBezTo>
                  <a:cubicBezTo>
                    <a:pt x="39" y="42"/>
                    <a:pt x="37" y="47"/>
                    <a:pt x="37" y="47"/>
                  </a:cubicBezTo>
                  <a:cubicBezTo>
                    <a:pt x="37" y="47"/>
                    <a:pt x="37" y="47"/>
                    <a:pt x="37" y="47"/>
                  </a:cubicBezTo>
                  <a:cubicBezTo>
                    <a:pt x="37" y="47"/>
                    <a:pt x="37" y="47"/>
                    <a:pt x="37" y="47"/>
                  </a:cubicBezTo>
                  <a:cubicBezTo>
                    <a:pt x="36" y="48"/>
                    <a:pt x="32" y="51"/>
                    <a:pt x="31" y="58"/>
                  </a:cubicBezTo>
                  <a:cubicBezTo>
                    <a:pt x="30" y="62"/>
                    <a:pt x="30" y="66"/>
                    <a:pt x="31" y="69"/>
                  </a:cubicBezTo>
                  <a:cubicBezTo>
                    <a:pt x="31" y="71"/>
                    <a:pt x="31" y="73"/>
                    <a:pt x="31" y="75"/>
                  </a:cubicBezTo>
                  <a:cubicBezTo>
                    <a:pt x="31" y="77"/>
                    <a:pt x="32" y="79"/>
                    <a:pt x="33" y="81"/>
                  </a:cubicBezTo>
                  <a:cubicBezTo>
                    <a:pt x="34" y="82"/>
                    <a:pt x="35" y="84"/>
                    <a:pt x="35" y="86"/>
                  </a:cubicBezTo>
                  <a:cubicBezTo>
                    <a:pt x="36" y="89"/>
                    <a:pt x="36" y="89"/>
                    <a:pt x="36" y="89"/>
                  </a:cubicBezTo>
                  <a:cubicBezTo>
                    <a:pt x="34" y="87"/>
                    <a:pt x="34" y="87"/>
                    <a:pt x="34" y="87"/>
                  </a:cubicBezTo>
                  <a:cubicBezTo>
                    <a:pt x="34" y="86"/>
                    <a:pt x="34" y="86"/>
                    <a:pt x="33" y="86"/>
                  </a:cubicBezTo>
                  <a:cubicBezTo>
                    <a:pt x="33" y="86"/>
                    <a:pt x="32" y="87"/>
                    <a:pt x="31" y="87"/>
                  </a:cubicBezTo>
                  <a:cubicBezTo>
                    <a:pt x="29" y="89"/>
                    <a:pt x="27" y="90"/>
                    <a:pt x="25" y="90"/>
                  </a:cubicBezTo>
                  <a:cubicBezTo>
                    <a:pt x="23" y="90"/>
                    <a:pt x="19" y="90"/>
                    <a:pt x="15" y="91"/>
                  </a:cubicBezTo>
                  <a:close/>
                  <a:moveTo>
                    <a:pt x="1" y="22"/>
                  </a:moveTo>
                  <a:cubicBezTo>
                    <a:pt x="2" y="31"/>
                    <a:pt x="3" y="32"/>
                    <a:pt x="7" y="34"/>
                  </a:cubicBezTo>
                  <a:cubicBezTo>
                    <a:pt x="8" y="34"/>
                    <a:pt x="8" y="35"/>
                    <a:pt x="9" y="35"/>
                  </a:cubicBezTo>
                  <a:cubicBezTo>
                    <a:pt x="13" y="37"/>
                    <a:pt x="12" y="40"/>
                    <a:pt x="12" y="43"/>
                  </a:cubicBezTo>
                  <a:cubicBezTo>
                    <a:pt x="11" y="44"/>
                    <a:pt x="11" y="45"/>
                    <a:pt x="12" y="46"/>
                  </a:cubicBezTo>
                  <a:cubicBezTo>
                    <a:pt x="14" y="48"/>
                    <a:pt x="14" y="52"/>
                    <a:pt x="14" y="57"/>
                  </a:cubicBezTo>
                  <a:cubicBezTo>
                    <a:pt x="14" y="59"/>
                    <a:pt x="14" y="61"/>
                    <a:pt x="14" y="63"/>
                  </a:cubicBezTo>
                  <a:cubicBezTo>
                    <a:pt x="15" y="67"/>
                    <a:pt x="15" y="76"/>
                    <a:pt x="16" y="90"/>
                  </a:cubicBezTo>
                  <a:cubicBezTo>
                    <a:pt x="19" y="89"/>
                    <a:pt x="23" y="89"/>
                    <a:pt x="25" y="89"/>
                  </a:cubicBezTo>
                  <a:cubicBezTo>
                    <a:pt x="27" y="89"/>
                    <a:pt x="29" y="88"/>
                    <a:pt x="30" y="87"/>
                  </a:cubicBezTo>
                  <a:cubicBezTo>
                    <a:pt x="31" y="86"/>
                    <a:pt x="33" y="85"/>
                    <a:pt x="34" y="85"/>
                  </a:cubicBezTo>
                  <a:cubicBezTo>
                    <a:pt x="33" y="84"/>
                    <a:pt x="33" y="83"/>
                    <a:pt x="32" y="81"/>
                  </a:cubicBezTo>
                  <a:cubicBezTo>
                    <a:pt x="31" y="79"/>
                    <a:pt x="30" y="77"/>
                    <a:pt x="30" y="75"/>
                  </a:cubicBezTo>
                  <a:cubicBezTo>
                    <a:pt x="30" y="73"/>
                    <a:pt x="30" y="71"/>
                    <a:pt x="30" y="69"/>
                  </a:cubicBezTo>
                  <a:cubicBezTo>
                    <a:pt x="29" y="66"/>
                    <a:pt x="29" y="62"/>
                    <a:pt x="30" y="58"/>
                  </a:cubicBezTo>
                  <a:cubicBezTo>
                    <a:pt x="31" y="51"/>
                    <a:pt x="35" y="47"/>
                    <a:pt x="36" y="47"/>
                  </a:cubicBezTo>
                  <a:cubicBezTo>
                    <a:pt x="36" y="46"/>
                    <a:pt x="38" y="41"/>
                    <a:pt x="41" y="38"/>
                  </a:cubicBezTo>
                  <a:cubicBezTo>
                    <a:pt x="44" y="36"/>
                    <a:pt x="43" y="24"/>
                    <a:pt x="43" y="18"/>
                  </a:cubicBezTo>
                  <a:cubicBezTo>
                    <a:pt x="43" y="16"/>
                    <a:pt x="42" y="12"/>
                    <a:pt x="41" y="9"/>
                  </a:cubicBezTo>
                  <a:cubicBezTo>
                    <a:pt x="40" y="9"/>
                    <a:pt x="39" y="9"/>
                    <a:pt x="37" y="8"/>
                  </a:cubicBezTo>
                  <a:cubicBezTo>
                    <a:pt x="35" y="7"/>
                    <a:pt x="35" y="6"/>
                    <a:pt x="35" y="5"/>
                  </a:cubicBezTo>
                  <a:cubicBezTo>
                    <a:pt x="34" y="3"/>
                    <a:pt x="34" y="2"/>
                    <a:pt x="32" y="2"/>
                  </a:cubicBezTo>
                  <a:cubicBezTo>
                    <a:pt x="31" y="1"/>
                    <a:pt x="30" y="1"/>
                    <a:pt x="29" y="3"/>
                  </a:cubicBezTo>
                  <a:cubicBezTo>
                    <a:pt x="28" y="4"/>
                    <a:pt x="27" y="6"/>
                    <a:pt x="28" y="8"/>
                  </a:cubicBezTo>
                  <a:cubicBezTo>
                    <a:pt x="28" y="10"/>
                    <a:pt x="27" y="11"/>
                    <a:pt x="26" y="12"/>
                  </a:cubicBezTo>
                  <a:cubicBezTo>
                    <a:pt x="25" y="13"/>
                    <a:pt x="24" y="13"/>
                    <a:pt x="24" y="14"/>
                  </a:cubicBezTo>
                  <a:cubicBezTo>
                    <a:pt x="22" y="17"/>
                    <a:pt x="12" y="17"/>
                    <a:pt x="11" y="17"/>
                  </a:cubicBezTo>
                  <a:cubicBezTo>
                    <a:pt x="10" y="17"/>
                    <a:pt x="9" y="18"/>
                    <a:pt x="7" y="19"/>
                  </a:cubicBezTo>
                  <a:cubicBezTo>
                    <a:pt x="6" y="21"/>
                    <a:pt x="5" y="22"/>
                    <a:pt x="3" y="22"/>
                  </a:cubicBezTo>
                  <a:cubicBezTo>
                    <a:pt x="3" y="22"/>
                    <a:pt x="2" y="22"/>
                    <a:pt x="1"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8" name="Freeform 25"/>
            <p:cNvSpPr>
              <a:spLocks noEditPoints="1"/>
            </p:cNvSpPr>
            <p:nvPr/>
          </p:nvSpPr>
          <p:spPr>
            <a:xfrm>
              <a:off x="4781551" y="3530600"/>
              <a:ext cx="46038" cy="130175"/>
            </a:xfrm>
            <a:custGeom>
              <a:gdLst>
                <a:gd name="T0" fmla="*/ 16 w 28"/>
                <a:gd name="T1" fmla="*/ 77 h 77"/>
                <a:gd name="T2" fmla="*/ 16 w 28"/>
                <a:gd name="T3" fmla="*/ 77 h 77"/>
                <a:gd name="T4" fmla="*/ 10 w 28"/>
                <a:gd name="T5" fmla="*/ 60 h 77"/>
                <a:gd name="T6" fmla="*/ 6 w 28"/>
                <a:gd name="T7" fmla="*/ 40 h 77"/>
                <a:gd name="T8" fmla="*/ 6 w 28"/>
                <a:gd name="T9" fmla="*/ 22 h 77"/>
                <a:gd name="T10" fmla="*/ 6 w 28"/>
                <a:gd name="T11" fmla="*/ 19 h 77"/>
                <a:gd name="T12" fmla="*/ 3 w 28"/>
                <a:gd name="T13" fmla="*/ 11 h 77"/>
                <a:gd name="T14" fmla="*/ 0 w 28"/>
                <a:gd name="T15" fmla="*/ 1 h 77"/>
                <a:gd name="T16" fmla="*/ 0 w 28"/>
                <a:gd name="T17" fmla="*/ 1 h 77"/>
                <a:gd name="T18" fmla="*/ 0 w 28"/>
                <a:gd name="T19" fmla="*/ 1 h 77"/>
                <a:gd name="T20" fmla="*/ 2 w 28"/>
                <a:gd name="T21" fmla="*/ 0 h 77"/>
                <a:gd name="T22" fmla="*/ 7 w 28"/>
                <a:gd name="T23" fmla="*/ 1 h 77"/>
                <a:gd name="T24" fmla="*/ 13 w 28"/>
                <a:gd name="T25" fmla="*/ 2 h 77"/>
                <a:gd name="T26" fmla="*/ 13 w 28"/>
                <a:gd name="T27" fmla="*/ 2 h 77"/>
                <a:gd name="T28" fmla="*/ 13 w 28"/>
                <a:gd name="T29" fmla="*/ 3 h 77"/>
                <a:gd name="T30" fmla="*/ 19 w 28"/>
                <a:gd name="T31" fmla="*/ 15 h 77"/>
                <a:gd name="T32" fmla="*/ 21 w 28"/>
                <a:gd name="T33" fmla="*/ 16 h 77"/>
                <a:gd name="T34" fmla="*/ 24 w 28"/>
                <a:gd name="T35" fmla="*/ 24 h 77"/>
                <a:gd name="T36" fmla="*/ 24 w 28"/>
                <a:gd name="T37" fmla="*/ 27 h 77"/>
                <a:gd name="T38" fmla="*/ 26 w 28"/>
                <a:gd name="T39" fmla="*/ 38 h 77"/>
                <a:gd name="T40" fmla="*/ 26 w 28"/>
                <a:gd name="T41" fmla="*/ 44 h 77"/>
                <a:gd name="T42" fmla="*/ 28 w 28"/>
                <a:gd name="T43" fmla="*/ 71 h 77"/>
                <a:gd name="T44" fmla="*/ 28 w 28"/>
                <a:gd name="T45" fmla="*/ 72 h 77"/>
                <a:gd name="T46" fmla="*/ 27 w 28"/>
                <a:gd name="T47" fmla="*/ 72 h 77"/>
                <a:gd name="T48" fmla="*/ 19 w 28"/>
                <a:gd name="T49" fmla="*/ 75 h 77"/>
                <a:gd name="T50" fmla="*/ 16 w 28"/>
                <a:gd name="T51" fmla="*/ 77 h 77"/>
                <a:gd name="T52" fmla="*/ 1 w 28"/>
                <a:gd name="T53" fmla="*/ 2 h 77"/>
                <a:gd name="T54" fmla="*/ 3 w 28"/>
                <a:gd name="T55" fmla="*/ 10 h 77"/>
                <a:gd name="T56" fmla="*/ 7 w 28"/>
                <a:gd name="T57" fmla="*/ 19 h 77"/>
                <a:gd name="T58" fmla="*/ 7 w 28"/>
                <a:gd name="T59" fmla="*/ 22 h 77"/>
                <a:gd name="T60" fmla="*/ 7 w 28"/>
                <a:gd name="T61" fmla="*/ 40 h 77"/>
                <a:gd name="T62" fmla="*/ 11 w 28"/>
                <a:gd name="T63" fmla="*/ 60 h 77"/>
                <a:gd name="T64" fmla="*/ 16 w 28"/>
                <a:gd name="T65" fmla="*/ 76 h 77"/>
                <a:gd name="T66" fmla="*/ 19 w 28"/>
                <a:gd name="T67" fmla="*/ 74 h 77"/>
                <a:gd name="T68" fmla="*/ 27 w 28"/>
                <a:gd name="T69" fmla="*/ 71 h 77"/>
                <a:gd name="T70" fmla="*/ 25 w 28"/>
                <a:gd name="T71" fmla="*/ 45 h 77"/>
                <a:gd name="T72" fmla="*/ 25 w 28"/>
                <a:gd name="T73" fmla="*/ 38 h 77"/>
                <a:gd name="T74" fmla="*/ 23 w 28"/>
                <a:gd name="T75" fmla="*/ 28 h 77"/>
                <a:gd name="T76" fmla="*/ 23 w 28"/>
                <a:gd name="T77" fmla="*/ 23 h 77"/>
                <a:gd name="T78" fmla="*/ 21 w 28"/>
                <a:gd name="T79" fmla="*/ 17 h 77"/>
                <a:gd name="T80" fmla="*/ 18 w 28"/>
                <a:gd name="T81" fmla="*/ 16 h 77"/>
                <a:gd name="T82" fmla="*/ 12 w 28"/>
                <a:gd name="T83" fmla="*/ 3 h 77"/>
                <a:gd name="T84" fmla="*/ 7 w 28"/>
                <a:gd name="T85" fmla="*/ 2 h 77"/>
                <a:gd name="T86" fmla="*/ 2 w 28"/>
                <a:gd name="T87" fmla="*/ 1 h 77"/>
                <a:gd name="T88" fmla="*/ 1 w 28"/>
                <a:gd name="T89" fmla="*/ 2 h 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77">
                  <a:moveTo>
                    <a:pt x="16" y="77"/>
                  </a:moveTo>
                  <a:cubicBezTo>
                    <a:pt x="16" y="77"/>
                    <a:pt x="16" y="77"/>
                    <a:pt x="16" y="77"/>
                  </a:cubicBezTo>
                  <a:cubicBezTo>
                    <a:pt x="13" y="72"/>
                    <a:pt x="10" y="64"/>
                    <a:pt x="10" y="60"/>
                  </a:cubicBezTo>
                  <a:cubicBezTo>
                    <a:pt x="10" y="52"/>
                    <a:pt x="8" y="45"/>
                    <a:pt x="6" y="40"/>
                  </a:cubicBezTo>
                  <a:cubicBezTo>
                    <a:pt x="5" y="36"/>
                    <a:pt x="5" y="27"/>
                    <a:pt x="6" y="22"/>
                  </a:cubicBezTo>
                  <a:cubicBezTo>
                    <a:pt x="6" y="21"/>
                    <a:pt x="6" y="20"/>
                    <a:pt x="6" y="19"/>
                  </a:cubicBezTo>
                  <a:cubicBezTo>
                    <a:pt x="6" y="15"/>
                    <a:pt x="5" y="12"/>
                    <a:pt x="3" y="11"/>
                  </a:cubicBezTo>
                  <a:cubicBezTo>
                    <a:pt x="2" y="11"/>
                    <a:pt x="1" y="9"/>
                    <a:pt x="0" y="1"/>
                  </a:cubicBezTo>
                  <a:cubicBezTo>
                    <a:pt x="0" y="1"/>
                    <a:pt x="0" y="1"/>
                    <a:pt x="0" y="1"/>
                  </a:cubicBezTo>
                  <a:cubicBezTo>
                    <a:pt x="0" y="1"/>
                    <a:pt x="0" y="1"/>
                    <a:pt x="0" y="1"/>
                  </a:cubicBezTo>
                  <a:cubicBezTo>
                    <a:pt x="0" y="1"/>
                    <a:pt x="1" y="0"/>
                    <a:pt x="2" y="0"/>
                  </a:cubicBezTo>
                  <a:cubicBezTo>
                    <a:pt x="4" y="1"/>
                    <a:pt x="5" y="1"/>
                    <a:pt x="7" y="1"/>
                  </a:cubicBezTo>
                  <a:cubicBezTo>
                    <a:pt x="9" y="2"/>
                    <a:pt x="11" y="2"/>
                    <a:pt x="13" y="2"/>
                  </a:cubicBezTo>
                  <a:cubicBezTo>
                    <a:pt x="13" y="2"/>
                    <a:pt x="13" y="2"/>
                    <a:pt x="13" y="2"/>
                  </a:cubicBezTo>
                  <a:cubicBezTo>
                    <a:pt x="13" y="3"/>
                    <a:pt x="13" y="3"/>
                    <a:pt x="13" y="3"/>
                  </a:cubicBezTo>
                  <a:cubicBezTo>
                    <a:pt x="14" y="12"/>
                    <a:pt x="15" y="13"/>
                    <a:pt x="19" y="15"/>
                  </a:cubicBezTo>
                  <a:cubicBezTo>
                    <a:pt x="20" y="15"/>
                    <a:pt x="20" y="16"/>
                    <a:pt x="21" y="16"/>
                  </a:cubicBezTo>
                  <a:cubicBezTo>
                    <a:pt x="25" y="18"/>
                    <a:pt x="24" y="21"/>
                    <a:pt x="24" y="24"/>
                  </a:cubicBezTo>
                  <a:cubicBezTo>
                    <a:pt x="23" y="25"/>
                    <a:pt x="23" y="26"/>
                    <a:pt x="24" y="27"/>
                  </a:cubicBezTo>
                  <a:cubicBezTo>
                    <a:pt x="26" y="29"/>
                    <a:pt x="26" y="33"/>
                    <a:pt x="26" y="38"/>
                  </a:cubicBezTo>
                  <a:cubicBezTo>
                    <a:pt x="26" y="40"/>
                    <a:pt x="26" y="42"/>
                    <a:pt x="26" y="44"/>
                  </a:cubicBezTo>
                  <a:cubicBezTo>
                    <a:pt x="27" y="48"/>
                    <a:pt x="27" y="57"/>
                    <a:pt x="28" y="71"/>
                  </a:cubicBezTo>
                  <a:cubicBezTo>
                    <a:pt x="28" y="72"/>
                    <a:pt x="28" y="72"/>
                    <a:pt x="28" y="72"/>
                  </a:cubicBezTo>
                  <a:cubicBezTo>
                    <a:pt x="27" y="72"/>
                    <a:pt x="27" y="72"/>
                    <a:pt x="27" y="72"/>
                  </a:cubicBezTo>
                  <a:cubicBezTo>
                    <a:pt x="24" y="73"/>
                    <a:pt x="21" y="74"/>
                    <a:pt x="19" y="75"/>
                  </a:cubicBezTo>
                  <a:cubicBezTo>
                    <a:pt x="19" y="76"/>
                    <a:pt x="18" y="76"/>
                    <a:pt x="16" y="77"/>
                  </a:cubicBezTo>
                  <a:close/>
                  <a:moveTo>
                    <a:pt x="1" y="2"/>
                  </a:moveTo>
                  <a:cubicBezTo>
                    <a:pt x="2" y="9"/>
                    <a:pt x="3" y="10"/>
                    <a:pt x="3" y="10"/>
                  </a:cubicBezTo>
                  <a:cubicBezTo>
                    <a:pt x="6" y="12"/>
                    <a:pt x="7" y="15"/>
                    <a:pt x="7" y="19"/>
                  </a:cubicBezTo>
                  <a:cubicBezTo>
                    <a:pt x="7" y="20"/>
                    <a:pt x="7" y="21"/>
                    <a:pt x="7" y="22"/>
                  </a:cubicBezTo>
                  <a:cubicBezTo>
                    <a:pt x="6" y="27"/>
                    <a:pt x="6" y="35"/>
                    <a:pt x="7" y="40"/>
                  </a:cubicBezTo>
                  <a:cubicBezTo>
                    <a:pt x="9" y="44"/>
                    <a:pt x="11" y="52"/>
                    <a:pt x="11" y="60"/>
                  </a:cubicBezTo>
                  <a:cubicBezTo>
                    <a:pt x="11" y="64"/>
                    <a:pt x="14" y="71"/>
                    <a:pt x="16" y="76"/>
                  </a:cubicBezTo>
                  <a:cubicBezTo>
                    <a:pt x="17" y="75"/>
                    <a:pt x="18" y="75"/>
                    <a:pt x="19" y="74"/>
                  </a:cubicBezTo>
                  <a:cubicBezTo>
                    <a:pt x="20" y="73"/>
                    <a:pt x="23" y="72"/>
                    <a:pt x="27" y="71"/>
                  </a:cubicBezTo>
                  <a:cubicBezTo>
                    <a:pt x="26" y="57"/>
                    <a:pt x="26" y="48"/>
                    <a:pt x="25" y="45"/>
                  </a:cubicBezTo>
                  <a:cubicBezTo>
                    <a:pt x="25" y="42"/>
                    <a:pt x="25" y="40"/>
                    <a:pt x="25" y="38"/>
                  </a:cubicBezTo>
                  <a:cubicBezTo>
                    <a:pt x="25" y="33"/>
                    <a:pt x="25" y="29"/>
                    <a:pt x="23" y="28"/>
                  </a:cubicBezTo>
                  <a:cubicBezTo>
                    <a:pt x="22" y="27"/>
                    <a:pt x="22" y="25"/>
                    <a:pt x="23" y="23"/>
                  </a:cubicBezTo>
                  <a:cubicBezTo>
                    <a:pt x="23" y="21"/>
                    <a:pt x="24" y="19"/>
                    <a:pt x="21" y="17"/>
                  </a:cubicBezTo>
                  <a:cubicBezTo>
                    <a:pt x="20" y="16"/>
                    <a:pt x="19" y="16"/>
                    <a:pt x="18" y="16"/>
                  </a:cubicBezTo>
                  <a:cubicBezTo>
                    <a:pt x="15" y="14"/>
                    <a:pt x="13" y="13"/>
                    <a:pt x="12" y="3"/>
                  </a:cubicBezTo>
                  <a:cubicBezTo>
                    <a:pt x="11" y="3"/>
                    <a:pt x="9" y="3"/>
                    <a:pt x="7" y="2"/>
                  </a:cubicBezTo>
                  <a:cubicBezTo>
                    <a:pt x="5" y="2"/>
                    <a:pt x="3" y="2"/>
                    <a:pt x="2" y="1"/>
                  </a:cubicBezTo>
                  <a:cubicBezTo>
                    <a:pt x="1" y="1"/>
                    <a:pt x="1" y="1"/>
                    <a:pt x="1"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799" name="Freeform 26"/>
            <p:cNvSpPr>
              <a:spLocks noEditPoints="1"/>
            </p:cNvSpPr>
            <p:nvPr/>
          </p:nvSpPr>
          <p:spPr>
            <a:xfrm>
              <a:off x="4994276" y="3481388"/>
              <a:ext cx="185738" cy="285750"/>
            </a:xfrm>
            <a:custGeom>
              <a:gdLst>
                <a:gd name="T0" fmla="*/ 85 w 109"/>
                <a:gd name="T1" fmla="*/ 161 h 168"/>
                <a:gd name="T2" fmla="*/ 46 w 109"/>
                <a:gd name="T3" fmla="*/ 160 h 168"/>
                <a:gd name="T4" fmla="*/ 19 w 109"/>
                <a:gd name="T5" fmla="*/ 162 h 168"/>
                <a:gd name="T6" fmla="*/ 18 w 109"/>
                <a:gd name="T7" fmla="*/ 135 h 168"/>
                <a:gd name="T8" fmla="*/ 6 w 109"/>
                <a:gd name="T9" fmla="*/ 132 h 168"/>
                <a:gd name="T10" fmla="*/ 0 w 109"/>
                <a:gd name="T11" fmla="*/ 124 h 168"/>
                <a:gd name="T12" fmla="*/ 5 w 109"/>
                <a:gd name="T13" fmla="*/ 108 h 168"/>
                <a:gd name="T14" fmla="*/ 24 w 109"/>
                <a:gd name="T15" fmla="*/ 92 h 168"/>
                <a:gd name="T16" fmla="*/ 32 w 109"/>
                <a:gd name="T17" fmla="*/ 90 h 168"/>
                <a:gd name="T18" fmla="*/ 45 w 109"/>
                <a:gd name="T19" fmla="*/ 94 h 168"/>
                <a:gd name="T20" fmla="*/ 57 w 109"/>
                <a:gd name="T21" fmla="*/ 70 h 168"/>
                <a:gd name="T22" fmla="*/ 64 w 109"/>
                <a:gd name="T23" fmla="*/ 60 h 168"/>
                <a:gd name="T24" fmla="*/ 78 w 109"/>
                <a:gd name="T25" fmla="*/ 28 h 168"/>
                <a:gd name="T26" fmla="*/ 86 w 109"/>
                <a:gd name="T27" fmla="*/ 21 h 168"/>
                <a:gd name="T28" fmla="*/ 80 w 109"/>
                <a:gd name="T29" fmla="*/ 0 h 168"/>
                <a:gd name="T30" fmla="*/ 81 w 109"/>
                <a:gd name="T31" fmla="*/ 0 h 168"/>
                <a:gd name="T32" fmla="*/ 92 w 109"/>
                <a:gd name="T33" fmla="*/ 19 h 168"/>
                <a:gd name="T34" fmla="*/ 99 w 109"/>
                <a:gd name="T35" fmla="*/ 46 h 168"/>
                <a:gd name="T36" fmla="*/ 87 w 109"/>
                <a:gd name="T37" fmla="*/ 47 h 168"/>
                <a:gd name="T38" fmla="*/ 84 w 109"/>
                <a:gd name="T39" fmla="*/ 59 h 168"/>
                <a:gd name="T40" fmla="*/ 100 w 109"/>
                <a:gd name="T41" fmla="*/ 82 h 168"/>
                <a:gd name="T42" fmla="*/ 93 w 109"/>
                <a:gd name="T43" fmla="*/ 91 h 168"/>
                <a:gd name="T44" fmla="*/ 86 w 109"/>
                <a:gd name="T45" fmla="*/ 110 h 168"/>
                <a:gd name="T46" fmla="*/ 94 w 109"/>
                <a:gd name="T47" fmla="*/ 138 h 168"/>
                <a:gd name="T48" fmla="*/ 107 w 109"/>
                <a:gd name="T49" fmla="*/ 152 h 168"/>
                <a:gd name="T50" fmla="*/ 109 w 109"/>
                <a:gd name="T51" fmla="*/ 155 h 168"/>
                <a:gd name="T52" fmla="*/ 85 w 109"/>
                <a:gd name="T53" fmla="*/ 160 h 168"/>
                <a:gd name="T54" fmla="*/ 106 w 109"/>
                <a:gd name="T55" fmla="*/ 152 h 168"/>
                <a:gd name="T56" fmla="*/ 93 w 109"/>
                <a:gd name="T57" fmla="*/ 138 h 168"/>
                <a:gd name="T58" fmla="*/ 91 w 109"/>
                <a:gd name="T59" fmla="*/ 130 h 168"/>
                <a:gd name="T60" fmla="*/ 85 w 109"/>
                <a:gd name="T61" fmla="*/ 106 h 168"/>
                <a:gd name="T62" fmla="*/ 99 w 109"/>
                <a:gd name="T63" fmla="*/ 82 h 168"/>
                <a:gd name="T64" fmla="*/ 88 w 109"/>
                <a:gd name="T65" fmla="*/ 64 h 168"/>
                <a:gd name="T66" fmla="*/ 79 w 109"/>
                <a:gd name="T67" fmla="*/ 49 h 168"/>
                <a:gd name="T68" fmla="*/ 94 w 109"/>
                <a:gd name="T69" fmla="*/ 47 h 168"/>
                <a:gd name="T70" fmla="*/ 98 w 109"/>
                <a:gd name="T71" fmla="*/ 45 h 168"/>
                <a:gd name="T72" fmla="*/ 90 w 109"/>
                <a:gd name="T73" fmla="*/ 14 h 168"/>
                <a:gd name="T74" fmla="*/ 81 w 109"/>
                <a:gd name="T75" fmla="*/ 1 h 168"/>
                <a:gd name="T76" fmla="*/ 87 w 109"/>
                <a:gd name="T77" fmla="*/ 21 h 168"/>
                <a:gd name="T78" fmla="*/ 78 w 109"/>
                <a:gd name="T79" fmla="*/ 28 h 168"/>
                <a:gd name="T80" fmla="*/ 65 w 109"/>
                <a:gd name="T81" fmla="*/ 60 h 168"/>
                <a:gd name="T82" fmla="*/ 58 w 109"/>
                <a:gd name="T83" fmla="*/ 70 h 168"/>
                <a:gd name="T84" fmla="*/ 46 w 109"/>
                <a:gd name="T85" fmla="*/ 94 h 168"/>
                <a:gd name="T86" fmla="*/ 32 w 109"/>
                <a:gd name="T87" fmla="*/ 91 h 168"/>
                <a:gd name="T88" fmla="*/ 24 w 109"/>
                <a:gd name="T89" fmla="*/ 93 h 168"/>
                <a:gd name="T90" fmla="*/ 1 w 109"/>
                <a:gd name="T91" fmla="*/ 124 h 168"/>
                <a:gd name="T92" fmla="*/ 12 w 109"/>
                <a:gd name="T93" fmla="*/ 134 h 168"/>
                <a:gd name="T94" fmla="*/ 18 w 109"/>
                <a:gd name="T95" fmla="*/ 134 h 168"/>
                <a:gd name="T96" fmla="*/ 20 w 109"/>
                <a:gd name="T97" fmla="*/ 161 h 168"/>
                <a:gd name="T98" fmla="*/ 46 w 109"/>
                <a:gd name="T99" fmla="*/ 159 h 168"/>
                <a:gd name="T100" fmla="*/ 85 w 109"/>
                <a:gd name="T101" fmla="*/ 160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68">
                  <a:moveTo>
                    <a:pt x="105" y="168"/>
                  </a:moveTo>
                  <a:cubicBezTo>
                    <a:pt x="105" y="168"/>
                    <a:pt x="105" y="168"/>
                    <a:pt x="105" y="168"/>
                  </a:cubicBezTo>
                  <a:cubicBezTo>
                    <a:pt x="105" y="168"/>
                    <a:pt x="90" y="161"/>
                    <a:pt x="85" y="161"/>
                  </a:cubicBezTo>
                  <a:cubicBezTo>
                    <a:pt x="85" y="161"/>
                    <a:pt x="85" y="161"/>
                    <a:pt x="84" y="161"/>
                  </a:cubicBezTo>
                  <a:cubicBezTo>
                    <a:pt x="84" y="161"/>
                    <a:pt x="82" y="161"/>
                    <a:pt x="79" y="161"/>
                  </a:cubicBezTo>
                  <a:cubicBezTo>
                    <a:pt x="68" y="161"/>
                    <a:pt x="47" y="160"/>
                    <a:pt x="46" y="160"/>
                  </a:cubicBezTo>
                  <a:cubicBezTo>
                    <a:pt x="40" y="162"/>
                    <a:pt x="40" y="162"/>
                    <a:pt x="40" y="162"/>
                  </a:cubicBezTo>
                  <a:cubicBezTo>
                    <a:pt x="19" y="162"/>
                    <a:pt x="19" y="162"/>
                    <a:pt x="19" y="162"/>
                  </a:cubicBezTo>
                  <a:cubicBezTo>
                    <a:pt x="19" y="162"/>
                    <a:pt x="19" y="162"/>
                    <a:pt x="19" y="162"/>
                  </a:cubicBezTo>
                  <a:cubicBezTo>
                    <a:pt x="18" y="159"/>
                    <a:pt x="19" y="154"/>
                    <a:pt x="21" y="151"/>
                  </a:cubicBezTo>
                  <a:cubicBezTo>
                    <a:pt x="21" y="150"/>
                    <a:pt x="21" y="149"/>
                    <a:pt x="22" y="148"/>
                  </a:cubicBezTo>
                  <a:cubicBezTo>
                    <a:pt x="22" y="146"/>
                    <a:pt x="20" y="136"/>
                    <a:pt x="18" y="135"/>
                  </a:cubicBezTo>
                  <a:cubicBezTo>
                    <a:pt x="17" y="134"/>
                    <a:pt x="16" y="134"/>
                    <a:pt x="14" y="135"/>
                  </a:cubicBezTo>
                  <a:cubicBezTo>
                    <a:pt x="14" y="135"/>
                    <a:pt x="13" y="135"/>
                    <a:pt x="12" y="135"/>
                  </a:cubicBezTo>
                  <a:cubicBezTo>
                    <a:pt x="10" y="135"/>
                    <a:pt x="8" y="134"/>
                    <a:pt x="6" y="132"/>
                  </a:cubicBezTo>
                  <a:cubicBezTo>
                    <a:pt x="6" y="131"/>
                    <a:pt x="5" y="130"/>
                    <a:pt x="5" y="129"/>
                  </a:cubicBezTo>
                  <a:cubicBezTo>
                    <a:pt x="3" y="127"/>
                    <a:pt x="2" y="125"/>
                    <a:pt x="1" y="124"/>
                  </a:cubicBezTo>
                  <a:cubicBezTo>
                    <a:pt x="0" y="124"/>
                    <a:pt x="0" y="124"/>
                    <a:pt x="0" y="124"/>
                  </a:cubicBezTo>
                  <a:cubicBezTo>
                    <a:pt x="0" y="124"/>
                    <a:pt x="0" y="124"/>
                    <a:pt x="0" y="124"/>
                  </a:cubicBezTo>
                  <a:cubicBezTo>
                    <a:pt x="3" y="116"/>
                    <a:pt x="5" y="108"/>
                    <a:pt x="5" y="108"/>
                  </a:cubicBezTo>
                  <a:cubicBezTo>
                    <a:pt x="5" y="108"/>
                    <a:pt x="5" y="108"/>
                    <a:pt x="5" y="108"/>
                  </a:cubicBezTo>
                  <a:cubicBezTo>
                    <a:pt x="5" y="108"/>
                    <a:pt x="5" y="108"/>
                    <a:pt x="5" y="108"/>
                  </a:cubicBezTo>
                  <a:cubicBezTo>
                    <a:pt x="7" y="105"/>
                    <a:pt x="20" y="92"/>
                    <a:pt x="22" y="92"/>
                  </a:cubicBezTo>
                  <a:cubicBezTo>
                    <a:pt x="22" y="92"/>
                    <a:pt x="23" y="92"/>
                    <a:pt x="24" y="92"/>
                  </a:cubicBezTo>
                  <a:cubicBezTo>
                    <a:pt x="24" y="92"/>
                    <a:pt x="25" y="92"/>
                    <a:pt x="26" y="92"/>
                  </a:cubicBezTo>
                  <a:cubicBezTo>
                    <a:pt x="27" y="92"/>
                    <a:pt x="29" y="92"/>
                    <a:pt x="30" y="91"/>
                  </a:cubicBezTo>
                  <a:cubicBezTo>
                    <a:pt x="31" y="90"/>
                    <a:pt x="31" y="90"/>
                    <a:pt x="32" y="90"/>
                  </a:cubicBezTo>
                  <a:cubicBezTo>
                    <a:pt x="35" y="90"/>
                    <a:pt x="40" y="94"/>
                    <a:pt x="41" y="98"/>
                  </a:cubicBezTo>
                  <a:cubicBezTo>
                    <a:pt x="41" y="99"/>
                    <a:pt x="42" y="99"/>
                    <a:pt x="42" y="99"/>
                  </a:cubicBezTo>
                  <a:cubicBezTo>
                    <a:pt x="42" y="99"/>
                    <a:pt x="44" y="96"/>
                    <a:pt x="45" y="94"/>
                  </a:cubicBezTo>
                  <a:cubicBezTo>
                    <a:pt x="45" y="93"/>
                    <a:pt x="46" y="92"/>
                    <a:pt x="46" y="92"/>
                  </a:cubicBezTo>
                  <a:cubicBezTo>
                    <a:pt x="47" y="91"/>
                    <a:pt x="47" y="90"/>
                    <a:pt x="48" y="89"/>
                  </a:cubicBezTo>
                  <a:cubicBezTo>
                    <a:pt x="51" y="84"/>
                    <a:pt x="57" y="72"/>
                    <a:pt x="57" y="70"/>
                  </a:cubicBezTo>
                  <a:cubicBezTo>
                    <a:pt x="57" y="67"/>
                    <a:pt x="59" y="66"/>
                    <a:pt x="61" y="64"/>
                  </a:cubicBezTo>
                  <a:cubicBezTo>
                    <a:pt x="62" y="63"/>
                    <a:pt x="64" y="62"/>
                    <a:pt x="64" y="61"/>
                  </a:cubicBezTo>
                  <a:cubicBezTo>
                    <a:pt x="64" y="60"/>
                    <a:pt x="64" y="60"/>
                    <a:pt x="64" y="60"/>
                  </a:cubicBezTo>
                  <a:cubicBezTo>
                    <a:pt x="64" y="57"/>
                    <a:pt x="64" y="54"/>
                    <a:pt x="66" y="53"/>
                  </a:cubicBezTo>
                  <a:cubicBezTo>
                    <a:pt x="68" y="52"/>
                    <a:pt x="69" y="46"/>
                    <a:pt x="69" y="44"/>
                  </a:cubicBezTo>
                  <a:cubicBezTo>
                    <a:pt x="68" y="41"/>
                    <a:pt x="77" y="28"/>
                    <a:pt x="78" y="28"/>
                  </a:cubicBezTo>
                  <a:cubicBezTo>
                    <a:pt x="78" y="27"/>
                    <a:pt x="80" y="26"/>
                    <a:pt x="81" y="26"/>
                  </a:cubicBezTo>
                  <a:cubicBezTo>
                    <a:pt x="83" y="26"/>
                    <a:pt x="86" y="25"/>
                    <a:pt x="86" y="23"/>
                  </a:cubicBezTo>
                  <a:cubicBezTo>
                    <a:pt x="86" y="22"/>
                    <a:pt x="86" y="22"/>
                    <a:pt x="86" y="21"/>
                  </a:cubicBezTo>
                  <a:cubicBezTo>
                    <a:pt x="87" y="18"/>
                    <a:pt x="87" y="15"/>
                    <a:pt x="86" y="15"/>
                  </a:cubicBezTo>
                  <a:cubicBezTo>
                    <a:pt x="83" y="14"/>
                    <a:pt x="79" y="11"/>
                    <a:pt x="79" y="8"/>
                  </a:cubicBezTo>
                  <a:cubicBezTo>
                    <a:pt x="79" y="7"/>
                    <a:pt x="79" y="3"/>
                    <a:pt x="80" y="0"/>
                  </a:cubicBezTo>
                  <a:cubicBezTo>
                    <a:pt x="80" y="0"/>
                    <a:pt x="80" y="0"/>
                    <a:pt x="80" y="0"/>
                  </a:cubicBezTo>
                  <a:cubicBezTo>
                    <a:pt x="81" y="0"/>
                    <a:pt x="81" y="0"/>
                    <a:pt x="81" y="0"/>
                  </a:cubicBezTo>
                  <a:cubicBezTo>
                    <a:pt x="81" y="0"/>
                    <a:pt x="81" y="0"/>
                    <a:pt x="81" y="0"/>
                  </a:cubicBezTo>
                  <a:cubicBezTo>
                    <a:pt x="83" y="0"/>
                    <a:pt x="84" y="1"/>
                    <a:pt x="86" y="2"/>
                  </a:cubicBezTo>
                  <a:cubicBezTo>
                    <a:pt x="89" y="6"/>
                    <a:pt x="91" y="11"/>
                    <a:pt x="91" y="14"/>
                  </a:cubicBezTo>
                  <a:cubicBezTo>
                    <a:pt x="91" y="16"/>
                    <a:pt x="91" y="17"/>
                    <a:pt x="92" y="19"/>
                  </a:cubicBezTo>
                  <a:cubicBezTo>
                    <a:pt x="92" y="21"/>
                    <a:pt x="93" y="23"/>
                    <a:pt x="93" y="27"/>
                  </a:cubicBezTo>
                  <a:cubicBezTo>
                    <a:pt x="92" y="34"/>
                    <a:pt x="96" y="43"/>
                    <a:pt x="99" y="45"/>
                  </a:cubicBezTo>
                  <a:cubicBezTo>
                    <a:pt x="99" y="45"/>
                    <a:pt x="100" y="46"/>
                    <a:pt x="99" y="46"/>
                  </a:cubicBezTo>
                  <a:cubicBezTo>
                    <a:pt x="99" y="48"/>
                    <a:pt x="95" y="48"/>
                    <a:pt x="94" y="48"/>
                  </a:cubicBezTo>
                  <a:cubicBezTo>
                    <a:pt x="94" y="48"/>
                    <a:pt x="93" y="48"/>
                    <a:pt x="92" y="48"/>
                  </a:cubicBezTo>
                  <a:cubicBezTo>
                    <a:pt x="91" y="48"/>
                    <a:pt x="89" y="47"/>
                    <a:pt x="87" y="47"/>
                  </a:cubicBezTo>
                  <a:cubicBezTo>
                    <a:pt x="82" y="47"/>
                    <a:pt x="80" y="48"/>
                    <a:pt x="80" y="49"/>
                  </a:cubicBezTo>
                  <a:cubicBezTo>
                    <a:pt x="80" y="50"/>
                    <a:pt x="80" y="50"/>
                    <a:pt x="80" y="50"/>
                  </a:cubicBezTo>
                  <a:cubicBezTo>
                    <a:pt x="80" y="52"/>
                    <a:pt x="79" y="55"/>
                    <a:pt x="84" y="59"/>
                  </a:cubicBezTo>
                  <a:cubicBezTo>
                    <a:pt x="85" y="60"/>
                    <a:pt x="87" y="62"/>
                    <a:pt x="88" y="63"/>
                  </a:cubicBezTo>
                  <a:cubicBezTo>
                    <a:pt x="92" y="65"/>
                    <a:pt x="94" y="68"/>
                    <a:pt x="96" y="72"/>
                  </a:cubicBezTo>
                  <a:cubicBezTo>
                    <a:pt x="97" y="76"/>
                    <a:pt x="99" y="80"/>
                    <a:pt x="100" y="82"/>
                  </a:cubicBezTo>
                  <a:cubicBezTo>
                    <a:pt x="100" y="82"/>
                    <a:pt x="100" y="82"/>
                    <a:pt x="100" y="82"/>
                  </a:cubicBezTo>
                  <a:cubicBezTo>
                    <a:pt x="99" y="83"/>
                    <a:pt x="99" y="83"/>
                    <a:pt x="99" y="83"/>
                  </a:cubicBezTo>
                  <a:cubicBezTo>
                    <a:pt x="97" y="86"/>
                    <a:pt x="94" y="88"/>
                    <a:pt x="93" y="91"/>
                  </a:cubicBezTo>
                  <a:cubicBezTo>
                    <a:pt x="92" y="95"/>
                    <a:pt x="90" y="97"/>
                    <a:pt x="88" y="100"/>
                  </a:cubicBezTo>
                  <a:cubicBezTo>
                    <a:pt x="87" y="102"/>
                    <a:pt x="86" y="104"/>
                    <a:pt x="86" y="106"/>
                  </a:cubicBezTo>
                  <a:cubicBezTo>
                    <a:pt x="86" y="107"/>
                    <a:pt x="86" y="108"/>
                    <a:pt x="86" y="110"/>
                  </a:cubicBezTo>
                  <a:cubicBezTo>
                    <a:pt x="87" y="112"/>
                    <a:pt x="88" y="115"/>
                    <a:pt x="88" y="118"/>
                  </a:cubicBezTo>
                  <a:cubicBezTo>
                    <a:pt x="88" y="123"/>
                    <a:pt x="89" y="125"/>
                    <a:pt x="92" y="129"/>
                  </a:cubicBezTo>
                  <a:cubicBezTo>
                    <a:pt x="94" y="133"/>
                    <a:pt x="94" y="137"/>
                    <a:pt x="94" y="138"/>
                  </a:cubicBezTo>
                  <a:cubicBezTo>
                    <a:pt x="94" y="138"/>
                    <a:pt x="95" y="140"/>
                    <a:pt x="97" y="143"/>
                  </a:cubicBezTo>
                  <a:cubicBezTo>
                    <a:pt x="98" y="144"/>
                    <a:pt x="100" y="145"/>
                    <a:pt x="102" y="147"/>
                  </a:cubicBezTo>
                  <a:cubicBezTo>
                    <a:pt x="104" y="149"/>
                    <a:pt x="106" y="151"/>
                    <a:pt x="107" y="152"/>
                  </a:cubicBezTo>
                  <a:cubicBezTo>
                    <a:pt x="107" y="153"/>
                    <a:pt x="108" y="154"/>
                    <a:pt x="109" y="154"/>
                  </a:cubicBezTo>
                  <a:cubicBezTo>
                    <a:pt x="109" y="154"/>
                    <a:pt x="109" y="154"/>
                    <a:pt x="109" y="154"/>
                  </a:cubicBezTo>
                  <a:cubicBezTo>
                    <a:pt x="109" y="155"/>
                    <a:pt x="109" y="155"/>
                    <a:pt x="109" y="155"/>
                  </a:cubicBezTo>
                  <a:cubicBezTo>
                    <a:pt x="106" y="160"/>
                    <a:pt x="106" y="168"/>
                    <a:pt x="106" y="168"/>
                  </a:cubicBezTo>
                  <a:lnTo>
                    <a:pt x="105" y="168"/>
                  </a:lnTo>
                  <a:close/>
                  <a:moveTo>
                    <a:pt x="85" y="160"/>
                  </a:moveTo>
                  <a:cubicBezTo>
                    <a:pt x="90" y="160"/>
                    <a:pt x="102" y="165"/>
                    <a:pt x="105" y="167"/>
                  </a:cubicBezTo>
                  <a:cubicBezTo>
                    <a:pt x="105" y="165"/>
                    <a:pt x="106" y="159"/>
                    <a:pt x="108" y="155"/>
                  </a:cubicBezTo>
                  <a:cubicBezTo>
                    <a:pt x="107" y="154"/>
                    <a:pt x="106" y="153"/>
                    <a:pt x="106" y="152"/>
                  </a:cubicBezTo>
                  <a:cubicBezTo>
                    <a:pt x="105" y="151"/>
                    <a:pt x="103" y="149"/>
                    <a:pt x="101" y="147"/>
                  </a:cubicBezTo>
                  <a:cubicBezTo>
                    <a:pt x="99" y="146"/>
                    <a:pt x="97" y="144"/>
                    <a:pt x="96" y="143"/>
                  </a:cubicBezTo>
                  <a:cubicBezTo>
                    <a:pt x="94" y="140"/>
                    <a:pt x="93" y="138"/>
                    <a:pt x="93" y="138"/>
                  </a:cubicBezTo>
                  <a:cubicBezTo>
                    <a:pt x="93" y="138"/>
                    <a:pt x="93" y="138"/>
                    <a:pt x="93" y="138"/>
                  </a:cubicBezTo>
                  <a:cubicBezTo>
                    <a:pt x="93" y="138"/>
                    <a:pt x="93" y="138"/>
                    <a:pt x="93" y="138"/>
                  </a:cubicBezTo>
                  <a:cubicBezTo>
                    <a:pt x="93" y="138"/>
                    <a:pt x="94" y="133"/>
                    <a:pt x="91" y="130"/>
                  </a:cubicBezTo>
                  <a:cubicBezTo>
                    <a:pt x="88" y="126"/>
                    <a:pt x="87" y="123"/>
                    <a:pt x="87" y="118"/>
                  </a:cubicBezTo>
                  <a:cubicBezTo>
                    <a:pt x="87" y="115"/>
                    <a:pt x="86" y="112"/>
                    <a:pt x="85" y="110"/>
                  </a:cubicBezTo>
                  <a:cubicBezTo>
                    <a:pt x="85" y="109"/>
                    <a:pt x="85" y="107"/>
                    <a:pt x="85" y="106"/>
                  </a:cubicBezTo>
                  <a:cubicBezTo>
                    <a:pt x="85" y="104"/>
                    <a:pt x="86" y="102"/>
                    <a:pt x="88" y="100"/>
                  </a:cubicBezTo>
                  <a:cubicBezTo>
                    <a:pt x="89" y="97"/>
                    <a:pt x="91" y="94"/>
                    <a:pt x="92" y="91"/>
                  </a:cubicBezTo>
                  <a:cubicBezTo>
                    <a:pt x="93" y="88"/>
                    <a:pt x="96" y="85"/>
                    <a:pt x="99" y="82"/>
                  </a:cubicBezTo>
                  <a:cubicBezTo>
                    <a:pt x="99" y="82"/>
                    <a:pt x="99" y="82"/>
                    <a:pt x="99" y="82"/>
                  </a:cubicBezTo>
                  <a:cubicBezTo>
                    <a:pt x="98" y="80"/>
                    <a:pt x="96" y="76"/>
                    <a:pt x="95" y="72"/>
                  </a:cubicBezTo>
                  <a:cubicBezTo>
                    <a:pt x="94" y="68"/>
                    <a:pt x="91" y="66"/>
                    <a:pt x="88" y="64"/>
                  </a:cubicBezTo>
                  <a:cubicBezTo>
                    <a:pt x="86" y="63"/>
                    <a:pt x="85" y="61"/>
                    <a:pt x="83" y="60"/>
                  </a:cubicBezTo>
                  <a:cubicBezTo>
                    <a:pt x="78" y="55"/>
                    <a:pt x="79" y="52"/>
                    <a:pt x="79" y="50"/>
                  </a:cubicBezTo>
                  <a:cubicBezTo>
                    <a:pt x="79" y="49"/>
                    <a:pt x="79" y="49"/>
                    <a:pt x="79" y="49"/>
                  </a:cubicBezTo>
                  <a:cubicBezTo>
                    <a:pt x="79" y="47"/>
                    <a:pt x="82" y="46"/>
                    <a:pt x="87" y="46"/>
                  </a:cubicBezTo>
                  <a:cubicBezTo>
                    <a:pt x="89" y="46"/>
                    <a:pt x="91" y="47"/>
                    <a:pt x="92" y="47"/>
                  </a:cubicBezTo>
                  <a:cubicBezTo>
                    <a:pt x="93" y="47"/>
                    <a:pt x="94" y="47"/>
                    <a:pt x="94" y="47"/>
                  </a:cubicBezTo>
                  <a:cubicBezTo>
                    <a:pt x="97" y="47"/>
                    <a:pt x="98" y="46"/>
                    <a:pt x="98" y="46"/>
                  </a:cubicBezTo>
                  <a:cubicBezTo>
                    <a:pt x="98" y="46"/>
                    <a:pt x="98" y="46"/>
                    <a:pt x="98" y="46"/>
                  </a:cubicBezTo>
                  <a:cubicBezTo>
                    <a:pt x="98" y="46"/>
                    <a:pt x="98" y="46"/>
                    <a:pt x="98" y="45"/>
                  </a:cubicBezTo>
                  <a:cubicBezTo>
                    <a:pt x="96" y="44"/>
                    <a:pt x="91" y="34"/>
                    <a:pt x="92" y="27"/>
                  </a:cubicBezTo>
                  <a:cubicBezTo>
                    <a:pt x="92" y="23"/>
                    <a:pt x="91" y="21"/>
                    <a:pt x="91" y="19"/>
                  </a:cubicBezTo>
                  <a:cubicBezTo>
                    <a:pt x="90" y="17"/>
                    <a:pt x="90" y="16"/>
                    <a:pt x="90" y="14"/>
                  </a:cubicBezTo>
                  <a:cubicBezTo>
                    <a:pt x="90" y="11"/>
                    <a:pt x="88" y="6"/>
                    <a:pt x="85" y="3"/>
                  </a:cubicBezTo>
                  <a:cubicBezTo>
                    <a:pt x="84" y="2"/>
                    <a:pt x="83" y="1"/>
                    <a:pt x="81" y="1"/>
                  </a:cubicBezTo>
                  <a:cubicBezTo>
                    <a:pt x="81" y="1"/>
                    <a:pt x="81" y="1"/>
                    <a:pt x="81" y="1"/>
                  </a:cubicBezTo>
                  <a:cubicBezTo>
                    <a:pt x="80" y="4"/>
                    <a:pt x="80" y="7"/>
                    <a:pt x="80" y="8"/>
                  </a:cubicBezTo>
                  <a:cubicBezTo>
                    <a:pt x="80" y="10"/>
                    <a:pt x="84" y="13"/>
                    <a:pt x="86" y="14"/>
                  </a:cubicBezTo>
                  <a:cubicBezTo>
                    <a:pt x="88" y="14"/>
                    <a:pt x="88" y="18"/>
                    <a:pt x="87" y="21"/>
                  </a:cubicBezTo>
                  <a:cubicBezTo>
                    <a:pt x="87" y="22"/>
                    <a:pt x="87" y="22"/>
                    <a:pt x="87" y="23"/>
                  </a:cubicBezTo>
                  <a:cubicBezTo>
                    <a:pt x="87" y="26"/>
                    <a:pt x="84" y="27"/>
                    <a:pt x="81" y="27"/>
                  </a:cubicBezTo>
                  <a:cubicBezTo>
                    <a:pt x="80" y="27"/>
                    <a:pt x="79" y="28"/>
                    <a:pt x="78" y="28"/>
                  </a:cubicBezTo>
                  <a:cubicBezTo>
                    <a:pt x="77" y="31"/>
                    <a:pt x="70" y="42"/>
                    <a:pt x="70" y="44"/>
                  </a:cubicBezTo>
                  <a:cubicBezTo>
                    <a:pt x="70" y="46"/>
                    <a:pt x="69" y="53"/>
                    <a:pt x="66" y="54"/>
                  </a:cubicBezTo>
                  <a:cubicBezTo>
                    <a:pt x="65" y="54"/>
                    <a:pt x="65" y="58"/>
                    <a:pt x="65" y="60"/>
                  </a:cubicBezTo>
                  <a:cubicBezTo>
                    <a:pt x="65" y="61"/>
                    <a:pt x="65" y="61"/>
                    <a:pt x="65" y="61"/>
                  </a:cubicBezTo>
                  <a:cubicBezTo>
                    <a:pt x="65" y="62"/>
                    <a:pt x="63" y="63"/>
                    <a:pt x="62" y="65"/>
                  </a:cubicBezTo>
                  <a:cubicBezTo>
                    <a:pt x="60" y="66"/>
                    <a:pt x="58" y="68"/>
                    <a:pt x="58" y="70"/>
                  </a:cubicBezTo>
                  <a:cubicBezTo>
                    <a:pt x="58" y="72"/>
                    <a:pt x="53" y="81"/>
                    <a:pt x="48" y="90"/>
                  </a:cubicBezTo>
                  <a:cubicBezTo>
                    <a:pt x="48" y="91"/>
                    <a:pt x="47" y="92"/>
                    <a:pt x="47" y="92"/>
                  </a:cubicBezTo>
                  <a:cubicBezTo>
                    <a:pt x="47" y="93"/>
                    <a:pt x="46" y="94"/>
                    <a:pt x="46" y="94"/>
                  </a:cubicBezTo>
                  <a:cubicBezTo>
                    <a:pt x="44" y="98"/>
                    <a:pt x="43" y="100"/>
                    <a:pt x="42" y="100"/>
                  </a:cubicBezTo>
                  <a:cubicBezTo>
                    <a:pt x="41" y="100"/>
                    <a:pt x="40" y="99"/>
                    <a:pt x="40" y="98"/>
                  </a:cubicBezTo>
                  <a:cubicBezTo>
                    <a:pt x="39" y="95"/>
                    <a:pt x="35" y="91"/>
                    <a:pt x="32" y="91"/>
                  </a:cubicBezTo>
                  <a:cubicBezTo>
                    <a:pt x="31" y="91"/>
                    <a:pt x="31" y="91"/>
                    <a:pt x="31" y="91"/>
                  </a:cubicBezTo>
                  <a:cubicBezTo>
                    <a:pt x="29" y="93"/>
                    <a:pt x="27" y="93"/>
                    <a:pt x="26" y="93"/>
                  </a:cubicBezTo>
                  <a:cubicBezTo>
                    <a:pt x="25" y="93"/>
                    <a:pt x="24" y="93"/>
                    <a:pt x="24" y="93"/>
                  </a:cubicBezTo>
                  <a:cubicBezTo>
                    <a:pt x="23" y="93"/>
                    <a:pt x="22" y="93"/>
                    <a:pt x="22" y="93"/>
                  </a:cubicBezTo>
                  <a:cubicBezTo>
                    <a:pt x="21" y="93"/>
                    <a:pt x="11" y="103"/>
                    <a:pt x="5" y="108"/>
                  </a:cubicBezTo>
                  <a:cubicBezTo>
                    <a:pt x="5" y="110"/>
                    <a:pt x="4" y="116"/>
                    <a:pt x="1" y="124"/>
                  </a:cubicBezTo>
                  <a:cubicBezTo>
                    <a:pt x="3" y="125"/>
                    <a:pt x="4" y="127"/>
                    <a:pt x="5" y="129"/>
                  </a:cubicBezTo>
                  <a:cubicBezTo>
                    <a:pt x="6" y="130"/>
                    <a:pt x="7" y="131"/>
                    <a:pt x="7" y="132"/>
                  </a:cubicBezTo>
                  <a:cubicBezTo>
                    <a:pt x="8" y="133"/>
                    <a:pt x="10" y="134"/>
                    <a:pt x="12" y="134"/>
                  </a:cubicBezTo>
                  <a:cubicBezTo>
                    <a:pt x="13" y="134"/>
                    <a:pt x="14" y="134"/>
                    <a:pt x="14" y="134"/>
                  </a:cubicBezTo>
                  <a:cubicBezTo>
                    <a:pt x="15" y="134"/>
                    <a:pt x="16" y="133"/>
                    <a:pt x="16" y="133"/>
                  </a:cubicBezTo>
                  <a:cubicBezTo>
                    <a:pt x="17" y="133"/>
                    <a:pt x="18" y="134"/>
                    <a:pt x="18" y="134"/>
                  </a:cubicBezTo>
                  <a:cubicBezTo>
                    <a:pt x="21" y="135"/>
                    <a:pt x="24" y="146"/>
                    <a:pt x="23" y="149"/>
                  </a:cubicBezTo>
                  <a:cubicBezTo>
                    <a:pt x="22" y="149"/>
                    <a:pt x="22" y="150"/>
                    <a:pt x="22" y="151"/>
                  </a:cubicBezTo>
                  <a:cubicBezTo>
                    <a:pt x="21" y="154"/>
                    <a:pt x="19" y="158"/>
                    <a:pt x="20" y="161"/>
                  </a:cubicBezTo>
                  <a:cubicBezTo>
                    <a:pt x="39" y="161"/>
                    <a:pt x="39" y="161"/>
                    <a:pt x="39" y="161"/>
                  </a:cubicBezTo>
                  <a:cubicBezTo>
                    <a:pt x="46" y="159"/>
                    <a:pt x="46" y="159"/>
                    <a:pt x="46" y="159"/>
                  </a:cubicBezTo>
                  <a:cubicBezTo>
                    <a:pt x="46" y="159"/>
                    <a:pt x="46" y="159"/>
                    <a:pt x="46" y="159"/>
                  </a:cubicBezTo>
                  <a:cubicBezTo>
                    <a:pt x="46" y="159"/>
                    <a:pt x="68" y="160"/>
                    <a:pt x="79" y="160"/>
                  </a:cubicBezTo>
                  <a:cubicBezTo>
                    <a:pt x="82" y="160"/>
                    <a:pt x="83" y="160"/>
                    <a:pt x="84" y="160"/>
                  </a:cubicBezTo>
                  <a:cubicBezTo>
                    <a:pt x="85" y="160"/>
                    <a:pt x="85" y="160"/>
                    <a:pt x="85" y="1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0" name="Freeform 27"/>
            <p:cNvSpPr>
              <a:spLocks noEditPoints="1"/>
            </p:cNvSpPr>
            <p:nvPr/>
          </p:nvSpPr>
          <p:spPr>
            <a:xfrm>
              <a:off x="4570414" y="3544888"/>
              <a:ext cx="152400" cy="153988"/>
            </a:xfrm>
            <a:custGeom>
              <a:gdLst>
                <a:gd name="T0" fmla="*/ 12 w 90"/>
                <a:gd name="T1" fmla="*/ 91 h 91"/>
                <a:gd name="T2" fmla="*/ 15 w 90"/>
                <a:gd name="T3" fmla="*/ 82 h 91"/>
                <a:gd name="T4" fmla="*/ 8 w 90"/>
                <a:gd name="T5" fmla="*/ 68 h 91"/>
                <a:gd name="T6" fmla="*/ 2 w 90"/>
                <a:gd name="T7" fmla="*/ 65 h 91"/>
                <a:gd name="T8" fmla="*/ 1 w 90"/>
                <a:gd name="T9" fmla="*/ 61 h 91"/>
                <a:gd name="T10" fmla="*/ 5 w 90"/>
                <a:gd name="T11" fmla="*/ 45 h 91"/>
                <a:gd name="T12" fmla="*/ 6 w 90"/>
                <a:gd name="T13" fmla="*/ 39 h 91"/>
                <a:gd name="T14" fmla="*/ 7 w 90"/>
                <a:gd name="T15" fmla="*/ 33 h 91"/>
                <a:gd name="T16" fmla="*/ 12 w 90"/>
                <a:gd name="T17" fmla="*/ 33 h 91"/>
                <a:gd name="T18" fmla="*/ 9 w 90"/>
                <a:gd name="T19" fmla="*/ 24 h 91"/>
                <a:gd name="T20" fmla="*/ 7 w 90"/>
                <a:gd name="T21" fmla="*/ 7 h 91"/>
                <a:gd name="T22" fmla="*/ 8 w 90"/>
                <a:gd name="T23" fmla="*/ 6 h 91"/>
                <a:gd name="T24" fmla="*/ 15 w 90"/>
                <a:gd name="T25" fmla="*/ 3 h 91"/>
                <a:gd name="T26" fmla="*/ 22 w 90"/>
                <a:gd name="T27" fmla="*/ 8 h 91"/>
                <a:gd name="T28" fmla="*/ 33 w 90"/>
                <a:gd name="T29" fmla="*/ 0 h 91"/>
                <a:gd name="T30" fmla="*/ 36 w 90"/>
                <a:gd name="T31" fmla="*/ 2 h 91"/>
                <a:gd name="T32" fmla="*/ 36 w 90"/>
                <a:gd name="T33" fmla="*/ 5 h 91"/>
                <a:gd name="T34" fmla="*/ 43 w 90"/>
                <a:gd name="T35" fmla="*/ 3 h 91"/>
                <a:gd name="T36" fmla="*/ 62 w 90"/>
                <a:gd name="T37" fmla="*/ 15 h 91"/>
                <a:gd name="T38" fmla="*/ 75 w 90"/>
                <a:gd name="T39" fmla="*/ 10 h 91"/>
                <a:gd name="T40" fmla="*/ 84 w 90"/>
                <a:gd name="T41" fmla="*/ 13 h 91"/>
                <a:gd name="T42" fmla="*/ 85 w 90"/>
                <a:gd name="T43" fmla="*/ 13 h 91"/>
                <a:gd name="T44" fmla="*/ 87 w 90"/>
                <a:gd name="T45" fmla="*/ 41 h 91"/>
                <a:gd name="T46" fmla="*/ 81 w 90"/>
                <a:gd name="T47" fmla="*/ 55 h 91"/>
                <a:gd name="T48" fmla="*/ 85 w 90"/>
                <a:gd name="T49" fmla="*/ 76 h 91"/>
                <a:gd name="T50" fmla="*/ 85 w 90"/>
                <a:gd name="T51" fmla="*/ 84 h 91"/>
                <a:gd name="T52" fmla="*/ 56 w 90"/>
                <a:gd name="T53" fmla="*/ 82 h 91"/>
                <a:gd name="T54" fmla="*/ 13 w 90"/>
                <a:gd name="T55" fmla="*/ 91 h 91"/>
                <a:gd name="T56" fmla="*/ 6 w 90"/>
                <a:gd name="T57" fmla="*/ 35 h 91"/>
                <a:gd name="T58" fmla="*/ 7 w 90"/>
                <a:gd name="T59" fmla="*/ 44 h 91"/>
                <a:gd name="T60" fmla="*/ 3 w 90"/>
                <a:gd name="T61" fmla="*/ 51 h 91"/>
                <a:gd name="T62" fmla="*/ 1 w 90"/>
                <a:gd name="T63" fmla="*/ 63 h 91"/>
                <a:gd name="T64" fmla="*/ 6 w 90"/>
                <a:gd name="T65" fmla="*/ 66 h 91"/>
                <a:gd name="T66" fmla="*/ 18 w 90"/>
                <a:gd name="T67" fmla="*/ 77 h 91"/>
                <a:gd name="T68" fmla="*/ 14 w 90"/>
                <a:gd name="T69" fmla="*/ 90 h 91"/>
                <a:gd name="T70" fmla="*/ 56 w 90"/>
                <a:gd name="T71" fmla="*/ 81 h 91"/>
                <a:gd name="T72" fmla="*/ 84 w 90"/>
                <a:gd name="T73" fmla="*/ 76 h 91"/>
                <a:gd name="T74" fmla="*/ 80 w 90"/>
                <a:gd name="T75" fmla="*/ 55 h 91"/>
                <a:gd name="T76" fmla="*/ 86 w 90"/>
                <a:gd name="T77" fmla="*/ 40 h 91"/>
                <a:gd name="T78" fmla="*/ 84 w 90"/>
                <a:gd name="T79" fmla="*/ 14 h 91"/>
                <a:gd name="T80" fmla="*/ 75 w 90"/>
                <a:gd name="T81" fmla="*/ 11 h 91"/>
                <a:gd name="T82" fmla="*/ 62 w 90"/>
                <a:gd name="T83" fmla="*/ 16 h 91"/>
                <a:gd name="T84" fmla="*/ 43 w 90"/>
                <a:gd name="T85" fmla="*/ 4 h 91"/>
                <a:gd name="T86" fmla="*/ 35 w 90"/>
                <a:gd name="T87" fmla="*/ 6 h 91"/>
                <a:gd name="T88" fmla="*/ 34 w 90"/>
                <a:gd name="T89" fmla="*/ 1 h 91"/>
                <a:gd name="T90" fmla="*/ 28 w 90"/>
                <a:gd name="T91" fmla="*/ 3 h 91"/>
                <a:gd name="T92" fmla="*/ 19 w 90"/>
                <a:gd name="T93" fmla="*/ 7 h 91"/>
                <a:gd name="T94" fmla="*/ 13 w 90"/>
                <a:gd name="T95" fmla="*/ 5 h 91"/>
                <a:gd name="T96" fmla="*/ 8 w 90"/>
                <a:gd name="T97" fmla="*/ 7 h 91"/>
                <a:gd name="T98" fmla="*/ 10 w 90"/>
                <a:gd name="T99" fmla="*/ 25 h 91"/>
                <a:gd name="T100" fmla="*/ 13 w 90"/>
                <a:gd name="T101" fmla="*/ 34 h 91"/>
                <a:gd name="T102" fmla="*/ 9 w 90"/>
                <a:gd name="T103" fmla="*/ 34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91">
                  <a:moveTo>
                    <a:pt x="13" y="91"/>
                  </a:moveTo>
                  <a:cubicBezTo>
                    <a:pt x="12" y="91"/>
                    <a:pt x="12" y="91"/>
                    <a:pt x="12" y="91"/>
                  </a:cubicBezTo>
                  <a:cubicBezTo>
                    <a:pt x="13" y="91"/>
                    <a:pt x="13" y="91"/>
                    <a:pt x="13" y="91"/>
                  </a:cubicBezTo>
                  <a:cubicBezTo>
                    <a:pt x="14" y="86"/>
                    <a:pt x="15" y="84"/>
                    <a:pt x="15" y="82"/>
                  </a:cubicBezTo>
                  <a:cubicBezTo>
                    <a:pt x="16" y="80"/>
                    <a:pt x="17" y="79"/>
                    <a:pt x="17" y="77"/>
                  </a:cubicBezTo>
                  <a:cubicBezTo>
                    <a:pt x="17" y="73"/>
                    <a:pt x="13" y="71"/>
                    <a:pt x="8" y="68"/>
                  </a:cubicBezTo>
                  <a:cubicBezTo>
                    <a:pt x="8" y="68"/>
                    <a:pt x="7" y="67"/>
                    <a:pt x="6" y="67"/>
                  </a:cubicBezTo>
                  <a:cubicBezTo>
                    <a:pt x="4" y="66"/>
                    <a:pt x="3" y="65"/>
                    <a:pt x="2" y="65"/>
                  </a:cubicBezTo>
                  <a:cubicBezTo>
                    <a:pt x="1" y="64"/>
                    <a:pt x="0" y="63"/>
                    <a:pt x="0" y="63"/>
                  </a:cubicBezTo>
                  <a:cubicBezTo>
                    <a:pt x="0" y="62"/>
                    <a:pt x="0" y="62"/>
                    <a:pt x="1" y="61"/>
                  </a:cubicBezTo>
                  <a:cubicBezTo>
                    <a:pt x="3" y="60"/>
                    <a:pt x="3" y="57"/>
                    <a:pt x="2" y="51"/>
                  </a:cubicBezTo>
                  <a:cubicBezTo>
                    <a:pt x="2" y="47"/>
                    <a:pt x="3" y="46"/>
                    <a:pt x="5" y="45"/>
                  </a:cubicBezTo>
                  <a:cubicBezTo>
                    <a:pt x="6" y="44"/>
                    <a:pt x="6" y="44"/>
                    <a:pt x="7" y="43"/>
                  </a:cubicBezTo>
                  <a:cubicBezTo>
                    <a:pt x="7" y="42"/>
                    <a:pt x="7" y="41"/>
                    <a:pt x="6" y="39"/>
                  </a:cubicBezTo>
                  <a:cubicBezTo>
                    <a:pt x="5" y="38"/>
                    <a:pt x="4" y="36"/>
                    <a:pt x="5" y="34"/>
                  </a:cubicBezTo>
                  <a:cubicBezTo>
                    <a:pt x="6" y="33"/>
                    <a:pt x="6" y="33"/>
                    <a:pt x="7" y="33"/>
                  </a:cubicBezTo>
                  <a:cubicBezTo>
                    <a:pt x="8" y="33"/>
                    <a:pt x="9" y="33"/>
                    <a:pt x="9" y="33"/>
                  </a:cubicBezTo>
                  <a:cubicBezTo>
                    <a:pt x="10" y="34"/>
                    <a:pt x="11" y="34"/>
                    <a:pt x="12" y="33"/>
                  </a:cubicBezTo>
                  <a:cubicBezTo>
                    <a:pt x="13" y="32"/>
                    <a:pt x="12" y="30"/>
                    <a:pt x="11" y="28"/>
                  </a:cubicBezTo>
                  <a:cubicBezTo>
                    <a:pt x="10" y="27"/>
                    <a:pt x="9" y="25"/>
                    <a:pt x="9" y="24"/>
                  </a:cubicBezTo>
                  <a:cubicBezTo>
                    <a:pt x="10" y="23"/>
                    <a:pt x="10" y="20"/>
                    <a:pt x="7" y="18"/>
                  </a:cubicBezTo>
                  <a:cubicBezTo>
                    <a:pt x="4" y="17"/>
                    <a:pt x="6" y="12"/>
                    <a:pt x="7" y="7"/>
                  </a:cubicBezTo>
                  <a:cubicBezTo>
                    <a:pt x="7" y="5"/>
                    <a:pt x="7" y="5"/>
                    <a:pt x="7" y="5"/>
                  </a:cubicBezTo>
                  <a:cubicBezTo>
                    <a:pt x="8" y="6"/>
                    <a:pt x="8" y="6"/>
                    <a:pt x="8" y="6"/>
                  </a:cubicBezTo>
                  <a:cubicBezTo>
                    <a:pt x="9" y="7"/>
                    <a:pt x="11" y="7"/>
                    <a:pt x="12" y="5"/>
                  </a:cubicBezTo>
                  <a:cubicBezTo>
                    <a:pt x="13" y="3"/>
                    <a:pt x="14" y="3"/>
                    <a:pt x="15" y="3"/>
                  </a:cubicBezTo>
                  <a:cubicBezTo>
                    <a:pt x="17" y="3"/>
                    <a:pt x="19" y="5"/>
                    <a:pt x="20" y="7"/>
                  </a:cubicBezTo>
                  <a:cubicBezTo>
                    <a:pt x="20" y="7"/>
                    <a:pt x="21" y="8"/>
                    <a:pt x="22" y="8"/>
                  </a:cubicBezTo>
                  <a:cubicBezTo>
                    <a:pt x="24" y="8"/>
                    <a:pt x="27" y="6"/>
                    <a:pt x="27" y="3"/>
                  </a:cubicBezTo>
                  <a:cubicBezTo>
                    <a:pt x="28" y="1"/>
                    <a:pt x="31" y="0"/>
                    <a:pt x="33" y="0"/>
                  </a:cubicBezTo>
                  <a:cubicBezTo>
                    <a:pt x="34" y="0"/>
                    <a:pt x="35" y="0"/>
                    <a:pt x="35" y="0"/>
                  </a:cubicBezTo>
                  <a:cubicBezTo>
                    <a:pt x="36" y="1"/>
                    <a:pt x="36" y="2"/>
                    <a:pt x="36" y="2"/>
                  </a:cubicBezTo>
                  <a:cubicBezTo>
                    <a:pt x="35" y="4"/>
                    <a:pt x="36" y="5"/>
                    <a:pt x="36" y="5"/>
                  </a:cubicBezTo>
                  <a:cubicBezTo>
                    <a:pt x="36" y="5"/>
                    <a:pt x="36" y="5"/>
                    <a:pt x="36" y="5"/>
                  </a:cubicBezTo>
                  <a:cubicBezTo>
                    <a:pt x="37" y="5"/>
                    <a:pt x="38" y="5"/>
                    <a:pt x="40" y="4"/>
                  </a:cubicBezTo>
                  <a:cubicBezTo>
                    <a:pt x="41" y="3"/>
                    <a:pt x="42" y="3"/>
                    <a:pt x="43" y="3"/>
                  </a:cubicBezTo>
                  <a:cubicBezTo>
                    <a:pt x="47" y="3"/>
                    <a:pt x="51" y="6"/>
                    <a:pt x="52" y="8"/>
                  </a:cubicBezTo>
                  <a:cubicBezTo>
                    <a:pt x="53" y="10"/>
                    <a:pt x="58" y="15"/>
                    <a:pt x="62" y="15"/>
                  </a:cubicBezTo>
                  <a:cubicBezTo>
                    <a:pt x="63" y="15"/>
                    <a:pt x="63" y="14"/>
                    <a:pt x="64" y="14"/>
                  </a:cubicBezTo>
                  <a:cubicBezTo>
                    <a:pt x="67" y="11"/>
                    <a:pt x="72" y="10"/>
                    <a:pt x="75" y="10"/>
                  </a:cubicBezTo>
                  <a:cubicBezTo>
                    <a:pt x="78" y="10"/>
                    <a:pt x="81" y="10"/>
                    <a:pt x="82" y="12"/>
                  </a:cubicBezTo>
                  <a:cubicBezTo>
                    <a:pt x="83" y="12"/>
                    <a:pt x="83" y="13"/>
                    <a:pt x="84" y="13"/>
                  </a:cubicBezTo>
                  <a:cubicBezTo>
                    <a:pt x="84" y="13"/>
                    <a:pt x="84" y="13"/>
                    <a:pt x="84" y="13"/>
                  </a:cubicBezTo>
                  <a:cubicBezTo>
                    <a:pt x="85" y="13"/>
                    <a:pt x="85" y="13"/>
                    <a:pt x="85" y="13"/>
                  </a:cubicBezTo>
                  <a:cubicBezTo>
                    <a:pt x="88" y="21"/>
                    <a:pt x="90" y="33"/>
                    <a:pt x="90" y="36"/>
                  </a:cubicBezTo>
                  <a:cubicBezTo>
                    <a:pt x="90" y="38"/>
                    <a:pt x="88" y="39"/>
                    <a:pt x="87" y="41"/>
                  </a:cubicBezTo>
                  <a:cubicBezTo>
                    <a:pt x="86" y="42"/>
                    <a:pt x="84" y="44"/>
                    <a:pt x="84" y="46"/>
                  </a:cubicBezTo>
                  <a:cubicBezTo>
                    <a:pt x="85" y="48"/>
                    <a:pt x="83" y="52"/>
                    <a:pt x="81" y="55"/>
                  </a:cubicBezTo>
                  <a:cubicBezTo>
                    <a:pt x="80" y="57"/>
                    <a:pt x="79" y="59"/>
                    <a:pt x="79" y="60"/>
                  </a:cubicBezTo>
                  <a:cubicBezTo>
                    <a:pt x="79" y="62"/>
                    <a:pt x="83" y="73"/>
                    <a:pt x="85" y="76"/>
                  </a:cubicBezTo>
                  <a:cubicBezTo>
                    <a:pt x="86" y="77"/>
                    <a:pt x="86" y="79"/>
                    <a:pt x="85" y="83"/>
                  </a:cubicBezTo>
                  <a:cubicBezTo>
                    <a:pt x="85" y="84"/>
                    <a:pt x="85" y="84"/>
                    <a:pt x="85" y="84"/>
                  </a:cubicBezTo>
                  <a:cubicBezTo>
                    <a:pt x="84" y="84"/>
                    <a:pt x="84" y="84"/>
                    <a:pt x="84" y="84"/>
                  </a:cubicBezTo>
                  <a:cubicBezTo>
                    <a:pt x="75" y="81"/>
                    <a:pt x="65" y="80"/>
                    <a:pt x="56" y="82"/>
                  </a:cubicBezTo>
                  <a:cubicBezTo>
                    <a:pt x="48" y="83"/>
                    <a:pt x="40" y="85"/>
                    <a:pt x="33" y="87"/>
                  </a:cubicBezTo>
                  <a:cubicBezTo>
                    <a:pt x="25" y="89"/>
                    <a:pt x="18" y="91"/>
                    <a:pt x="13" y="91"/>
                  </a:cubicBezTo>
                  <a:close/>
                  <a:moveTo>
                    <a:pt x="7" y="34"/>
                  </a:moveTo>
                  <a:cubicBezTo>
                    <a:pt x="7" y="34"/>
                    <a:pt x="7" y="34"/>
                    <a:pt x="6" y="35"/>
                  </a:cubicBezTo>
                  <a:cubicBezTo>
                    <a:pt x="6" y="36"/>
                    <a:pt x="6" y="38"/>
                    <a:pt x="7" y="39"/>
                  </a:cubicBezTo>
                  <a:cubicBezTo>
                    <a:pt x="8" y="40"/>
                    <a:pt x="9" y="42"/>
                    <a:pt x="7" y="44"/>
                  </a:cubicBezTo>
                  <a:cubicBezTo>
                    <a:pt x="6" y="45"/>
                    <a:pt x="6" y="45"/>
                    <a:pt x="6" y="45"/>
                  </a:cubicBezTo>
                  <a:cubicBezTo>
                    <a:pt x="4" y="47"/>
                    <a:pt x="3" y="48"/>
                    <a:pt x="3" y="51"/>
                  </a:cubicBezTo>
                  <a:cubicBezTo>
                    <a:pt x="4" y="57"/>
                    <a:pt x="4" y="60"/>
                    <a:pt x="2" y="62"/>
                  </a:cubicBezTo>
                  <a:cubicBezTo>
                    <a:pt x="1" y="62"/>
                    <a:pt x="1" y="63"/>
                    <a:pt x="1" y="63"/>
                  </a:cubicBezTo>
                  <a:cubicBezTo>
                    <a:pt x="1" y="63"/>
                    <a:pt x="2" y="63"/>
                    <a:pt x="3" y="64"/>
                  </a:cubicBezTo>
                  <a:cubicBezTo>
                    <a:pt x="4" y="64"/>
                    <a:pt x="5" y="65"/>
                    <a:pt x="6" y="66"/>
                  </a:cubicBezTo>
                  <a:cubicBezTo>
                    <a:pt x="7" y="66"/>
                    <a:pt x="8" y="67"/>
                    <a:pt x="9" y="67"/>
                  </a:cubicBezTo>
                  <a:cubicBezTo>
                    <a:pt x="13" y="70"/>
                    <a:pt x="18" y="73"/>
                    <a:pt x="18" y="77"/>
                  </a:cubicBezTo>
                  <a:cubicBezTo>
                    <a:pt x="18" y="79"/>
                    <a:pt x="17" y="81"/>
                    <a:pt x="16" y="82"/>
                  </a:cubicBezTo>
                  <a:cubicBezTo>
                    <a:pt x="16" y="84"/>
                    <a:pt x="15" y="86"/>
                    <a:pt x="14" y="90"/>
                  </a:cubicBezTo>
                  <a:cubicBezTo>
                    <a:pt x="18" y="90"/>
                    <a:pt x="25" y="88"/>
                    <a:pt x="33" y="86"/>
                  </a:cubicBezTo>
                  <a:cubicBezTo>
                    <a:pt x="40" y="84"/>
                    <a:pt x="47" y="82"/>
                    <a:pt x="56" y="81"/>
                  </a:cubicBezTo>
                  <a:cubicBezTo>
                    <a:pt x="65" y="79"/>
                    <a:pt x="75" y="80"/>
                    <a:pt x="84" y="82"/>
                  </a:cubicBezTo>
                  <a:cubicBezTo>
                    <a:pt x="85" y="79"/>
                    <a:pt x="85" y="77"/>
                    <a:pt x="84" y="76"/>
                  </a:cubicBezTo>
                  <a:cubicBezTo>
                    <a:pt x="82" y="74"/>
                    <a:pt x="78" y="62"/>
                    <a:pt x="78" y="60"/>
                  </a:cubicBezTo>
                  <a:cubicBezTo>
                    <a:pt x="78" y="59"/>
                    <a:pt x="79" y="57"/>
                    <a:pt x="80" y="55"/>
                  </a:cubicBezTo>
                  <a:cubicBezTo>
                    <a:pt x="82" y="52"/>
                    <a:pt x="84" y="48"/>
                    <a:pt x="83" y="46"/>
                  </a:cubicBezTo>
                  <a:cubicBezTo>
                    <a:pt x="83" y="43"/>
                    <a:pt x="85" y="41"/>
                    <a:pt x="86" y="40"/>
                  </a:cubicBezTo>
                  <a:cubicBezTo>
                    <a:pt x="88" y="38"/>
                    <a:pt x="89" y="37"/>
                    <a:pt x="89" y="36"/>
                  </a:cubicBezTo>
                  <a:cubicBezTo>
                    <a:pt x="89" y="33"/>
                    <a:pt x="87" y="21"/>
                    <a:pt x="84" y="14"/>
                  </a:cubicBezTo>
                  <a:cubicBezTo>
                    <a:pt x="83" y="14"/>
                    <a:pt x="82" y="13"/>
                    <a:pt x="81" y="12"/>
                  </a:cubicBezTo>
                  <a:cubicBezTo>
                    <a:pt x="80" y="11"/>
                    <a:pt x="78" y="11"/>
                    <a:pt x="75" y="11"/>
                  </a:cubicBezTo>
                  <a:cubicBezTo>
                    <a:pt x="72" y="11"/>
                    <a:pt x="67" y="12"/>
                    <a:pt x="65" y="14"/>
                  </a:cubicBezTo>
                  <a:cubicBezTo>
                    <a:pt x="64" y="15"/>
                    <a:pt x="63" y="16"/>
                    <a:pt x="62" y="16"/>
                  </a:cubicBezTo>
                  <a:cubicBezTo>
                    <a:pt x="57" y="16"/>
                    <a:pt x="52" y="10"/>
                    <a:pt x="51" y="8"/>
                  </a:cubicBezTo>
                  <a:cubicBezTo>
                    <a:pt x="50" y="7"/>
                    <a:pt x="47" y="4"/>
                    <a:pt x="43" y="4"/>
                  </a:cubicBezTo>
                  <a:cubicBezTo>
                    <a:pt x="42" y="4"/>
                    <a:pt x="41" y="4"/>
                    <a:pt x="41" y="5"/>
                  </a:cubicBezTo>
                  <a:cubicBezTo>
                    <a:pt x="38" y="7"/>
                    <a:pt x="36" y="7"/>
                    <a:pt x="35" y="6"/>
                  </a:cubicBezTo>
                  <a:cubicBezTo>
                    <a:pt x="35" y="5"/>
                    <a:pt x="34" y="4"/>
                    <a:pt x="35" y="2"/>
                  </a:cubicBezTo>
                  <a:cubicBezTo>
                    <a:pt x="35" y="2"/>
                    <a:pt x="35" y="1"/>
                    <a:pt x="34" y="1"/>
                  </a:cubicBezTo>
                  <a:cubicBezTo>
                    <a:pt x="33" y="1"/>
                    <a:pt x="33" y="1"/>
                    <a:pt x="33" y="1"/>
                  </a:cubicBezTo>
                  <a:cubicBezTo>
                    <a:pt x="31" y="1"/>
                    <a:pt x="29" y="2"/>
                    <a:pt x="28" y="3"/>
                  </a:cubicBezTo>
                  <a:cubicBezTo>
                    <a:pt x="28" y="6"/>
                    <a:pt x="24" y="9"/>
                    <a:pt x="22" y="9"/>
                  </a:cubicBezTo>
                  <a:cubicBezTo>
                    <a:pt x="21" y="9"/>
                    <a:pt x="20" y="8"/>
                    <a:pt x="19" y="7"/>
                  </a:cubicBezTo>
                  <a:cubicBezTo>
                    <a:pt x="18" y="6"/>
                    <a:pt x="16" y="4"/>
                    <a:pt x="15" y="4"/>
                  </a:cubicBezTo>
                  <a:cubicBezTo>
                    <a:pt x="14" y="4"/>
                    <a:pt x="13" y="4"/>
                    <a:pt x="13" y="5"/>
                  </a:cubicBezTo>
                  <a:cubicBezTo>
                    <a:pt x="12" y="7"/>
                    <a:pt x="11" y="8"/>
                    <a:pt x="10" y="8"/>
                  </a:cubicBezTo>
                  <a:cubicBezTo>
                    <a:pt x="9" y="8"/>
                    <a:pt x="8" y="7"/>
                    <a:pt x="8" y="7"/>
                  </a:cubicBezTo>
                  <a:cubicBezTo>
                    <a:pt x="7" y="11"/>
                    <a:pt x="6" y="16"/>
                    <a:pt x="8" y="17"/>
                  </a:cubicBezTo>
                  <a:cubicBezTo>
                    <a:pt x="11" y="19"/>
                    <a:pt x="11" y="23"/>
                    <a:pt x="10" y="25"/>
                  </a:cubicBezTo>
                  <a:cubicBezTo>
                    <a:pt x="10" y="25"/>
                    <a:pt x="11" y="27"/>
                    <a:pt x="12" y="28"/>
                  </a:cubicBezTo>
                  <a:cubicBezTo>
                    <a:pt x="13" y="30"/>
                    <a:pt x="14" y="32"/>
                    <a:pt x="13" y="34"/>
                  </a:cubicBezTo>
                  <a:cubicBezTo>
                    <a:pt x="12" y="35"/>
                    <a:pt x="12" y="35"/>
                    <a:pt x="11" y="35"/>
                  </a:cubicBezTo>
                  <a:cubicBezTo>
                    <a:pt x="10" y="35"/>
                    <a:pt x="10" y="35"/>
                    <a:pt x="9" y="34"/>
                  </a:cubicBezTo>
                  <a:cubicBezTo>
                    <a:pt x="8" y="34"/>
                    <a:pt x="8" y="34"/>
                    <a:pt x="7"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1" name="Freeform 28"/>
            <p:cNvSpPr>
              <a:spLocks noEditPoints="1"/>
            </p:cNvSpPr>
            <p:nvPr/>
          </p:nvSpPr>
          <p:spPr>
            <a:xfrm>
              <a:off x="4702176" y="3532188"/>
              <a:ext cx="107950" cy="160338"/>
            </a:xfrm>
            <a:custGeom>
              <a:gdLst>
                <a:gd name="T0" fmla="*/ 17 w 63"/>
                <a:gd name="T1" fmla="*/ 94 h 94"/>
                <a:gd name="T2" fmla="*/ 15 w 63"/>
                <a:gd name="T3" fmla="*/ 94 h 94"/>
                <a:gd name="T4" fmla="*/ 6 w 63"/>
                <a:gd name="T5" fmla="*/ 90 h 94"/>
                <a:gd name="T6" fmla="*/ 6 w 63"/>
                <a:gd name="T7" fmla="*/ 83 h 94"/>
                <a:gd name="T8" fmla="*/ 2 w 63"/>
                <a:gd name="T9" fmla="*/ 62 h 94"/>
                <a:gd name="T10" fmla="*/ 8 w 63"/>
                <a:gd name="T11" fmla="*/ 47 h 94"/>
                <a:gd name="T12" fmla="*/ 6 w 63"/>
                <a:gd name="T13" fmla="*/ 20 h 94"/>
                <a:gd name="T14" fmla="*/ 6 w 63"/>
                <a:gd name="T15" fmla="*/ 20 h 94"/>
                <a:gd name="T16" fmla="*/ 7 w 63"/>
                <a:gd name="T17" fmla="*/ 12 h 94"/>
                <a:gd name="T18" fmla="*/ 19 w 63"/>
                <a:gd name="T19" fmla="*/ 1 h 94"/>
                <a:gd name="T20" fmla="*/ 43 w 63"/>
                <a:gd name="T21" fmla="*/ 4 h 94"/>
                <a:gd name="T22" fmla="*/ 46 w 63"/>
                <a:gd name="T23" fmla="*/ 0 h 94"/>
                <a:gd name="T24" fmla="*/ 47 w 63"/>
                <a:gd name="T25" fmla="*/ 0 h 94"/>
                <a:gd name="T26" fmla="*/ 53 w 63"/>
                <a:gd name="T27" fmla="*/ 18 h 94"/>
                <a:gd name="T28" fmla="*/ 53 w 63"/>
                <a:gd name="T29" fmla="*/ 39 h 94"/>
                <a:gd name="T30" fmla="*/ 63 w 63"/>
                <a:gd name="T31" fmla="*/ 75 h 94"/>
                <a:gd name="T32" fmla="*/ 62 w 63"/>
                <a:gd name="T33" fmla="*/ 76 h 94"/>
                <a:gd name="T34" fmla="*/ 46 w 63"/>
                <a:gd name="T35" fmla="*/ 83 h 94"/>
                <a:gd name="T36" fmla="*/ 7 w 63"/>
                <a:gd name="T37" fmla="*/ 90 h 94"/>
                <a:gd name="T38" fmla="*/ 17 w 63"/>
                <a:gd name="T39" fmla="*/ 93 h 94"/>
                <a:gd name="T40" fmla="*/ 45 w 63"/>
                <a:gd name="T41" fmla="*/ 82 h 94"/>
                <a:gd name="T42" fmla="*/ 61 w 63"/>
                <a:gd name="T43" fmla="*/ 75 h 94"/>
                <a:gd name="T44" fmla="*/ 52 w 63"/>
                <a:gd name="T45" fmla="*/ 39 h 94"/>
                <a:gd name="T46" fmla="*/ 52 w 63"/>
                <a:gd name="T47" fmla="*/ 18 h 94"/>
                <a:gd name="T48" fmla="*/ 46 w 63"/>
                <a:gd name="T49" fmla="*/ 1 h 94"/>
                <a:gd name="T50" fmla="*/ 43 w 63"/>
                <a:gd name="T51" fmla="*/ 5 h 94"/>
                <a:gd name="T52" fmla="*/ 19 w 63"/>
                <a:gd name="T53" fmla="*/ 2 h 94"/>
                <a:gd name="T54" fmla="*/ 8 w 63"/>
                <a:gd name="T55" fmla="*/ 12 h 94"/>
                <a:gd name="T56" fmla="*/ 7 w 63"/>
                <a:gd name="T57" fmla="*/ 21 h 94"/>
                <a:gd name="T58" fmla="*/ 9 w 63"/>
                <a:gd name="T59" fmla="*/ 48 h 94"/>
                <a:gd name="T60" fmla="*/ 3 w 63"/>
                <a:gd name="T61" fmla="*/ 62 h 94"/>
                <a:gd name="T62" fmla="*/ 7 w 63"/>
                <a:gd name="T63" fmla="*/ 83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17" y="94"/>
                  </a:moveTo>
                  <a:cubicBezTo>
                    <a:pt x="17" y="94"/>
                    <a:pt x="17" y="94"/>
                    <a:pt x="17" y="94"/>
                  </a:cubicBezTo>
                  <a:cubicBezTo>
                    <a:pt x="17" y="94"/>
                    <a:pt x="17" y="94"/>
                    <a:pt x="17" y="94"/>
                  </a:cubicBezTo>
                  <a:cubicBezTo>
                    <a:pt x="17" y="94"/>
                    <a:pt x="16" y="94"/>
                    <a:pt x="15" y="94"/>
                  </a:cubicBezTo>
                  <a:cubicBezTo>
                    <a:pt x="13" y="93"/>
                    <a:pt x="10" y="92"/>
                    <a:pt x="6" y="91"/>
                  </a:cubicBezTo>
                  <a:cubicBezTo>
                    <a:pt x="6" y="90"/>
                    <a:pt x="6" y="90"/>
                    <a:pt x="6" y="90"/>
                  </a:cubicBezTo>
                  <a:cubicBezTo>
                    <a:pt x="6" y="90"/>
                    <a:pt x="6" y="90"/>
                    <a:pt x="6" y="90"/>
                  </a:cubicBezTo>
                  <a:cubicBezTo>
                    <a:pt x="7" y="86"/>
                    <a:pt x="7" y="84"/>
                    <a:pt x="6" y="83"/>
                  </a:cubicBezTo>
                  <a:cubicBezTo>
                    <a:pt x="4" y="81"/>
                    <a:pt x="0" y="69"/>
                    <a:pt x="0" y="67"/>
                  </a:cubicBezTo>
                  <a:cubicBezTo>
                    <a:pt x="0" y="66"/>
                    <a:pt x="1" y="64"/>
                    <a:pt x="2" y="62"/>
                  </a:cubicBezTo>
                  <a:cubicBezTo>
                    <a:pt x="4" y="59"/>
                    <a:pt x="6" y="55"/>
                    <a:pt x="5" y="53"/>
                  </a:cubicBezTo>
                  <a:cubicBezTo>
                    <a:pt x="5" y="50"/>
                    <a:pt x="7" y="48"/>
                    <a:pt x="8" y="47"/>
                  </a:cubicBezTo>
                  <a:cubicBezTo>
                    <a:pt x="10" y="45"/>
                    <a:pt x="11" y="44"/>
                    <a:pt x="11" y="43"/>
                  </a:cubicBezTo>
                  <a:cubicBezTo>
                    <a:pt x="11" y="40"/>
                    <a:pt x="9" y="28"/>
                    <a:pt x="6" y="20"/>
                  </a:cubicBezTo>
                  <a:cubicBezTo>
                    <a:pt x="5" y="20"/>
                    <a:pt x="5" y="20"/>
                    <a:pt x="5" y="20"/>
                  </a:cubicBezTo>
                  <a:cubicBezTo>
                    <a:pt x="6" y="20"/>
                    <a:pt x="6" y="20"/>
                    <a:pt x="6" y="20"/>
                  </a:cubicBezTo>
                  <a:cubicBezTo>
                    <a:pt x="7" y="20"/>
                    <a:pt x="8" y="18"/>
                    <a:pt x="8" y="18"/>
                  </a:cubicBezTo>
                  <a:cubicBezTo>
                    <a:pt x="8" y="17"/>
                    <a:pt x="7" y="14"/>
                    <a:pt x="7" y="12"/>
                  </a:cubicBezTo>
                  <a:cubicBezTo>
                    <a:pt x="5" y="8"/>
                    <a:pt x="4" y="4"/>
                    <a:pt x="5" y="3"/>
                  </a:cubicBezTo>
                  <a:cubicBezTo>
                    <a:pt x="6" y="2"/>
                    <a:pt x="11" y="1"/>
                    <a:pt x="19" y="1"/>
                  </a:cubicBezTo>
                  <a:cubicBezTo>
                    <a:pt x="26" y="1"/>
                    <a:pt x="42" y="2"/>
                    <a:pt x="43" y="4"/>
                  </a:cubicBezTo>
                  <a:cubicBezTo>
                    <a:pt x="43" y="4"/>
                    <a:pt x="43" y="4"/>
                    <a:pt x="43" y="4"/>
                  </a:cubicBezTo>
                  <a:cubicBezTo>
                    <a:pt x="43" y="3"/>
                    <a:pt x="43" y="3"/>
                    <a:pt x="43" y="3"/>
                  </a:cubicBezTo>
                  <a:cubicBezTo>
                    <a:pt x="44" y="2"/>
                    <a:pt x="44" y="0"/>
                    <a:pt x="46" y="0"/>
                  </a:cubicBezTo>
                  <a:cubicBezTo>
                    <a:pt x="47" y="0"/>
                    <a:pt x="47" y="0"/>
                    <a:pt x="47" y="0"/>
                  </a:cubicBezTo>
                  <a:cubicBezTo>
                    <a:pt x="47" y="0"/>
                    <a:pt x="47" y="0"/>
                    <a:pt x="47" y="0"/>
                  </a:cubicBezTo>
                  <a:cubicBezTo>
                    <a:pt x="48" y="8"/>
                    <a:pt x="49" y="9"/>
                    <a:pt x="49" y="9"/>
                  </a:cubicBezTo>
                  <a:cubicBezTo>
                    <a:pt x="52" y="11"/>
                    <a:pt x="53" y="14"/>
                    <a:pt x="53" y="18"/>
                  </a:cubicBezTo>
                  <a:cubicBezTo>
                    <a:pt x="53" y="19"/>
                    <a:pt x="53" y="20"/>
                    <a:pt x="53" y="21"/>
                  </a:cubicBezTo>
                  <a:cubicBezTo>
                    <a:pt x="52" y="26"/>
                    <a:pt x="52" y="34"/>
                    <a:pt x="53" y="39"/>
                  </a:cubicBezTo>
                  <a:cubicBezTo>
                    <a:pt x="55" y="43"/>
                    <a:pt x="57" y="51"/>
                    <a:pt x="57" y="59"/>
                  </a:cubicBezTo>
                  <a:cubicBezTo>
                    <a:pt x="57" y="63"/>
                    <a:pt x="60" y="70"/>
                    <a:pt x="63" y="75"/>
                  </a:cubicBezTo>
                  <a:cubicBezTo>
                    <a:pt x="63" y="76"/>
                    <a:pt x="63" y="76"/>
                    <a:pt x="63" y="76"/>
                  </a:cubicBezTo>
                  <a:cubicBezTo>
                    <a:pt x="62" y="76"/>
                    <a:pt x="62" y="76"/>
                    <a:pt x="62" y="76"/>
                  </a:cubicBezTo>
                  <a:cubicBezTo>
                    <a:pt x="60" y="77"/>
                    <a:pt x="57" y="78"/>
                    <a:pt x="55" y="79"/>
                  </a:cubicBezTo>
                  <a:cubicBezTo>
                    <a:pt x="52" y="80"/>
                    <a:pt x="48" y="82"/>
                    <a:pt x="46" y="83"/>
                  </a:cubicBezTo>
                  <a:cubicBezTo>
                    <a:pt x="39" y="86"/>
                    <a:pt x="21" y="94"/>
                    <a:pt x="17" y="94"/>
                  </a:cubicBezTo>
                  <a:close/>
                  <a:moveTo>
                    <a:pt x="7" y="90"/>
                  </a:moveTo>
                  <a:cubicBezTo>
                    <a:pt x="10" y="91"/>
                    <a:pt x="13" y="92"/>
                    <a:pt x="15" y="93"/>
                  </a:cubicBezTo>
                  <a:cubicBezTo>
                    <a:pt x="16" y="93"/>
                    <a:pt x="17" y="93"/>
                    <a:pt x="17" y="93"/>
                  </a:cubicBezTo>
                  <a:cubicBezTo>
                    <a:pt x="17" y="93"/>
                    <a:pt x="17" y="93"/>
                    <a:pt x="17" y="93"/>
                  </a:cubicBezTo>
                  <a:cubicBezTo>
                    <a:pt x="21" y="93"/>
                    <a:pt x="37" y="86"/>
                    <a:pt x="45" y="82"/>
                  </a:cubicBezTo>
                  <a:cubicBezTo>
                    <a:pt x="48" y="81"/>
                    <a:pt x="51" y="79"/>
                    <a:pt x="54" y="78"/>
                  </a:cubicBezTo>
                  <a:cubicBezTo>
                    <a:pt x="57" y="77"/>
                    <a:pt x="59" y="76"/>
                    <a:pt x="61" y="75"/>
                  </a:cubicBezTo>
                  <a:cubicBezTo>
                    <a:pt x="59" y="70"/>
                    <a:pt x="56" y="63"/>
                    <a:pt x="56" y="59"/>
                  </a:cubicBezTo>
                  <a:cubicBezTo>
                    <a:pt x="56" y="51"/>
                    <a:pt x="54" y="44"/>
                    <a:pt x="52" y="39"/>
                  </a:cubicBezTo>
                  <a:cubicBezTo>
                    <a:pt x="51" y="35"/>
                    <a:pt x="51" y="26"/>
                    <a:pt x="52" y="21"/>
                  </a:cubicBezTo>
                  <a:cubicBezTo>
                    <a:pt x="52" y="20"/>
                    <a:pt x="52" y="19"/>
                    <a:pt x="52" y="18"/>
                  </a:cubicBezTo>
                  <a:cubicBezTo>
                    <a:pt x="52" y="14"/>
                    <a:pt x="51" y="11"/>
                    <a:pt x="49" y="10"/>
                  </a:cubicBezTo>
                  <a:cubicBezTo>
                    <a:pt x="48" y="10"/>
                    <a:pt x="47" y="8"/>
                    <a:pt x="46" y="1"/>
                  </a:cubicBezTo>
                  <a:cubicBezTo>
                    <a:pt x="45" y="2"/>
                    <a:pt x="44" y="3"/>
                    <a:pt x="44" y="3"/>
                  </a:cubicBezTo>
                  <a:cubicBezTo>
                    <a:pt x="44" y="4"/>
                    <a:pt x="43" y="5"/>
                    <a:pt x="43" y="5"/>
                  </a:cubicBezTo>
                  <a:cubicBezTo>
                    <a:pt x="42" y="5"/>
                    <a:pt x="42" y="4"/>
                    <a:pt x="42" y="4"/>
                  </a:cubicBezTo>
                  <a:cubicBezTo>
                    <a:pt x="41" y="3"/>
                    <a:pt x="30" y="2"/>
                    <a:pt x="19" y="2"/>
                  </a:cubicBezTo>
                  <a:cubicBezTo>
                    <a:pt x="9" y="2"/>
                    <a:pt x="6" y="3"/>
                    <a:pt x="6" y="3"/>
                  </a:cubicBezTo>
                  <a:cubicBezTo>
                    <a:pt x="5" y="5"/>
                    <a:pt x="7" y="9"/>
                    <a:pt x="8" y="12"/>
                  </a:cubicBezTo>
                  <a:cubicBezTo>
                    <a:pt x="8" y="14"/>
                    <a:pt x="9" y="17"/>
                    <a:pt x="9" y="18"/>
                  </a:cubicBezTo>
                  <a:cubicBezTo>
                    <a:pt x="9" y="19"/>
                    <a:pt x="8" y="20"/>
                    <a:pt x="7" y="21"/>
                  </a:cubicBezTo>
                  <a:cubicBezTo>
                    <a:pt x="10" y="28"/>
                    <a:pt x="12" y="40"/>
                    <a:pt x="12" y="43"/>
                  </a:cubicBezTo>
                  <a:cubicBezTo>
                    <a:pt x="12" y="45"/>
                    <a:pt x="10" y="46"/>
                    <a:pt x="9" y="48"/>
                  </a:cubicBezTo>
                  <a:cubicBezTo>
                    <a:pt x="8" y="49"/>
                    <a:pt x="6" y="51"/>
                    <a:pt x="6" y="53"/>
                  </a:cubicBezTo>
                  <a:cubicBezTo>
                    <a:pt x="7" y="55"/>
                    <a:pt x="5" y="59"/>
                    <a:pt x="3" y="62"/>
                  </a:cubicBezTo>
                  <a:cubicBezTo>
                    <a:pt x="2" y="64"/>
                    <a:pt x="1" y="66"/>
                    <a:pt x="1" y="67"/>
                  </a:cubicBezTo>
                  <a:cubicBezTo>
                    <a:pt x="1" y="69"/>
                    <a:pt x="5" y="80"/>
                    <a:pt x="7" y="83"/>
                  </a:cubicBezTo>
                  <a:cubicBezTo>
                    <a:pt x="8" y="84"/>
                    <a:pt x="8" y="86"/>
                    <a:pt x="7" y="9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2" name="Freeform 29"/>
            <p:cNvSpPr>
              <a:spLocks noEditPoints="1"/>
            </p:cNvSpPr>
            <p:nvPr/>
          </p:nvSpPr>
          <p:spPr>
            <a:xfrm>
              <a:off x="4406901" y="3492500"/>
              <a:ext cx="187325" cy="139700"/>
            </a:xfrm>
            <a:custGeom>
              <a:gdLst>
                <a:gd name="T0" fmla="*/ 83 w 110"/>
                <a:gd name="T1" fmla="*/ 76 h 83"/>
                <a:gd name="T2" fmla="*/ 69 w 110"/>
                <a:gd name="T3" fmla="*/ 66 h 83"/>
                <a:gd name="T4" fmla="*/ 68 w 110"/>
                <a:gd name="T5" fmla="*/ 65 h 83"/>
                <a:gd name="T6" fmla="*/ 51 w 110"/>
                <a:gd name="T7" fmla="*/ 43 h 83"/>
                <a:gd name="T8" fmla="*/ 42 w 110"/>
                <a:gd name="T9" fmla="*/ 43 h 83"/>
                <a:gd name="T10" fmla="*/ 28 w 110"/>
                <a:gd name="T11" fmla="*/ 56 h 83"/>
                <a:gd name="T12" fmla="*/ 11 w 110"/>
                <a:gd name="T13" fmla="*/ 38 h 83"/>
                <a:gd name="T14" fmla="*/ 0 w 110"/>
                <a:gd name="T15" fmla="*/ 25 h 83"/>
                <a:gd name="T16" fmla="*/ 4 w 110"/>
                <a:gd name="T17" fmla="*/ 21 h 83"/>
                <a:gd name="T18" fmla="*/ 19 w 110"/>
                <a:gd name="T19" fmla="*/ 14 h 83"/>
                <a:gd name="T20" fmla="*/ 18 w 110"/>
                <a:gd name="T21" fmla="*/ 7 h 83"/>
                <a:gd name="T22" fmla="*/ 22 w 110"/>
                <a:gd name="T23" fmla="*/ 0 h 83"/>
                <a:gd name="T24" fmla="*/ 53 w 110"/>
                <a:gd name="T25" fmla="*/ 6 h 83"/>
                <a:gd name="T26" fmla="*/ 55 w 110"/>
                <a:gd name="T27" fmla="*/ 8 h 83"/>
                <a:gd name="T28" fmla="*/ 61 w 110"/>
                <a:gd name="T29" fmla="*/ 10 h 83"/>
                <a:gd name="T30" fmla="*/ 67 w 110"/>
                <a:gd name="T31" fmla="*/ 10 h 83"/>
                <a:gd name="T32" fmla="*/ 77 w 110"/>
                <a:gd name="T33" fmla="*/ 11 h 83"/>
                <a:gd name="T34" fmla="*/ 93 w 110"/>
                <a:gd name="T35" fmla="*/ 15 h 83"/>
                <a:gd name="T36" fmla="*/ 98 w 110"/>
                <a:gd name="T37" fmla="*/ 22 h 83"/>
                <a:gd name="T38" fmla="*/ 101 w 110"/>
                <a:gd name="T39" fmla="*/ 31 h 83"/>
                <a:gd name="T40" fmla="*/ 104 w 110"/>
                <a:gd name="T41" fmla="*/ 37 h 83"/>
                <a:gd name="T42" fmla="*/ 106 w 110"/>
                <a:gd name="T43" fmla="*/ 56 h 83"/>
                <a:gd name="T44" fmla="*/ 107 w 110"/>
                <a:gd name="T45" fmla="*/ 66 h 83"/>
                <a:gd name="T46" fmla="*/ 102 w 110"/>
                <a:gd name="T47" fmla="*/ 66 h 83"/>
                <a:gd name="T48" fmla="*/ 102 w 110"/>
                <a:gd name="T49" fmla="*/ 76 h 83"/>
                <a:gd name="T50" fmla="*/ 99 w 110"/>
                <a:gd name="T51" fmla="*/ 79 h 83"/>
                <a:gd name="T52" fmla="*/ 91 w 110"/>
                <a:gd name="T53" fmla="*/ 81 h 83"/>
                <a:gd name="T54" fmla="*/ 81 w 110"/>
                <a:gd name="T55" fmla="*/ 64 h 83"/>
                <a:gd name="T56" fmla="*/ 90 w 110"/>
                <a:gd name="T57" fmla="*/ 81 h 83"/>
                <a:gd name="T58" fmla="*/ 99 w 110"/>
                <a:gd name="T59" fmla="*/ 78 h 83"/>
                <a:gd name="T60" fmla="*/ 102 w 110"/>
                <a:gd name="T61" fmla="*/ 70 h 83"/>
                <a:gd name="T62" fmla="*/ 105 w 110"/>
                <a:gd name="T63" fmla="*/ 64 h 83"/>
                <a:gd name="T64" fmla="*/ 105 w 110"/>
                <a:gd name="T65" fmla="*/ 55 h 83"/>
                <a:gd name="T66" fmla="*/ 103 w 110"/>
                <a:gd name="T67" fmla="*/ 37 h 83"/>
                <a:gd name="T68" fmla="*/ 98 w 110"/>
                <a:gd name="T69" fmla="*/ 27 h 83"/>
                <a:gd name="T70" fmla="*/ 98 w 110"/>
                <a:gd name="T71" fmla="*/ 21 h 83"/>
                <a:gd name="T72" fmla="*/ 87 w 110"/>
                <a:gd name="T73" fmla="*/ 5 h 83"/>
                <a:gd name="T74" fmla="*/ 77 w 110"/>
                <a:gd name="T75" fmla="*/ 12 h 83"/>
                <a:gd name="T76" fmla="*/ 67 w 110"/>
                <a:gd name="T77" fmla="*/ 11 h 83"/>
                <a:gd name="T78" fmla="*/ 61 w 110"/>
                <a:gd name="T79" fmla="*/ 11 h 83"/>
                <a:gd name="T80" fmla="*/ 54 w 110"/>
                <a:gd name="T81" fmla="*/ 8 h 83"/>
                <a:gd name="T82" fmla="*/ 54 w 110"/>
                <a:gd name="T83" fmla="*/ 6 h 83"/>
                <a:gd name="T84" fmla="*/ 31 w 110"/>
                <a:gd name="T85" fmla="*/ 5 h 83"/>
                <a:gd name="T86" fmla="*/ 17 w 110"/>
                <a:gd name="T87" fmla="*/ 9 h 83"/>
                <a:gd name="T88" fmla="*/ 15 w 110"/>
                <a:gd name="T89" fmla="*/ 17 h 83"/>
                <a:gd name="T90" fmla="*/ 5 w 110"/>
                <a:gd name="T91" fmla="*/ 22 h 83"/>
                <a:gd name="T92" fmla="*/ 6 w 110"/>
                <a:gd name="T93" fmla="*/ 31 h 83"/>
                <a:gd name="T94" fmla="*/ 37 w 110"/>
                <a:gd name="T95" fmla="*/ 45 h 83"/>
                <a:gd name="T96" fmla="*/ 44 w 110"/>
                <a:gd name="T97" fmla="*/ 43 h 83"/>
                <a:gd name="T98" fmla="*/ 67 w 110"/>
                <a:gd name="T99" fmla="*/ 56 h 83"/>
                <a:gd name="T100" fmla="*/ 80 w 110"/>
                <a:gd name="T101" fmla="*/ 63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83">
                  <a:moveTo>
                    <a:pt x="88" y="83"/>
                  </a:moveTo>
                  <a:cubicBezTo>
                    <a:pt x="87" y="83"/>
                    <a:pt x="86" y="82"/>
                    <a:pt x="85" y="81"/>
                  </a:cubicBezTo>
                  <a:cubicBezTo>
                    <a:pt x="83" y="79"/>
                    <a:pt x="83" y="78"/>
                    <a:pt x="83" y="76"/>
                  </a:cubicBezTo>
                  <a:cubicBezTo>
                    <a:pt x="84" y="72"/>
                    <a:pt x="82" y="66"/>
                    <a:pt x="80" y="64"/>
                  </a:cubicBezTo>
                  <a:cubicBezTo>
                    <a:pt x="80" y="64"/>
                    <a:pt x="80" y="64"/>
                    <a:pt x="80" y="64"/>
                  </a:cubicBezTo>
                  <a:cubicBezTo>
                    <a:pt x="79" y="64"/>
                    <a:pt x="74" y="65"/>
                    <a:pt x="69" y="66"/>
                  </a:cubicBezTo>
                  <a:cubicBezTo>
                    <a:pt x="69" y="66"/>
                    <a:pt x="69" y="66"/>
                    <a:pt x="69" y="66"/>
                  </a:cubicBezTo>
                  <a:cubicBezTo>
                    <a:pt x="69" y="65"/>
                    <a:pt x="69" y="65"/>
                    <a:pt x="69" y="65"/>
                  </a:cubicBezTo>
                  <a:cubicBezTo>
                    <a:pt x="68" y="65"/>
                    <a:pt x="68" y="65"/>
                    <a:pt x="68" y="65"/>
                  </a:cubicBezTo>
                  <a:cubicBezTo>
                    <a:pt x="66" y="62"/>
                    <a:pt x="66" y="59"/>
                    <a:pt x="66" y="56"/>
                  </a:cubicBezTo>
                  <a:cubicBezTo>
                    <a:pt x="66" y="53"/>
                    <a:pt x="58" y="42"/>
                    <a:pt x="55" y="42"/>
                  </a:cubicBezTo>
                  <a:cubicBezTo>
                    <a:pt x="54" y="42"/>
                    <a:pt x="52" y="42"/>
                    <a:pt x="51" y="43"/>
                  </a:cubicBezTo>
                  <a:cubicBezTo>
                    <a:pt x="49" y="43"/>
                    <a:pt x="47" y="44"/>
                    <a:pt x="45" y="44"/>
                  </a:cubicBezTo>
                  <a:cubicBezTo>
                    <a:pt x="44" y="44"/>
                    <a:pt x="44" y="44"/>
                    <a:pt x="44" y="44"/>
                  </a:cubicBezTo>
                  <a:cubicBezTo>
                    <a:pt x="43" y="44"/>
                    <a:pt x="43" y="44"/>
                    <a:pt x="42" y="43"/>
                  </a:cubicBezTo>
                  <a:cubicBezTo>
                    <a:pt x="41" y="43"/>
                    <a:pt x="40" y="43"/>
                    <a:pt x="40" y="43"/>
                  </a:cubicBezTo>
                  <a:cubicBezTo>
                    <a:pt x="39" y="43"/>
                    <a:pt x="38" y="43"/>
                    <a:pt x="38" y="45"/>
                  </a:cubicBezTo>
                  <a:cubicBezTo>
                    <a:pt x="38" y="48"/>
                    <a:pt x="32" y="52"/>
                    <a:pt x="28" y="56"/>
                  </a:cubicBezTo>
                  <a:cubicBezTo>
                    <a:pt x="27" y="57"/>
                    <a:pt x="27" y="57"/>
                    <a:pt x="27" y="57"/>
                  </a:cubicBezTo>
                  <a:cubicBezTo>
                    <a:pt x="27" y="56"/>
                    <a:pt x="27" y="56"/>
                    <a:pt x="27" y="56"/>
                  </a:cubicBezTo>
                  <a:cubicBezTo>
                    <a:pt x="23" y="48"/>
                    <a:pt x="16" y="43"/>
                    <a:pt x="11" y="38"/>
                  </a:cubicBezTo>
                  <a:cubicBezTo>
                    <a:pt x="7" y="36"/>
                    <a:pt x="6" y="34"/>
                    <a:pt x="5" y="31"/>
                  </a:cubicBezTo>
                  <a:cubicBezTo>
                    <a:pt x="4" y="29"/>
                    <a:pt x="2" y="27"/>
                    <a:pt x="0" y="26"/>
                  </a:cubicBezTo>
                  <a:cubicBezTo>
                    <a:pt x="0" y="25"/>
                    <a:pt x="0" y="25"/>
                    <a:pt x="0" y="25"/>
                  </a:cubicBezTo>
                  <a:cubicBezTo>
                    <a:pt x="0" y="25"/>
                    <a:pt x="0" y="25"/>
                    <a:pt x="0" y="25"/>
                  </a:cubicBezTo>
                  <a:cubicBezTo>
                    <a:pt x="1" y="24"/>
                    <a:pt x="1" y="24"/>
                    <a:pt x="2" y="23"/>
                  </a:cubicBezTo>
                  <a:cubicBezTo>
                    <a:pt x="3" y="23"/>
                    <a:pt x="3" y="22"/>
                    <a:pt x="4" y="21"/>
                  </a:cubicBezTo>
                  <a:cubicBezTo>
                    <a:pt x="8" y="18"/>
                    <a:pt x="12" y="15"/>
                    <a:pt x="14" y="16"/>
                  </a:cubicBezTo>
                  <a:cubicBezTo>
                    <a:pt x="15" y="16"/>
                    <a:pt x="15" y="16"/>
                    <a:pt x="15" y="16"/>
                  </a:cubicBezTo>
                  <a:cubicBezTo>
                    <a:pt x="17" y="16"/>
                    <a:pt x="19" y="15"/>
                    <a:pt x="19" y="14"/>
                  </a:cubicBezTo>
                  <a:cubicBezTo>
                    <a:pt x="18" y="13"/>
                    <a:pt x="18" y="13"/>
                    <a:pt x="18" y="13"/>
                  </a:cubicBezTo>
                  <a:cubicBezTo>
                    <a:pt x="17" y="11"/>
                    <a:pt x="16" y="10"/>
                    <a:pt x="16" y="8"/>
                  </a:cubicBezTo>
                  <a:cubicBezTo>
                    <a:pt x="17" y="8"/>
                    <a:pt x="17" y="7"/>
                    <a:pt x="18" y="7"/>
                  </a:cubicBezTo>
                  <a:cubicBezTo>
                    <a:pt x="21" y="6"/>
                    <a:pt x="21" y="1"/>
                    <a:pt x="21" y="1"/>
                  </a:cubicBezTo>
                  <a:cubicBezTo>
                    <a:pt x="21" y="0"/>
                    <a:pt x="21" y="0"/>
                    <a:pt x="21" y="0"/>
                  </a:cubicBezTo>
                  <a:cubicBezTo>
                    <a:pt x="22" y="0"/>
                    <a:pt x="22" y="0"/>
                    <a:pt x="22" y="0"/>
                  </a:cubicBezTo>
                  <a:cubicBezTo>
                    <a:pt x="23" y="1"/>
                    <a:pt x="32" y="2"/>
                    <a:pt x="32" y="5"/>
                  </a:cubicBezTo>
                  <a:cubicBezTo>
                    <a:pt x="32" y="6"/>
                    <a:pt x="37" y="7"/>
                    <a:pt x="44" y="7"/>
                  </a:cubicBezTo>
                  <a:cubicBezTo>
                    <a:pt x="47" y="7"/>
                    <a:pt x="50" y="7"/>
                    <a:pt x="53" y="6"/>
                  </a:cubicBezTo>
                  <a:cubicBezTo>
                    <a:pt x="55" y="5"/>
                    <a:pt x="55" y="5"/>
                    <a:pt x="55" y="5"/>
                  </a:cubicBezTo>
                  <a:cubicBezTo>
                    <a:pt x="55" y="6"/>
                    <a:pt x="55" y="6"/>
                    <a:pt x="55" y="6"/>
                  </a:cubicBezTo>
                  <a:cubicBezTo>
                    <a:pt x="55" y="7"/>
                    <a:pt x="55" y="8"/>
                    <a:pt x="55" y="8"/>
                  </a:cubicBezTo>
                  <a:cubicBezTo>
                    <a:pt x="55" y="10"/>
                    <a:pt x="57" y="12"/>
                    <a:pt x="57" y="12"/>
                  </a:cubicBezTo>
                  <a:cubicBezTo>
                    <a:pt x="58" y="12"/>
                    <a:pt x="58" y="12"/>
                    <a:pt x="58" y="12"/>
                  </a:cubicBezTo>
                  <a:cubicBezTo>
                    <a:pt x="59" y="11"/>
                    <a:pt x="60" y="10"/>
                    <a:pt x="61" y="10"/>
                  </a:cubicBezTo>
                  <a:cubicBezTo>
                    <a:pt x="62" y="10"/>
                    <a:pt x="63" y="11"/>
                    <a:pt x="63" y="11"/>
                  </a:cubicBezTo>
                  <a:cubicBezTo>
                    <a:pt x="64" y="11"/>
                    <a:pt x="65" y="12"/>
                    <a:pt x="65" y="12"/>
                  </a:cubicBezTo>
                  <a:cubicBezTo>
                    <a:pt x="66" y="12"/>
                    <a:pt x="66" y="12"/>
                    <a:pt x="67" y="10"/>
                  </a:cubicBezTo>
                  <a:cubicBezTo>
                    <a:pt x="67" y="9"/>
                    <a:pt x="68" y="8"/>
                    <a:pt x="69" y="8"/>
                  </a:cubicBezTo>
                  <a:cubicBezTo>
                    <a:pt x="71" y="8"/>
                    <a:pt x="72" y="9"/>
                    <a:pt x="74" y="10"/>
                  </a:cubicBezTo>
                  <a:cubicBezTo>
                    <a:pt x="75" y="10"/>
                    <a:pt x="76" y="11"/>
                    <a:pt x="77" y="11"/>
                  </a:cubicBezTo>
                  <a:cubicBezTo>
                    <a:pt x="78" y="11"/>
                    <a:pt x="80" y="9"/>
                    <a:pt x="82" y="7"/>
                  </a:cubicBezTo>
                  <a:cubicBezTo>
                    <a:pt x="85" y="5"/>
                    <a:pt x="86" y="3"/>
                    <a:pt x="87" y="4"/>
                  </a:cubicBezTo>
                  <a:cubicBezTo>
                    <a:pt x="89" y="4"/>
                    <a:pt x="93" y="12"/>
                    <a:pt x="93" y="15"/>
                  </a:cubicBezTo>
                  <a:cubicBezTo>
                    <a:pt x="93" y="16"/>
                    <a:pt x="95" y="18"/>
                    <a:pt x="97" y="19"/>
                  </a:cubicBezTo>
                  <a:cubicBezTo>
                    <a:pt x="98" y="20"/>
                    <a:pt x="99" y="21"/>
                    <a:pt x="99" y="21"/>
                  </a:cubicBezTo>
                  <a:cubicBezTo>
                    <a:pt x="99" y="22"/>
                    <a:pt x="99" y="22"/>
                    <a:pt x="98" y="22"/>
                  </a:cubicBezTo>
                  <a:cubicBezTo>
                    <a:pt x="97" y="23"/>
                    <a:pt x="96" y="24"/>
                    <a:pt x="96" y="25"/>
                  </a:cubicBezTo>
                  <a:cubicBezTo>
                    <a:pt x="97" y="26"/>
                    <a:pt x="97" y="26"/>
                    <a:pt x="98" y="26"/>
                  </a:cubicBezTo>
                  <a:cubicBezTo>
                    <a:pt x="100" y="26"/>
                    <a:pt x="101" y="29"/>
                    <a:pt x="101" y="31"/>
                  </a:cubicBezTo>
                  <a:cubicBezTo>
                    <a:pt x="101" y="32"/>
                    <a:pt x="101" y="34"/>
                    <a:pt x="102" y="35"/>
                  </a:cubicBezTo>
                  <a:cubicBezTo>
                    <a:pt x="102" y="36"/>
                    <a:pt x="103" y="36"/>
                    <a:pt x="104" y="37"/>
                  </a:cubicBezTo>
                  <a:cubicBezTo>
                    <a:pt x="104" y="37"/>
                    <a:pt x="104" y="37"/>
                    <a:pt x="104" y="37"/>
                  </a:cubicBezTo>
                  <a:cubicBezTo>
                    <a:pt x="104" y="38"/>
                    <a:pt x="104" y="38"/>
                    <a:pt x="104" y="38"/>
                  </a:cubicBezTo>
                  <a:cubicBezTo>
                    <a:pt x="103" y="42"/>
                    <a:pt x="102" y="47"/>
                    <a:pt x="104" y="48"/>
                  </a:cubicBezTo>
                  <a:cubicBezTo>
                    <a:pt x="107" y="50"/>
                    <a:pt x="107" y="54"/>
                    <a:pt x="106" y="56"/>
                  </a:cubicBezTo>
                  <a:cubicBezTo>
                    <a:pt x="106" y="56"/>
                    <a:pt x="107" y="58"/>
                    <a:pt x="108" y="59"/>
                  </a:cubicBezTo>
                  <a:cubicBezTo>
                    <a:pt x="109" y="61"/>
                    <a:pt x="110" y="63"/>
                    <a:pt x="109" y="65"/>
                  </a:cubicBezTo>
                  <a:cubicBezTo>
                    <a:pt x="108" y="66"/>
                    <a:pt x="108" y="66"/>
                    <a:pt x="107" y="66"/>
                  </a:cubicBezTo>
                  <a:cubicBezTo>
                    <a:pt x="106" y="66"/>
                    <a:pt x="106" y="66"/>
                    <a:pt x="105" y="65"/>
                  </a:cubicBezTo>
                  <a:cubicBezTo>
                    <a:pt x="104" y="65"/>
                    <a:pt x="104" y="65"/>
                    <a:pt x="103" y="65"/>
                  </a:cubicBezTo>
                  <a:cubicBezTo>
                    <a:pt x="103" y="65"/>
                    <a:pt x="103" y="65"/>
                    <a:pt x="102" y="66"/>
                  </a:cubicBezTo>
                  <a:cubicBezTo>
                    <a:pt x="102" y="67"/>
                    <a:pt x="102" y="69"/>
                    <a:pt x="103" y="70"/>
                  </a:cubicBezTo>
                  <a:cubicBezTo>
                    <a:pt x="104" y="71"/>
                    <a:pt x="105" y="73"/>
                    <a:pt x="103" y="75"/>
                  </a:cubicBezTo>
                  <a:cubicBezTo>
                    <a:pt x="102" y="76"/>
                    <a:pt x="102" y="76"/>
                    <a:pt x="102" y="76"/>
                  </a:cubicBezTo>
                  <a:cubicBezTo>
                    <a:pt x="101" y="77"/>
                    <a:pt x="100" y="78"/>
                    <a:pt x="100" y="79"/>
                  </a:cubicBezTo>
                  <a:cubicBezTo>
                    <a:pt x="99" y="79"/>
                    <a:pt x="99" y="79"/>
                    <a:pt x="99" y="79"/>
                  </a:cubicBezTo>
                  <a:cubicBezTo>
                    <a:pt x="99" y="79"/>
                    <a:pt x="99" y="79"/>
                    <a:pt x="99" y="79"/>
                  </a:cubicBezTo>
                  <a:cubicBezTo>
                    <a:pt x="97" y="78"/>
                    <a:pt x="96" y="78"/>
                    <a:pt x="96" y="77"/>
                  </a:cubicBezTo>
                  <a:cubicBezTo>
                    <a:pt x="96" y="76"/>
                    <a:pt x="96" y="76"/>
                    <a:pt x="96" y="76"/>
                  </a:cubicBezTo>
                  <a:cubicBezTo>
                    <a:pt x="95" y="76"/>
                    <a:pt x="92" y="79"/>
                    <a:pt x="91" y="81"/>
                  </a:cubicBezTo>
                  <a:cubicBezTo>
                    <a:pt x="90" y="82"/>
                    <a:pt x="89" y="83"/>
                    <a:pt x="88" y="83"/>
                  </a:cubicBezTo>
                  <a:close/>
                  <a:moveTo>
                    <a:pt x="80" y="63"/>
                  </a:moveTo>
                  <a:cubicBezTo>
                    <a:pt x="80" y="63"/>
                    <a:pt x="80" y="63"/>
                    <a:pt x="81" y="64"/>
                  </a:cubicBezTo>
                  <a:cubicBezTo>
                    <a:pt x="82" y="66"/>
                    <a:pt x="85" y="72"/>
                    <a:pt x="84" y="76"/>
                  </a:cubicBezTo>
                  <a:cubicBezTo>
                    <a:pt x="84" y="77"/>
                    <a:pt x="84" y="79"/>
                    <a:pt x="85" y="80"/>
                  </a:cubicBezTo>
                  <a:cubicBezTo>
                    <a:pt x="87" y="82"/>
                    <a:pt x="89" y="82"/>
                    <a:pt x="90" y="81"/>
                  </a:cubicBezTo>
                  <a:cubicBezTo>
                    <a:pt x="93" y="77"/>
                    <a:pt x="94" y="75"/>
                    <a:pt x="96" y="75"/>
                  </a:cubicBezTo>
                  <a:cubicBezTo>
                    <a:pt x="96" y="75"/>
                    <a:pt x="97" y="75"/>
                    <a:pt x="97" y="76"/>
                  </a:cubicBezTo>
                  <a:cubicBezTo>
                    <a:pt x="97" y="77"/>
                    <a:pt x="97" y="77"/>
                    <a:pt x="99" y="78"/>
                  </a:cubicBezTo>
                  <a:cubicBezTo>
                    <a:pt x="99" y="77"/>
                    <a:pt x="100" y="76"/>
                    <a:pt x="101" y="76"/>
                  </a:cubicBezTo>
                  <a:cubicBezTo>
                    <a:pt x="102" y="75"/>
                    <a:pt x="102" y="75"/>
                    <a:pt x="103" y="74"/>
                  </a:cubicBezTo>
                  <a:cubicBezTo>
                    <a:pt x="103" y="73"/>
                    <a:pt x="103" y="72"/>
                    <a:pt x="102" y="70"/>
                  </a:cubicBezTo>
                  <a:cubicBezTo>
                    <a:pt x="101" y="69"/>
                    <a:pt x="100" y="67"/>
                    <a:pt x="101" y="65"/>
                  </a:cubicBezTo>
                  <a:cubicBezTo>
                    <a:pt x="102" y="64"/>
                    <a:pt x="102" y="64"/>
                    <a:pt x="103" y="64"/>
                  </a:cubicBezTo>
                  <a:cubicBezTo>
                    <a:pt x="104" y="64"/>
                    <a:pt x="105" y="64"/>
                    <a:pt x="105" y="64"/>
                  </a:cubicBezTo>
                  <a:cubicBezTo>
                    <a:pt x="106" y="65"/>
                    <a:pt x="107" y="65"/>
                    <a:pt x="108" y="64"/>
                  </a:cubicBezTo>
                  <a:cubicBezTo>
                    <a:pt x="109" y="63"/>
                    <a:pt x="108" y="61"/>
                    <a:pt x="107" y="59"/>
                  </a:cubicBezTo>
                  <a:cubicBezTo>
                    <a:pt x="106" y="58"/>
                    <a:pt x="105" y="56"/>
                    <a:pt x="105" y="55"/>
                  </a:cubicBezTo>
                  <a:cubicBezTo>
                    <a:pt x="106" y="54"/>
                    <a:pt x="106" y="51"/>
                    <a:pt x="103" y="49"/>
                  </a:cubicBezTo>
                  <a:cubicBezTo>
                    <a:pt x="100" y="48"/>
                    <a:pt x="102" y="43"/>
                    <a:pt x="103" y="38"/>
                  </a:cubicBezTo>
                  <a:cubicBezTo>
                    <a:pt x="103" y="37"/>
                    <a:pt x="103" y="37"/>
                    <a:pt x="103" y="37"/>
                  </a:cubicBezTo>
                  <a:cubicBezTo>
                    <a:pt x="102" y="37"/>
                    <a:pt x="102" y="36"/>
                    <a:pt x="101" y="35"/>
                  </a:cubicBezTo>
                  <a:cubicBezTo>
                    <a:pt x="100" y="34"/>
                    <a:pt x="100" y="33"/>
                    <a:pt x="100" y="31"/>
                  </a:cubicBezTo>
                  <a:cubicBezTo>
                    <a:pt x="100" y="29"/>
                    <a:pt x="99" y="27"/>
                    <a:pt x="98" y="27"/>
                  </a:cubicBezTo>
                  <a:cubicBezTo>
                    <a:pt x="97" y="27"/>
                    <a:pt x="96" y="27"/>
                    <a:pt x="95" y="25"/>
                  </a:cubicBezTo>
                  <a:cubicBezTo>
                    <a:pt x="95" y="24"/>
                    <a:pt x="96" y="22"/>
                    <a:pt x="98" y="21"/>
                  </a:cubicBezTo>
                  <a:cubicBezTo>
                    <a:pt x="98" y="21"/>
                    <a:pt x="98" y="21"/>
                    <a:pt x="98" y="21"/>
                  </a:cubicBezTo>
                  <a:cubicBezTo>
                    <a:pt x="98" y="21"/>
                    <a:pt x="97" y="20"/>
                    <a:pt x="96" y="20"/>
                  </a:cubicBezTo>
                  <a:cubicBezTo>
                    <a:pt x="94" y="18"/>
                    <a:pt x="92" y="17"/>
                    <a:pt x="92" y="15"/>
                  </a:cubicBezTo>
                  <a:cubicBezTo>
                    <a:pt x="92" y="12"/>
                    <a:pt x="89" y="5"/>
                    <a:pt x="87" y="5"/>
                  </a:cubicBezTo>
                  <a:cubicBezTo>
                    <a:pt x="87" y="5"/>
                    <a:pt x="87" y="5"/>
                    <a:pt x="87" y="5"/>
                  </a:cubicBezTo>
                  <a:cubicBezTo>
                    <a:pt x="86" y="5"/>
                    <a:pt x="85" y="6"/>
                    <a:pt x="83" y="8"/>
                  </a:cubicBezTo>
                  <a:cubicBezTo>
                    <a:pt x="81" y="10"/>
                    <a:pt x="78" y="12"/>
                    <a:pt x="77" y="12"/>
                  </a:cubicBezTo>
                  <a:cubicBezTo>
                    <a:pt x="76" y="12"/>
                    <a:pt x="75" y="11"/>
                    <a:pt x="73" y="11"/>
                  </a:cubicBezTo>
                  <a:cubicBezTo>
                    <a:pt x="72" y="10"/>
                    <a:pt x="71" y="9"/>
                    <a:pt x="69" y="9"/>
                  </a:cubicBezTo>
                  <a:cubicBezTo>
                    <a:pt x="68" y="9"/>
                    <a:pt x="68" y="10"/>
                    <a:pt x="67" y="11"/>
                  </a:cubicBezTo>
                  <a:cubicBezTo>
                    <a:pt x="67" y="12"/>
                    <a:pt x="66" y="13"/>
                    <a:pt x="65" y="13"/>
                  </a:cubicBezTo>
                  <a:cubicBezTo>
                    <a:pt x="64" y="13"/>
                    <a:pt x="64" y="12"/>
                    <a:pt x="63" y="12"/>
                  </a:cubicBezTo>
                  <a:cubicBezTo>
                    <a:pt x="62" y="12"/>
                    <a:pt x="61" y="11"/>
                    <a:pt x="61" y="11"/>
                  </a:cubicBezTo>
                  <a:cubicBezTo>
                    <a:pt x="60" y="11"/>
                    <a:pt x="60" y="12"/>
                    <a:pt x="59" y="12"/>
                  </a:cubicBezTo>
                  <a:cubicBezTo>
                    <a:pt x="59" y="13"/>
                    <a:pt x="58" y="13"/>
                    <a:pt x="57" y="13"/>
                  </a:cubicBezTo>
                  <a:cubicBezTo>
                    <a:pt x="55" y="13"/>
                    <a:pt x="54" y="9"/>
                    <a:pt x="54" y="8"/>
                  </a:cubicBezTo>
                  <a:cubicBezTo>
                    <a:pt x="54" y="8"/>
                    <a:pt x="54" y="8"/>
                    <a:pt x="54" y="8"/>
                  </a:cubicBezTo>
                  <a:cubicBezTo>
                    <a:pt x="54" y="8"/>
                    <a:pt x="54" y="8"/>
                    <a:pt x="54" y="8"/>
                  </a:cubicBezTo>
                  <a:cubicBezTo>
                    <a:pt x="54" y="8"/>
                    <a:pt x="54" y="7"/>
                    <a:pt x="54" y="6"/>
                  </a:cubicBezTo>
                  <a:cubicBezTo>
                    <a:pt x="53" y="7"/>
                    <a:pt x="53" y="7"/>
                    <a:pt x="53" y="7"/>
                  </a:cubicBezTo>
                  <a:cubicBezTo>
                    <a:pt x="50" y="8"/>
                    <a:pt x="46" y="8"/>
                    <a:pt x="44" y="8"/>
                  </a:cubicBezTo>
                  <a:cubicBezTo>
                    <a:pt x="39" y="8"/>
                    <a:pt x="32" y="7"/>
                    <a:pt x="31" y="5"/>
                  </a:cubicBezTo>
                  <a:cubicBezTo>
                    <a:pt x="31" y="4"/>
                    <a:pt x="26" y="2"/>
                    <a:pt x="22" y="1"/>
                  </a:cubicBezTo>
                  <a:cubicBezTo>
                    <a:pt x="22" y="3"/>
                    <a:pt x="22" y="7"/>
                    <a:pt x="18" y="8"/>
                  </a:cubicBezTo>
                  <a:cubicBezTo>
                    <a:pt x="18" y="8"/>
                    <a:pt x="18" y="8"/>
                    <a:pt x="17" y="9"/>
                  </a:cubicBezTo>
                  <a:cubicBezTo>
                    <a:pt x="17" y="10"/>
                    <a:pt x="18" y="11"/>
                    <a:pt x="19" y="12"/>
                  </a:cubicBezTo>
                  <a:cubicBezTo>
                    <a:pt x="19" y="13"/>
                    <a:pt x="20" y="14"/>
                    <a:pt x="20" y="14"/>
                  </a:cubicBezTo>
                  <a:cubicBezTo>
                    <a:pt x="20" y="16"/>
                    <a:pt x="17" y="17"/>
                    <a:pt x="15" y="17"/>
                  </a:cubicBezTo>
                  <a:cubicBezTo>
                    <a:pt x="14" y="17"/>
                    <a:pt x="14" y="17"/>
                    <a:pt x="14" y="17"/>
                  </a:cubicBezTo>
                  <a:cubicBezTo>
                    <a:pt x="14" y="17"/>
                    <a:pt x="14" y="17"/>
                    <a:pt x="13" y="17"/>
                  </a:cubicBezTo>
                  <a:cubicBezTo>
                    <a:pt x="12" y="17"/>
                    <a:pt x="8" y="20"/>
                    <a:pt x="5" y="22"/>
                  </a:cubicBezTo>
                  <a:cubicBezTo>
                    <a:pt x="4" y="23"/>
                    <a:pt x="3" y="24"/>
                    <a:pt x="2" y="24"/>
                  </a:cubicBezTo>
                  <a:cubicBezTo>
                    <a:pt x="2" y="24"/>
                    <a:pt x="2" y="24"/>
                    <a:pt x="1" y="25"/>
                  </a:cubicBezTo>
                  <a:cubicBezTo>
                    <a:pt x="3" y="27"/>
                    <a:pt x="5" y="29"/>
                    <a:pt x="6" y="31"/>
                  </a:cubicBezTo>
                  <a:cubicBezTo>
                    <a:pt x="7" y="33"/>
                    <a:pt x="8" y="35"/>
                    <a:pt x="11" y="38"/>
                  </a:cubicBezTo>
                  <a:cubicBezTo>
                    <a:pt x="17" y="42"/>
                    <a:pt x="23" y="47"/>
                    <a:pt x="27" y="55"/>
                  </a:cubicBezTo>
                  <a:cubicBezTo>
                    <a:pt x="30" y="53"/>
                    <a:pt x="37" y="47"/>
                    <a:pt x="37" y="45"/>
                  </a:cubicBezTo>
                  <a:cubicBezTo>
                    <a:pt x="37" y="43"/>
                    <a:pt x="38" y="42"/>
                    <a:pt x="40" y="42"/>
                  </a:cubicBezTo>
                  <a:cubicBezTo>
                    <a:pt x="40" y="42"/>
                    <a:pt x="41" y="42"/>
                    <a:pt x="43" y="43"/>
                  </a:cubicBezTo>
                  <a:cubicBezTo>
                    <a:pt x="44" y="43"/>
                    <a:pt x="44" y="43"/>
                    <a:pt x="44" y="43"/>
                  </a:cubicBezTo>
                  <a:cubicBezTo>
                    <a:pt x="46" y="43"/>
                    <a:pt x="48" y="42"/>
                    <a:pt x="50" y="42"/>
                  </a:cubicBezTo>
                  <a:cubicBezTo>
                    <a:pt x="52" y="41"/>
                    <a:pt x="53" y="41"/>
                    <a:pt x="55" y="41"/>
                  </a:cubicBezTo>
                  <a:cubicBezTo>
                    <a:pt x="58" y="41"/>
                    <a:pt x="67" y="52"/>
                    <a:pt x="67" y="56"/>
                  </a:cubicBezTo>
                  <a:cubicBezTo>
                    <a:pt x="67" y="58"/>
                    <a:pt x="67" y="61"/>
                    <a:pt x="69" y="64"/>
                  </a:cubicBezTo>
                  <a:cubicBezTo>
                    <a:pt x="69" y="64"/>
                    <a:pt x="69" y="64"/>
                    <a:pt x="69" y="65"/>
                  </a:cubicBezTo>
                  <a:cubicBezTo>
                    <a:pt x="74" y="64"/>
                    <a:pt x="78" y="63"/>
                    <a:pt x="80" y="6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3" name="Freeform 30"/>
            <p:cNvSpPr>
              <a:spLocks noEditPoints="1"/>
            </p:cNvSpPr>
            <p:nvPr/>
          </p:nvSpPr>
          <p:spPr>
            <a:xfrm>
              <a:off x="4495801" y="3598863"/>
              <a:ext cx="104775" cy="100013"/>
            </a:xfrm>
            <a:custGeom>
              <a:gdLst>
                <a:gd name="T0" fmla="*/ 57 w 62"/>
                <a:gd name="T1" fmla="*/ 59 h 59"/>
                <a:gd name="T2" fmla="*/ 57 w 62"/>
                <a:gd name="T3" fmla="*/ 59 h 59"/>
                <a:gd name="T4" fmla="*/ 53 w 62"/>
                <a:gd name="T5" fmla="*/ 59 h 59"/>
                <a:gd name="T6" fmla="*/ 19 w 62"/>
                <a:gd name="T7" fmla="*/ 37 h 59"/>
                <a:gd name="T8" fmla="*/ 1 w 62"/>
                <a:gd name="T9" fmla="*/ 25 h 59"/>
                <a:gd name="T10" fmla="*/ 0 w 62"/>
                <a:gd name="T11" fmla="*/ 24 h 59"/>
                <a:gd name="T12" fmla="*/ 0 w 62"/>
                <a:gd name="T13" fmla="*/ 24 h 59"/>
                <a:gd name="T14" fmla="*/ 4 w 62"/>
                <a:gd name="T15" fmla="*/ 19 h 59"/>
                <a:gd name="T16" fmla="*/ 7 w 62"/>
                <a:gd name="T17" fmla="*/ 16 h 59"/>
                <a:gd name="T18" fmla="*/ 15 w 62"/>
                <a:gd name="T19" fmla="*/ 10 h 59"/>
                <a:gd name="T20" fmla="*/ 16 w 62"/>
                <a:gd name="T21" fmla="*/ 7 h 59"/>
                <a:gd name="T22" fmla="*/ 17 w 62"/>
                <a:gd name="T23" fmla="*/ 2 h 59"/>
                <a:gd name="T24" fmla="*/ 16 w 62"/>
                <a:gd name="T25" fmla="*/ 2 h 59"/>
                <a:gd name="T26" fmla="*/ 17 w 62"/>
                <a:gd name="T27" fmla="*/ 2 h 59"/>
                <a:gd name="T28" fmla="*/ 28 w 62"/>
                <a:gd name="T29" fmla="*/ 0 h 59"/>
                <a:gd name="T30" fmla="*/ 29 w 62"/>
                <a:gd name="T31" fmla="*/ 1 h 59"/>
                <a:gd name="T32" fmla="*/ 32 w 62"/>
                <a:gd name="T33" fmla="*/ 13 h 59"/>
                <a:gd name="T34" fmla="*/ 33 w 62"/>
                <a:gd name="T35" fmla="*/ 17 h 59"/>
                <a:gd name="T36" fmla="*/ 38 w 62"/>
                <a:gd name="T37" fmla="*/ 18 h 59"/>
                <a:gd name="T38" fmla="*/ 44 w 62"/>
                <a:gd name="T39" fmla="*/ 12 h 59"/>
                <a:gd name="T40" fmla="*/ 45 w 62"/>
                <a:gd name="T41" fmla="*/ 13 h 59"/>
                <a:gd name="T42" fmla="*/ 47 w 62"/>
                <a:gd name="T43" fmla="*/ 15 h 59"/>
                <a:gd name="T44" fmla="*/ 48 w 62"/>
                <a:gd name="T45" fmla="*/ 15 h 59"/>
                <a:gd name="T46" fmla="*/ 48 w 62"/>
                <a:gd name="T47" fmla="*/ 16 h 59"/>
                <a:gd name="T48" fmla="*/ 47 w 62"/>
                <a:gd name="T49" fmla="*/ 19 h 59"/>
                <a:gd name="T50" fmla="*/ 46 w 62"/>
                <a:gd name="T51" fmla="*/ 30 h 59"/>
                <a:gd name="T52" fmla="*/ 45 w 62"/>
                <a:gd name="T53" fmla="*/ 31 h 59"/>
                <a:gd name="T54" fmla="*/ 47 w 62"/>
                <a:gd name="T55" fmla="*/ 32 h 59"/>
                <a:gd name="T56" fmla="*/ 50 w 62"/>
                <a:gd name="T57" fmla="*/ 34 h 59"/>
                <a:gd name="T58" fmla="*/ 53 w 62"/>
                <a:gd name="T59" fmla="*/ 35 h 59"/>
                <a:gd name="T60" fmla="*/ 62 w 62"/>
                <a:gd name="T61" fmla="*/ 45 h 59"/>
                <a:gd name="T62" fmla="*/ 60 w 62"/>
                <a:gd name="T63" fmla="*/ 50 h 59"/>
                <a:gd name="T64" fmla="*/ 58 w 62"/>
                <a:gd name="T65" fmla="*/ 59 h 59"/>
                <a:gd name="T66" fmla="*/ 57 w 62"/>
                <a:gd name="T67" fmla="*/ 59 h 59"/>
                <a:gd name="T68" fmla="*/ 1 w 62"/>
                <a:gd name="T69" fmla="*/ 24 h 59"/>
                <a:gd name="T70" fmla="*/ 20 w 62"/>
                <a:gd name="T71" fmla="*/ 36 h 59"/>
                <a:gd name="T72" fmla="*/ 54 w 62"/>
                <a:gd name="T73" fmla="*/ 58 h 59"/>
                <a:gd name="T74" fmla="*/ 57 w 62"/>
                <a:gd name="T75" fmla="*/ 58 h 59"/>
                <a:gd name="T76" fmla="*/ 59 w 62"/>
                <a:gd name="T77" fmla="*/ 50 h 59"/>
                <a:gd name="T78" fmla="*/ 61 w 62"/>
                <a:gd name="T79" fmla="*/ 45 h 59"/>
                <a:gd name="T80" fmla="*/ 52 w 62"/>
                <a:gd name="T81" fmla="*/ 36 h 59"/>
                <a:gd name="T82" fmla="*/ 50 w 62"/>
                <a:gd name="T83" fmla="*/ 35 h 59"/>
                <a:gd name="T84" fmla="*/ 46 w 62"/>
                <a:gd name="T85" fmla="*/ 33 h 59"/>
                <a:gd name="T86" fmla="*/ 44 w 62"/>
                <a:gd name="T87" fmla="*/ 31 h 59"/>
                <a:gd name="T88" fmla="*/ 45 w 62"/>
                <a:gd name="T89" fmla="*/ 29 h 59"/>
                <a:gd name="T90" fmla="*/ 46 w 62"/>
                <a:gd name="T91" fmla="*/ 19 h 59"/>
                <a:gd name="T92" fmla="*/ 47 w 62"/>
                <a:gd name="T93" fmla="*/ 16 h 59"/>
                <a:gd name="T94" fmla="*/ 44 w 62"/>
                <a:gd name="T95" fmla="*/ 14 h 59"/>
                <a:gd name="T96" fmla="*/ 44 w 62"/>
                <a:gd name="T97" fmla="*/ 13 h 59"/>
                <a:gd name="T98" fmla="*/ 39 w 62"/>
                <a:gd name="T99" fmla="*/ 18 h 59"/>
                <a:gd name="T100" fmla="*/ 36 w 62"/>
                <a:gd name="T101" fmla="*/ 20 h 59"/>
                <a:gd name="T102" fmla="*/ 33 w 62"/>
                <a:gd name="T103" fmla="*/ 18 h 59"/>
                <a:gd name="T104" fmla="*/ 31 w 62"/>
                <a:gd name="T105" fmla="*/ 13 h 59"/>
                <a:gd name="T106" fmla="*/ 28 w 62"/>
                <a:gd name="T107" fmla="*/ 1 h 59"/>
                <a:gd name="T108" fmla="*/ 28 w 62"/>
                <a:gd name="T109" fmla="*/ 1 h 59"/>
                <a:gd name="T110" fmla="*/ 18 w 62"/>
                <a:gd name="T111" fmla="*/ 3 h 59"/>
                <a:gd name="T112" fmla="*/ 17 w 62"/>
                <a:gd name="T113" fmla="*/ 7 h 59"/>
                <a:gd name="T114" fmla="*/ 16 w 62"/>
                <a:gd name="T115" fmla="*/ 10 h 59"/>
                <a:gd name="T116" fmla="*/ 8 w 62"/>
                <a:gd name="T117" fmla="*/ 17 h 59"/>
                <a:gd name="T118" fmla="*/ 4 w 62"/>
                <a:gd name="T119" fmla="*/ 20 h 59"/>
                <a:gd name="T120" fmla="*/ 1 w 62"/>
                <a:gd name="T121" fmla="*/ 24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 h="59">
                  <a:moveTo>
                    <a:pt x="57" y="59"/>
                  </a:moveTo>
                  <a:cubicBezTo>
                    <a:pt x="57" y="59"/>
                    <a:pt x="57" y="59"/>
                    <a:pt x="57" y="59"/>
                  </a:cubicBezTo>
                  <a:cubicBezTo>
                    <a:pt x="56" y="59"/>
                    <a:pt x="54" y="59"/>
                    <a:pt x="53" y="59"/>
                  </a:cubicBezTo>
                  <a:cubicBezTo>
                    <a:pt x="46" y="56"/>
                    <a:pt x="30" y="46"/>
                    <a:pt x="19" y="37"/>
                  </a:cubicBezTo>
                  <a:cubicBezTo>
                    <a:pt x="14" y="33"/>
                    <a:pt x="7" y="29"/>
                    <a:pt x="1" y="25"/>
                  </a:cubicBezTo>
                  <a:cubicBezTo>
                    <a:pt x="0" y="24"/>
                    <a:pt x="0" y="24"/>
                    <a:pt x="0" y="24"/>
                  </a:cubicBezTo>
                  <a:cubicBezTo>
                    <a:pt x="0" y="24"/>
                    <a:pt x="0" y="24"/>
                    <a:pt x="0" y="24"/>
                  </a:cubicBezTo>
                  <a:cubicBezTo>
                    <a:pt x="2" y="21"/>
                    <a:pt x="3" y="20"/>
                    <a:pt x="4" y="19"/>
                  </a:cubicBezTo>
                  <a:cubicBezTo>
                    <a:pt x="5" y="18"/>
                    <a:pt x="6" y="17"/>
                    <a:pt x="7" y="16"/>
                  </a:cubicBezTo>
                  <a:cubicBezTo>
                    <a:pt x="11" y="14"/>
                    <a:pt x="15" y="11"/>
                    <a:pt x="15" y="10"/>
                  </a:cubicBezTo>
                  <a:cubicBezTo>
                    <a:pt x="15" y="9"/>
                    <a:pt x="16" y="8"/>
                    <a:pt x="16" y="7"/>
                  </a:cubicBezTo>
                  <a:cubicBezTo>
                    <a:pt x="16" y="5"/>
                    <a:pt x="17" y="4"/>
                    <a:pt x="17" y="2"/>
                  </a:cubicBezTo>
                  <a:cubicBezTo>
                    <a:pt x="16" y="2"/>
                    <a:pt x="16" y="2"/>
                    <a:pt x="16" y="2"/>
                  </a:cubicBezTo>
                  <a:cubicBezTo>
                    <a:pt x="17" y="2"/>
                    <a:pt x="17" y="2"/>
                    <a:pt x="17" y="2"/>
                  </a:cubicBezTo>
                  <a:cubicBezTo>
                    <a:pt x="22" y="1"/>
                    <a:pt x="26" y="0"/>
                    <a:pt x="28" y="0"/>
                  </a:cubicBezTo>
                  <a:cubicBezTo>
                    <a:pt x="28" y="0"/>
                    <a:pt x="28" y="0"/>
                    <a:pt x="29" y="1"/>
                  </a:cubicBezTo>
                  <a:cubicBezTo>
                    <a:pt x="30" y="3"/>
                    <a:pt x="33" y="9"/>
                    <a:pt x="32" y="13"/>
                  </a:cubicBezTo>
                  <a:cubicBezTo>
                    <a:pt x="32" y="14"/>
                    <a:pt x="32" y="16"/>
                    <a:pt x="33" y="17"/>
                  </a:cubicBezTo>
                  <a:cubicBezTo>
                    <a:pt x="35" y="19"/>
                    <a:pt x="37" y="19"/>
                    <a:pt x="38" y="18"/>
                  </a:cubicBezTo>
                  <a:cubicBezTo>
                    <a:pt x="41" y="14"/>
                    <a:pt x="42" y="12"/>
                    <a:pt x="44" y="12"/>
                  </a:cubicBezTo>
                  <a:cubicBezTo>
                    <a:pt x="44" y="12"/>
                    <a:pt x="45" y="12"/>
                    <a:pt x="45" y="13"/>
                  </a:cubicBezTo>
                  <a:cubicBezTo>
                    <a:pt x="45" y="14"/>
                    <a:pt x="45" y="14"/>
                    <a:pt x="47" y="15"/>
                  </a:cubicBezTo>
                  <a:cubicBezTo>
                    <a:pt x="48" y="15"/>
                    <a:pt x="48" y="15"/>
                    <a:pt x="48" y="15"/>
                  </a:cubicBezTo>
                  <a:cubicBezTo>
                    <a:pt x="48" y="16"/>
                    <a:pt x="48" y="16"/>
                    <a:pt x="48" y="16"/>
                  </a:cubicBezTo>
                  <a:cubicBezTo>
                    <a:pt x="47" y="17"/>
                    <a:pt x="47" y="18"/>
                    <a:pt x="47" y="19"/>
                  </a:cubicBezTo>
                  <a:cubicBezTo>
                    <a:pt x="48" y="25"/>
                    <a:pt x="48" y="28"/>
                    <a:pt x="46" y="30"/>
                  </a:cubicBezTo>
                  <a:cubicBezTo>
                    <a:pt x="45" y="30"/>
                    <a:pt x="45" y="31"/>
                    <a:pt x="45" y="31"/>
                  </a:cubicBezTo>
                  <a:cubicBezTo>
                    <a:pt x="45" y="31"/>
                    <a:pt x="46" y="31"/>
                    <a:pt x="47" y="32"/>
                  </a:cubicBezTo>
                  <a:cubicBezTo>
                    <a:pt x="48" y="32"/>
                    <a:pt x="49" y="33"/>
                    <a:pt x="50" y="34"/>
                  </a:cubicBezTo>
                  <a:cubicBezTo>
                    <a:pt x="51" y="34"/>
                    <a:pt x="52" y="35"/>
                    <a:pt x="53" y="35"/>
                  </a:cubicBezTo>
                  <a:cubicBezTo>
                    <a:pt x="57" y="38"/>
                    <a:pt x="62" y="41"/>
                    <a:pt x="62" y="45"/>
                  </a:cubicBezTo>
                  <a:cubicBezTo>
                    <a:pt x="62" y="47"/>
                    <a:pt x="61" y="49"/>
                    <a:pt x="60" y="50"/>
                  </a:cubicBezTo>
                  <a:cubicBezTo>
                    <a:pt x="59" y="52"/>
                    <a:pt x="59" y="55"/>
                    <a:pt x="58" y="59"/>
                  </a:cubicBezTo>
                  <a:lnTo>
                    <a:pt x="57" y="59"/>
                  </a:lnTo>
                  <a:close/>
                  <a:moveTo>
                    <a:pt x="1" y="24"/>
                  </a:moveTo>
                  <a:cubicBezTo>
                    <a:pt x="7" y="28"/>
                    <a:pt x="14" y="32"/>
                    <a:pt x="20" y="36"/>
                  </a:cubicBezTo>
                  <a:cubicBezTo>
                    <a:pt x="31" y="45"/>
                    <a:pt x="46" y="55"/>
                    <a:pt x="54" y="58"/>
                  </a:cubicBezTo>
                  <a:cubicBezTo>
                    <a:pt x="54" y="58"/>
                    <a:pt x="55" y="58"/>
                    <a:pt x="57" y="58"/>
                  </a:cubicBezTo>
                  <a:cubicBezTo>
                    <a:pt x="58" y="54"/>
                    <a:pt x="59" y="52"/>
                    <a:pt x="59" y="50"/>
                  </a:cubicBezTo>
                  <a:cubicBezTo>
                    <a:pt x="60" y="48"/>
                    <a:pt x="61" y="47"/>
                    <a:pt x="61" y="45"/>
                  </a:cubicBezTo>
                  <a:cubicBezTo>
                    <a:pt x="61" y="41"/>
                    <a:pt x="57" y="39"/>
                    <a:pt x="52" y="36"/>
                  </a:cubicBezTo>
                  <a:cubicBezTo>
                    <a:pt x="52" y="36"/>
                    <a:pt x="51" y="35"/>
                    <a:pt x="50" y="35"/>
                  </a:cubicBezTo>
                  <a:cubicBezTo>
                    <a:pt x="48" y="34"/>
                    <a:pt x="47" y="33"/>
                    <a:pt x="46" y="33"/>
                  </a:cubicBezTo>
                  <a:cubicBezTo>
                    <a:pt x="45" y="32"/>
                    <a:pt x="44" y="31"/>
                    <a:pt x="44" y="31"/>
                  </a:cubicBezTo>
                  <a:cubicBezTo>
                    <a:pt x="44" y="30"/>
                    <a:pt x="44" y="30"/>
                    <a:pt x="45" y="29"/>
                  </a:cubicBezTo>
                  <a:cubicBezTo>
                    <a:pt x="47" y="28"/>
                    <a:pt x="47" y="25"/>
                    <a:pt x="46" y="19"/>
                  </a:cubicBezTo>
                  <a:cubicBezTo>
                    <a:pt x="46" y="18"/>
                    <a:pt x="46" y="17"/>
                    <a:pt x="47" y="16"/>
                  </a:cubicBezTo>
                  <a:cubicBezTo>
                    <a:pt x="45" y="15"/>
                    <a:pt x="44" y="14"/>
                    <a:pt x="44" y="14"/>
                  </a:cubicBezTo>
                  <a:cubicBezTo>
                    <a:pt x="44" y="13"/>
                    <a:pt x="44" y="13"/>
                    <a:pt x="44" y="13"/>
                  </a:cubicBezTo>
                  <a:cubicBezTo>
                    <a:pt x="43" y="13"/>
                    <a:pt x="40" y="16"/>
                    <a:pt x="39" y="18"/>
                  </a:cubicBezTo>
                  <a:cubicBezTo>
                    <a:pt x="38" y="19"/>
                    <a:pt x="37" y="20"/>
                    <a:pt x="36" y="20"/>
                  </a:cubicBezTo>
                  <a:cubicBezTo>
                    <a:pt x="35" y="20"/>
                    <a:pt x="34" y="19"/>
                    <a:pt x="33" y="18"/>
                  </a:cubicBezTo>
                  <a:cubicBezTo>
                    <a:pt x="31" y="16"/>
                    <a:pt x="31" y="15"/>
                    <a:pt x="31" y="13"/>
                  </a:cubicBezTo>
                  <a:cubicBezTo>
                    <a:pt x="32" y="9"/>
                    <a:pt x="30" y="3"/>
                    <a:pt x="28" y="1"/>
                  </a:cubicBezTo>
                  <a:cubicBezTo>
                    <a:pt x="28" y="1"/>
                    <a:pt x="28" y="1"/>
                    <a:pt x="28" y="1"/>
                  </a:cubicBezTo>
                  <a:cubicBezTo>
                    <a:pt x="27" y="1"/>
                    <a:pt x="23" y="2"/>
                    <a:pt x="18" y="3"/>
                  </a:cubicBezTo>
                  <a:cubicBezTo>
                    <a:pt x="18" y="4"/>
                    <a:pt x="17" y="6"/>
                    <a:pt x="17" y="7"/>
                  </a:cubicBezTo>
                  <a:cubicBezTo>
                    <a:pt x="16" y="8"/>
                    <a:pt x="16" y="9"/>
                    <a:pt x="16" y="10"/>
                  </a:cubicBezTo>
                  <a:cubicBezTo>
                    <a:pt x="16" y="12"/>
                    <a:pt x="11" y="15"/>
                    <a:pt x="8" y="17"/>
                  </a:cubicBezTo>
                  <a:cubicBezTo>
                    <a:pt x="7" y="18"/>
                    <a:pt x="5" y="19"/>
                    <a:pt x="4" y="20"/>
                  </a:cubicBezTo>
                  <a:cubicBezTo>
                    <a:pt x="4" y="20"/>
                    <a:pt x="3" y="21"/>
                    <a:pt x="1"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4" name="Freeform 31"/>
            <p:cNvSpPr>
              <a:spLocks noEditPoints="1"/>
            </p:cNvSpPr>
            <p:nvPr/>
          </p:nvSpPr>
          <p:spPr>
            <a:xfrm>
              <a:off x="4452939" y="3560763"/>
              <a:ext cx="73025" cy="80963"/>
            </a:xfrm>
            <a:custGeom>
              <a:gdLst>
                <a:gd name="T0" fmla="*/ 26 w 43"/>
                <a:gd name="T1" fmla="*/ 47 h 47"/>
                <a:gd name="T2" fmla="*/ 25 w 43"/>
                <a:gd name="T3" fmla="*/ 47 h 47"/>
                <a:gd name="T4" fmla="*/ 14 w 43"/>
                <a:gd name="T5" fmla="*/ 39 h 47"/>
                <a:gd name="T6" fmla="*/ 13 w 43"/>
                <a:gd name="T7" fmla="*/ 38 h 47"/>
                <a:gd name="T8" fmla="*/ 2 w 43"/>
                <a:gd name="T9" fmla="*/ 20 h 47"/>
                <a:gd name="T10" fmla="*/ 0 w 43"/>
                <a:gd name="T11" fmla="*/ 15 h 47"/>
                <a:gd name="T12" fmla="*/ 0 w 43"/>
                <a:gd name="T13" fmla="*/ 15 h 47"/>
                <a:gd name="T14" fmla="*/ 0 w 43"/>
                <a:gd name="T15" fmla="*/ 14 h 47"/>
                <a:gd name="T16" fmla="*/ 10 w 43"/>
                <a:gd name="T17" fmla="*/ 4 h 47"/>
                <a:gd name="T18" fmla="*/ 13 w 43"/>
                <a:gd name="T19" fmla="*/ 1 h 47"/>
                <a:gd name="T20" fmla="*/ 16 w 43"/>
                <a:gd name="T21" fmla="*/ 2 h 47"/>
                <a:gd name="T22" fmla="*/ 17 w 43"/>
                <a:gd name="T23" fmla="*/ 2 h 47"/>
                <a:gd name="T24" fmla="*/ 23 w 43"/>
                <a:gd name="T25" fmla="*/ 1 h 47"/>
                <a:gd name="T26" fmla="*/ 28 w 43"/>
                <a:gd name="T27" fmla="*/ 0 h 47"/>
                <a:gd name="T28" fmla="*/ 40 w 43"/>
                <a:gd name="T29" fmla="*/ 15 h 47"/>
                <a:gd name="T30" fmla="*/ 42 w 43"/>
                <a:gd name="T31" fmla="*/ 23 h 47"/>
                <a:gd name="T32" fmla="*/ 42 w 43"/>
                <a:gd name="T33" fmla="*/ 29 h 47"/>
                <a:gd name="T34" fmla="*/ 41 w 43"/>
                <a:gd name="T35" fmla="*/ 32 h 47"/>
                <a:gd name="T36" fmla="*/ 33 w 43"/>
                <a:gd name="T37" fmla="*/ 39 h 47"/>
                <a:gd name="T38" fmla="*/ 29 w 43"/>
                <a:gd name="T39" fmla="*/ 42 h 47"/>
                <a:gd name="T40" fmla="*/ 26 w 43"/>
                <a:gd name="T41" fmla="*/ 46 h 47"/>
                <a:gd name="T42" fmla="*/ 26 w 43"/>
                <a:gd name="T43" fmla="*/ 47 h 47"/>
                <a:gd name="T44" fmla="*/ 1 w 43"/>
                <a:gd name="T45" fmla="*/ 15 h 47"/>
                <a:gd name="T46" fmla="*/ 3 w 43"/>
                <a:gd name="T47" fmla="*/ 20 h 47"/>
                <a:gd name="T48" fmla="*/ 14 w 43"/>
                <a:gd name="T49" fmla="*/ 38 h 47"/>
                <a:gd name="T50" fmla="*/ 14 w 43"/>
                <a:gd name="T51" fmla="*/ 38 h 47"/>
                <a:gd name="T52" fmla="*/ 25 w 43"/>
                <a:gd name="T53" fmla="*/ 46 h 47"/>
                <a:gd name="T54" fmla="*/ 29 w 43"/>
                <a:gd name="T55" fmla="*/ 41 h 47"/>
                <a:gd name="T56" fmla="*/ 32 w 43"/>
                <a:gd name="T57" fmla="*/ 38 h 47"/>
                <a:gd name="T58" fmla="*/ 40 w 43"/>
                <a:gd name="T59" fmla="*/ 32 h 47"/>
                <a:gd name="T60" fmla="*/ 41 w 43"/>
                <a:gd name="T61" fmla="*/ 29 h 47"/>
                <a:gd name="T62" fmla="*/ 41 w 43"/>
                <a:gd name="T63" fmla="*/ 24 h 47"/>
                <a:gd name="T64" fmla="*/ 39 w 43"/>
                <a:gd name="T65" fmla="*/ 15 h 47"/>
                <a:gd name="T66" fmla="*/ 28 w 43"/>
                <a:gd name="T67" fmla="*/ 1 h 47"/>
                <a:gd name="T68" fmla="*/ 24 w 43"/>
                <a:gd name="T69" fmla="*/ 2 h 47"/>
                <a:gd name="T70" fmla="*/ 18 w 43"/>
                <a:gd name="T71" fmla="*/ 3 h 47"/>
                <a:gd name="T72" fmla="*/ 17 w 43"/>
                <a:gd name="T73" fmla="*/ 3 h 47"/>
                <a:gd name="T74" fmla="*/ 15 w 43"/>
                <a:gd name="T75" fmla="*/ 2 h 47"/>
                <a:gd name="T76" fmla="*/ 13 w 43"/>
                <a:gd name="T77" fmla="*/ 2 h 47"/>
                <a:gd name="T78" fmla="*/ 11 w 43"/>
                <a:gd name="T79" fmla="*/ 4 h 47"/>
                <a:gd name="T80" fmla="*/ 1 w 43"/>
                <a:gd name="T81" fmla="*/ 15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47">
                  <a:moveTo>
                    <a:pt x="26" y="47"/>
                  </a:moveTo>
                  <a:cubicBezTo>
                    <a:pt x="25" y="47"/>
                    <a:pt x="25" y="47"/>
                    <a:pt x="25" y="47"/>
                  </a:cubicBezTo>
                  <a:cubicBezTo>
                    <a:pt x="20" y="43"/>
                    <a:pt x="16" y="41"/>
                    <a:pt x="14" y="39"/>
                  </a:cubicBezTo>
                  <a:cubicBezTo>
                    <a:pt x="13" y="38"/>
                    <a:pt x="13" y="38"/>
                    <a:pt x="13" y="38"/>
                  </a:cubicBezTo>
                  <a:cubicBezTo>
                    <a:pt x="8" y="35"/>
                    <a:pt x="5" y="32"/>
                    <a:pt x="2" y="20"/>
                  </a:cubicBezTo>
                  <a:cubicBezTo>
                    <a:pt x="1" y="19"/>
                    <a:pt x="1" y="17"/>
                    <a:pt x="0" y="15"/>
                  </a:cubicBezTo>
                  <a:cubicBezTo>
                    <a:pt x="0" y="15"/>
                    <a:pt x="0" y="15"/>
                    <a:pt x="0" y="15"/>
                  </a:cubicBezTo>
                  <a:cubicBezTo>
                    <a:pt x="0" y="14"/>
                    <a:pt x="0" y="14"/>
                    <a:pt x="0" y="14"/>
                  </a:cubicBezTo>
                  <a:cubicBezTo>
                    <a:pt x="3" y="12"/>
                    <a:pt x="10" y="6"/>
                    <a:pt x="10" y="4"/>
                  </a:cubicBezTo>
                  <a:cubicBezTo>
                    <a:pt x="10" y="2"/>
                    <a:pt x="11" y="1"/>
                    <a:pt x="13" y="1"/>
                  </a:cubicBezTo>
                  <a:cubicBezTo>
                    <a:pt x="13" y="1"/>
                    <a:pt x="14" y="1"/>
                    <a:pt x="16" y="2"/>
                  </a:cubicBezTo>
                  <a:cubicBezTo>
                    <a:pt x="17" y="2"/>
                    <a:pt x="17" y="2"/>
                    <a:pt x="17" y="2"/>
                  </a:cubicBezTo>
                  <a:cubicBezTo>
                    <a:pt x="19" y="2"/>
                    <a:pt x="21" y="1"/>
                    <a:pt x="23" y="1"/>
                  </a:cubicBezTo>
                  <a:cubicBezTo>
                    <a:pt x="25" y="0"/>
                    <a:pt x="26" y="0"/>
                    <a:pt x="28" y="0"/>
                  </a:cubicBezTo>
                  <a:cubicBezTo>
                    <a:pt x="31" y="0"/>
                    <a:pt x="40" y="11"/>
                    <a:pt x="40" y="15"/>
                  </a:cubicBezTo>
                  <a:cubicBezTo>
                    <a:pt x="40" y="17"/>
                    <a:pt x="40" y="20"/>
                    <a:pt x="42" y="23"/>
                  </a:cubicBezTo>
                  <a:cubicBezTo>
                    <a:pt x="43" y="25"/>
                    <a:pt x="42" y="27"/>
                    <a:pt x="42" y="29"/>
                  </a:cubicBezTo>
                  <a:cubicBezTo>
                    <a:pt x="41" y="30"/>
                    <a:pt x="41" y="31"/>
                    <a:pt x="41" y="32"/>
                  </a:cubicBezTo>
                  <a:cubicBezTo>
                    <a:pt x="41" y="34"/>
                    <a:pt x="36" y="37"/>
                    <a:pt x="33" y="39"/>
                  </a:cubicBezTo>
                  <a:cubicBezTo>
                    <a:pt x="32" y="40"/>
                    <a:pt x="30" y="41"/>
                    <a:pt x="29" y="42"/>
                  </a:cubicBezTo>
                  <a:cubicBezTo>
                    <a:pt x="29" y="42"/>
                    <a:pt x="28" y="43"/>
                    <a:pt x="26" y="46"/>
                  </a:cubicBezTo>
                  <a:lnTo>
                    <a:pt x="26" y="47"/>
                  </a:lnTo>
                  <a:close/>
                  <a:moveTo>
                    <a:pt x="1" y="15"/>
                  </a:moveTo>
                  <a:cubicBezTo>
                    <a:pt x="2" y="17"/>
                    <a:pt x="2" y="18"/>
                    <a:pt x="3" y="20"/>
                  </a:cubicBezTo>
                  <a:cubicBezTo>
                    <a:pt x="6" y="31"/>
                    <a:pt x="9" y="34"/>
                    <a:pt x="14" y="38"/>
                  </a:cubicBezTo>
                  <a:cubicBezTo>
                    <a:pt x="14" y="38"/>
                    <a:pt x="14" y="38"/>
                    <a:pt x="14" y="38"/>
                  </a:cubicBezTo>
                  <a:cubicBezTo>
                    <a:pt x="16" y="40"/>
                    <a:pt x="21" y="42"/>
                    <a:pt x="25" y="46"/>
                  </a:cubicBezTo>
                  <a:cubicBezTo>
                    <a:pt x="27" y="43"/>
                    <a:pt x="28" y="42"/>
                    <a:pt x="29" y="41"/>
                  </a:cubicBezTo>
                  <a:cubicBezTo>
                    <a:pt x="30" y="40"/>
                    <a:pt x="31" y="39"/>
                    <a:pt x="32" y="38"/>
                  </a:cubicBezTo>
                  <a:cubicBezTo>
                    <a:pt x="36" y="36"/>
                    <a:pt x="40" y="33"/>
                    <a:pt x="40" y="32"/>
                  </a:cubicBezTo>
                  <a:cubicBezTo>
                    <a:pt x="40" y="31"/>
                    <a:pt x="41" y="30"/>
                    <a:pt x="41" y="29"/>
                  </a:cubicBezTo>
                  <a:cubicBezTo>
                    <a:pt x="42" y="27"/>
                    <a:pt x="42" y="25"/>
                    <a:pt x="41" y="24"/>
                  </a:cubicBezTo>
                  <a:cubicBezTo>
                    <a:pt x="39" y="21"/>
                    <a:pt x="39" y="18"/>
                    <a:pt x="39" y="15"/>
                  </a:cubicBezTo>
                  <a:cubicBezTo>
                    <a:pt x="39" y="12"/>
                    <a:pt x="31" y="1"/>
                    <a:pt x="28" y="1"/>
                  </a:cubicBezTo>
                  <a:cubicBezTo>
                    <a:pt x="27" y="1"/>
                    <a:pt x="25" y="1"/>
                    <a:pt x="24" y="2"/>
                  </a:cubicBezTo>
                  <a:cubicBezTo>
                    <a:pt x="22" y="2"/>
                    <a:pt x="20" y="3"/>
                    <a:pt x="18" y="3"/>
                  </a:cubicBezTo>
                  <a:cubicBezTo>
                    <a:pt x="17" y="3"/>
                    <a:pt x="17" y="3"/>
                    <a:pt x="17" y="3"/>
                  </a:cubicBezTo>
                  <a:cubicBezTo>
                    <a:pt x="16" y="3"/>
                    <a:pt x="16" y="3"/>
                    <a:pt x="15" y="2"/>
                  </a:cubicBezTo>
                  <a:cubicBezTo>
                    <a:pt x="14" y="2"/>
                    <a:pt x="13" y="2"/>
                    <a:pt x="13" y="2"/>
                  </a:cubicBezTo>
                  <a:cubicBezTo>
                    <a:pt x="12" y="2"/>
                    <a:pt x="11" y="2"/>
                    <a:pt x="11" y="4"/>
                  </a:cubicBezTo>
                  <a:cubicBezTo>
                    <a:pt x="11" y="6"/>
                    <a:pt x="6" y="11"/>
                    <a:pt x="1"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5" name="Freeform 32"/>
            <p:cNvSpPr>
              <a:spLocks noEditPoints="1"/>
            </p:cNvSpPr>
            <p:nvPr/>
          </p:nvSpPr>
          <p:spPr>
            <a:xfrm>
              <a:off x="4360864" y="3103563"/>
              <a:ext cx="207963" cy="169863"/>
            </a:xfrm>
            <a:custGeom>
              <a:gdLst>
                <a:gd name="T0" fmla="*/ 59 w 123"/>
                <a:gd name="T1" fmla="*/ 100 h 100"/>
                <a:gd name="T2" fmla="*/ 0 w 123"/>
                <a:gd name="T3" fmla="*/ 100 h 100"/>
                <a:gd name="T4" fmla="*/ 0 w 123"/>
                <a:gd name="T5" fmla="*/ 100 h 100"/>
                <a:gd name="T6" fmla="*/ 4 w 123"/>
                <a:gd name="T7" fmla="*/ 86 h 100"/>
                <a:gd name="T8" fmla="*/ 19 w 123"/>
                <a:gd name="T9" fmla="*/ 61 h 100"/>
                <a:gd name="T10" fmla="*/ 30 w 123"/>
                <a:gd name="T11" fmla="*/ 40 h 100"/>
                <a:gd name="T12" fmla="*/ 42 w 123"/>
                <a:gd name="T13" fmla="*/ 23 h 100"/>
                <a:gd name="T14" fmla="*/ 49 w 123"/>
                <a:gd name="T15" fmla="*/ 14 h 100"/>
                <a:gd name="T16" fmla="*/ 57 w 123"/>
                <a:gd name="T17" fmla="*/ 0 h 100"/>
                <a:gd name="T18" fmla="*/ 58 w 123"/>
                <a:gd name="T19" fmla="*/ 0 h 100"/>
                <a:gd name="T20" fmla="*/ 112 w 123"/>
                <a:gd name="T21" fmla="*/ 0 h 100"/>
                <a:gd name="T22" fmla="*/ 122 w 123"/>
                <a:gd name="T23" fmla="*/ 4 h 100"/>
                <a:gd name="T24" fmla="*/ 123 w 123"/>
                <a:gd name="T25" fmla="*/ 6 h 100"/>
                <a:gd name="T26" fmla="*/ 123 w 123"/>
                <a:gd name="T27" fmla="*/ 6 h 100"/>
                <a:gd name="T28" fmla="*/ 123 w 123"/>
                <a:gd name="T29" fmla="*/ 6 h 100"/>
                <a:gd name="T30" fmla="*/ 122 w 123"/>
                <a:gd name="T31" fmla="*/ 27 h 100"/>
                <a:gd name="T32" fmla="*/ 109 w 123"/>
                <a:gd name="T33" fmla="*/ 28 h 100"/>
                <a:gd name="T34" fmla="*/ 74 w 123"/>
                <a:gd name="T35" fmla="*/ 28 h 100"/>
                <a:gd name="T36" fmla="*/ 74 w 123"/>
                <a:gd name="T37" fmla="*/ 66 h 100"/>
                <a:gd name="T38" fmla="*/ 66 w 123"/>
                <a:gd name="T39" fmla="*/ 72 h 100"/>
                <a:gd name="T40" fmla="*/ 59 w 123"/>
                <a:gd name="T41" fmla="*/ 77 h 100"/>
                <a:gd name="T42" fmla="*/ 59 w 123"/>
                <a:gd name="T43" fmla="*/ 100 h 100"/>
                <a:gd name="T44" fmla="*/ 1 w 123"/>
                <a:gd name="T45" fmla="*/ 99 h 100"/>
                <a:gd name="T46" fmla="*/ 58 w 123"/>
                <a:gd name="T47" fmla="*/ 99 h 100"/>
                <a:gd name="T48" fmla="*/ 58 w 123"/>
                <a:gd name="T49" fmla="*/ 77 h 100"/>
                <a:gd name="T50" fmla="*/ 65 w 123"/>
                <a:gd name="T51" fmla="*/ 71 h 100"/>
                <a:gd name="T52" fmla="*/ 73 w 123"/>
                <a:gd name="T53" fmla="*/ 66 h 100"/>
                <a:gd name="T54" fmla="*/ 73 w 123"/>
                <a:gd name="T55" fmla="*/ 26 h 100"/>
                <a:gd name="T56" fmla="*/ 73 w 123"/>
                <a:gd name="T57" fmla="*/ 27 h 100"/>
                <a:gd name="T58" fmla="*/ 109 w 123"/>
                <a:gd name="T59" fmla="*/ 27 h 100"/>
                <a:gd name="T60" fmla="*/ 122 w 123"/>
                <a:gd name="T61" fmla="*/ 27 h 100"/>
                <a:gd name="T62" fmla="*/ 122 w 123"/>
                <a:gd name="T63" fmla="*/ 6 h 100"/>
                <a:gd name="T64" fmla="*/ 121 w 123"/>
                <a:gd name="T65" fmla="*/ 4 h 100"/>
                <a:gd name="T66" fmla="*/ 112 w 123"/>
                <a:gd name="T67" fmla="*/ 1 h 100"/>
                <a:gd name="T68" fmla="*/ 58 w 123"/>
                <a:gd name="T69" fmla="*/ 1 h 100"/>
                <a:gd name="T70" fmla="*/ 50 w 123"/>
                <a:gd name="T71" fmla="*/ 14 h 100"/>
                <a:gd name="T72" fmla="*/ 42 w 123"/>
                <a:gd name="T73" fmla="*/ 24 h 100"/>
                <a:gd name="T74" fmla="*/ 31 w 123"/>
                <a:gd name="T75" fmla="*/ 41 h 100"/>
                <a:gd name="T76" fmla="*/ 20 w 123"/>
                <a:gd name="T77" fmla="*/ 61 h 100"/>
                <a:gd name="T78" fmla="*/ 5 w 123"/>
                <a:gd name="T79" fmla="*/ 86 h 100"/>
                <a:gd name="T80" fmla="*/ 1 w 123"/>
                <a:gd name="T81" fmla="*/ 99 h 1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3" h="100">
                  <a:moveTo>
                    <a:pt x="59" y="100"/>
                  </a:moveTo>
                  <a:cubicBezTo>
                    <a:pt x="0" y="100"/>
                    <a:pt x="0" y="100"/>
                    <a:pt x="0" y="100"/>
                  </a:cubicBezTo>
                  <a:cubicBezTo>
                    <a:pt x="0" y="100"/>
                    <a:pt x="0" y="100"/>
                    <a:pt x="0" y="100"/>
                  </a:cubicBezTo>
                  <a:cubicBezTo>
                    <a:pt x="0" y="96"/>
                    <a:pt x="2" y="91"/>
                    <a:pt x="4" y="86"/>
                  </a:cubicBezTo>
                  <a:cubicBezTo>
                    <a:pt x="9" y="76"/>
                    <a:pt x="14" y="68"/>
                    <a:pt x="19" y="61"/>
                  </a:cubicBezTo>
                  <a:cubicBezTo>
                    <a:pt x="25" y="52"/>
                    <a:pt x="30" y="46"/>
                    <a:pt x="30" y="40"/>
                  </a:cubicBezTo>
                  <a:cubicBezTo>
                    <a:pt x="30" y="35"/>
                    <a:pt x="36" y="29"/>
                    <a:pt x="42" y="23"/>
                  </a:cubicBezTo>
                  <a:cubicBezTo>
                    <a:pt x="45" y="20"/>
                    <a:pt x="48" y="16"/>
                    <a:pt x="49" y="14"/>
                  </a:cubicBezTo>
                  <a:cubicBezTo>
                    <a:pt x="51" y="9"/>
                    <a:pt x="53" y="4"/>
                    <a:pt x="57" y="0"/>
                  </a:cubicBezTo>
                  <a:cubicBezTo>
                    <a:pt x="58" y="0"/>
                    <a:pt x="58" y="0"/>
                    <a:pt x="58" y="0"/>
                  </a:cubicBezTo>
                  <a:cubicBezTo>
                    <a:pt x="112" y="0"/>
                    <a:pt x="112" y="0"/>
                    <a:pt x="112" y="0"/>
                  </a:cubicBezTo>
                  <a:cubicBezTo>
                    <a:pt x="121" y="0"/>
                    <a:pt x="121" y="1"/>
                    <a:pt x="122" y="4"/>
                  </a:cubicBezTo>
                  <a:cubicBezTo>
                    <a:pt x="122" y="5"/>
                    <a:pt x="122" y="5"/>
                    <a:pt x="123" y="6"/>
                  </a:cubicBezTo>
                  <a:cubicBezTo>
                    <a:pt x="123" y="6"/>
                    <a:pt x="123" y="6"/>
                    <a:pt x="123" y="6"/>
                  </a:cubicBezTo>
                  <a:cubicBezTo>
                    <a:pt x="123" y="6"/>
                    <a:pt x="123" y="6"/>
                    <a:pt x="123" y="6"/>
                  </a:cubicBezTo>
                  <a:cubicBezTo>
                    <a:pt x="123" y="25"/>
                    <a:pt x="123" y="27"/>
                    <a:pt x="122" y="27"/>
                  </a:cubicBezTo>
                  <a:cubicBezTo>
                    <a:pt x="122" y="28"/>
                    <a:pt x="122" y="28"/>
                    <a:pt x="109" y="28"/>
                  </a:cubicBezTo>
                  <a:cubicBezTo>
                    <a:pt x="96" y="28"/>
                    <a:pt x="77" y="28"/>
                    <a:pt x="74" y="28"/>
                  </a:cubicBezTo>
                  <a:cubicBezTo>
                    <a:pt x="74" y="66"/>
                    <a:pt x="74" y="66"/>
                    <a:pt x="74" y="66"/>
                  </a:cubicBezTo>
                  <a:cubicBezTo>
                    <a:pt x="74" y="68"/>
                    <a:pt x="70" y="70"/>
                    <a:pt x="66" y="72"/>
                  </a:cubicBezTo>
                  <a:cubicBezTo>
                    <a:pt x="63" y="73"/>
                    <a:pt x="59" y="75"/>
                    <a:pt x="59" y="77"/>
                  </a:cubicBezTo>
                  <a:lnTo>
                    <a:pt x="59" y="100"/>
                  </a:lnTo>
                  <a:close/>
                  <a:moveTo>
                    <a:pt x="1" y="99"/>
                  </a:moveTo>
                  <a:cubicBezTo>
                    <a:pt x="58" y="99"/>
                    <a:pt x="58" y="99"/>
                    <a:pt x="58" y="99"/>
                  </a:cubicBezTo>
                  <a:cubicBezTo>
                    <a:pt x="58" y="77"/>
                    <a:pt x="58" y="77"/>
                    <a:pt x="58" y="77"/>
                  </a:cubicBezTo>
                  <a:cubicBezTo>
                    <a:pt x="58" y="75"/>
                    <a:pt x="61" y="73"/>
                    <a:pt x="65" y="71"/>
                  </a:cubicBezTo>
                  <a:cubicBezTo>
                    <a:pt x="69" y="69"/>
                    <a:pt x="73" y="67"/>
                    <a:pt x="73" y="66"/>
                  </a:cubicBezTo>
                  <a:cubicBezTo>
                    <a:pt x="73" y="26"/>
                    <a:pt x="73" y="26"/>
                    <a:pt x="73" y="26"/>
                  </a:cubicBezTo>
                  <a:cubicBezTo>
                    <a:pt x="73" y="27"/>
                    <a:pt x="73" y="27"/>
                    <a:pt x="73" y="27"/>
                  </a:cubicBezTo>
                  <a:cubicBezTo>
                    <a:pt x="73" y="27"/>
                    <a:pt x="94" y="27"/>
                    <a:pt x="109" y="27"/>
                  </a:cubicBezTo>
                  <a:cubicBezTo>
                    <a:pt x="119" y="27"/>
                    <a:pt x="121" y="27"/>
                    <a:pt x="122" y="27"/>
                  </a:cubicBezTo>
                  <a:cubicBezTo>
                    <a:pt x="122" y="25"/>
                    <a:pt x="122" y="11"/>
                    <a:pt x="122" y="6"/>
                  </a:cubicBezTo>
                  <a:cubicBezTo>
                    <a:pt x="121" y="5"/>
                    <a:pt x="121" y="5"/>
                    <a:pt x="121" y="4"/>
                  </a:cubicBezTo>
                  <a:cubicBezTo>
                    <a:pt x="121" y="2"/>
                    <a:pt x="120" y="1"/>
                    <a:pt x="112" y="1"/>
                  </a:cubicBezTo>
                  <a:cubicBezTo>
                    <a:pt x="58" y="1"/>
                    <a:pt x="58" y="1"/>
                    <a:pt x="58" y="1"/>
                  </a:cubicBezTo>
                  <a:cubicBezTo>
                    <a:pt x="54" y="5"/>
                    <a:pt x="52" y="10"/>
                    <a:pt x="50" y="14"/>
                  </a:cubicBezTo>
                  <a:cubicBezTo>
                    <a:pt x="49" y="17"/>
                    <a:pt x="46" y="20"/>
                    <a:pt x="42" y="24"/>
                  </a:cubicBezTo>
                  <a:cubicBezTo>
                    <a:pt x="37" y="29"/>
                    <a:pt x="31" y="35"/>
                    <a:pt x="31" y="41"/>
                  </a:cubicBezTo>
                  <a:cubicBezTo>
                    <a:pt x="31" y="46"/>
                    <a:pt x="26" y="53"/>
                    <a:pt x="20" y="61"/>
                  </a:cubicBezTo>
                  <a:cubicBezTo>
                    <a:pt x="15" y="69"/>
                    <a:pt x="10" y="77"/>
                    <a:pt x="5" y="86"/>
                  </a:cubicBezTo>
                  <a:cubicBezTo>
                    <a:pt x="3" y="91"/>
                    <a:pt x="2" y="95"/>
                    <a:pt x="1" y="9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6" name="Freeform 33"/>
            <p:cNvSpPr>
              <a:spLocks noEditPoints="1"/>
            </p:cNvSpPr>
            <p:nvPr/>
          </p:nvSpPr>
          <p:spPr>
            <a:xfrm>
              <a:off x="4357689" y="3109913"/>
              <a:ext cx="304800" cy="333375"/>
            </a:xfrm>
            <a:custGeom>
              <a:gdLst>
                <a:gd name="T0" fmla="*/ 69 w 179"/>
                <a:gd name="T1" fmla="*/ 196 h 196"/>
                <a:gd name="T2" fmla="*/ 52 w 179"/>
                <a:gd name="T3" fmla="*/ 176 h 196"/>
                <a:gd name="T4" fmla="*/ 47 w 179"/>
                <a:gd name="T5" fmla="*/ 176 h 196"/>
                <a:gd name="T6" fmla="*/ 36 w 179"/>
                <a:gd name="T7" fmla="*/ 168 h 196"/>
                <a:gd name="T8" fmla="*/ 28 w 179"/>
                <a:gd name="T9" fmla="*/ 170 h 196"/>
                <a:gd name="T10" fmla="*/ 15 w 179"/>
                <a:gd name="T11" fmla="*/ 170 h 196"/>
                <a:gd name="T12" fmla="*/ 7 w 179"/>
                <a:gd name="T13" fmla="*/ 177 h 196"/>
                <a:gd name="T14" fmla="*/ 5 w 179"/>
                <a:gd name="T15" fmla="*/ 177 h 196"/>
                <a:gd name="T16" fmla="*/ 6 w 179"/>
                <a:gd name="T17" fmla="*/ 174 h 196"/>
                <a:gd name="T18" fmla="*/ 13 w 179"/>
                <a:gd name="T19" fmla="*/ 136 h 196"/>
                <a:gd name="T20" fmla="*/ 9 w 179"/>
                <a:gd name="T21" fmla="*/ 112 h 196"/>
                <a:gd name="T22" fmla="*/ 1 w 179"/>
                <a:gd name="T23" fmla="*/ 96 h 196"/>
                <a:gd name="T24" fmla="*/ 59 w 179"/>
                <a:gd name="T25" fmla="*/ 95 h 196"/>
                <a:gd name="T26" fmla="*/ 66 w 179"/>
                <a:gd name="T27" fmla="*/ 67 h 196"/>
                <a:gd name="T28" fmla="*/ 74 w 179"/>
                <a:gd name="T29" fmla="*/ 22 h 196"/>
                <a:gd name="T30" fmla="*/ 110 w 179"/>
                <a:gd name="T31" fmla="*/ 23 h 196"/>
                <a:gd name="T32" fmla="*/ 123 w 179"/>
                <a:gd name="T33" fmla="*/ 2 h 196"/>
                <a:gd name="T34" fmla="*/ 124 w 179"/>
                <a:gd name="T35" fmla="*/ 2 h 196"/>
                <a:gd name="T36" fmla="*/ 178 w 179"/>
                <a:gd name="T37" fmla="*/ 38 h 196"/>
                <a:gd name="T38" fmla="*/ 154 w 179"/>
                <a:gd name="T39" fmla="*/ 39 h 196"/>
                <a:gd name="T40" fmla="*/ 172 w 179"/>
                <a:gd name="T41" fmla="*/ 171 h 196"/>
                <a:gd name="T42" fmla="*/ 170 w 179"/>
                <a:gd name="T43" fmla="*/ 184 h 196"/>
                <a:gd name="T44" fmla="*/ 113 w 179"/>
                <a:gd name="T45" fmla="*/ 185 h 196"/>
                <a:gd name="T46" fmla="*/ 99 w 179"/>
                <a:gd name="T47" fmla="*/ 187 h 196"/>
                <a:gd name="T48" fmla="*/ 94 w 179"/>
                <a:gd name="T49" fmla="*/ 187 h 196"/>
                <a:gd name="T50" fmla="*/ 91 w 179"/>
                <a:gd name="T51" fmla="*/ 191 h 196"/>
                <a:gd name="T52" fmla="*/ 81 w 179"/>
                <a:gd name="T53" fmla="*/ 186 h 196"/>
                <a:gd name="T54" fmla="*/ 70 w 179"/>
                <a:gd name="T55" fmla="*/ 196 h 196"/>
                <a:gd name="T56" fmla="*/ 48 w 179"/>
                <a:gd name="T57" fmla="*/ 175 h 196"/>
                <a:gd name="T58" fmla="*/ 53 w 179"/>
                <a:gd name="T59" fmla="*/ 175 h 196"/>
                <a:gd name="T60" fmla="*/ 70 w 179"/>
                <a:gd name="T61" fmla="*/ 195 h 196"/>
                <a:gd name="T62" fmla="*/ 81 w 179"/>
                <a:gd name="T63" fmla="*/ 185 h 196"/>
                <a:gd name="T64" fmla="*/ 91 w 179"/>
                <a:gd name="T65" fmla="*/ 190 h 196"/>
                <a:gd name="T66" fmla="*/ 93 w 179"/>
                <a:gd name="T67" fmla="*/ 186 h 196"/>
                <a:gd name="T68" fmla="*/ 99 w 179"/>
                <a:gd name="T69" fmla="*/ 186 h 196"/>
                <a:gd name="T70" fmla="*/ 112 w 179"/>
                <a:gd name="T71" fmla="*/ 184 h 196"/>
                <a:gd name="T72" fmla="*/ 140 w 179"/>
                <a:gd name="T73" fmla="*/ 184 h 196"/>
                <a:gd name="T74" fmla="*/ 171 w 179"/>
                <a:gd name="T75" fmla="*/ 172 h 196"/>
                <a:gd name="T76" fmla="*/ 166 w 179"/>
                <a:gd name="T77" fmla="*/ 167 h 196"/>
                <a:gd name="T78" fmla="*/ 176 w 179"/>
                <a:gd name="T79" fmla="*/ 38 h 196"/>
                <a:gd name="T80" fmla="*/ 124 w 179"/>
                <a:gd name="T81" fmla="*/ 4 h 196"/>
                <a:gd name="T82" fmla="*/ 110 w 179"/>
                <a:gd name="T83" fmla="*/ 24 h 196"/>
                <a:gd name="T84" fmla="*/ 75 w 179"/>
                <a:gd name="T85" fmla="*/ 62 h 196"/>
                <a:gd name="T86" fmla="*/ 60 w 179"/>
                <a:gd name="T87" fmla="*/ 73 h 196"/>
                <a:gd name="T88" fmla="*/ 2 w 179"/>
                <a:gd name="T89" fmla="*/ 96 h 196"/>
                <a:gd name="T90" fmla="*/ 10 w 179"/>
                <a:gd name="T91" fmla="*/ 112 h 196"/>
                <a:gd name="T92" fmla="*/ 13 w 179"/>
                <a:gd name="T93" fmla="*/ 135 h 196"/>
                <a:gd name="T94" fmla="*/ 7 w 179"/>
                <a:gd name="T95" fmla="*/ 174 h 196"/>
                <a:gd name="T96" fmla="*/ 10 w 179"/>
                <a:gd name="T97" fmla="*/ 173 h 196"/>
                <a:gd name="T98" fmla="*/ 15 w 179"/>
                <a:gd name="T99" fmla="*/ 169 h 196"/>
                <a:gd name="T100" fmla="*/ 28 w 179"/>
                <a:gd name="T101" fmla="*/ 169 h 196"/>
                <a:gd name="T102" fmla="*/ 40 w 179"/>
                <a:gd name="T103" fmla="*/ 168 h 1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196">
                  <a:moveTo>
                    <a:pt x="69" y="196"/>
                  </a:moveTo>
                  <a:cubicBezTo>
                    <a:pt x="69" y="196"/>
                    <a:pt x="69" y="196"/>
                    <a:pt x="69" y="196"/>
                  </a:cubicBezTo>
                  <a:cubicBezTo>
                    <a:pt x="68" y="193"/>
                    <a:pt x="66" y="190"/>
                    <a:pt x="63" y="189"/>
                  </a:cubicBezTo>
                  <a:cubicBezTo>
                    <a:pt x="57" y="187"/>
                    <a:pt x="53" y="178"/>
                    <a:pt x="52" y="176"/>
                  </a:cubicBezTo>
                  <a:cubicBezTo>
                    <a:pt x="47" y="176"/>
                    <a:pt x="47" y="176"/>
                    <a:pt x="47" y="176"/>
                  </a:cubicBezTo>
                  <a:cubicBezTo>
                    <a:pt x="47" y="176"/>
                    <a:pt x="47" y="176"/>
                    <a:pt x="47" y="176"/>
                  </a:cubicBezTo>
                  <a:cubicBezTo>
                    <a:pt x="47" y="176"/>
                    <a:pt x="43" y="171"/>
                    <a:pt x="39" y="169"/>
                  </a:cubicBezTo>
                  <a:cubicBezTo>
                    <a:pt x="38" y="168"/>
                    <a:pt x="37" y="168"/>
                    <a:pt x="36" y="168"/>
                  </a:cubicBezTo>
                  <a:cubicBezTo>
                    <a:pt x="32" y="168"/>
                    <a:pt x="28" y="170"/>
                    <a:pt x="28" y="170"/>
                  </a:cubicBezTo>
                  <a:cubicBezTo>
                    <a:pt x="28" y="170"/>
                    <a:pt x="28" y="170"/>
                    <a:pt x="28" y="170"/>
                  </a:cubicBezTo>
                  <a:cubicBezTo>
                    <a:pt x="28" y="170"/>
                    <a:pt x="24" y="170"/>
                    <a:pt x="20" y="170"/>
                  </a:cubicBezTo>
                  <a:cubicBezTo>
                    <a:pt x="18" y="170"/>
                    <a:pt x="16" y="170"/>
                    <a:pt x="15" y="170"/>
                  </a:cubicBezTo>
                  <a:cubicBezTo>
                    <a:pt x="12" y="169"/>
                    <a:pt x="11" y="171"/>
                    <a:pt x="10" y="173"/>
                  </a:cubicBezTo>
                  <a:cubicBezTo>
                    <a:pt x="10" y="175"/>
                    <a:pt x="9" y="176"/>
                    <a:pt x="7" y="177"/>
                  </a:cubicBezTo>
                  <a:cubicBezTo>
                    <a:pt x="6" y="177"/>
                    <a:pt x="6" y="177"/>
                    <a:pt x="6" y="177"/>
                  </a:cubicBezTo>
                  <a:cubicBezTo>
                    <a:pt x="5" y="177"/>
                    <a:pt x="5" y="177"/>
                    <a:pt x="5" y="177"/>
                  </a:cubicBezTo>
                  <a:cubicBezTo>
                    <a:pt x="5" y="177"/>
                    <a:pt x="5" y="177"/>
                    <a:pt x="5" y="177"/>
                  </a:cubicBezTo>
                  <a:cubicBezTo>
                    <a:pt x="5" y="176"/>
                    <a:pt x="5" y="175"/>
                    <a:pt x="6" y="174"/>
                  </a:cubicBezTo>
                  <a:cubicBezTo>
                    <a:pt x="6" y="170"/>
                    <a:pt x="6" y="166"/>
                    <a:pt x="8" y="164"/>
                  </a:cubicBezTo>
                  <a:cubicBezTo>
                    <a:pt x="13" y="155"/>
                    <a:pt x="18" y="144"/>
                    <a:pt x="13" y="136"/>
                  </a:cubicBezTo>
                  <a:cubicBezTo>
                    <a:pt x="9" y="130"/>
                    <a:pt x="10" y="125"/>
                    <a:pt x="10" y="121"/>
                  </a:cubicBezTo>
                  <a:cubicBezTo>
                    <a:pt x="11" y="117"/>
                    <a:pt x="11" y="114"/>
                    <a:pt x="9" y="112"/>
                  </a:cubicBezTo>
                  <a:cubicBezTo>
                    <a:pt x="9" y="112"/>
                    <a:pt x="8" y="111"/>
                    <a:pt x="7" y="110"/>
                  </a:cubicBezTo>
                  <a:cubicBezTo>
                    <a:pt x="4" y="107"/>
                    <a:pt x="0" y="103"/>
                    <a:pt x="1" y="96"/>
                  </a:cubicBezTo>
                  <a:cubicBezTo>
                    <a:pt x="1" y="95"/>
                    <a:pt x="1" y="95"/>
                    <a:pt x="1" y="95"/>
                  </a:cubicBezTo>
                  <a:cubicBezTo>
                    <a:pt x="59" y="95"/>
                    <a:pt x="59" y="95"/>
                    <a:pt x="59" y="95"/>
                  </a:cubicBezTo>
                  <a:cubicBezTo>
                    <a:pt x="59" y="73"/>
                    <a:pt x="59" y="73"/>
                    <a:pt x="59" y="73"/>
                  </a:cubicBezTo>
                  <a:cubicBezTo>
                    <a:pt x="59" y="71"/>
                    <a:pt x="62" y="69"/>
                    <a:pt x="66" y="67"/>
                  </a:cubicBezTo>
                  <a:cubicBezTo>
                    <a:pt x="70" y="65"/>
                    <a:pt x="74" y="63"/>
                    <a:pt x="74" y="62"/>
                  </a:cubicBezTo>
                  <a:cubicBezTo>
                    <a:pt x="74" y="22"/>
                    <a:pt x="74" y="22"/>
                    <a:pt x="74" y="22"/>
                  </a:cubicBezTo>
                  <a:cubicBezTo>
                    <a:pt x="74" y="23"/>
                    <a:pt x="74" y="23"/>
                    <a:pt x="74" y="23"/>
                  </a:cubicBezTo>
                  <a:cubicBezTo>
                    <a:pt x="74" y="23"/>
                    <a:pt x="95" y="23"/>
                    <a:pt x="110" y="23"/>
                  </a:cubicBezTo>
                  <a:cubicBezTo>
                    <a:pt x="120" y="23"/>
                    <a:pt x="122" y="23"/>
                    <a:pt x="123" y="23"/>
                  </a:cubicBezTo>
                  <a:cubicBezTo>
                    <a:pt x="123" y="21"/>
                    <a:pt x="123" y="7"/>
                    <a:pt x="123" y="2"/>
                  </a:cubicBezTo>
                  <a:cubicBezTo>
                    <a:pt x="123" y="0"/>
                    <a:pt x="123" y="0"/>
                    <a:pt x="123" y="0"/>
                  </a:cubicBezTo>
                  <a:cubicBezTo>
                    <a:pt x="124" y="2"/>
                    <a:pt x="124" y="2"/>
                    <a:pt x="124" y="2"/>
                  </a:cubicBezTo>
                  <a:cubicBezTo>
                    <a:pt x="124" y="3"/>
                    <a:pt x="125" y="3"/>
                    <a:pt x="126" y="4"/>
                  </a:cubicBezTo>
                  <a:cubicBezTo>
                    <a:pt x="129" y="6"/>
                    <a:pt x="149" y="19"/>
                    <a:pt x="178" y="38"/>
                  </a:cubicBezTo>
                  <a:cubicBezTo>
                    <a:pt x="179" y="39"/>
                    <a:pt x="179" y="39"/>
                    <a:pt x="179" y="39"/>
                  </a:cubicBezTo>
                  <a:cubicBezTo>
                    <a:pt x="154" y="39"/>
                    <a:pt x="154" y="39"/>
                    <a:pt x="154" y="39"/>
                  </a:cubicBezTo>
                  <a:cubicBezTo>
                    <a:pt x="167" y="167"/>
                    <a:pt x="167" y="167"/>
                    <a:pt x="167" y="167"/>
                  </a:cubicBezTo>
                  <a:cubicBezTo>
                    <a:pt x="172" y="171"/>
                    <a:pt x="172" y="171"/>
                    <a:pt x="172" y="171"/>
                  </a:cubicBezTo>
                  <a:cubicBezTo>
                    <a:pt x="172" y="171"/>
                    <a:pt x="172" y="171"/>
                    <a:pt x="172" y="171"/>
                  </a:cubicBezTo>
                  <a:cubicBezTo>
                    <a:pt x="172" y="173"/>
                    <a:pt x="172" y="183"/>
                    <a:pt x="170" y="184"/>
                  </a:cubicBezTo>
                  <a:cubicBezTo>
                    <a:pt x="169" y="184"/>
                    <a:pt x="168" y="185"/>
                    <a:pt x="140" y="185"/>
                  </a:cubicBezTo>
                  <a:cubicBezTo>
                    <a:pt x="127" y="185"/>
                    <a:pt x="114" y="185"/>
                    <a:pt x="113" y="185"/>
                  </a:cubicBezTo>
                  <a:cubicBezTo>
                    <a:pt x="112" y="185"/>
                    <a:pt x="107" y="188"/>
                    <a:pt x="104" y="188"/>
                  </a:cubicBezTo>
                  <a:cubicBezTo>
                    <a:pt x="102" y="188"/>
                    <a:pt x="100" y="187"/>
                    <a:pt x="99" y="187"/>
                  </a:cubicBezTo>
                  <a:cubicBezTo>
                    <a:pt x="98" y="186"/>
                    <a:pt x="96" y="186"/>
                    <a:pt x="95" y="186"/>
                  </a:cubicBezTo>
                  <a:cubicBezTo>
                    <a:pt x="95" y="186"/>
                    <a:pt x="94" y="186"/>
                    <a:pt x="94" y="187"/>
                  </a:cubicBezTo>
                  <a:cubicBezTo>
                    <a:pt x="94" y="187"/>
                    <a:pt x="94" y="187"/>
                    <a:pt x="94" y="188"/>
                  </a:cubicBezTo>
                  <a:cubicBezTo>
                    <a:pt x="93" y="189"/>
                    <a:pt x="92" y="191"/>
                    <a:pt x="91" y="191"/>
                  </a:cubicBezTo>
                  <a:cubicBezTo>
                    <a:pt x="89" y="191"/>
                    <a:pt x="88" y="190"/>
                    <a:pt x="86" y="188"/>
                  </a:cubicBezTo>
                  <a:cubicBezTo>
                    <a:pt x="84" y="186"/>
                    <a:pt x="82" y="186"/>
                    <a:pt x="81" y="186"/>
                  </a:cubicBezTo>
                  <a:cubicBezTo>
                    <a:pt x="79" y="186"/>
                    <a:pt x="78" y="189"/>
                    <a:pt x="78" y="191"/>
                  </a:cubicBezTo>
                  <a:cubicBezTo>
                    <a:pt x="78" y="194"/>
                    <a:pt x="75" y="196"/>
                    <a:pt x="70" y="196"/>
                  </a:cubicBezTo>
                  <a:lnTo>
                    <a:pt x="69" y="196"/>
                  </a:lnTo>
                  <a:close/>
                  <a:moveTo>
                    <a:pt x="48" y="175"/>
                  </a:moveTo>
                  <a:cubicBezTo>
                    <a:pt x="53" y="175"/>
                    <a:pt x="53" y="175"/>
                    <a:pt x="53" y="175"/>
                  </a:cubicBezTo>
                  <a:cubicBezTo>
                    <a:pt x="53" y="175"/>
                    <a:pt x="53" y="175"/>
                    <a:pt x="53" y="175"/>
                  </a:cubicBezTo>
                  <a:cubicBezTo>
                    <a:pt x="53" y="175"/>
                    <a:pt x="57" y="186"/>
                    <a:pt x="63" y="188"/>
                  </a:cubicBezTo>
                  <a:cubicBezTo>
                    <a:pt x="66" y="189"/>
                    <a:pt x="68" y="192"/>
                    <a:pt x="70" y="195"/>
                  </a:cubicBezTo>
                  <a:cubicBezTo>
                    <a:pt x="72" y="195"/>
                    <a:pt x="77" y="194"/>
                    <a:pt x="77" y="191"/>
                  </a:cubicBezTo>
                  <a:cubicBezTo>
                    <a:pt x="77" y="188"/>
                    <a:pt x="78" y="185"/>
                    <a:pt x="81" y="185"/>
                  </a:cubicBezTo>
                  <a:cubicBezTo>
                    <a:pt x="82" y="185"/>
                    <a:pt x="84" y="185"/>
                    <a:pt x="86" y="187"/>
                  </a:cubicBezTo>
                  <a:cubicBezTo>
                    <a:pt x="88" y="189"/>
                    <a:pt x="90" y="190"/>
                    <a:pt x="91" y="190"/>
                  </a:cubicBezTo>
                  <a:cubicBezTo>
                    <a:pt x="92" y="190"/>
                    <a:pt x="92" y="189"/>
                    <a:pt x="93" y="188"/>
                  </a:cubicBezTo>
                  <a:cubicBezTo>
                    <a:pt x="93" y="187"/>
                    <a:pt x="93" y="187"/>
                    <a:pt x="93" y="186"/>
                  </a:cubicBezTo>
                  <a:cubicBezTo>
                    <a:pt x="94" y="185"/>
                    <a:pt x="94" y="185"/>
                    <a:pt x="95" y="185"/>
                  </a:cubicBezTo>
                  <a:cubicBezTo>
                    <a:pt x="96" y="185"/>
                    <a:pt x="98" y="185"/>
                    <a:pt x="99" y="186"/>
                  </a:cubicBezTo>
                  <a:cubicBezTo>
                    <a:pt x="100" y="186"/>
                    <a:pt x="102" y="187"/>
                    <a:pt x="104" y="187"/>
                  </a:cubicBezTo>
                  <a:cubicBezTo>
                    <a:pt x="107" y="187"/>
                    <a:pt x="112" y="184"/>
                    <a:pt x="112" y="184"/>
                  </a:cubicBezTo>
                  <a:cubicBezTo>
                    <a:pt x="113" y="184"/>
                    <a:pt x="113" y="184"/>
                    <a:pt x="113" y="184"/>
                  </a:cubicBezTo>
                  <a:cubicBezTo>
                    <a:pt x="113" y="184"/>
                    <a:pt x="126" y="184"/>
                    <a:pt x="140" y="184"/>
                  </a:cubicBezTo>
                  <a:cubicBezTo>
                    <a:pt x="165" y="184"/>
                    <a:pt x="169" y="184"/>
                    <a:pt x="169" y="183"/>
                  </a:cubicBezTo>
                  <a:cubicBezTo>
                    <a:pt x="171" y="182"/>
                    <a:pt x="171" y="176"/>
                    <a:pt x="171" y="172"/>
                  </a:cubicBezTo>
                  <a:cubicBezTo>
                    <a:pt x="166" y="167"/>
                    <a:pt x="166" y="167"/>
                    <a:pt x="166" y="167"/>
                  </a:cubicBezTo>
                  <a:cubicBezTo>
                    <a:pt x="166" y="167"/>
                    <a:pt x="166" y="167"/>
                    <a:pt x="166" y="167"/>
                  </a:cubicBezTo>
                  <a:cubicBezTo>
                    <a:pt x="153" y="38"/>
                    <a:pt x="153" y="38"/>
                    <a:pt x="153" y="38"/>
                  </a:cubicBezTo>
                  <a:cubicBezTo>
                    <a:pt x="176" y="38"/>
                    <a:pt x="176" y="38"/>
                    <a:pt x="176" y="38"/>
                  </a:cubicBezTo>
                  <a:cubicBezTo>
                    <a:pt x="148" y="19"/>
                    <a:pt x="129" y="7"/>
                    <a:pt x="126" y="5"/>
                  </a:cubicBezTo>
                  <a:cubicBezTo>
                    <a:pt x="125" y="5"/>
                    <a:pt x="124" y="4"/>
                    <a:pt x="124" y="4"/>
                  </a:cubicBezTo>
                  <a:cubicBezTo>
                    <a:pt x="124" y="21"/>
                    <a:pt x="124" y="23"/>
                    <a:pt x="123" y="23"/>
                  </a:cubicBezTo>
                  <a:cubicBezTo>
                    <a:pt x="123" y="24"/>
                    <a:pt x="123" y="24"/>
                    <a:pt x="110" y="24"/>
                  </a:cubicBezTo>
                  <a:cubicBezTo>
                    <a:pt x="97" y="24"/>
                    <a:pt x="78" y="24"/>
                    <a:pt x="75" y="24"/>
                  </a:cubicBezTo>
                  <a:cubicBezTo>
                    <a:pt x="75" y="62"/>
                    <a:pt x="75" y="62"/>
                    <a:pt x="75" y="62"/>
                  </a:cubicBezTo>
                  <a:cubicBezTo>
                    <a:pt x="75" y="64"/>
                    <a:pt x="71" y="66"/>
                    <a:pt x="67" y="68"/>
                  </a:cubicBezTo>
                  <a:cubicBezTo>
                    <a:pt x="64" y="69"/>
                    <a:pt x="60" y="71"/>
                    <a:pt x="60" y="73"/>
                  </a:cubicBezTo>
                  <a:cubicBezTo>
                    <a:pt x="60" y="96"/>
                    <a:pt x="60" y="96"/>
                    <a:pt x="60" y="96"/>
                  </a:cubicBezTo>
                  <a:cubicBezTo>
                    <a:pt x="2" y="96"/>
                    <a:pt x="2" y="96"/>
                    <a:pt x="2" y="96"/>
                  </a:cubicBezTo>
                  <a:cubicBezTo>
                    <a:pt x="2" y="103"/>
                    <a:pt x="5" y="107"/>
                    <a:pt x="8" y="110"/>
                  </a:cubicBezTo>
                  <a:cubicBezTo>
                    <a:pt x="9" y="110"/>
                    <a:pt x="10" y="111"/>
                    <a:pt x="10" y="112"/>
                  </a:cubicBezTo>
                  <a:cubicBezTo>
                    <a:pt x="12" y="114"/>
                    <a:pt x="12" y="117"/>
                    <a:pt x="11" y="121"/>
                  </a:cubicBezTo>
                  <a:cubicBezTo>
                    <a:pt x="11" y="125"/>
                    <a:pt x="10" y="130"/>
                    <a:pt x="13" y="135"/>
                  </a:cubicBezTo>
                  <a:cubicBezTo>
                    <a:pt x="19" y="143"/>
                    <a:pt x="14" y="156"/>
                    <a:pt x="9" y="164"/>
                  </a:cubicBezTo>
                  <a:cubicBezTo>
                    <a:pt x="7" y="167"/>
                    <a:pt x="7" y="170"/>
                    <a:pt x="7" y="174"/>
                  </a:cubicBezTo>
                  <a:cubicBezTo>
                    <a:pt x="6" y="175"/>
                    <a:pt x="6" y="175"/>
                    <a:pt x="6" y="176"/>
                  </a:cubicBezTo>
                  <a:cubicBezTo>
                    <a:pt x="8" y="176"/>
                    <a:pt x="9" y="174"/>
                    <a:pt x="10" y="173"/>
                  </a:cubicBezTo>
                  <a:cubicBezTo>
                    <a:pt x="10" y="171"/>
                    <a:pt x="11" y="169"/>
                    <a:pt x="14" y="169"/>
                  </a:cubicBezTo>
                  <a:cubicBezTo>
                    <a:pt x="14" y="169"/>
                    <a:pt x="14" y="169"/>
                    <a:pt x="15" y="169"/>
                  </a:cubicBezTo>
                  <a:cubicBezTo>
                    <a:pt x="16" y="169"/>
                    <a:pt x="18" y="169"/>
                    <a:pt x="20" y="169"/>
                  </a:cubicBezTo>
                  <a:cubicBezTo>
                    <a:pt x="24" y="169"/>
                    <a:pt x="27" y="169"/>
                    <a:pt x="28" y="169"/>
                  </a:cubicBezTo>
                  <a:cubicBezTo>
                    <a:pt x="28" y="169"/>
                    <a:pt x="32" y="167"/>
                    <a:pt x="36" y="167"/>
                  </a:cubicBezTo>
                  <a:cubicBezTo>
                    <a:pt x="37" y="167"/>
                    <a:pt x="39" y="167"/>
                    <a:pt x="40" y="168"/>
                  </a:cubicBezTo>
                  <a:cubicBezTo>
                    <a:pt x="43" y="170"/>
                    <a:pt x="47" y="174"/>
                    <a:pt x="48" y="17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7" name="Freeform 34"/>
            <p:cNvSpPr>
              <a:spLocks noEditPoints="1"/>
            </p:cNvSpPr>
            <p:nvPr/>
          </p:nvSpPr>
          <p:spPr>
            <a:xfrm>
              <a:off x="4475164" y="3175000"/>
              <a:ext cx="415925" cy="384175"/>
            </a:xfrm>
            <a:custGeom>
              <a:gdLst>
                <a:gd name="T0" fmla="*/ 69 w 245"/>
                <a:gd name="T1" fmla="*/ 223 h 227"/>
                <a:gd name="T2" fmla="*/ 58 w 245"/>
                <a:gd name="T3" fmla="*/ 214 h 227"/>
                <a:gd name="T4" fmla="*/ 56 w 245"/>
                <a:gd name="T5" fmla="*/ 207 h 227"/>
                <a:gd name="T6" fmla="*/ 43 w 245"/>
                <a:gd name="T7" fmla="*/ 195 h 227"/>
                <a:gd name="T8" fmla="*/ 27 w 245"/>
                <a:gd name="T9" fmla="*/ 198 h 227"/>
                <a:gd name="T10" fmla="*/ 19 w 245"/>
                <a:gd name="T11" fmla="*/ 199 h 227"/>
                <a:gd name="T12" fmla="*/ 14 w 245"/>
                <a:gd name="T13" fmla="*/ 195 h 227"/>
                <a:gd name="T14" fmla="*/ 2 w 245"/>
                <a:gd name="T15" fmla="*/ 161 h 227"/>
                <a:gd name="T16" fmla="*/ 8 w 245"/>
                <a:gd name="T17" fmla="*/ 153 h 227"/>
                <a:gd name="T18" fmla="*/ 24 w 245"/>
                <a:gd name="T19" fmla="*/ 150 h 227"/>
                <a:gd name="T20" fmla="*/ 35 w 245"/>
                <a:gd name="T21" fmla="*/ 149 h 227"/>
                <a:gd name="T22" fmla="*/ 100 w 245"/>
                <a:gd name="T23" fmla="*/ 145 h 227"/>
                <a:gd name="T24" fmla="*/ 84 w 245"/>
                <a:gd name="T25" fmla="*/ 0 h 227"/>
                <a:gd name="T26" fmla="*/ 208 w 245"/>
                <a:gd name="T27" fmla="*/ 74 h 227"/>
                <a:gd name="T28" fmla="*/ 244 w 245"/>
                <a:gd name="T29" fmla="*/ 91 h 227"/>
                <a:gd name="T30" fmla="*/ 238 w 245"/>
                <a:gd name="T31" fmla="*/ 142 h 227"/>
                <a:gd name="T32" fmla="*/ 208 w 245"/>
                <a:gd name="T33" fmla="*/ 151 h 227"/>
                <a:gd name="T34" fmla="*/ 195 w 245"/>
                <a:gd name="T35" fmla="*/ 154 h 227"/>
                <a:gd name="T36" fmla="*/ 165 w 245"/>
                <a:gd name="T37" fmla="*/ 158 h 227"/>
                <a:gd name="T38" fmla="*/ 147 w 245"/>
                <a:gd name="T39" fmla="*/ 166 h 227"/>
                <a:gd name="T40" fmla="*/ 134 w 245"/>
                <a:gd name="T41" fmla="*/ 176 h 227"/>
                <a:gd name="T42" fmla="*/ 124 w 245"/>
                <a:gd name="T43" fmla="*/ 176 h 227"/>
                <a:gd name="T44" fmla="*/ 116 w 245"/>
                <a:gd name="T45" fmla="*/ 196 h 227"/>
                <a:gd name="T46" fmla="*/ 105 w 245"/>
                <a:gd name="T47" fmla="*/ 210 h 227"/>
                <a:gd name="T48" fmla="*/ 97 w 245"/>
                <a:gd name="T49" fmla="*/ 223 h 227"/>
                <a:gd name="T50" fmla="*/ 89 w 245"/>
                <a:gd name="T51" fmla="*/ 219 h 227"/>
                <a:gd name="T52" fmla="*/ 76 w 245"/>
                <a:gd name="T53" fmla="*/ 225 h 227"/>
                <a:gd name="T54" fmla="*/ 91 w 245"/>
                <a:gd name="T55" fmla="*/ 218 h 227"/>
                <a:gd name="T56" fmla="*/ 96 w 245"/>
                <a:gd name="T57" fmla="*/ 222 h 227"/>
                <a:gd name="T58" fmla="*/ 103 w 245"/>
                <a:gd name="T59" fmla="*/ 200 h 227"/>
                <a:gd name="T60" fmla="*/ 124 w 245"/>
                <a:gd name="T61" fmla="*/ 175 h 227"/>
                <a:gd name="T62" fmla="*/ 133 w 245"/>
                <a:gd name="T63" fmla="*/ 176 h 227"/>
                <a:gd name="T64" fmla="*/ 147 w 245"/>
                <a:gd name="T65" fmla="*/ 165 h 227"/>
                <a:gd name="T66" fmla="*/ 165 w 245"/>
                <a:gd name="T67" fmla="*/ 157 h 227"/>
                <a:gd name="T68" fmla="*/ 186 w 245"/>
                <a:gd name="T69" fmla="*/ 154 h 227"/>
                <a:gd name="T70" fmla="*/ 206 w 245"/>
                <a:gd name="T71" fmla="*/ 149 h 227"/>
                <a:gd name="T72" fmla="*/ 236 w 245"/>
                <a:gd name="T73" fmla="*/ 142 h 227"/>
                <a:gd name="T74" fmla="*/ 243 w 245"/>
                <a:gd name="T75" fmla="*/ 92 h 227"/>
                <a:gd name="T76" fmla="*/ 224 w 245"/>
                <a:gd name="T77" fmla="*/ 80 h 227"/>
                <a:gd name="T78" fmla="*/ 198 w 245"/>
                <a:gd name="T79" fmla="*/ 61 h 227"/>
                <a:gd name="T80" fmla="*/ 103 w 245"/>
                <a:gd name="T81" fmla="*/ 133 h 227"/>
                <a:gd name="T82" fmla="*/ 44 w 245"/>
                <a:gd name="T83" fmla="*/ 147 h 227"/>
                <a:gd name="T84" fmla="*/ 25 w 245"/>
                <a:gd name="T85" fmla="*/ 149 h 227"/>
                <a:gd name="T86" fmla="*/ 12 w 245"/>
                <a:gd name="T87" fmla="*/ 148 h 227"/>
                <a:gd name="T88" fmla="*/ 5 w 245"/>
                <a:gd name="T89" fmla="*/ 165 h 227"/>
                <a:gd name="T90" fmla="*/ 15 w 245"/>
                <a:gd name="T91" fmla="*/ 195 h 227"/>
                <a:gd name="T92" fmla="*/ 23 w 245"/>
                <a:gd name="T93" fmla="*/ 198 h 227"/>
                <a:gd name="T94" fmla="*/ 34 w 245"/>
                <a:gd name="T95" fmla="*/ 197 h 227"/>
                <a:gd name="T96" fmla="*/ 53 w 245"/>
                <a:gd name="T97" fmla="*/ 202 h 227"/>
                <a:gd name="T98" fmla="*/ 56 w 245"/>
                <a:gd name="T99" fmla="*/ 212 h 227"/>
                <a:gd name="T100" fmla="*/ 66 w 245"/>
                <a:gd name="T101" fmla="*/ 225 h 2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27">
                  <a:moveTo>
                    <a:pt x="78" y="227"/>
                  </a:moveTo>
                  <a:cubicBezTo>
                    <a:pt x="77" y="227"/>
                    <a:pt x="76" y="226"/>
                    <a:pt x="75" y="225"/>
                  </a:cubicBezTo>
                  <a:cubicBezTo>
                    <a:pt x="74" y="224"/>
                    <a:pt x="72" y="222"/>
                    <a:pt x="71" y="222"/>
                  </a:cubicBezTo>
                  <a:cubicBezTo>
                    <a:pt x="70" y="222"/>
                    <a:pt x="69" y="222"/>
                    <a:pt x="69" y="223"/>
                  </a:cubicBezTo>
                  <a:cubicBezTo>
                    <a:pt x="68" y="225"/>
                    <a:pt x="67" y="226"/>
                    <a:pt x="66" y="226"/>
                  </a:cubicBezTo>
                  <a:cubicBezTo>
                    <a:pt x="64" y="226"/>
                    <a:pt x="62" y="224"/>
                    <a:pt x="61" y="222"/>
                  </a:cubicBezTo>
                  <a:cubicBezTo>
                    <a:pt x="60" y="221"/>
                    <a:pt x="60" y="220"/>
                    <a:pt x="60" y="218"/>
                  </a:cubicBezTo>
                  <a:cubicBezTo>
                    <a:pt x="60" y="216"/>
                    <a:pt x="59" y="214"/>
                    <a:pt x="58" y="214"/>
                  </a:cubicBezTo>
                  <a:cubicBezTo>
                    <a:pt x="57" y="214"/>
                    <a:pt x="56" y="214"/>
                    <a:pt x="55" y="212"/>
                  </a:cubicBezTo>
                  <a:cubicBezTo>
                    <a:pt x="55" y="211"/>
                    <a:pt x="56" y="209"/>
                    <a:pt x="58" y="208"/>
                  </a:cubicBezTo>
                  <a:cubicBezTo>
                    <a:pt x="58" y="208"/>
                    <a:pt x="58" y="208"/>
                    <a:pt x="58" y="208"/>
                  </a:cubicBezTo>
                  <a:cubicBezTo>
                    <a:pt x="58" y="208"/>
                    <a:pt x="57" y="207"/>
                    <a:pt x="56" y="207"/>
                  </a:cubicBezTo>
                  <a:cubicBezTo>
                    <a:pt x="54" y="205"/>
                    <a:pt x="52" y="204"/>
                    <a:pt x="52" y="202"/>
                  </a:cubicBezTo>
                  <a:cubicBezTo>
                    <a:pt x="52" y="199"/>
                    <a:pt x="49" y="192"/>
                    <a:pt x="47" y="192"/>
                  </a:cubicBezTo>
                  <a:cubicBezTo>
                    <a:pt x="47" y="192"/>
                    <a:pt x="47" y="192"/>
                    <a:pt x="47" y="192"/>
                  </a:cubicBezTo>
                  <a:cubicBezTo>
                    <a:pt x="46" y="192"/>
                    <a:pt x="45" y="193"/>
                    <a:pt x="43" y="195"/>
                  </a:cubicBezTo>
                  <a:cubicBezTo>
                    <a:pt x="41" y="197"/>
                    <a:pt x="38" y="199"/>
                    <a:pt x="37" y="199"/>
                  </a:cubicBezTo>
                  <a:cubicBezTo>
                    <a:pt x="36" y="199"/>
                    <a:pt x="35" y="198"/>
                    <a:pt x="33" y="198"/>
                  </a:cubicBezTo>
                  <a:cubicBezTo>
                    <a:pt x="32" y="197"/>
                    <a:pt x="31" y="196"/>
                    <a:pt x="29" y="196"/>
                  </a:cubicBezTo>
                  <a:cubicBezTo>
                    <a:pt x="28" y="196"/>
                    <a:pt x="28" y="197"/>
                    <a:pt x="27" y="198"/>
                  </a:cubicBezTo>
                  <a:cubicBezTo>
                    <a:pt x="27" y="199"/>
                    <a:pt x="26" y="200"/>
                    <a:pt x="25" y="200"/>
                  </a:cubicBezTo>
                  <a:cubicBezTo>
                    <a:pt x="24" y="200"/>
                    <a:pt x="24" y="199"/>
                    <a:pt x="23" y="199"/>
                  </a:cubicBezTo>
                  <a:cubicBezTo>
                    <a:pt x="22" y="199"/>
                    <a:pt x="21" y="198"/>
                    <a:pt x="21" y="198"/>
                  </a:cubicBezTo>
                  <a:cubicBezTo>
                    <a:pt x="20" y="198"/>
                    <a:pt x="20" y="199"/>
                    <a:pt x="19" y="199"/>
                  </a:cubicBezTo>
                  <a:cubicBezTo>
                    <a:pt x="19" y="200"/>
                    <a:pt x="18" y="200"/>
                    <a:pt x="17" y="200"/>
                  </a:cubicBezTo>
                  <a:cubicBezTo>
                    <a:pt x="15" y="200"/>
                    <a:pt x="14" y="196"/>
                    <a:pt x="14" y="195"/>
                  </a:cubicBezTo>
                  <a:cubicBezTo>
                    <a:pt x="14" y="195"/>
                    <a:pt x="14" y="195"/>
                    <a:pt x="14" y="195"/>
                  </a:cubicBezTo>
                  <a:cubicBezTo>
                    <a:pt x="14" y="195"/>
                    <a:pt x="14" y="195"/>
                    <a:pt x="14" y="195"/>
                  </a:cubicBezTo>
                  <a:cubicBezTo>
                    <a:pt x="14" y="195"/>
                    <a:pt x="14" y="186"/>
                    <a:pt x="14" y="184"/>
                  </a:cubicBezTo>
                  <a:cubicBezTo>
                    <a:pt x="14" y="182"/>
                    <a:pt x="9" y="177"/>
                    <a:pt x="7" y="174"/>
                  </a:cubicBezTo>
                  <a:cubicBezTo>
                    <a:pt x="4" y="172"/>
                    <a:pt x="4" y="166"/>
                    <a:pt x="4" y="165"/>
                  </a:cubicBezTo>
                  <a:cubicBezTo>
                    <a:pt x="2" y="161"/>
                    <a:pt x="2" y="161"/>
                    <a:pt x="2" y="161"/>
                  </a:cubicBezTo>
                  <a:cubicBezTo>
                    <a:pt x="2" y="161"/>
                    <a:pt x="1" y="160"/>
                    <a:pt x="0" y="158"/>
                  </a:cubicBezTo>
                  <a:cubicBezTo>
                    <a:pt x="0" y="157"/>
                    <a:pt x="0" y="157"/>
                    <a:pt x="0" y="157"/>
                  </a:cubicBezTo>
                  <a:cubicBezTo>
                    <a:pt x="1" y="157"/>
                    <a:pt x="1" y="157"/>
                    <a:pt x="1" y="157"/>
                  </a:cubicBezTo>
                  <a:cubicBezTo>
                    <a:pt x="3" y="157"/>
                    <a:pt x="8" y="157"/>
                    <a:pt x="8" y="153"/>
                  </a:cubicBezTo>
                  <a:cubicBezTo>
                    <a:pt x="8" y="150"/>
                    <a:pt x="9" y="147"/>
                    <a:pt x="12" y="147"/>
                  </a:cubicBezTo>
                  <a:cubicBezTo>
                    <a:pt x="13" y="147"/>
                    <a:pt x="15" y="147"/>
                    <a:pt x="17" y="149"/>
                  </a:cubicBezTo>
                  <a:cubicBezTo>
                    <a:pt x="19" y="151"/>
                    <a:pt x="21" y="152"/>
                    <a:pt x="22" y="152"/>
                  </a:cubicBezTo>
                  <a:cubicBezTo>
                    <a:pt x="23" y="152"/>
                    <a:pt x="23" y="151"/>
                    <a:pt x="24" y="150"/>
                  </a:cubicBezTo>
                  <a:cubicBezTo>
                    <a:pt x="24" y="149"/>
                    <a:pt x="24" y="149"/>
                    <a:pt x="24" y="148"/>
                  </a:cubicBezTo>
                  <a:cubicBezTo>
                    <a:pt x="25" y="147"/>
                    <a:pt x="25" y="147"/>
                    <a:pt x="26" y="147"/>
                  </a:cubicBezTo>
                  <a:cubicBezTo>
                    <a:pt x="27" y="147"/>
                    <a:pt x="29" y="147"/>
                    <a:pt x="30" y="148"/>
                  </a:cubicBezTo>
                  <a:cubicBezTo>
                    <a:pt x="31" y="148"/>
                    <a:pt x="33" y="149"/>
                    <a:pt x="35" y="149"/>
                  </a:cubicBezTo>
                  <a:cubicBezTo>
                    <a:pt x="38" y="149"/>
                    <a:pt x="43" y="146"/>
                    <a:pt x="43" y="146"/>
                  </a:cubicBezTo>
                  <a:cubicBezTo>
                    <a:pt x="44" y="146"/>
                    <a:pt x="44" y="146"/>
                    <a:pt x="44" y="146"/>
                  </a:cubicBezTo>
                  <a:cubicBezTo>
                    <a:pt x="44" y="146"/>
                    <a:pt x="57" y="146"/>
                    <a:pt x="71" y="146"/>
                  </a:cubicBezTo>
                  <a:cubicBezTo>
                    <a:pt x="96" y="146"/>
                    <a:pt x="100" y="146"/>
                    <a:pt x="100" y="145"/>
                  </a:cubicBezTo>
                  <a:cubicBezTo>
                    <a:pt x="102" y="144"/>
                    <a:pt x="102" y="138"/>
                    <a:pt x="102" y="134"/>
                  </a:cubicBezTo>
                  <a:cubicBezTo>
                    <a:pt x="97" y="129"/>
                    <a:pt x="97" y="129"/>
                    <a:pt x="97" y="129"/>
                  </a:cubicBezTo>
                  <a:cubicBezTo>
                    <a:pt x="97" y="129"/>
                    <a:pt x="97" y="129"/>
                    <a:pt x="97" y="129"/>
                  </a:cubicBezTo>
                  <a:cubicBezTo>
                    <a:pt x="84" y="0"/>
                    <a:pt x="84" y="0"/>
                    <a:pt x="84" y="0"/>
                  </a:cubicBezTo>
                  <a:cubicBezTo>
                    <a:pt x="109" y="0"/>
                    <a:pt x="109" y="0"/>
                    <a:pt x="109" y="0"/>
                  </a:cubicBezTo>
                  <a:cubicBezTo>
                    <a:pt x="109" y="0"/>
                    <a:pt x="109" y="0"/>
                    <a:pt x="109" y="0"/>
                  </a:cubicBezTo>
                  <a:cubicBezTo>
                    <a:pt x="150" y="27"/>
                    <a:pt x="196" y="58"/>
                    <a:pt x="199" y="60"/>
                  </a:cubicBezTo>
                  <a:cubicBezTo>
                    <a:pt x="202" y="64"/>
                    <a:pt x="207" y="72"/>
                    <a:pt x="208" y="74"/>
                  </a:cubicBezTo>
                  <a:cubicBezTo>
                    <a:pt x="209" y="74"/>
                    <a:pt x="218" y="75"/>
                    <a:pt x="224" y="79"/>
                  </a:cubicBezTo>
                  <a:cubicBezTo>
                    <a:pt x="231" y="82"/>
                    <a:pt x="231" y="91"/>
                    <a:pt x="232" y="94"/>
                  </a:cubicBezTo>
                  <a:cubicBezTo>
                    <a:pt x="233" y="93"/>
                    <a:pt x="239" y="92"/>
                    <a:pt x="243" y="91"/>
                  </a:cubicBezTo>
                  <a:cubicBezTo>
                    <a:pt x="244" y="91"/>
                    <a:pt x="244" y="91"/>
                    <a:pt x="244" y="91"/>
                  </a:cubicBezTo>
                  <a:cubicBezTo>
                    <a:pt x="244" y="92"/>
                    <a:pt x="244" y="92"/>
                    <a:pt x="244" y="92"/>
                  </a:cubicBezTo>
                  <a:cubicBezTo>
                    <a:pt x="245" y="130"/>
                    <a:pt x="243" y="131"/>
                    <a:pt x="243" y="131"/>
                  </a:cubicBezTo>
                  <a:cubicBezTo>
                    <a:pt x="242" y="132"/>
                    <a:pt x="241" y="134"/>
                    <a:pt x="241" y="136"/>
                  </a:cubicBezTo>
                  <a:cubicBezTo>
                    <a:pt x="240" y="138"/>
                    <a:pt x="239" y="141"/>
                    <a:pt x="238" y="142"/>
                  </a:cubicBezTo>
                  <a:cubicBezTo>
                    <a:pt x="238" y="142"/>
                    <a:pt x="237" y="142"/>
                    <a:pt x="237" y="143"/>
                  </a:cubicBezTo>
                  <a:cubicBezTo>
                    <a:pt x="235" y="145"/>
                    <a:pt x="233" y="148"/>
                    <a:pt x="229" y="148"/>
                  </a:cubicBezTo>
                  <a:cubicBezTo>
                    <a:pt x="227" y="148"/>
                    <a:pt x="223" y="149"/>
                    <a:pt x="220" y="149"/>
                  </a:cubicBezTo>
                  <a:cubicBezTo>
                    <a:pt x="216" y="150"/>
                    <a:pt x="211" y="151"/>
                    <a:pt x="208" y="151"/>
                  </a:cubicBezTo>
                  <a:cubicBezTo>
                    <a:pt x="207" y="151"/>
                    <a:pt x="207" y="151"/>
                    <a:pt x="206" y="150"/>
                  </a:cubicBezTo>
                  <a:cubicBezTo>
                    <a:pt x="205" y="150"/>
                    <a:pt x="205" y="150"/>
                    <a:pt x="204" y="150"/>
                  </a:cubicBezTo>
                  <a:cubicBezTo>
                    <a:pt x="201" y="150"/>
                    <a:pt x="199" y="152"/>
                    <a:pt x="197" y="153"/>
                  </a:cubicBezTo>
                  <a:cubicBezTo>
                    <a:pt x="196" y="154"/>
                    <a:pt x="195" y="154"/>
                    <a:pt x="195" y="154"/>
                  </a:cubicBezTo>
                  <a:cubicBezTo>
                    <a:pt x="193" y="155"/>
                    <a:pt x="190" y="155"/>
                    <a:pt x="186" y="155"/>
                  </a:cubicBezTo>
                  <a:cubicBezTo>
                    <a:pt x="183" y="155"/>
                    <a:pt x="177" y="155"/>
                    <a:pt x="175" y="153"/>
                  </a:cubicBezTo>
                  <a:cubicBezTo>
                    <a:pt x="174" y="152"/>
                    <a:pt x="172" y="153"/>
                    <a:pt x="168" y="156"/>
                  </a:cubicBezTo>
                  <a:cubicBezTo>
                    <a:pt x="167" y="157"/>
                    <a:pt x="166" y="157"/>
                    <a:pt x="165" y="158"/>
                  </a:cubicBezTo>
                  <a:cubicBezTo>
                    <a:pt x="162" y="160"/>
                    <a:pt x="159" y="161"/>
                    <a:pt x="157" y="161"/>
                  </a:cubicBezTo>
                  <a:cubicBezTo>
                    <a:pt x="154" y="162"/>
                    <a:pt x="153" y="162"/>
                    <a:pt x="153" y="163"/>
                  </a:cubicBezTo>
                  <a:cubicBezTo>
                    <a:pt x="153" y="165"/>
                    <a:pt x="151" y="167"/>
                    <a:pt x="149" y="167"/>
                  </a:cubicBezTo>
                  <a:cubicBezTo>
                    <a:pt x="148" y="167"/>
                    <a:pt x="148" y="166"/>
                    <a:pt x="147" y="166"/>
                  </a:cubicBezTo>
                  <a:cubicBezTo>
                    <a:pt x="146" y="166"/>
                    <a:pt x="145" y="166"/>
                    <a:pt x="144" y="166"/>
                  </a:cubicBezTo>
                  <a:cubicBezTo>
                    <a:pt x="143" y="166"/>
                    <a:pt x="142" y="166"/>
                    <a:pt x="141" y="169"/>
                  </a:cubicBezTo>
                  <a:cubicBezTo>
                    <a:pt x="140" y="172"/>
                    <a:pt x="138" y="172"/>
                    <a:pt x="137" y="173"/>
                  </a:cubicBezTo>
                  <a:cubicBezTo>
                    <a:pt x="136" y="173"/>
                    <a:pt x="134" y="174"/>
                    <a:pt x="134" y="176"/>
                  </a:cubicBezTo>
                  <a:cubicBezTo>
                    <a:pt x="134" y="179"/>
                    <a:pt x="133" y="179"/>
                    <a:pt x="132" y="179"/>
                  </a:cubicBezTo>
                  <a:cubicBezTo>
                    <a:pt x="130" y="179"/>
                    <a:pt x="128" y="178"/>
                    <a:pt x="126" y="177"/>
                  </a:cubicBezTo>
                  <a:cubicBezTo>
                    <a:pt x="125" y="177"/>
                    <a:pt x="125" y="176"/>
                    <a:pt x="124" y="176"/>
                  </a:cubicBezTo>
                  <a:cubicBezTo>
                    <a:pt x="124" y="176"/>
                    <a:pt x="124" y="176"/>
                    <a:pt x="124" y="176"/>
                  </a:cubicBezTo>
                  <a:cubicBezTo>
                    <a:pt x="122" y="176"/>
                    <a:pt x="121" y="182"/>
                    <a:pt x="120" y="186"/>
                  </a:cubicBezTo>
                  <a:cubicBezTo>
                    <a:pt x="120" y="187"/>
                    <a:pt x="120" y="187"/>
                    <a:pt x="120" y="187"/>
                  </a:cubicBezTo>
                  <a:cubicBezTo>
                    <a:pt x="120" y="187"/>
                    <a:pt x="120" y="187"/>
                    <a:pt x="120" y="187"/>
                  </a:cubicBezTo>
                  <a:cubicBezTo>
                    <a:pt x="120" y="187"/>
                    <a:pt x="118" y="190"/>
                    <a:pt x="116" y="196"/>
                  </a:cubicBezTo>
                  <a:cubicBezTo>
                    <a:pt x="114" y="200"/>
                    <a:pt x="109" y="201"/>
                    <a:pt x="106" y="201"/>
                  </a:cubicBezTo>
                  <a:cubicBezTo>
                    <a:pt x="105" y="201"/>
                    <a:pt x="104" y="201"/>
                    <a:pt x="104" y="201"/>
                  </a:cubicBezTo>
                  <a:cubicBezTo>
                    <a:pt x="103" y="201"/>
                    <a:pt x="104" y="203"/>
                    <a:pt x="104" y="205"/>
                  </a:cubicBezTo>
                  <a:cubicBezTo>
                    <a:pt x="105" y="207"/>
                    <a:pt x="106" y="209"/>
                    <a:pt x="105" y="210"/>
                  </a:cubicBezTo>
                  <a:cubicBezTo>
                    <a:pt x="104" y="212"/>
                    <a:pt x="102" y="217"/>
                    <a:pt x="101" y="221"/>
                  </a:cubicBezTo>
                  <a:cubicBezTo>
                    <a:pt x="101" y="222"/>
                    <a:pt x="101" y="222"/>
                    <a:pt x="101" y="222"/>
                  </a:cubicBezTo>
                  <a:cubicBezTo>
                    <a:pt x="100" y="222"/>
                    <a:pt x="100" y="222"/>
                    <a:pt x="100" y="222"/>
                  </a:cubicBezTo>
                  <a:cubicBezTo>
                    <a:pt x="99" y="222"/>
                    <a:pt x="98" y="222"/>
                    <a:pt x="97" y="223"/>
                  </a:cubicBezTo>
                  <a:cubicBezTo>
                    <a:pt x="94" y="225"/>
                    <a:pt x="92" y="225"/>
                    <a:pt x="91" y="224"/>
                  </a:cubicBezTo>
                  <a:cubicBezTo>
                    <a:pt x="91" y="223"/>
                    <a:pt x="90" y="222"/>
                    <a:pt x="91" y="220"/>
                  </a:cubicBezTo>
                  <a:cubicBezTo>
                    <a:pt x="91" y="220"/>
                    <a:pt x="91" y="219"/>
                    <a:pt x="90" y="219"/>
                  </a:cubicBezTo>
                  <a:cubicBezTo>
                    <a:pt x="89" y="219"/>
                    <a:pt x="89" y="219"/>
                    <a:pt x="89" y="219"/>
                  </a:cubicBezTo>
                  <a:cubicBezTo>
                    <a:pt x="87" y="219"/>
                    <a:pt x="85" y="220"/>
                    <a:pt x="84" y="221"/>
                  </a:cubicBezTo>
                  <a:cubicBezTo>
                    <a:pt x="84" y="224"/>
                    <a:pt x="80" y="227"/>
                    <a:pt x="78" y="227"/>
                  </a:cubicBezTo>
                  <a:close/>
                  <a:moveTo>
                    <a:pt x="71" y="221"/>
                  </a:moveTo>
                  <a:cubicBezTo>
                    <a:pt x="73" y="221"/>
                    <a:pt x="75" y="223"/>
                    <a:pt x="76" y="225"/>
                  </a:cubicBezTo>
                  <a:cubicBezTo>
                    <a:pt x="76" y="225"/>
                    <a:pt x="77" y="226"/>
                    <a:pt x="78" y="226"/>
                  </a:cubicBezTo>
                  <a:cubicBezTo>
                    <a:pt x="80" y="226"/>
                    <a:pt x="83" y="224"/>
                    <a:pt x="83" y="221"/>
                  </a:cubicBezTo>
                  <a:cubicBezTo>
                    <a:pt x="84" y="219"/>
                    <a:pt x="87" y="218"/>
                    <a:pt x="89" y="218"/>
                  </a:cubicBezTo>
                  <a:cubicBezTo>
                    <a:pt x="90" y="218"/>
                    <a:pt x="91" y="218"/>
                    <a:pt x="91" y="218"/>
                  </a:cubicBezTo>
                  <a:cubicBezTo>
                    <a:pt x="92" y="219"/>
                    <a:pt x="92" y="220"/>
                    <a:pt x="92" y="220"/>
                  </a:cubicBezTo>
                  <a:cubicBezTo>
                    <a:pt x="91" y="222"/>
                    <a:pt x="92" y="223"/>
                    <a:pt x="92" y="223"/>
                  </a:cubicBezTo>
                  <a:cubicBezTo>
                    <a:pt x="92" y="223"/>
                    <a:pt x="92" y="223"/>
                    <a:pt x="92" y="223"/>
                  </a:cubicBezTo>
                  <a:cubicBezTo>
                    <a:pt x="93" y="223"/>
                    <a:pt x="94" y="223"/>
                    <a:pt x="96" y="222"/>
                  </a:cubicBezTo>
                  <a:cubicBezTo>
                    <a:pt x="97" y="221"/>
                    <a:pt x="98" y="221"/>
                    <a:pt x="100" y="221"/>
                  </a:cubicBezTo>
                  <a:cubicBezTo>
                    <a:pt x="102" y="216"/>
                    <a:pt x="103" y="211"/>
                    <a:pt x="104" y="210"/>
                  </a:cubicBezTo>
                  <a:cubicBezTo>
                    <a:pt x="105" y="209"/>
                    <a:pt x="104" y="207"/>
                    <a:pt x="103" y="205"/>
                  </a:cubicBezTo>
                  <a:cubicBezTo>
                    <a:pt x="103" y="203"/>
                    <a:pt x="102" y="201"/>
                    <a:pt x="103" y="200"/>
                  </a:cubicBezTo>
                  <a:cubicBezTo>
                    <a:pt x="104" y="200"/>
                    <a:pt x="105" y="200"/>
                    <a:pt x="106" y="200"/>
                  </a:cubicBezTo>
                  <a:cubicBezTo>
                    <a:pt x="109" y="200"/>
                    <a:pt x="113" y="199"/>
                    <a:pt x="115" y="195"/>
                  </a:cubicBezTo>
                  <a:cubicBezTo>
                    <a:pt x="117" y="190"/>
                    <a:pt x="119" y="187"/>
                    <a:pt x="119" y="186"/>
                  </a:cubicBezTo>
                  <a:cubicBezTo>
                    <a:pt x="120" y="184"/>
                    <a:pt x="120" y="175"/>
                    <a:pt x="124" y="175"/>
                  </a:cubicBezTo>
                  <a:cubicBezTo>
                    <a:pt x="125" y="175"/>
                    <a:pt x="125" y="175"/>
                    <a:pt x="125" y="175"/>
                  </a:cubicBezTo>
                  <a:cubicBezTo>
                    <a:pt x="125" y="176"/>
                    <a:pt x="126" y="176"/>
                    <a:pt x="126" y="176"/>
                  </a:cubicBezTo>
                  <a:cubicBezTo>
                    <a:pt x="128" y="177"/>
                    <a:pt x="130" y="178"/>
                    <a:pt x="132" y="178"/>
                  </a:cubicBezTo>
                  <a:cubicBezTo>
                    <a:pt x="132" y="178"/>
                    <a:pt x="133" y="178"/>
                    <a:pt x="133" y="176"/>
                  </a:cubicBezTo>
                  <a:cubicBezTo>
                    <a:pt x="133" y="173"/>
                    <a:pt x="135" y="173"/>
                    <a:pt x="137" y="172"/>
                  </a:cubicBezTo>
                  <a:cubicBezTo>
                    <a:pt x="138" y="172"/>
                    <a:pt x="139" y="171"/>
                    <a:pt x="140" y="169"/>
                  </a:cubicBezTo>
                  <a:cubicBezTo>
                    <a:pt x="140" y="166"/>
                    <a:pt x="142" y="165"/>
                    <a:pt x="144" y="165"/>
                  </a:cubicBezTo>
                  <a:cubicBezTo>
                    <a:pt x="145" y="165"/>
                    <a:pt x="146" y="165"/>
                    <a:pt x="147" y="165"/>
                  </a:cubicBezTo>
                  <a:cubicBezTo>
                    <a:pt x="148" y="165"/>
                    <a:pt x="148" y="166"/>
                    <a:pt x="149" y="166"/>
                  </a:cubicBezTo>
                  <a:cubicBezTo>
                    <a:pt x="151" y="166"/>
                    <a:pt x="152" y="164"/>
                    <a:pt x="152" y="163"/>
                  </a:cubicBezTo>
                  <a:cubicBezTo>
                    <a:pt x="152" y="161"/>
                    <a:pt x="154" y="161"/>
                    <a:pt x="157" y="160"/>
                  </a:cubicBezTo>
                  <a:cubicBezTo>
                    <a:pt x="159" y="160"/>
                    <a:pt x="162" y="159"/>
                    <a:pt x="165" y="157"/>
                  </a:cubicBezTo>
                  <a:cubicBezTo>
                    <a:pt x="166" y="157"/>
                    <a:pt x="167" y="156"/>
                    <a:pt x="168" y="155"/>
                  </a:cubicBezTo>
                  <a:cubicBezTo>
                    <a:pt x="170" y="153"/>
                    <a:pt x="173" y="152"/>
                    <a:pt x="174" y="152"/>
                  </a:cubicBezTo>
                  <a:cubicBezTo>
                    <a:pt x="175" y="152"/>
                    <a:pt x="176" y="152"/>
                    <a:pt x="176" y="153"/>
                  </a:cubicBezTo>
                  <a:cubicBezTo>
                    <a:pt x="177" y="153"/>
                    <a:pt x="181" y="154"/>
                    <a:pt x="186" y="154"/>
                  </a:cubicBezTo>
                  <a:cubicBezTo>
                    <a:pt x="190" y="154"/>
                    <a:pt x="193" y="154"/>
                    <a:pt x="194" y="153"/>
                  </a:cubicBezTo>
                  <a:cubicBezTo>
                    <a:pt x="195" y="153"/>
                    <a:pt x="195" y="153"/>
                    <a:pt x="196" y="152"/>
                  </a:cubicBezTo>
                  <a:cubicBezTo>
                    <a:pt x="198" y="151"/>
                    <a:pt x="201" y="149"/>
                    <a:pt x="204" y="149"/>
                  </a:cubicBezTo>
                  <a:cubicBezTo>
                    <a:pt x="205" y="149"/>
                    <a:pt x="206" y="149"/>
                    <a:pt x="206" y="149"/>
                  </a:cubicBezTo>
                  <a:cubicBezTo>
                    <a:pt x="207" y="150"/>
                    <a:pt x="207" y="150"/>
                    <a:pt x="208" y="150"/>
                  </a:cubicBezTo>
                  <a:cubicBezTo>
                    <a:pt x="211" y="150"/>
                    <a:pt x="216" y="149"/>
                    <a:pt x="220" y="148"/>
                  </a:cubicBezTo>
                  <a:cubicBezTo>
                    <a:pt x="223" y="148"/>
                    <a:pt x="227" y="147"/>
                    <a:pt x="229" y="147"/>
                  </a:cubicBezTo>
                  <a:cubicBezTo>
                    <a:pt x="233" y="147"/>
                    <a:pt x="235" y="144"/>
                    <a:pt x="236" y="142"/>
                  </a:cubicBezTo>
                  <a:cubicBezTo>
                    <a:pt x="237" y="142"/>
                    <a:pt x="237" y="141"/>
                    <a:pt x="237" y="141"/>
                  </a:cubicBezTo>
                  <a:cubicBezTo>
                    <a:pt x="238" y="140"/>
                    <a:pt x="239" y="138"/>
                    <a:pt x="240" y="136"/>
                  </a:cubicBezTo>
                  <a:cubicBezTo>
                    <a:pt x="240" y="133"/>
                    <a:pt x="241" y="131"/>
                    <a:pt x="242" y="130"/>
                  </a:cubicBezTo>
                  <a:cubicBezTo>
                    <a:pt x="243" y="129"/>
                    <a:pt x="243" y="119"/>
                    <a:pt x="243" y="92"/>
                  </a:cubicBezTo>
                  <a:cubicBezTo>
                    <a:pt x="238" y="94"/>
                    <a:pt x="231" y="95"/>
                    <a:pt x="231" y="95"/>
                  </a:cubicBezTo>
                  <a:cubicBezTo>
                    <a:pt x="231" y="95"/>
                    <a:pt x="231" y="95"/>
                    <a:pt x="231" y="95"/>
                  </a:cubicBezTo>
                  <a:cubicBezTo>
                    <a:pt x="231" y="95"/>
                    <a:pt x="231" y="95"/>
                    <a:pt x="231" y="95"/>
                  </a:cubicBezTo>
                  <a:cubicBezTo>
                    <a:pt x="231" y="94"/>
                    <a:pt x="230" y="84"/>
                    <a:pt x="224" y="80"/>
                  </a:cubicBezTo>
                  <a:cubicBezTo>
                    <a:pt x="217" y="76"/>
                    <a:pt x="208" y="75"/>
                    <a:pt x="208" y="75"/>
                  </a:cubicBezTo>
                  <a:cubicBezTo>
                    <a:pt x="207" y="75"/>
                    <a:pt x="207" y="75"/>
                    <a:pt x="207" y="75"/>
                  </a:cubicBezTo>
                  <a:cubicBezTo>
                    <a:pt x="207" y="74"/>
                    <a:pt x="207" y="74"/>
                    <a:pt x="207" y="74"/>
                  </a:cubicBezTo>
                  <a:cubicBezTo>
                    <a:pt x="207" y="74"/>
                    <a:pt x="202" y="65"/>
                    <a:pt x="198" y="61"/>
                  </a:cubicBezTo>
                  <a:cubicBezTo>
                    <a:pt x="196" y="59"/>
                    <a:pt x="150" y="28"/>
                    <a:pt x="108" y="1"/>
                  </a:cubicBezTo>
                  <a:cubicBezTo>
                    <a:pt x="85" y="1"/>
                    <a:pt x="85" y="1"/>
                    <a:pt x="85" y="1"/>
                  </a:cubicBezTo>
                  <a:cubicBezTo>
                    <a:pt x="98" y="129"/>
                    <a:pt x="98" y="129"/>
                    <a:pt x="98" y="129"/>
                  </a:cubicBezTo>
                  <a:cubicBezTo>
                    <a:pt x="103" y="133"/>
                    <a:pt x="103" y="133"/>
                    <a:pt x="103" y="133"/>
                  </a:cubicBezTo>
                  <a:cubicBezTo>
                    <a:pt x="103" y="133"/>
                    <a:pt x="103" y="133"/>
                    <a:pt x="103" y="133"/>
                  </a:cubicBezTo>
                  <a:cubicBezTo>
                    <a:pt x="103" y="135"/>
                    <a:pt x="103" y="145"/>
                    <a:pt x="101" y="146"/>
                  </a:cubicBezTo>
                  <a:cubicBezTo>
                    <a:pt x="100" y="146"/>
                    <a:pt x="99" y="147"/>
                    <a:pt x="71" y="147"/>
                  </a:cubicBezTo>
                  <a:cubicBezTo>
                    <a:pt x="58" y="147"/>
                    <a:pt x="45" y="147"/>
                    <a:pt x="44" y="147"/>
                  </a:cubicBezTo>
                  <a:cubicBezTo>
                    <a:pt x="43" y="147"/>
                    <a:pt x="38" y="150"/>
                    <a:pt x="35" y="150"/>
                  </a:cubicBezTo>
                  <a:cubicBezTo>
                    <a:pt x="33" y="150"/>
                    <a:pt x="31" y="149"/>
                    <a:pt x="30" y="149"/>
                  </a:cubicBezTo>
                  <a:cubicBezTo>
                    <a:pt x="29" y="148"/>
                    <a:pt x="27" y="148"/>
                    <a:pt x="26" y="148"/>
                  </a:cubicBezTo>
                  <a:cubicBezTo>
                    <a:pt x="26" y="148"/>
                    <a:pt x="25" y="148"/>
                    <a:pt x="25" y="149"/>
                  </a:cubicBezTo>
                  <a:cubicBezTo>
                    <a:pt x="25" y="149"/>
                    <a:pt x="25" y="149"/>
                    <a:pt x="25" y="150"/>
                  </a:cubicBezTo>
                  <a:cubicBezTo>
                    <a:pt x="24" y="151"/>
                    <a:pt x="23" y="153"/>
                    <a:pt x="22" y="153"/>
                  </a:cubicBezTo>
                  <a:cubicBezTo>
                    <a:pt x="20" y="153"/>
                    <a:pt x="19" y="152"/>
                    <a:pt x="17" y="150"/>
                  </a:cubicBezTo>
                  <a:cubicBezTo>
                    <a:pt x="15" y="148"/>
                    <a:pt x="13" y="148"/>
                    <a:pt x="12" y="148"/>
                  </a:cubicBezTo>
                  <a:cubicBezTo>
                    <a:pt x="10" y="148"/>
                    <a:pt x="9" y="151"/>
                    <a:pt x="9" y="153"/>
                  </a:cubicBezTo>
                  <a:cubicBezTo>
                    <a:pt x="9" y="156"/>
                    <a:pt x="6" y="158"/>
                    <a:pt x="1" y="158"/>
                  </a:cubicBezTo>
                  <a:cubicBezTo>
                    <a:pt x="2" y="159"/>
                    <a:pt x="2" y="160"/>
                    <a:pt x="2" y="161"/>
                  </a:cubicBezTo>
                  <a:cubicBezTo>
                    <a:pt x="5" y="165"/>
                    <a:pt x="5" y="165"/>
                    <a:pt x="5" y="165"/>
                  </a:cubicBezTo>
                  <a:cubicBezTo>
                    <a:pt x="5" y="165"/>
                    <a:pt x="5" y="165"/>
                    <a:pt x="5" y="165"/>
                  </a:cubicBezTo>
                  <a:cubicBezTo>
                    <a:pt x="5" y="165"/>
                    <a:pt x="5" y="171"/>
                    <a:pt x="7" y="174"/>
                  </a:cubicBezTo>
                  <a:cubicBezTo>
                    <a:pt x="11" y="177"/>
                    <a:pt x="15" y="181"/>
                    <a:pt x="15" y="183"/>
                  </a:cubicBezTo>
                  <a:cubicBezTo>
                    <a:pt x="15" y="185"/>
                    <a:pt x="15" y="194"/>
                    <a:pt x="15" y="195"/>
                  </a:cubicBezTo>
                  <a:cubicBezTo>
                    <a:pt x="15" y="197"/>
                    <a:pt x="17" y="199"/>
                    <a:pt x="17" y="199"/>
                  </a:cubicBezTo>
                  <a:cubicBezTo>
                    <a:pt x="18" y="199"/>
                    <a:pt x="18" y="199"/>
                    <a:pt x="18" y="199"/>
                  </a:cubicBezTo>
                  <a:cubicBezTo>
                    <a:pt x="19" y="198"/>
                    <a:pt x="20" y="197"/>
                    <a:pt x="21" y="197"/>
                  </a:cubicBezTo>
                  <a:cubicBezTo>
                    <a:pt x="22" y="197"/>
                    <a:pt x="23" y="198"/>
                    <a:pt x="23" y="198"/>
                  </a:cubicBezTo>
                  <a:cubicBezTo>
                    <a:pt x="24" y="198"/>
                    <a:pt x="25" y="199"/>
                    <a:pt x="25" y="199"/>
                  </a:cubicBezTo>
                  <a:cubicBezTo>
                    <a:pt x="26" y="199"/>
                    <a:pt x="26" y="199"/>
                    <a:pt x="27" y="197"/>
                  </a:cubicBezTo>
                  <a:cubicBezTo>
                    <a:pt x="27" y="196"/>
                    <a:pt x="28" y="195"/>
                    <a:pt x="29" y="195"/>
                  </a:cubicBezTo>
                  <a:cubicBezTo>
                    <a:pt x="31" y="195"/>
                    <a:pt x="32" y="196"/>
                    <a:pt x="34" y="197"/>
                  </a:cubicBezTo>
                  <a:cubicBezTo>
                    <a:pt x="35" y="197"/>
                    <a:pt x="36" y="198"/>
                    <a:pt x="37" y="198"/>
                  </a:cubicBezTo>
                  <a:cubicBezTo>
                    <a:pt x="38" y="198"/>
                    <a:pt x="40" y="196"/>
                    <a:pt x="42" y="194"/>
                  </a:cubicBezTo>
                  <a:cubicBezTo>
                    <a:pt x="45" y="192"/>
                    <a:pt x="46" y="190"/>
                    <a:pt x="47" y="191"/>
                  </a:cubicBezTo>
                  <a:cubicBezTo>
                    <a:pt x="49" y="191"/>
                    <a:pt x="53" y="199"/>
                    <a:pt x="53" y="202"/>
                  </a:cubicBezTo>
                  <a:cubicBezTo>
                    <a:pt x="53" y="203"/>
                    <a:pt x="55" y="205"/>
                    <a:pt x="57" y="206"/>
                  </a:cubicBezTo>
                  <a:cubicBezTo>
                    <a:pt x="58" y="207"/>
                    <a:pt x="59" y="208"/>
                    <a:pt x="59" y="208"/>
                  </a:cubicBezTo>
                  <a:cubicBezTo>
                    <a:pt x="59" y="209"/>
                    <a:pt x="59" y="209"/>
                    <a:pt x="58" y="209"/>
                  </a:cubicBezTo>
                  <a:cubicBezTo>
                    <a:pt x="57" y="210"/>
                    <a:pt x="56" y="211"/>
                    <a:pt x="56" y="212"/>
                  </a:cubicBezTo>
                  <a:cubicBezTo>
                    <a:pt x="57" y="213"/>
                    <a:pt x="57" y="213"/>
                    <a:pt x="58" y="213"/>
                  </a:cubicBezTo>
                  <a:cubicBezTo>
                    <a:pt x="60" y="213"/>
                    <a:pt x="61" y="216"/>
                    <a:pt x="61" y="218"/>
                  </a:cubicBezTo>
                  <a:cubicBezTo>
                    <a:pt x="61" y="219"/>
                    <a:pt x="61" y="221"/>
                    <a:pt x="62" y="222"/>
                  </a:cubicBezTo>
                  <a:cubicBezTo>
                    <a:pt x="63" y="223"/>
                    <a:pt x="64" y="225"/>
                    <a:pt x="66" y="225"/>
                  </a:cubicBezTo>
                  <a:cubicBezTo>
                    <a:pt x="67" y="225"/>
                    <a:pt x="67" y="224"/>
                    <a:pt x="68" y="223"/>
                  </a:cubicBezTo>
                  <a:cubicBezTo>
                    <a:pt x="69" y="221"/>
                    <a:pt x="70" y="221"/>
                    <a:pt x="71" y="22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8" name="Freeform 35"/>
            <p:cNvSpPr>
              <a:spLocks noEditPoints="1"/>
            </p:cNvSpPr>
            <p:nvPr/>
          </p:nvSpPr>
          <p:spPr>
            <a:xfrm>
              <a:off x="4645026" y="3432175"/>
              <a:ext cx="203200" cy="139700"/>
            </a:xfrm>
            <a:custGeom>
              <a:gdLst>
                <a:gd name="T0" fmla="*/ 0 w 120"/>
                <a:gd name="T1" fmla="*/ 70 h 82"/>
                <a:gd name="T2" fmla="*/ 4 w 120"/>
                <a:gd name="T3" fmla="*/ 58 h 82"/>
                <a:gd name="T4" fmla="*/ 6 w 120"/>
                <a:gd name="T5" fmla="*/ 48 h 82"/>
                <a:gd name="T6" fmla="*/ 24 w 120"/>
                <a:gd name="T7" fmla="*/ 23 h 82"/>
                <a:gd name="T8" fmla="*/ 32 w 120"/>
                <a:gd name="T9" fmla="*/ 26 h 82"/>
                <a:gd name="T10" fmla="*/ 40 w 120"/>
                <a:gd name="T11" fmla="*/ 17 h 82"/>
                <a:gd name="T12" fmla="*/ 49 w 120"/>
                <a:gd name="T13" fmla="*/ 14 h 82"/>
                <a:gd name="T14" fmla="*/ 65 w 120"/>
                <a:gd name="T15" fmla="*/ 5 h 82"/>
                <a:gd name="T16" fmla="*/ 76 w 120"/>
                <a:gd name="T17" fmla="*/ 1 h 82"/>
                <a:gd name="T18" fmla="*/ 85 w 120"/>
                <a:gd name="T19" fmla="*/ 3 h 82"/>
                <a:gd name="T20" fmla="*/ 90 w 120"/>
                <a:gd name="T21" fmla="*/ 18 h 82"/>
                <a:gd name="T22" fmla="*/ 99 w 120"/>
                <a:gd name="T23" fmla="*/ 31 h 82"/>
                <a:gd name="T24" fmla="*/ 106 w 120"/>
                <a:gd name="T25" fmla="*/ 37 h 82"/>
                <a:gd name="T26" fmla="*/ 113 w 120"/>
                <a:gd name="T27" fmla="*/ 36 h 82"/>
                <a:gd name="T28" fmla="*/ 120 w 120"/>
                <a:gd name="T29" fmla="*/ 46 h 82"/>
                <a:gd name="T30" fmla="*/ 119 w 120"/>
                <a:gd name="T31" fmla="*/ 47 h 82"/>
                <a:gd name="T32" fmla="*/ 116 w 120"/>
                <a:gd name="T33" fmla="*/ 53 h 82"/>
                <a:gd name="T34" fmla="*/ 95 w 120"/>
                <a:gd name="T35" fmla="*/ 61 h 82"/>
                <a:gd name="T36" fmla="*/ 87 w 120"/>
                <a:gd name="T37" fmla="*/ 60 h 82"/>
                <a:gd name="T38" fmla="*/ 77 w 120"/>
                <a:gd name="T39" fmla="*/ 64 h 82"/>
                <a:gd name="T40" fmla="*/ 40 w 120"/>
                <a:gd name="T41" fmla="*/ 62 h 82"/>
                <a:gd name="T42" fmla="*/ 40 w 120"/>
                <a:gd name="T43" fmla="*/ 80 h 82"/>
                <a:gd name="T44" fmla="*/ 21 w 120"/>
                <a:gd name="T45" fmla="*/ 80 h 82"/>
                <a:gd name="T46" fmla="*/ 8 w 120"/>
                <a:gd name="T47" fmla="*/ 74 h 82"/>
                <a:gd name="T48" fmla="*/ 31 w 120"/>
                <a:gd name="T49" fmla="*/ 76 h 82"/>
                <a:gd name="T50" fmla="*/ 42 w 120"/>
                <a:gd name="T51" fmla="*/ 77 h 82"/>
                <a:gd name="T52" fmla="*/ 53 w 120"/>
                <a:gd name="T53" fmla="*/ 60 h 82"/>
                <a:gd name="T54" fmla="*/ 77 w 120"/>
                <a:gd name="T55" fmla="*/ 62 h 82"/>
                <a:gd name="T56" fmla="*/ 94 w 120"/>
                <a:gd name="T57" fmla="*/ 60 h 82"/>
                <a:gd name="T58" fmla="*/ 98 w 120"/>
                <a:gd name="T59" fmla="*/ 58 h 82"/>
                <a:gd name="T60" fmla="*/ 117 w 120"/>
                <a:gd name="T61" fmla="*/ 50 h 82"/>
                <a:gd name="T62" fmla="*/ 113 w 120"/>
                <a:gd name="T63" fmla="*/ 45 h 82"/>
                <a:gd name="T64" fmla="*/ 112 w 120"/>
                <a:gd name="T65" fmla="*/ 36 h 82"/>
                <a:gd name="T66" fmla="*/ 102 w 120"/>
                <a:gd name="T67" fmla="*/ 35 h 82"/>
                <a:gd name="T68" fmla="*/ 90 w 120"/>
                <a:gd name="T69" fmla="*/ 19 h 82"/>
                <a:gd name="T70" fmla="*/ 85 w 120"/>
                <a:gd name="T71" fmla="*/ 11 h 82"/>
                <a:gd name="T72" fmla="*/ 68 w 120"/>
                <a:gd name="T73" fmla="*/ 4 h 82"/>
                <a:gd name="T74" fmla="*/ 53 w 120"/>
                <a:gd name="T75" fmla="*/ 11 h 82"/>
                <a:gd name="T76" fmla="*/ 44 w 120"/>
                <a:gd name="T77" fmla="*/ 14 h 82"/>
                <a:gd name="T78" fmla="*/ 34 w 120"/>
                <a:gd name="T79" fmla="*/ 24 h 82"/>
                <a:gd name="T80" fmla="*/ 24 w 120"/>
                <a:gd name="T81" fmla="*/ 24 h 82"/>
                <a:gd name="T82" fmla="*/ 20 w 120"/>
                <a:gd name="T83" fmla="*/ 35 h 82"/>
                <a:gd name="T84" fmla="*/ 6 w 120"/>
                <a:gd name="T85" fmla="*/ 49 h 82"/>
                <a:gd name="T86" fmla="*/ 5 w 120"/>
                <a:gd name="T87" fmla="*/ 58 h 8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 h="82">
                  <a:moveTo>
                    <a:pt x="18" y="82"/>
                  </a:moveTo>
                  <a:cubicBezTo>
                    <a:pt x="13" y="82"/>
                    <a:pt x="8" y="76"/>
                    <a:pt x="7" y="74"/>
                  </a:cubicBezTo>
                  <a:cubicBezTo>
                    <a:pt x="6" y="73"/>
                    <a:pt x="3" y="70"/>
                    <a:pt x="0" y="70"/>
                  </a:cubicBezTo>
                  <a:cubicBezTo>
                    <a:pt x="0" y="70"/>
                    <a:pt x="0" y="70"/>
                    <a:pt x="0" y="70"/>
                  </a:cubicBezTo>
                  <a:cubicBezTo>
                    <a:pt x="0" y="69"/>
                    <a:pt x="0" y="69"/>
                    <a:pt x="0" y="69"/>
                  </a:cubicBezTo>
                  <a:cubicBezTo>
                    <a:pt x="1" y="64"/>
                    <a:pt x="3" y="60"/>
                    <a:pt x="4" y="58"/>
                  </a:cubicBezTo>
                  <a:cubicBezTo>
                    <a:pt x="5" y="57"/>
                    <a:pt x="4" y="55"/>
                    <a:pt x="3" y="53"/>
                  </a:cubicBezTo>
                  <a:cubicBezTo>
                    <a:pt x="3" y="51"/>
                    <a:pt x="2" y="49"/>
                    <a:pt x="3" y="48"/>
                  </a:cubicBezTo>
                  <a:cubicBezTo>
                    <a:pt x="4" y="48"/>
                    <a:pt x="5" y="48"/>
                    <a:pt x="6" y="48"/>
                  </a:cubicBezTo>
                  <a:cubicBezTo>
                    <a:pt x="9" y="48"/>
                    <a:pt x="13" y="47"/>
                    <a:pt x="15" y="43"/>
                  </a:cubicBezTo>
                  <a:cubicBezTo>
                    <a:pt x="17" y="38"/>
                    <a:pt x="19" y="35"/>
                    <a:pt x="19" y="34"/>
                  </a:cubicBezTo>
                  <a:cubicBezTo>
                    <a:pt x="20" y="32"/>
                    <a:pt x="20" y="23"/>
                    <a:pt x="24" y="23"/>
                  </a:cubicBezTo>
                  <a:cubicBezTo>
                    <a:pt x="25" y="23"/>
                    <a:pt x="25" y="23"/>
                    <a:pt x="25" y="23"/>
                  </a:cubicBezTo>
                  <a:cubicBezTo>
                    <a:pt x="25" y="24"/>
                    <a:pt x="26" y="24"/>
                    <a:pt x="26" y="24"/>
                  </a:cubicBezTo>
                  <a:cubicBezTo>
                    <a:pt x="28" y="25"/>
                    <a:pt x="30" y="26"/>
                    <a:pt x="32" y="26"/>
                  </a:cubicBezTo>
                  <a:cubicBezTo>
                    <a:pt x="32" y="26"/>
                    <a:pt x="33" y="26"/>
                    <a:pt x="33" y="24"/>
                  </a:cubicBezTo>
                  <a:cubicBezTo>
                    <a:pt x="33" y="21"/>
                    <a:pt x="35" y="21"/>
                    <a:pt x="37" y="20"/>
                  </a:cubicBezTo>
                  <a:cubicBezTo>
                    <a:pt x="38" y="20"/>
                    <a:pt x="39" y="19"/>
                    <a:pt x="40" y="17"/>
                  </a:cubicBezTo>
                  <a:cubicBezTo>
                    <a:pt x="40" y="14"/>
                    <a:pt x="42" y="13"/>
                    <a:pt x="44" y="13"/>
                  </a:cubicBezTo>
                  <a:cubicBezTo>
                    <a:pt x="45" y="13"/>
                    <a:pt x="46" y="13"/>
                    <a:pt x="47" y="13"/>
                  </a:cubicBezTo>
                  <a:cubicBezTo>
                    <a:pt x="48" y="13"/>
                    <a:pt x="48" y="14"/>
                    <a:pt x="49" y="14"/>
                  </a:cubicBezTo>
                  <a:cubicBezTo>
                    <a:pt x="51" y="14"/>
                    <a:pt x="52" y="12"/>
                    <a:pt x="52" y="11"/>
                  </a:cubicBezTo>
                  <a:cubicBezTo>
                    <a:pt x="52" y="9"/>
                    <a:pt x="54" y="9"/>
                    <a:pt x="57" y="8"/>
                  </a:cubicBezTo>
                  <a:cubicBezTo>
                    <a:pt x="59" y="8"/>
                    <a:pt x="62" y="7"/>
                    <a:pt x="65" y="5"/>
                  </a:cubicBezTo>
                  <a:cubicBezTo>
                    <a:pt x="66" y="5"/>
                    <a:pt x="67" y="4"/>
                    <a:pt x="68" y="3"/>
                  </a:cubicBezTo>
                  <a:cubicBezTo>
                    <a:pt x="70" y="1"/>
                    <a:pt x="73" y="0"/>
                    <a:pt x="74" y="0"/>
                  </a:cubicBezTo>
                  <a:cubicBezTo>
                    <a:pt x="75" y="0"/>
                    <a:pt x="76" y="0"/>
                    <a:pt x="76" y="1"/>
                  </a:cubicBezTo>
                  <a:cubicBezTo>
                    <a:pt x="77" y="1"/>
                    <a:pt x="80" y="2"/>
                    <a:pt x="85" y="2"/>
                  </a:cubicBezTo>
                  <a:cubicBezTo>
                    <a:pt x="85" y="2"/>
                    <a:pt x="85" y="2"/>
                    <a:pt x="85" y="2"/>
                  </a:cubicBezTo>
                  <a:cubicBezTo>
                    <a:pt x="85" y="3"/>
                    <a:pt x="85" y="3"/>
                    <a:pt x="85" y="3"/>
                  </a:cubicBezTo>
                  <a:cubicBezTo>
                    <a:pt x="84" y="9"/>
                    <a:pt x="85" y="10"/>
                    <a:pt x="85" y="10"/>
                  </a:cubicBezTo>
                  <a:cubicBezTo>
                    <a:pt x="86" y="10"/>
                    <a:pt x="87" y="12"/>
                    <a:pt x="87" y="13"/>
                  </a:cubicBezTo>
                  <a:cubicBezTo>
                    <a:pt x="88" y="15"/>
                    <a:pt x="89" y="17"/>
                    <a:pt x="90" y="18"/>
                  </a:cubicBezTo>
                  <a:cubicBezTo>
                    <a:pt x="91" y="19"/>
                    <a:pt x="91" y="19"/>
                    <a:pt x="91" y="19"/>
                  </a:cubicBezTo>
                  <a:cubicBezTo>
                    <a:pt x="93" y="21"/>
                    <a:pt x="97" y="23"/>
                    <a:pt x="97" y="26"/>
                  </a:cubicBezTo>
                  <a:cubicBezTo>
                    <a:pt x="97" y="30"/>
                    <a:pt x="98" y="31"/>
                    <a:pt x="99" y="31"/>
                  </a:cubicBezTo>
                  <a:cubicBezTo>
                    <a:pt x="101" y="31"/>
                    <a:pt x="102" y="33"/>
                    <a:pt x="102" y="34"/>
                  </a:cubicBezTo>
                  <a:cubicBezTo>
                    <a:pt x="103" y="35"/>
                    <a:pt x="104" y="36"/>
                    <a:pt x="105" y="37"/>
                  </a:cubicBezTo>
                  <a:cubicBezTo>
                    <a:pt x="106" y="37"/>
                    <a:pt x="106" y="37"/>
                    <a:pt x="106" y="37"/>
                  </a:cubicBezTo>
                  <a:cubicBezTo>
                    <a:pt x="107" y="37"/>
                    <a:pt x="109" y="36"/>
                    <a:pt x="110" y="36"/>
                  </a:cubicBezTo>
                  <a:cubicBezTo>
                    <a:pt x="111" y="36"/>
                    <a:pt x="111" y="35"/>
                    <a:pt x="112" y="35"/>
                  </a:cubicBezTo>
                  <a:cubicBezTo>
                    <a:pt x="113" y="36"/>
                    <a:pt x="113" y="36"/>
                    <a:pt x="113" y="36"/>
                  </a:cubicBezTo>
                  <a:cubicBezTo>
                    <a:pt x="113" y="36"/>
                    <a:pt x="113" y="37"/>
                    <a:pt x="113" y="40"/>
                  </a:cubicBezTo>
                  <a:cubicBezTo>
                    <a:pt x="113" y="41"/>
                    <a:pt x="113" y="43"/>
                    <a:pt x="113" y="44"/>
                  </a:cubicBezTo>
                  <a:cubicBezTo>
                    <a:pt x="114" y="44"/>
                    <a:pt x="117" y="44"/>
                    <a:pt x="120" y="46"/>
                  </a:cubicBezTo>
                  <a:cubicBezTo>
                    <a:pt x="120" y="47"/>
                    <a:pt x="120" y="47"/>
                    <a:pt x="120" y="47"/>
                  </a:cubicBezTo>
                  <a:cubicBezTo>
                    <a:pt x="120" y="47"/>
                    <a:pt x="120" y="47"/>
                    <a:pt x="120" y="47"/>
                  </a:cubicBezTo>
                  <a:cubicBezTo>
                    <a:pt x="119" y="47"/>
                    <a:pt x="119" y="47"/>
                    <a:pt x="119" y="47"/>
                  </a:cubicBezTo>
                  <a:cubicBezTo>
                    <a:pt x="120" y="47"/>
                    <a:pt x="120" y="47"/>
                    <a:pt x="120" y="47"/>
                  </a:cubicBezTo>
                  <a:cubicBezTo>
                    <a:pt x="120" y="49"/>
                    <a:pt x="119" y="50"/>
                    <a:pt x="118" y="51"/>
                  </a:cubicBezTo>
                  <a:cubicBezTo>
                    <a:pt x="117" y="52"/>
                    <a:pt x="116" y="52"/>
                    <a:pt x="116" y="53"/>
                  </a:cubicBezTo>
                  <a:cubicBezTo>
                    <a:pt x="114" y="56"/>
                    <a:pt x="104" y="56"/>
                    <a:pt x="103" y="56"/>
                  </a:cubicBezTo>
                  <a:cubicBezTo>
                    <a:pt x="102" y="56"/>
                    <a:pt x="101" y="57"/>
                    <a:pt x="99" y="58"/>
                  </a:cubicBezTo>
                  <a:cubicBezTo>
                    <a:pt x="98" y="60"/>
                    <a:pt x="97" y="61"/>
                    <a:pt x="95" y="61"/>
                  </a:cubicBezTo>
                  <a:cubicBezTo>
                    <a:pt x="94" y="61"/>
                    <a:pt x="94" y="61"/>
                    <a:pt x="94" y="61"/>
                  </a:cubicBezTo>
                  <a:cubicBezTo>
                    <a:pt x="94" y="61"/>
                    <a:pt x="94" y="61"/>
                    <a:pt x="94" y="61"/>
                  </a:cubicBezTo>
                  <a:cubicBezTo>
                    <a:pt x="92" y="61"/>
                    <a:pt x="89" y="61"/>
                    <a:pt x="87" y="60"/>
                  </a:cubicBezTo>
                  <a:cubicBezTo>
                    <a:pt x="85" y="60"/>
                    <a:pt x="83" y="60"/>
                    <a:pt x="82" y="59"/>
                  </a:cubicBezTo>
                  <a:cubicBezTo>
                    <a:pt x="80" y="59"/>
                    <a:pt x="79" y="61"/>
                    <a:pt x="78" y="62"/>
                  </a:cubicBezTo>
                  <a:cubicBezTo>
                    <a:pt x="78" y="63"/>
                    <a:pt x="77" y="64"/>
                    <a:pt x="77" y="64"/>
                  </a:cubicBezTo>
                  <a:cubicBezTo>
                    <a:pt x="76" y="64"/>
                    <a:pt x="76" y="63"/>
                    <a:pt x="76" y="63"/>
                  </a:cubicBezTo>
                  <a:cubicBezTo>
                    <a:pt x="75" y="62"/>
                    <a:pt x="64" y="61"/>
                    <a:pt x="53" y="61"/>
                  </a:cubicBezTo>
                  <a:cubicBezTo>
                    <a:pt x="43" y="61"/>
                    <a:pt x="40" y="62"/>
                    <a:pt x="40" y="62"/>
                  </a:cubicBezTo>
                  <a:cubicBezTo>
                    <a:pt x="39" y="64"/>
                    <a:pt x="41" y="68"/>
                    <a:pt x="42" y="71"/>
                  </a:cubicBezTo>
                  <a:cubicBezTo>
                    <a:pt x="42" y="73"/>
                    <a:pt x="43" y="76"/>
                    <a:pt x="43" y="77"/>
                  </a:cubicBezTo>
                  <a:cubicBezTo>
                    <a:pt x="42" y="79"/>
                    <a:pt x="41" y="80"/>
                    <a:pt x="40" y="80"/>
                  </a:cubicBezTo>
                  <a:cubicBezTo>
                    <a:pt x="39" y="80"/>
                    <a:pt x="38" y="79"/>
                    <a:pt x="37" y="78"/>
                  </a:cubicBezTo>
                  <a:cubicBezTo>
                    <a:pt x="36" y="77"/>
                    <a:pt x="34" y="77"/>
                    <a:pt x="31" y="77"/>
                  </a:cubicBezTo>
                  <a:cubicBezTo>
                    <a:pt x="28" y="77"/>
                    <a:pt x="23" y="78"/>
                    <a:pt x="21" y="80"/>
                  </a:cubicBezTo>
                  <a:cubicBezTo>
                    <a:pt x="20" y="81"/>
                    <a:pt x="19" y="82"/>
                    <a:pt x="18" y="82"/>
                  </a:cubicBezTo>
                  <a:close/>
                  <a:moveTo>
                    <a:pt x="1" y="69"/>
                  </a:moveTo>
                  <a:cubicBezTo>
                    <a:pt x="4" y="70"/>
                    <a:pt x="7" y="72"/>
                    <a:pt x="8" y="74"/>
                  </a:cubicBezTo>
                  <a:cubicBezTo>
                    <a:pt x="9" y="76"/>
                    <a:pt x="14" y="81"/>
                    <a:pt x="18" y="81"/>
                  </a:cubicBezTo>
                  <a:cubicBezTo>
                    <a:pt x="19" y="81"/>
                    <a:pt x="19" y="80"/>
                    <a:pt x="20" y="80"/>
                  </a:cubicBezTo>
                  <a:cubicBezTo>
                    <a:pt x="23" y="77"/>
                    <a:pt x="28" y="76"/>
                    <a:pt x="31" y="76"/>
                  </a:cubicBezTo>
                  <a:cubicBezTo>
                    <a:pt x="34" y="76"/>
                    <a:pt x="37" y="76"/>
                    <a:pt x="38" y="78"/>
                  </a:cubicBezTo>
                  <a:cubicBezTo>
                    <a:pt x="39" y="78"/>
                    <a:pt x="40" y="79"/>
                    <a:pt x="40" y="79"/>
                  </a:cubicBezTo>
                  <a:cubicBezTo>
                    <a:pt x="41" y="79"/>
                    <a:pt x="42" y="77"/>
                    <a:pt x="42" y="77"/>
                  </a:cubicBezTo>
                  <a:cubicBezTo>
                    <a:pt x="42" y="76"/>
                    <a:pt x="41" y="73"/>
                    <a:pt x="41" y="71"/>
                  </a:cubicBezTo>
                  <a:cubicBezTo>
                    <a:pt x="39" y="67"/>
                    <a:pt x="38" y="63"/>
                    <a:pt x="39" y="62"/>
                  </a:cubicBezTo>
                  <a:cubicBezTo>
                    <a:pt x="40" y="61"/>
                    <a:pt x="45" y="60"/>
                    <a:pt x="53" y="60"/>
                  </a:cubicBezTo>
                  <a:cubicBezTo>
                    <a:pt x="60" y="60"/>
                    <a:pt x="76" y="61"/>
                    <a:pt x="77" y="63"/>
                  </a:cubicBezTo>
                  <a:cubicBezTo>
                    <a:pt x="77" y="63"/>
                    <a:pt x="77" y="63"/>
                    <a:pt x="77" y="63"/>
                  </a:cubicBezTo>
                  <a:cubicBezTo>
                    <a:pt x="77" y="62"/>
                    <a:pt x="77" y="62"/>
                    <a:pt x="77" y="62"/>
                  </a:cubicBezTo>
                  <a:cubicBezTo>
                    <a:pt x="78" y="61"/>
                    <a:pt x="79" y="58"/>
                    <a:pt x="82" y="58"/>
                  </a:cubicBezTo>
                  <a:cubicBezTo>
                    <a:pt x="84" y="59"/>
                    <a:pt x="85" y="59"/>
                    <a:pt x="87" y="59"/>
                  </a:cubicBezTo>
                  <a:cubicBezTo>
                    <a:pt x="90" y="60"/>
                    <a:pt x="92" y="60"/>
                    <a:pt x="94" y="60"/>
                  </a:cubicBezTo>
                  <a:cubicBezTo>
                    <a:pt x="94" y="60"/>
                    <a:pt x="94" y="60"/>
                    <a:pt x="94" y="60"/>
                  </a:cubicBezTo>
                  <a:cubicBezTo>
                    <a:pt x="95" y="60"/>
                    <a:pt x="95" y="60"/>
                    <a:pt x="95" y="60"/>
                  </a:cubicBezTo>
                  <a:cubicBezTo>
                    <a:pt x="96" y="60"/>
                    <a:pt x="97" y="59"/>
                    <a:pt x="98" y="58"/>
                  </a:cubicBezTo>
                  <a:cubicBezTo>
                    <a:pt x="100" y="56"/>
                    <a:pt x="102" y="55"/>
                    <a:pt x="103" y="55"/>
                  </a:cubicBezTo>
                  <a:cubicBezTo>
                    <a:pt x="107" y="55"/>
                    <a:pt x="114" y="54"/>
                    <a:pt x="115" y="52"/>
                  </a:cubicBezTo>
                  <a:cubicBezTo>
                    <a:pt x="116" y="51"/>
                    <a:pt x="116" y="51"/>
                    <a:pt x="117" y="50"/>
                  </a:cubicBezTo>
                  <a:cubicBezTo>
                    <a:pt x="118" y="50"/>
                    <a:pt x="119" y="49"/>
                    <a:pt x="119" y="47"/>
                  </a:cubicBezTo>
                  <a:cubicBezTo>
                    <a:pt x="119" y="47"/>
                    <a:pt x="119" y="47"/>
                    <a:pt x="119" y="47"/>
                  </a:cubicBezTo>
                  <a:cubicBezTo>
                    <a:pt x="117" y="45"/>
                    <a:pt x="114" y="45"/>
                    <a:pt x="113" y="45"/>
                  </a:cubicBezTo>
                  <a:cubicBezTo>
                    <a:pt x="113" y="45"/>
                    <a:pt x="113" y="45"/>
                    <a:pt x="113" y="44"/>
                  </a:cubicBezTo>
                  <a:cubicBezTo>
                    <a:pt x="112" y="44"/>
                    <a:pt x="112" y="42"/>
                    <a:pt x="112" y="39"/>
                  </a:cubicBezTo>
                  <a:cubicBezTo>
                    <a:pt x="112" y="38"/>
                    <a:pt x="112" y="37"/>
                    <a:pt x="112" y="36"/>
                  </a:cubicBezTo>
                  <a:cubicBezTo>
                    <a:pt x="112" y="36"/>
                    <a:pt x="111" y="37"/>
                    <a:pt x="110" y="37"/>
                  </a:cubicBezTo>
                  <a:cubicBezTo>
                    <a:pt x="108" y="37"/>
                    <a:pt x="106" y="38"/>
                    <a:pt x="105" y="38"/>
                  </a:cubicBezTo>
                  <a:cubicBezTo>
                    <a:pt x="103" y="37"/>
                    <a:pt x="103" y="36"/>
                    <a:pt x="102" y="35"/>
                  </a:cubicBezTo>
                  <a:cubicBezTo>
                    <a:pt x="101" y="33"/>
                    <a:pt x="100" y="32"/>
                    <a:pt x="99" y="32"/>
                  </a:cubicBezTo>
                  <a:cubicBezTo>
                    <a:pt x="96" y="32"/>
                    <a:pt x="96" y="28"/>
                    <a:pt x="96" y="26"/>
                  </a:cubicBezTo>
                  <a:cubicBezTo>
                    <a:pt x="96" y="24"/>
                    <a:pt x="92" y="21"/>
                    <a:pt x="90" y="19"/>
                  </a:cubicBezTo>
                  <a:cubicBezTo>
                    <a:pt x="90" y="19"/>
                    <a:pt x="90" y="19"/>
                    <a:pt x="90" y="19"/>
                  </a:cubicBezTo>
                  <a:cubicBezTo>
                    <a:pt x="88" y="18"/>
                    <a:pt x="87" y="16"/>
                    <a:pt x="86" y="14"/>
                  </a:cubicBezTo>
                  <a:cubicBezTo>
                    <a:pt x="86" y="12"/>
                    <a:pt x="85" y="11"/>
                    <a:pt x="85" y="11"/>
                  </a:cubicBezTo>
                  <a:cubicBezTo>
                    <a:pt x="84" y="10"/>
                    <a:pt x="84" y="9"/>
                    <a:pt x="84" y="3"/>
                  </a:cubicBezTo>
                  <a:cubicBezTo>
                    <a:pt x="81" y="3"/>
                    <a:pt x="77" y="3"/>
                    <a:pt x="75" y="1"/>
                  </a:cubicBezTo>
                  <a:cubicBezTo>
                    <a:pt x="74" y="0"/>
                    <a:pt x="72" y="1"/>
                    <a:pt x="68" y="4"/>
                  </a:cubicBezTo>
                  <a:cubicBezTo>
                    <a:pt x="67" y="5"/>
                    <a:pt x="66" y="5"/>
                    <a:pt x="65" y="6"/>
                  </a:cubicBezTo>
                  <a:cubicBezTo>
                    <a:pt x="62" y="8"/>
                    <a:pt x="59" y="9"/>
                    <a:pt x="57" y="9"/>
                  </a:cubicBezTo>
                  <a:cubicBezTo>
                    <a:pt x="54" y="10"/>
                    <a:pt x="53" y="10"/>
                    <a:pt x="53" y="11"/>
                  </a:cubicBezTo>
                  <a:cubicBezTo>
                    <a:pt x="53" y="13"/>
                    <a:pt x="51" y="15"/>
                    <a:pt x="49" y="15"/>
                  </a:cubicBezTo>
                  <a:cubicBezTo>
                    <a:pt x="48" y="15"/>
                    <a:pt x="48" y="14"/>
                    <a:pt x="47" y="14"/>
                  </a:cubicBezTo>
                  <a:cubicBezTo>
                    <a:pt x="46" y="14"/>
                    <a:pt x="45" y="14"/>
                    <a:pt x="44" y="14"/>
                  </a:cubicBezTo>
                  <a:cubicBezTo>
                    <a:pt x="43" y="14"/>
                    <a:pt x="42" y="14"/>
                    <a:pt x="41" y="17"/>
                  </a:cubicBezTo>
                  <a:cubicBezTo>
                    <a:pt x="40" y="20"/>
                    <a:pt x="38" y="20"/>
                    <a:pt x="37" y="21"/>
                  </a:cubicBezTo>
                  <a:cubicBezTo>
                    <a:pt x="36" y="21"/>
                    <a:pt x="34" y="22"/>
                    <a:pt x="34" y="24"/>
                  </a:cubicBezTo>
                  <a:cubicBezTo>
                    <a:pt x="34" y="27"/>
                    <a:pt x="33" y="27"/>
                    <a:pt x="32" y="27"/>
                  </a:cubicBezTo>
                  <a:cubicBezTo>
                    <a:pt x="30" y="27"/>
                    <a:pt x="28" y="26"/>
                    <a:pt x="26" y="25"/>
                  </a:cubicBezTo>
                  <a:cubicBezTo>
                    <a:pt x="25" y="25"/>
                    <a:pt x="25" y="24"/>
                    <a:pt x="24" y="24"/>
                  </a:cubicBezTo>
                  <a:cubicBezTo>
                    <a:pt x="24" y="24"/>
                    <a:pt x="24" y="24"/>
                    <a:pt x="24" y="24"/>
                  </a:cubicBezTo>
                  <a:cubicBezTo>
                    <a:pt x="22" y="24"/>
                    <a:pt x="21" y="30"/>
                    <a:pt x="20" y="34"/>
                  </a:cubicBezTo>
                  <a:cubicBezTo>
                    <a:pt x="20" y="35"/>
                    <a:pt x="20" y="35"/>
                    <a:pt x="20" y="35"/>
                  </a:cubicBezTo>
                  <a:cubicBezTo>
                    <a:pt x="20" y="35"/>
                    <a:pt x="20" y="35"/>
                    <a:pt x="20" y="35"/>
                  </a:cubicBezTo>
                  <a:cubicBezTo>
                    <a:pt x="20" y="35"/>
                    <a:pt x="18" y="38"/>
                    <a:pt x="16" y="44"/>
                  </a:cubicBezTo>
                  <a:cubicBezTo>
                    <a:pt x="14" y="48"/>
                    <a:pt x="9" y="49"/>
                    <a:pt x="6" y="49"/>
                  </a:cubicBezTo>
                  <a:cubicBezTo>
                    <a:pt x="5" y="49"/>
                    <a:pt x="4" y="49"/>
                    <a:pt x="4" y="49"/>
                  </a:cubicBezTo>
                  <a:cubicBezTo>
                    <a:pt x="3" y="49"/>
                    <a:pt x="4" y="51"/>
                    <a:pt x="4" y="53"/>
                  </a:cubicBezTo>
                  <a:cubicBezTo>
                    <a:pt x="5" y="55"/>
                    <a:pt x="6" y="57"/>
                    <a:pt x="5" y="58"/>
                  </a:cubicBezTo>
                  <a:cubicBezTo>
                    <a:pt x="4" y="60"/>
                    <a:pt x="2" y="64"/>
                    <a:pt x="1" y="6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09" name="Freeform 36"/>
            <p:cNvSpPr>
              <a:spLocks noEditPoints="1"/>
            </p:cNvSpPr>
            <p:nvPr/>
          </p:nvSpPr>
          <p:spPr>
            <a:xfrm>
              <a:off x="4786314" y="3213100"/>
              <a:ext cx="384175" cy="303213"/>
            </a:xfrm>
            <a:custGeom>
              <a:gdLst>
                <a:gd name="T0" fmla="*/ 30 w 227"/>
                <a:gd name="T1" fmla="*/ 174 h 178"/>
                <a:gd name="T2" fmla="*/ 29 w 227"/>
                <a:gd name="T3" fmla="*/ 165 h 178"/>
                <a:gd name="T4" fmla="*/ 22 w 227"/>
                <a:gd name="T5" fmla="*/ 167 h 178"/>
                <a:gd name="T6" fmla="*/ 13 w 227"/>
                <a:gd name="T7" fmla="*/ 155 h 178"/>
                <a:gd name="T8" fmla="*/ 3 w 227"/>
                <a:gd name="T9" fmla="*/ 143 h 178"/>
                <a:gd name="T10" fmla="*/ 1 w 227"/>
                <a:gd name="T11" fmla="*/ 131 h 178"/>
                <a:gd name="T12" fmla="*/ 11 w 227"/>
                <a:gd name="T13" fmla="*/ 130 h 178"/>
                <a:gd name="T14" fmla="*/ 23 w 227"/>
                <a:gd name="T15" fmla="*/ 126 h 178"/>
                <a:gd name="T16" fmla="*/ 46 w 227"/>
                <a:gd name="T17" fmla="*/ 124 h 178"/>
                <a:gd name="T18" fmla="*/ 57 w 227"/>
                <a:gd name="T19" fmla="*/ 113 h 178"/>
                <a:gd name="T20" fmla="*/ 60 w 227"/>
                <a:gd name="T21" fmla="*/ 68 h 178"/>
                <a:gd name="T22" fmla="*/ 62 w 227"/>
                <a:gd name="T23" fmla="*/ 68 h 178"/>
                <a:gd name="T24" fmla="*/ 174 w 227"/>
                <a:gd name="T25" fmla="*/ 0 h 178"/>
                <a:gd name="T26" fmla="*/ 205 w 227"/>
                <a:gd name="T27" fmla="*/ 14 h 178"/>
                <a:gd name="T28" fmla="*/ 217 w 227"/>
                <a:gd name="T29" fmla="*/ 27 h 178"/>
                <a:gd name="T30" fmla="*/ 225 w 227"/>
                <a:gd name="T31" fmla="*/ 45 h 178"/>
                <a:gd name="T32" fmla="*/ 222 w 227"/>
                <a:gd name="T33" fmla="*/ 103 h 178"/>
                <a:gd name="T34" fmla="*/ 196 w 227"/>
                <a:gd name="T35" fmla="*/ 145 h 178"/>
                <a:gd name="T36" fmla="*/ 195 w 227"/>
                <a:gd name="T37" fmla="*/ 150 h 178"/>
                <a:gd name="T38" fmla="*/ 183 w 227"/>
                <a:gd name="T39" fmla="*/ 159 h 178"/>
                <a:gd name="T40" fmla="*/ 170 w 227"/>
                <a:gd name="T41" fmla="*/ 156 h 178"/>
                <a:gd name="T42" fmla="*/ 152 w 227"/>
                <a:gd name="T43" fmla="*/ 156 h 178"/>
                <a:gd name="T44" fmla="*/ 135 w 227"/>
                <a:gd name="T45" fmla="*/ 164 h 178"/>
                <a:gd name="T46" fmla="*/ 116 w 227"/>
                <a:gd name="T47" fmla="*/ 157 h 178"/>
                <a:gd name="T48" fmla="*/ 97 w 227"/>
                <a:gd name="T49" fmla="*/ 156 h 178"/>
                <a:gd name="T50" fmla="*/ 84 w 227"/>
                <a:gd name="T51" fmla="*/ 149 h 178"/>
                <a:gd name="T52" fmla="*/ 75 w 227"/>
                <a:gd name="T53" fmla="*/ 152 h 178"/>
                <a:gd name="T54" fmla="*/ 62 w 227"/>
                <a:gd name="T55" fmla="*/ 152 h 178"/>
                <a:gd name="T56" fmla="*/ 53 w 227"/>
                <a:gd name="T57" fmla="*/ 173 h 178"/>
                <a:gd name="T58" fmla="*/ 41 w 227"/>
                <a:gd name="T59" fmla="*/ 170 h 178"/>
                <a:gd name="T60" fmla="*/ 37 w 227"/>
                <a:gd name="T61" fmla="*/ 177 h 178"/>
                <a:gd name="T62" fmla="*/ 44 w 227"/>
                <a:gd name="T63" fmla="*/ 172 h 178"/>
                <a:gd name="T64" fmla="*/ 52 w 227"/>
                <a:gd name="T65" fmla="*/ 173 h 178"/>
                <a:gd name="T66" fmla="*/ 62 w 227"/>
                <a:gd name="T67" fmla="*/ 151 h 178"/>
                <a:gd name="T68" fmla="*/ 76 w 227"/>
                <a:gd name="T69" fmla="*/ 151 h 178"/>
                <a:gd name="T70" fmla="*/ 84 w 227"/>
                <a:gd name="T71" fmla="*/ 148 h 178"/>
                <a:gd name="T72" fmla="*/ 98 w 227"/>
                <a:gd name="T73" fmla="*/ 155 h 178"/>
                <a:gd name="T74" fmla="*/ 116 w 227"/>
                <a:gd name="T75" fmla="*/ 156 h 178"/>
                <a:gd name="T76" fmla="*/ 135 w 227"/>
                <a:gd name="T77" fmla="*/ 163 h 178"/>
                <a:gd name="T78" fmla="*/ 152 w 227"/>
                <a:gd name="T79" fmla="*/ 155 h 178"/>
                <a:gd name="T80" fmla="*/ 171 w 227"/>
                <a:gd name="T81" fmla="*/ 155 h 178"/>
                <a:gd name="T82" fmla="*/ 182 w 227"/>
                <a:gd name="T83" fmla="*/ 158 h 178"/>
                <a:gd name="T84" fmla="*/ 194 w 227"/>
                <a:gd name="T85" fmla="*/ 149 h 178"/>
                <a:gd name="T86" fmla="*/ 198 w 227"/>
                <a:gd name="T87" fmla="*/ 132 h 178"/>
                <a:gd name="T88" fmla="*/ 225 w 227"/>
                <a:gd name="T89" fmla="*/ 51 h 178"/>
                <a:gd name="T90" fmla="*/ 219 w 227"/>
                <a:gd name="T91" fmla="*/ 32 h 178"/>
                <a:gd name="T92" fmla="*/ 204 w 227"/>
                <a:gd name="T93" fmla="*/ 15 h 178"/>
                <a:gd name="T94" fmla="*/ 174 w 227"/>
                <a:gd name="T95" fmla="*/ 1 h 178"/>
                <a:gd name="T96" fmla="*/ 62 w 227"/>
                <a:gd name="T97" fmla="*/ 69 h 178"/>
                <a:gd name="T98" fmla="*/ 60 w 227"/>
                <a:gd name="T99" fmla="*/ 108 h 178"/>
                <a:gd name="T100" fmla="*/ 54 w 227"/>
                <a:gd name="T101" fmla="*/ 120 h 178"/>
                <a:gd name="T102" fmla="*/ 25 w 227"/>
                <a:gd name="T103" fmla="*/ 128 h 178"/>
                <a:gd name="T104" fmla="*/ 14 w 227"/>
                <a:gd name="T105" fmla="*/ 130 h 178"/>
                <a:gd name="T106" fmla="*/ 2 w 227"/>
                <a:gd name="T107" fmla="*/ 139 h 178"/>
                <a:gd name="T108" fmla="*/ 8 w 227"/>
                <a:gd name="T109" fmla="*/ 148 h 178"/>
                <a:gd name="T110" fmla="*/ 19 w 227"/>
                <a:gd name="T111" fmla="*/ 163 h 178"/>
                <a:gd name="T112" fmla="*/ 27 w 227"/>
                <a:gd name="T113" fmla="*/ 165 h 178"/>
                <a:gd name="T114" fmla="*/ 30 w 227"/>
                <a:gd name="T115" fmla="*/ 169 h 178"/>
                <a:gd name="T116" fmla="*/ 37 w 227"/>
                <a:gd name="T117" fmla="*/ 170 h 1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 h="178">
                  <a:moveTo>
                    <a:pt x="37" y="177"/>
                  </a:moveTo>
                  <a:cubicBezTo>
                    <a:pt x="36" y="176"/>
                    <a:pt x="36" y="176"/>
                    <a:pt x="36" y="176"/>
                  </a:cubicBezTo>
                  <a:cubicBezTo>
                    <a:pt x="34" y="174"/>
                    <a:pt x="31" y="174"/>
                    <a:pt x="30" y="174"/>
                  </a:cubicBezTo>
                  <a:cubicBezTo>
                    <a:pt x="30" y="174"/>
                    <a:pt x="30" y="174"/>
                    <a:pt x="30" y="173"/>
                  </a:cubicBezTo>
                  <a:cubicBezTo>
                    <a:pt x="29" y="173"/>
                    <a:pt x="29" y="171"/>
                    <a:pt x="29" y="168"/>
                  </a:cubicBezTo>
                  <a:cubicBezTo>
                    <a:pt x="29" y="167"/>
                    <a:pt x="29" y="166"/>
                    <a:pt x="29" y="165"/>
                  </a:cubicBezTo>
                  <a:cubicBezTo>
                    <a:pt x="29" y="165"/>
                    <a:pt x="28" y="166"/>
                    <a:pt x="27" y="166"/>
                  </a:cubicBezTo>
                  <a:cubicBezTo>
                    <a:pt x="26" y="166"/>
                    <a:pt x="24" y="167"/>
                    <a:pt x="23" y="167"/>
                  </a:cubicBezTo>
                  <a:cubicBezTo>
                    <a:pt x="22" y="167"/>
                    <a:pt x="22" y="167"/>
                    <a:pt x="22" y="167"/>
                  </a:cubicBezTo>
                  <a:cubicBezTo>
                    <a:pt x="20" y="166"/>
                    <a:pt x="20" y="165"/>
                    <a:pt x="19" y="164"/>
                  </a:cubicBezTo>
                  <a:cubicBezTo>
                    <a:pt x="18" y="162"/>
                    <a:pt x="17" y="161"/>
                    <a:pt x="16" y="161"/>
                  </a:cubicBezTo>
                  <a:cubicBezTo>
                    <a:pt x="13" y="161"/>
                    <a:pt x="13" y="157"/>
                    <a:pt x="13" y="155"/>
                  </a:cubicBezTo>
                  <a:cubicBezTo>
                    <a:pt x="13" y="153"/>
                    <a:pt x="9" y="150"/>
                    <a:pt x="7" y="148"/>
                  </a:cubicBezTo>
                  <a:cubicBezTo>
                    <a:pt x="7" y="148"/>
                    <a:pt x="7" y="148"/>
                    <a:pt x="7" y="148"/>
                  </a:cubicBezTo>
                  <a:cubicBezTo>
                    <a:pt x="5" y="147"/>
                    <a:pt x="4" y="145"/>
                    <a:pt x="3" y="143"/>
                  </a:cubicBezTo>
                  <a:cubicBezTo>
                    <a:pt x="3" y="141"/>
                    <a:pt x="2" y="140"/>
                    <a:pt x="2" y="140"/>
                  </a:cubicBezTo>
                  <a:cubicBezTo>
                    <a:pt x="1" y="139"/>
                    <a:pt x="0" y="138"/>
                    <a:pt x="1" y="131"/>
                  </a:cubicBezTo>
                  <a:cubicBezTo>
                    <a:pt x="1" y="131"/>
                    <a:pt x="1" y="131"/>
                    <a:pt x="1" y="131"/>
                  </a:cubicBezTo>
                  <a:cubicBezTo>
                    <a:pt x="2" y="131"/>
                    <a:pt x="2" y="131"/>
                    <a:pt x="2" y="131"/>
                  </a:cubicBezTo>
                  <a:cubicBezTo>
                    <a:pt x="3" y="131"/>
                    <a:pt x="3" y="131"/>
                    <a:pt x="3" y="131"/>
                  </a:cubicBezTo>
                  <a:cubicBezTo>
                    <a:pt x="7" y="131"/>
                    <a:pt x="10" y="131"/>
                    <a:pt x="11" y="130"/>
                  </a:cubicBezTo>
                  <a:cubicBezTo>
                    <a:pt x="12" y="130"/>
                    <a:pt x="12" y="130"/>
                    <a:pt x="13" y="129"/>
                  </a:cubicBezTo>
                  <a:cubicBezTo>
                    <a:pt x="15" y="128"/>
                    <a:pt x="18" y="126"/>
                    <a:pt x="21" y="126"/>
                  </a:cubicBezTo>
                  <a:cubicBezTo>
                    <a:pt x="22" y="126"/>
                    <a:pt x="23" y="126"/>
                    <a:pt x="23" y="126"/>
                  </a:cubicBezTo>
                  <a:cubicBezTo>
                    <a:pt x="24" y="127"/>
                    <a:pt x="24" y="127"/>
                    <a:pt x="25" y="127"/>
                  </a:cubicBezTo>
                  <a:cubicBezTo>
                    <a:pt x="28" y="127"/>
                    <a:pt x="33" y="126"/>
                    <a:pt x="37" y="125"/>
                  </a:cubicBezTo>
                  <a:cubicBezTo>
                    <a:pt x="40" y="125"/>
                    <a:pt x="44" y="124"/>
                    <a:pt x="46" y="124"/>
                  </a:cubicBezTo>
                  <a:cubicBezTo>
                    <a:pt x="50" y="124"/>
                    <a:pt x="52" y="121"/>
                    <a:pt x="53" y="119"/>
                  </a:cubicBezTo>
                  <a:cubicBezTo>
                    <a:pt x="54" y="119"/>
                    <a:pt x="54" y="118"/>
                    <a:pt x="54" y="118"/>
                  </a:cubicBezTo>
                  <a:cubicBezTo>
                    <a:pt x="55" y="117"/>
                    <a:pt x="56" y="115"/>
                    <a:pt x="57" y="113"/>
                  </a:cubicBezTo>
                  <a:cubicBezTo>
                    <a:pt x="57" y="110"/>
                    <a:pt x="58" y="108"/>
                    <a:pt x="59" y="107"/>
                  </a:cubicBezTo>
                  <a:cubicBezTo>
                    <a:pt x="60" y="106"/>
                    <a:pt x="60" y="96"/>
                    <a:pt x="60" y="69"/>
                  </a:cubicBezTo>
                  <a:cubicBezTo>
                    <a:pt x="60" y="68"/>
                    <a:pt x="60" y="68"/>
                    <a:pt x="60" y="68"/>
                  </a:cubicBezTo>
                  <a:cubicBezTo>
                    <a:pt x="60" y="68"/>
                    <a:pt x="60" y="68"/>
                    <a:pt x="60" y="68"/>
                  </a:cubicBezTo>
                  <a:cubicBezTo>
                    <a:pt x="61" y="68"/>
                    <a:pt x="61" y="68"/>
                    <a:pt x="62" y="68"/>
                  </a:cubicBezTo>
                  <a:cubicBezTo>
                    <a:pt x="62" y="68"/>
                    <a:pt x="62" y="68"/>
                    <a:pt x="62" y="68"/>
                  </a:cubicBezTo>
                  <a:cubicBezTo>
                    <a:pt x="67" y="67"/>
                    <a:pt x="83" y="61"/>
                    <a:pt x="85" y="61"/>
                  </a:cubicBezTo>
                  <a:cubicBezTo>
                    <a:pt x="111" y="39"/>
                    <a:pt x="111" y="39"/>
                    <a:pt x="111" y="39"/>
                  </a:cubicBezTo>
                  <a:cubicBezTo>
                    <a:pt x="174" y="0"/>
                    <a:pt x="174" y="0"/>
                    <a:pt x="174" y="0"/>
                  </a:cubicBezTo>
                  <a:cubicBezTo>
                    <a:pt x="174" y="0"/>
                    <a:pt x="174" y="0"/>
                    <a:pt x="174" y="0"/>
                  </a:cubicBezTo>
                  <a:cubicBezTo>
                    <a:pt x="175" y="0"/>
                    <a:pt x="189" y="0"/>
                    <a:pt x="196" y="5"/>
                  </a:cubicBezTo>
                  <a:cubicBezTo>
                    <a:pt x="201" y="8"/>
                    <a:pt x="204" y="12"/>
                    <a:pt x="205" y="14"/>
                  </a:cubicBezTo>
                  <a:cubicBezTo>
                    <a:pt x="217" y="7"/>
                    <a:pt x="217" y="7"/>
                    <a:pt x="217" y="7"/>
                  </a:cubicBezTo>
                  <a:cubicBezTo>
                    <a:pt x="217" y="8"/>
                    <a:pt x="217" y="8"/>
                    <a:pt x="217" y="8"/>
                  </a:cubicBezTo>
                  <a:cubicBezTo>
                    <a:pt x="217" y="16"/>
                    <a:pt x="217" y="25"/>
                    <a:pt x="217" y="27"/>
                  </a:cubicBezTo>
                  <a:cubicBezTo>
                    <a:pt x="217" y="28"/>
                    <a:pt x="219" y="30"/>
                    <a:pt x="220" y="31"/>
                  </a:cubicBezTo>
                  <a:cubicBezTo>
                    <a:pt x="222" y="34"/>
                    <a:pt x="224" y="37"/>
                    <a:pt x="223" y="40"/>
                  </a:cubicBezTo>
                  <a:cubicBezTo>
                    <a:pt x="223" y="42"/>
                    <a:pt x="224" y="44"/>
                    <a:pt x="225" y="45"/>
                  </a:cubicBezTo>
                  <a:cubicBezTo>
                    <a:pt x="226" y="46"/>
                    <a:pt x="227" y="48"/>
                    <a:pt x="226" y="51"/>
                  </a:cubicBezTo>
                  <a:cubicBezTo>
                    <a:pt x="224" y="57"/>
                    <a:pt x="223" y="62"/>
                    <a:pt x="223" y="67"/>
                  </a:cubicBezTo>
                  <a:cubicBezTo>
                    <a:pt x="223" y="90"/>
                    <a:pt x="223" y="102"/>
                    <a:pt x="222" y="103"/>
                  </a:cubicBezTo>
                  <a:cubicBezTo>
                    <a:pt x="220" y="104"/>
                    <a:pt x="200" y="125"/>
                    <a:pt x="199" y="132"/>
                  </a:cubicBezTo>
                  <a:cubicBezTo>
                    <a:pt x="198" y="136"/>
                    <a:pt x="197" y="137"/>
                    <a:pt x="197" y="138"/>
                  </a:cubicBezTo>
                  <a:cubicBezTo>
                    <a:pt x="196" y="139"/>
                    <a:pt x="196" y="140"/>
                    <a:pt x="196" y="145"/>
                  </a:cubicBezTo>
                  <a:cubicBezTo>
                    <a:pt x="196" y="146"/>
                    <a:pt x="195" y="148"/>
                    <a:pt x="195" y="149"/>
                  </a:cubicBezTo>
                  <a:cubicBezTo>
                    <a:pt x="195" y="150"/>
                    <a:pt x="195" y="150"/>
                    <a:pt x="195" y="150"/>
                  </a:cubicBezTo>
                  <a:cubicBezTo>
                    <a:pt x="195" y="150"/>
                    <a:pt x="195" y="150"/>
                    <a:pt x="195" y="150"/>
                  </a:cubicBezTo>
                  <a:cubicBezTo>
                    <a:pt x="194" y="150"/>
                    <a:pt x="194" y="150"/>
                    <a:pt x="193" y="150"/>
                  </a:cubicBezTo>
                  <a:cubicBezTo>
                    <a:pt x="192" y="150"/>
                    <a:pt x="190" y="152"/>
                    <a:pt x="189" y="154"/>
                  </a:cubicBezTo>
                  <a:cubicBezTo>
                    <a:pt x="187" y="156"/>
                    <a:pt x="185" y="158"/>
                    <a:pt x="183" y="159"/>
                  </a:cubicBezTo>
                  <a:cubicBezTo>
                    <a:pt x="182" y="159"/>
                    <a:pt x="181" y="160"/>
                    <a:pt x="180" y="160"/>
                  </a:cubicBezTo>
                  <a:cubicBezTo>
                    <a:pt x="177" y="160"/>
                    <a:pt x="173" y="158"/>
                    <a:pt x="171" y="156"/>
                  </a:cubicBezTo>
                  <a:cubicBezTo>
                    <a:pt x="170" y="156"/>
                    <a:pt x="170" y="156"/>
                    <a:pt x="170" y="156"/>
                  </a:cubicBezTo>
                  <a:cubicBezTo>
                    <a:pt x="169" y="156"/>
                    <a:pt x="166" y="156"/>
                    <a:pt x="165" y="156"/>
                  </a:cubicBezTo>
                  <a:cubicBezTo>
                    <a:pt x="163" y="156"/>
                    <a:pt x="161" y="156"/>
                    <a:pt x="159" y="156"/>
                  </a:cubicBezTo>
                  <a:cubicBezTo>
                    <a:pt x="156" y="156"/>
                    <a:pt x="153" y="156"/>
                    <a:pt x="152" y="156"/>
                  </a:cubicBezTo>
                  <a:cubicBezTo>
                    <a:pt x="150" y="156"/>
                    <a:pt x="147" y="158"/>
                    <a:pt x="145" y="160"/>
                  </a:cubicBezTo>
                  <a:cubicBezTo>
                    <a:pt x="144" y="161"/>
                    <a:pt x="143" y="162"/>
                    <a:pt x="142" y="163"/>
                  </a:cubicBezTo>
                  <a:cubicBezTo>
                    <a:pt x="140" y="163"/>
                    <a:pt x="137" y="164"/>
                    <a:pt x="135" y="164"/>
                  </a:cubicBezTo>
                  <a:cubicBezTo>
                    <a:pt x="132" y="164"/>
                    <a:pt x="128" y="163"/>
                    <a:pt x="127" y="163"/>
                  </a:cubicBezTo>
                  <a:cubicBezTo>
                    <a:pt x="126" y="162"/>
                    <a:pt x="124" y="161"/>
                    <a:pt x="122" y="160"/>
                  </a:cubicBezTo>
                  <a:cubicBezTo>
                    <a:pt x="120" y="158"/>
                    <a:pt x="117" y="157"/>
                    <a:pt x="116" y="157"/>
                  </a:cubicBezTo>
                  <a:cubicBezTo>
                    <a:pt x="114" y="157"/>
                    <a:pt x="109" y="157"/>
                    <a:pt x="104" y="160"/>
                  </a:cubicBezTo>
                  <a:cubicBezTo>
                    <a:pt x="103" y="160"/>
                    <a:pt x="103" y="161"/>
                    <a:pt x="102" y="161"/>
                  </a:cubicBezTo>
                  <a:cubicBezTo>
                    <a:pt x="100" y="161"/>
                    <a:pt x="99" y="158"/>
                    <a:pt x="97" y="156"/>
                  </a:cubicBezTo>
                  <a:cubicBezTo>
                    <a:pt x="97" y="154"/>
                    <a:pt x="96" y="153"/>
                    <a:pt x="95" y="152"/>
                  </a:cubicBezTo>
                  <a:cubicBezTo>
                    <a:pt x="94" y="151"/>
                    <a:pt x="92" y="151"/>
                    <a:pt x="90" y="151"/>
                  </a:cubicBezTo>
                  <a:cubicBezTo>
                    <a:pt x="88" y="151"/>
                    <a:pt x="86" y="150"/>
                    <a:pt x="84" y="149"/>
                  </a:cubicBezTo>
                  <a:cubicBezTo>
                    <a:pt x="83" y="148"/>
                    <a:pt x="83" y="148"/>
                    <a:pt x="82" y="148"/>
                  </a:cubicBezTo>
                  <a:cubicBezTo>
                    <a:pt x="81" y="148"/>
                    <a:pt x="80" y="149"/>
                    <a:pt x="79" y="150"/>
                  </a:cubicBezTo>
                  <a:cubicBezTo>
                    <a:pt x="78" y="151"/>
                    <a:pt x="77" y="152"/>
                    <a:pt x="75" y="152"/>
                  </a:cubicBezTo>
                  <a:cubicBezTo>
                    <a:pt x="74" y="152"/>
                    <a:pt x="74" y="152"/>
                    <a:pt x="74" y="152"/>
                  </a:cubicBezTo>
                  <a:cubicBezTo>
                    <a:pt x="72" y="151"/>
                    <a:pt x="69" y="151"/>
                    <a:pt x="67" y="151"/>
                  </a:cubicBezTo>
                  <a:cubicBezTo>
                    <a:pt x="65" y="151"/>
                    <a:pt x="63" y="151"/>
                    <a:pt x="62" y="152"/>
                  </a:cubicBezTo>
                  <a:cubicBezTo>
                    <a:pt x="61" y="153"/>
                    <a:pt x="61" y="156"/>
                    <a:pt x="60" y="159"/>
                  </a:cubicBezTo>
                  <a:cubicBezTo>
                    <a:pt x="60" y="161"/>
                    <a:pt x="60" y="163"/>
                    <a:pt x="59" y="163"/>
                  </a:cubicBezTo>
                  <a:cubicBezTo>
                    <a:pt x="57" y="165"/>
                    <a:pt x="53" y="171"/>
                    <a:pt x="53" y="173"/>
                  </a:cubicBezTo>
                  <a:cubicBezTo>
                    <a:pt x="53" y="177"/>
                    <a:pt x="50" y="178"/>
                    <a:pt x="46" y="176"/>
                  </a:cubicBezTo>
                  <a:cubicBezTo>
                    <a:pt x="44" y="175"/>
                    <a:pt x="44" y="174"/>
                    <a:pt x="44" y="173"/>
                  </a:cubicBezTo>
                  <a:cubicBezTo>
                    <a:pt x="43" y="171"/>
                    <a:pt x="43" y="170"/>
                    <a:pt x="41" y="170"/>
                  </a:cubicBezTo>
                  <a:cubicBezTo>
                    <a:pt x="40" y="169"/>
                    <a:pt x="39" y="169"/>
                    <a:pt x="38" y="170"/>
                  </a:cubicBezTo>
                  <a:cubicBezTo>
                    <a:pt x="37" y="172"/>
                    <a:pt x="36" y="174"/>
                    <a:pt x="37" y="176"/>
                  </a:cubicBezTo>
                  <a:lnTo>
                    <a:pt x="37" y="177"/>
                  </a:lnTo>
                  <a:close/>
                  <a:moveTo>
                    <a:pt x="40" y="168"/>
                  </a:moveTo>
                  <a:cubicBezTo>
                    <a:pt x="41" y="168"/>
                    <a:pt x="41" y="168"/>
                    <a:pt x="42" y="169"/>
                  </a:cubicBezTo>
                  <a:cubicBezTo>
                    <a:pt x="44" y="169"/>
                    <a:pt x="44" y="171"/>
                    <a:pt x="44" y="172"/>
                  </a:cubicBezTo>
                  <a:cubicBezTo>
                    <a:pt x="45" y="174"/>
                    <a:pt x="45" y="175"/>
                    <a:pt x="46" y="175"/>
                  </a:cubicBezTo>
                  <a:cubicBezTo>
                    <a:pt x="47" y="176"/>
                    <a:pt x="48" y="176"/>
                    <a:pt x="49" y="176"/>
                  </a:cubicBezTo>
                  <a:cubicBezTo>
                    <a:pt x="51" y="176"/>
                    <a:pt x="52" y="175"/>
                    <a:pt x="52" y="173"/>
                  </a:cubicBezTo>
                  <a:cubicBezTo>
                    <a:pt x="52" y="170"/>
                    <a:pt x="57" y="164"/>
                    <a:pt x="58" y="163"/>
                  </a:cubicBezTo>
                  <a:cubicBezTo>
                    <a:pt x="59" y="162"/>
                    <a:pt x="59" y="160"/>
                    <a:pt x="59" y="159"/>
                  </a:cubicBezTo>
                  <a:cubicBezTo>
                    <a:pt x="60" y="156"/>
                    <a:pt x="60" y="152"/>
                    <a:pt x="62" y="151"/>
                  </a:cubicBezTo>
                  <a:cubicBezTo>
                    <a:pt x="63" y="150"/>
                    <a:pt x="64" y="150"/>
                    <a:pt x="67" y="150"/>
                  </a:cubicBezTo>
                  <a:cubicBezTo>
                    <a:pt x="69" y="150"/>
                    <a:pt x="72" y="150"/>
                    <a:pt x="74" y="151"/>
                  </a:cubicBezTo>
                  <a:cubicBezTo>
                    <a:pt x="75" y="151"/>
                    <a:pt x="75" y="151"/>
                    <a:pt x="76" y="151"/>
                  </a:cubicBezTo>
                  <a:cubicBezTo>
                    <a:pt x="77" y="151"/>
                    <a:pt x="78" y="150"/>
                    <a:pt x="79" y="149"/>
                  </a:cubicBezTo>
                  <a:cubicBezTo>
                    <a:pt x="80" y="148"/>
                    <a:pt x="81" y="147"/>
                    <a:pt x="82" y="147"/>
                  </a:cubicBezTo>
                  <a:cubicBezTo>
                    <a:pt x="83" y="147"/>
                    <a:pt x="84" y="147"/>
                    <a:pt x="84" y="148"/>
                  </a:cubicBezTo>
                  <a:cubicBezTo>
                    <a:pt x="86" y="149"/>
                    <a:pt x="88" y="150"/>
                    <a:pt x="90" y="150"/>
                  </a:cubicBezTo>
                  <a:cubicBezTo>
                    <a:pt x="92" y="150"/>
                    <a:pt x="95" y="150"/>
                    <a:pt x="96" y="152"/>
                  </a:cubicBezTo>
                  <a:cubicBezTo>
                    <a:pt x="97" y="152"/>
                    <a:pt x="98" y="154"/>
                    <a:pt x="98" y="155"/>
                  </a:cubicBezTo>
                  <a:cubicBezTo>
                    <a:pt x="99" y="157"/>
                    <a:pt x="100" y="160"/>
                    <a:pt x="102" y="160"/>
                  </a:cubicBezTo>
                  <a:cubicBezTo>
                    <a:pt x="103" y="160"/>
                    <a:pt x="103" y="159"/>
                    <a:pt x="104" y="159"/>
                  </a:cubicBezTo>
                  <a:cubicBezTo>
                    <a:pt x="108" y="156"/>
                    <a:pt x="113" y="156"/>
                    <a:pt x="116" y="156"/>
                  </a:cubicBezTo>
                  <a:cubicBezTo>
                    <a:pt x="118" y="156"/>
                    <a:pt x="120" y="157"/>
                    <a:pt x="123" y="159"/>
                  </a:cubicBezTo>
                  <a:cubicBezTo>
                    <a:pt x="125" y="160"/>
                    <a:pt x="126" y="161"/>
                    <a:pt x="127" y="162"/>
                  </a:cubicBezTo>
                  <a:cubicBezTo>
                    <a:pt x="129" y="162"/>
                    <a:pt x="132" y="163"/>
                    <a:pt x="135" y="163"/>
                  </a:cubicBezTo>
                  <a:cubicBezTo>
                    <a:pt x="138" y="163"/>
                    <a:pt x="140" y="162"/>
                    <a:pt x="141" y="162"/>
                  </a:cubicBezTo>
                  <a:cubicBezTo>
                    <a:pt x="142" y="161"/>
                    <a:pt x="143" y="160"/>
                    <a:pt x="144" y="159"/>
                  </a:cubicBezTo>
                  <a:cubicBezTo>
                    <a:pt x="147" y="157"/>
                    <a:pt x="149" y="154"/>
                    <a:pt x="152" y="155"/>
                  </a:cubicBezTo>
                  <a:cubicBezTo>
                    <a:pt x="153" y="155"/>
                    <a:pt x="156" y="155"/>
                    <a:pt x="159" y="155"/>
                  </a:cubicBezTo>
                  <a:cubicBezTo>
                    <a:pt x="161" y="155"/>
                    <a:pt x="163" y="155"/>
                    <a:pt x="165" y="155"/>
                  </a:cubicBezTo>
                  <a:cubicBezTo>
                    <a:pt x="168" y="155"/>
                    <a:pt x="170" y="155"/>
                    <a:pt x="171" y="155"/>
                  </a:cubicBezTo>
                  <a:cubicBezTo>
                    <a:pt x="171" y="156"/>
                    <a:pt x="171" y="156"/>
                    <a:pt x="171" y="156"/>
                  </a:cubicBezTo>
                  <a:cubicBezTo>
                    <a:pt x="173" y="157"/>
                    <a:pt x="177" y="159"/>
                    <a:pt x="180" y="159"/>
                  </a:cubicBezTo>
                  <a:cubicBezTo>
                    <a:pt x="181" y="159"/>
                    <a:pt x="182" y="158"/>
                    <a:pt x="182" y="158"/>
                  </a:cubicBezTo>
                  <a:cubicBezTo>
                    <a:pt x="184" y="158"/>
                    <a:pt x="186" y="155"/>
                    <a:pt x="188" y="153"/>
                  </a:cubicBezTo>
                  <a:cubicBezTo>
                    <a:pt x="190" y="151"/>
                    <a:pt x="191" y="149"/>
                    <a:pt x="193" y="149"/>
                  </a:cubicBezTo>
                  <a:cubicBezTo>
                    <a:pt x="194" y="149"/>
                    <a:pt x="194" y="149"/>
                    <a:pt x="194" y="149"/>
                  </a:cubicBezTo>
                  <a:cubicBezTo>
                    <a:pt x="194" y="147"/>
                    <a:pt x="195" y="146"/>
                    <a:pt x="195" y="145"/>
                  </a:cubicBezTo>
                  <a:cubicBezTo>
                    <a:pt x="195" y="140"/>
                    <a:pt x="195" y="139"/>
                    <a:pt x="196" y="138"/>
                  </a:cubicBezTo>
                  <a:cubicBezTo>
                    <a:pt x="196" y="137"/>
                    <a:pt x="197" y="135"/>
                    <a:pt x="198" y="132"/>
                  </a:cubicBezTo>
                  <a:cubicBezTo>
                    <a:pt x="199" y="124"/>
                    <a:pt x="219" y="104"/>
                    <a:pt x="221" y="102"/>
                  </a:cubicBezTo>
                  <a:cubicBezTo>
                    <a:pt x="222" y="102"/>
                    <a:pt x="222" y="92"/>
                    <a:pt x="222" y="67"/>
                  </a:cubicBezTo>
                  <a:cubicBezTo>
                    <a:pt x="222" y="62"/>
                    <a:pt x="223" y="57"/>
                    <a:pt x="225" y="51"/>
                  </a:cubicBezTo>
                  <a:cubicBezTo>
                    <a:pt x="226" y="48"/>
                    <a:pt x="225" y="47"/>
                    <a:pt x="224" y="45"/>
                  </a:cubicBezTo>
                  <a:cubicBezTo>
                    <a:pt x="223" y="44"/>
                    <a:pt x="222" y="43"/>
                    <a:pt x="222" y="40"/>
                  </a:cubicBezTo>
                  <a:cubicBezTo>
                    <a:pt x="223" y="37"/>
                    <a:pt x="221" y="34"/>
                    <a:pt x="219" y="32"/>
                  </a:cubicBezTo>
                  <a:cubicBezTo>
                    <a:pt x="218" y="30"/>
                    <a:pt x="216" y="28"/>
                    <a:pt x="216" y="27"/>
                  </a:cubicBezTo>
                  <a:cubicBezTo>
                    <a:pt x="216" y="25"/>
                    <a:pt x="216" y="15"/>
                    <a:pt x="216" y="9"/>
                  </a:cubicBezTo>
                  <a:cubicBezTo>
                    <a:pt x="204" y="15"/>
                    <a:pt x="204" y="15"/>
                    <a:pt x="204" y="15"/>
                  </a:cubicBezTo>
                  <a:cubicBezTo>
                    <a:pt x="204" y="14"/>
                    <a:pt x="204" y="14"/>
                    <a:pt x="204" y="14"/>
                  </a:cubicBezTo>
                  <a:cubicBezTo>
                    <a:pt x="204" y="14"/>
                    <a:pt x="201" y="9"/>
                    <a:pt x="195" y="5"/>
                  </a:cubicBezTo>
                  <a:cubicBezTo>
                    <a:pt x="189" y="2"/>
                    <a:pt x="176" y="1"/>
                    <a:pt x="174" y="1"/>
                  </a:cubicBezTo>
                  <a:cubicBezTo>
                    <a:pt x="112" y="40"/>
                    <a:pt x="112" y="40"/>
                    <a:pt x="112" y="40"/>
                  </a:cubicBezTo>
                  <a:cubicBezTo>
                    <a:pt x="85" y="62"/>
                    <a:pt x="85" y="62"/>
                    <a:pt x="85" y="62"/>
                  </a:cubicBezTo>
                  <a:cubicBezTo>
                    <a:pt x="84" y="62"/>
                    <a:pt x="68" y="68"/>
                    <a:pt x="62" y="69"/>
                  </a:cubicBezTo>
                  <a:cubicBezTo>
                    <a:pt x="62" y="69"/>
                    <a:pt x="62" y="69"/>
                    <a:pt x="62" y="69"/>
                  </a:cubicBezTo>
                  <a:cubicBezTo>
                    <a:pt x="61" y="69"/>
                    <a:pt x="61" y="69"/>
                    <a:pt x="61" y="69"/>
                  </a:cubicBezTo>
                  <a:cubicBezTo>
                    <a:pt x="62" y="107"/>
                    <a:pt x="60" y="108"/>
                    <a:pt x="60" y="108"/>
                  </a:cubicBezTo>
                  <a:cubicBezTo>
                    <a:pt x="59" y="109"/>
                    <a:pt x="58" y="111"/>
                    <a:pt x="58" y="113"/>
                  </a:cubicBezTo>
                  <a:cubicBezTo>
                    <a:pt x="57" y="115"/>
                    <a:pt x="56" y="118"/>
                    <a:pt x="55" y="119"/>
                  </a:cubicBezTo>
                  <a:cubicBezTo>
                    <a:pt x="55" y="119"/>
                    <a:pt x="54" y="119"/>
                    <a:pt x="54" y="120"/>
                  </a:cubicBezTo>
                  <a:cubicBezTo>
                    <a:pt x="52" y="122"/>
                    <a:pt x="50" y="125"/>
                    <a:pt x="46" y="125"/>
                  </a:cubicBezTo>
                  <a:cubicBezTo>
                    <a:pt x="44" y="125"/>
                    <a:pt x="40" y="126"/>
                    <a:pt x="37" y="126"/>
                  </a:cubicBezTo>
                  <a:cubicBezTo>
                    <a:pt x="33" y="127"/>
                    <a:pt x="28" y="128"/>
                    <a:pt x="25" y="128"/>
                  </a:cubicBezTo>
                  <a:cubicBezTo>
                    <a:pt x="24" y="128"/>
                    <a:pt x="24" y="128"/>
                    <a:pt x="23" y="127"/>
                  </a:cubicBezTo>
                  <a:cubicBezTo>
                    <a:pt x="22" y="127"/>
                    <a:pt x="22" y="127"/>
                    <a:pt x="21" y="127"/>
                  </a:cubicBezTo>
                  <a:cubicBezTo>
                    <a:pt x="18" y="127"/>
                    <a:pt x="16" y="129"/>
                    <a:pt x="14" y="130"/>
                  </a:cubicBezTo>
                  <a:cubicBezTo>
                    <a:pt x="13" y="131"/>
                    <a:pt x="12" y="131"/>
                    <a:pt x="12" y="131"/>
                  </a:cubicBezTo>
                  <a:cubicBezTo>
                    <a:pt x="10" y="132"/>
                    <a:pt x="6" y="132"/>
                    <a:pt x="2" y="132"/>
                  </a:cubicBezTo>
                  <a:cubicBezTo>
                    <a:pt x="1" y="138"/>
                    <a:pt x="2" y="139"/>
                    <a:pt x="2" y="139"/>
                  </a:cubicBezTo>
                  <a:cubicBezTo>
                    <a:pt x="3" y="139"/>
                    <a:pt x="4" y="141"/>
                    <a:pt x="4" y="142"/>
                  </a:cubicBezTo>
                  <a:cubicBezTo>
                    <a:pt x="5" y="144"/>
                    <a:pt x="6" y="146"/>
                    <a:pt x="7" y="147"/>
                  </a:cubicBezTo>
                  <a:cubicBezTo>
                    <a:pt x="8" y="148"/>
                    <a:pt x="8" y="148"/>
                    <a:pt x="8" y="148"/>
                  </a:cubicBezTo>
                  <a:cubicBezTo>
                    <a:pt x="10" y="150"/>
                    <a:pt x="14" y="152"/>
                    <a:pt x="14" y="155"/>
                  </a:cubicBezTo>
                  <a:cubicBezTo>
                    <a:pt x="14" y="159"/>
                    <a:pt x="15" y="160"/>
                    <a:pt x="16" y="160"/>
                  </a:cubicBezTo>
                  <a:cubicBezTo>
                    <a:pt x="18" y="160"/>
                    <a:pt x="19" y="162"/>
                    <a:pt x="19" y="163"/>
                  </a:cubicBezTo>
                  <a:cubicBezTo>
                    <a:pt x="20" y="164"/>
                    <a:pt x="21" y="165"/>
                    <a:pt x="22" y="166"/>
                  </a:cubicBezTo>
                  <a:cubicBezTo>
                    <a:pt x="23" y="166"/>
                    <a:pt x="23" y="166"/>
                    <a:pt x="23" y="166"/>
                  </a:cubicBezTo>
                  <a:cubicBezTo>
                    <a:pt x="24" y="166"/>
                    <a:pt x="26" y="165"/>
                    <a:pt x="27" y="165"/>
                  </a:cubicBezTo>
                  <a:cubicBezTo>
                    <a:pt x="28" y="165"/>
                    <a:pt x="28" y="164"/>
                    <a:pt x="29" y="164"/>
                  </a:cubicBezTo>
                  <a:cubicBezTo>
                    <a:pt x="30" y="165"/>
                    <a:pt x="30" y="165"/>
                    <a:pt x="30" y="165"/>
                  </a:cubicBezTo>
                  <a:cubicBezTo>
                    <a:pt x="30" y="165"/>
                    <a:pt x="30" y="166"/>
                    <a:pt x="30" y="169"/>
                  </a:cubicBezTo>
                  <a:cubicBezTo>
                    <a:pt x="30" y="170"/>
                    <a:pt x="30" y="172"/>
                    <a:pt x="30" y="173"/>
                  </a:cubicBezTo>
                  <a:cubicBezTo>
                    <a:pt x="31" y="173"/>
                    <a:pt x="34" y="173"/>
                    <a:pt x="36" y="175"/>
                  </a:cubicBezTo>
                  <a:cubicBezTo>
                    <a:pt x="36" y="173"/>
                    <a:pt x="36" y="171"/>
                    <a:pt x="37" y="170"/>
                  </a:cubicBezTo>
                  <a:cubicBezTo>
                    <a:pt x="38" y="169"/>
                    <a:pt x="39" y="168"/>
                    <a:pt x="40" y="16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0" name="Freeform 37"/>
            <p:cNvSpPr>
              <a:spLocks noEditPoints="1"/>
            </p:cNvSpPr>
            <p:nvPr/>
          </p:nvSpPr>
          <p:spPr>
            <a:xfrm>
              <a:off x="5114926" y="3213100"/>
              <a:ext cx="249238" cy="412750"/>
            </a:xfrm>
            <a:custGeom>
              <a:gdLst>
                <a:gd name="T0" fmla="*/ 24 w 147"/>
                <a:gd name="T1" fmla="*/ 230 h 243"/>
                <a:gd name="T2" fmla="*/ 8 w 147"/>
                <a:gd name="T3" fmla="*/ 208 h 243"/>
                <a:gd name="T4" fmla="*/ 21 w 147"/>
                <a:gd name="T5" fmla="*/ 205 h 243"/>
                <a:gd name="T6" fmla="*/ 27 w 147"/>
                <a:gd name="T7" fmla="*/ 204 h 243"/>
                <a:gd name="T8" fmla="*/ 20 w 147"/>
                <a:gd name="T9" fmla="*/ 177 h 243"/>
                <a:gd name="T10" fmla="*/ 10 w 147"/>
                <a:gd name="T11" fmla="*/ 159 h 243"/>
                <a:gd name="T12" fmla="*/ 2 w 147"/>
                <a:gd name="T13" fmla="*/ 151 h 243"/>
                <a:gd name="T14" fmla="*/ 0 w 147"/>
                <a:gd name="T15" fmla="*/ 149 h 243"/>
                <a:gd name="T16" fmla="*/ 4 w 147"/>
                <a:gd name="T17" fmla="*/ 132 h 243"/>
                <a:gd name="T18" fmla="*/ 31 w 147"/>
                <a:gd name="T19" fmla="*/ 51 h 243"/>
                <a:gd name="T20" fmla="*/ 25 w 147"/>
                <a:gd name="T21" fmla="*/ 32 h 243"/>
                <a:gd name="T22" fmla="*/ 22 w 147"/>
                <a:gd name="T23" fmla="*/ 8 h 243"/>
                <a:gd name="T24" fmla="*/ 35 w 147"/>
                <a:gd name="T25" fmla="*/ 0 h 243"/>
                <a:gd name="T26" fmla="*/ 145 w 147"/>
                <a:gd name="T27" fmla="*/ 116 h 243"/>
                <a:gd name="T28" fmla="*/ 127 w 147"/>
                <a:gd name="T29" fmla="*/ 133 h 243"/>
                <a:gd name="T30" fmla="*/ 118 w 147"/>
                <a:gd name="T31" fmla="*/ 145 h 243"/>
                <a:gd name="T32" fmla="*/ 118 w 147"/>
                <a:gd name="T33" fmla="*/ 160 h 243"/>
                <a:gd name="T34" fmla="*/ 124 w 147"/>
                <a:gd name="T35" fmla="*/ 169 h 243"/>
                <a:gd name="T36" fmla="*/ 131 w 147"/>
                <a:gd name="T37" fmla="*/ 182 h 243"/>
                <a:gd name="T38" fmla="*/ 131 w 147"/>
                <a:gd name="T39" fmla="*/ 190 h 243"/>
                <a:gd name="T40" fmla="*/ 125 w 147"/>
                <a:gd name="T41" fmla="*/ 188 h 243"/>
                <a:gd name="T42" fmla="*/ 112 w 147"/>
                <a:gd name="T43" fmla="*/ 200 h 243"/>
                <a:gd name="T44" fmla="*/ 86 w 147"/>
                <a:gd name="T45" fmla="*/ 219 h 243"/>
                <a:gd name="T46" fmla="*/ 77 w 147"/>
                <a:gd name="T47" fmla="*/ 219 h 243"/>
                <a:gd name="T48" fmla="*/ 66 w 147"/>
                <a:gd name="T49" fmla="*/ 233 h 243"/>
                <a:gd name="T50" fmla="*/ 48 w 147"/>
                <a:gd name="T51" fmla="*/ 239 h 243"/>
                <a:gd name="T52" fmla="*/ 40 w 147"/>
                <a:gd name="T53" fmla="*/ 238 h 243"/>
                <a:gd name="T54" fmla="*/ 16 w 147"/>
                <a:gd name="T55" fmla="*/ 205 h 243"/>
                <a:gd name="T56" fmla="*/ 13 w 147"/>
                <a:gd name="T57" fmla="*/ 217 h 243"/>
                <a:gd name="T58" fmla="*/ 30 w 147"/>
                <a:gd name="T59" fmla="*/ 241 h 243"/>
                <a:gd name="T60" fmla="*/ 40 w 147"/>
                <a:gd name="T61" fmla="*/ 237 h 243"/>
                <a:gd name="T62" fmla="*/ 47 w 147"/>
                <a:gd name="T63" fmla="*/ 238 h 243"/>
                <a:gd name="T64" fmla="*/ 65 w 147"/>
                <a:gd name="T65" fmla="*/ 232 h 243"/>
                <a:gd name="T66" fmla="*/ 77 w 147"/>
                <a:gd name="T67" fmla="*/ 219 h 243"/>
                <a:gd name="T68" fmla="*/ 97 w 147"/>
                <a:gd name="T69" fmla="*/ 214 h 243"/>
                <a:gd name="T70" fmla="*/ 113 w 147"/>
                <a:gd name="T71" fmla="*/ 197 h 243"/>
                <a:gd name="T72" fmla="*/ 127 w 147"/>
                <a:gd name="T73" fmla="*/ 188 h 243"/>
                <a:gd name="T74" fmla="*/ 123 w 147"/>
                <a:gd name="T75" fmla="*/ 173 h 243"/>
                <a:gd name="T76" fmla="*/ 121 w 147"/>
                <a:gd name="T77" fmla="*/ 163 h 243"/>
                <a:gd name="T78" fmla="*/ 118 w 147"/>
                <a:gd name="T79" fmla="*/ 148 h 243"/>
                <a:gd name="T80" fmla="*/ 123 w 147"/>
                <a:gd name="T81" fmla="*/ 138 h 243"/>
                <a:gd name="T82" fmla="*/ 143 w 147"/>
                <a:gd name="T83" fmla="*/ 116 h 243"/>
                <a:gd name="T84" fmla="*/ 146 w 147"/>
                <a:gd name="T85" fmla="*/ 61 h 243"/>
                <a:gd name="T86" fmla="*/ 23 w 147"/>
                <a:gd name="T87" fmla="*/ 27 h 243"/>
                <a:gd name="T88" fmla="*/ 31 w 147"/>
                <a:gd name="T89" fmla="*/ 45 h 243"/>
                <a:gd name="T90" fmla="*/ 28 w 147"/>
                <a:gd name="T91" fmla="*/ 103 h 243"/>
                <a:gd name="T92" fmla="*/ 2 w 147"/>
                <a:gd name="T93" fmla="*/ 145 h 243"/>
                <a:gd name="T94" fmla="*/ 4 w 147"/>
                <a:gd name="T95" fmla="*/ 152 h 243"/>
                <a:gd name="T96" fmla="*/ 15 w 147"/>
                <a:gd name="T97" fmla="*/ 160 h 243"/>
                <a:gd name="T98" fmla="*/ 22 w 147"/>
                <a:gd name="T99" fmla="*/ 185 h 243"/>
                <a:gd name="T100" fmla="*/ 23 w 147"/>
                <a:gd name="T101" fmla="*/ 206 h 2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243">
                  <a:moveTo>
                    <a:pt x="32" y="243"/>
                  </a:moveTo>
                  <a:cubicBezTo>
                    <a:pt x="31" y="243"/>
                    <a:pt x="30" y="243"/>
                    <a:pt x="30" y="242"/>
                  </a:cubicBezTo>
                  <a:cubicBezTo>
                    <a:pt x="27" y="240"/>
                    <a:pt x="25" y="233"/>
                    <a:pt x="24" y="230"/>
                  </a:cubicBezTo>
                  <a:cubicBezTo>
                    <a:pt x="23" y="226"/>
                    <a:pt x="20" y="224"/>
                    <a:pt x="17" y="222"/>
                  </a:cubicBezTo>
                  <a:cubicBezTo>
                    <a:pt x="15" y="221"/>
                    <a:pt x="14" y="219"/>
                    <a:pt x="12" y="218"/>
                  </a:cubicBezTo>
                  <a:cubicBezTo>
                    <a:pt x="7" y="213"/>
                    <a:pt x="8" y="210"/>
                    <a:pt x="8" y="208"/>
                  </a:cubicBezTo>
                  <a:cubicBezTo>
                    <a:pt x="8" y="207"/>
                    <a:pt x="8" y="207"/>
                    <a:pt x="8" y="207"/>
                  </a:cubicBezTo>
                  <a:cubicBezTo>
                    <a:pt x="8" y="205"/>
                    <a:pt x="11" y="204"/>
                    <a:pt x="16" y="204"/>
                  </a:cubicBezTo>
                  <a:cubicBezTo>
                    <a:pt x="18" y="204"/>
                    <a:pt x="20" y="205"/>
                    <a:pt x="21" y="205"/>
                  </a:cubicBezTo>
                  <a:cubicBezTo>
                    <a:pt x="22" y="205"/>
                    <a:pt x="23" y="205"/>
                    <a:pt x="23" y="205"/>
                  </a:cubicBezTo>
                  <a:cubicBezTo>
                    <a:pt x="26" y="205"/>
                    <a:pt x="27" y="204"/>
                    <a:pt x="27" y="204"/>
                  </a:cubicBezTo>
                  <a:cubicBezTo>
                    <a:pt x="27" y="204"/>
                    <a:pt x="27" y="204"/>
                    <a:pt x="27" y="204"/>
                  </a:cubicBezTo>
                  <a:cubicBezTo>
                    <a:pt x="27" y="204"/>
                    <a:pt x="27" y="204"/>
                    <a:pt x="27" y="203"/>
                  </a:cubicBezTo>
                  <a:cubicBezTo>
                    <a:pt x="25" y="202"/>
                    <a:pt x="20" y="192"/>
                    <a:pt x="21" y="185"/>
                  </a:cubicBezTo>
                  <a:cubicBezTo>
                    <a:pt x="21" y="181"/>
                    <a:pt x="20" y="179"/>
                    <a:pt x="20" y="177"/>
                  </a:cubicBezTo>
                  <a:cubicBezTo>
                    <a:pt x="19" y="175"/>
                    <a:pt x="19" y="174"/>
                    <a:pt x="19" y="172"/>
                  </a:cubicBezTo>
                  <a:cubicBezTo>
                    <a:pt x="19" y="169"/>
                    <a:pt x="17" y="164"/>
                    <a:pt x="14" y="161"/>
                  </a:cubicBezTo>
                  <a:cubicBezTo>
                    <a:pt x="13" y="160"/>
                    <a:pt x="12" y="159"/>
                    <a:pt x="10" y="159"/>
                  </a:cubicBezTo>
                  <a:cubicBezTo>
                    <a:pt x="7" y="159"/>
                    <a:pt x="6" y="157"/>
                    <a:pt x="5" y="155"/>
                  </a:cubicBezTo>
                  <a:cubicBezTo>
                    <a:pt x="5" y="154"/>
                    <a:pt x="4" y="153"/>
                    <a:pt x="4" y="153"/>
                  </a:cubicBezTo>
                  <a:cubicBezTo>
                    <a:pt x="3" y="152"/>
                    <a:pt x="3" y="152"/>
                    <a:pt x="2" y="151"/>
                  </a:cubicBezTo>
                  <a:cubicBezTo>
                    <a:pt x="2" y="150"/>
                    <a:pt x="1" y="150"/>
                    <a:pt x="1" y="150"/>
                  </a:cubicBezTo>
                  <a:cubicBezTo>
                    <a:pt x="0" y="150"/>
                    <a:pt x="0" y="150"/>
                    <a:pt x="0" y="150"/>
                  </a:cubicBezTo>
                  <a:cubicBezTo>
                    <a:pt x="0" y="149"/>
                    <a:pt x="0" y="149"/>
                    <a:pt x="0" y="149"/>
                  </a:cubicBezTo>
                  <a:cubicBezTo>
                    <a:pt x="0" y="148"/>
                    <a:pt x="1" y="146"/>
                    <a:pt x="1" y="145"/>
                  </a:cubicBezTo>
                  <a:cubicBezTo>
                    <a:pt x="1" y="140"/>
                    <a:pt x="1" y="139"/>
                    <a:pt x="2" y="138"/>
                  </a:cubicBezTo>
                  <a:cubicBezTo>
                    <a:pt x="2" y="137"/>
                    <a:pt x="3" y="135"/>
                    <a:pt x="4" y="132"/>
                  </a:cubicBezTo>
                  <a:cubicBezTo>
                    <a:pt x="5" y="124"/>
                    <a:pt x="25" y="104"/>
                    <a:pt x="27" y="102"/>
                  </a:cubicBezTo>
                  <a:cubicBezTo>
                    <a:pt x="28" y="102"/>
                    <a:pt x="28" y="92"/>
                    <a:pt x="28" y="67"/>
                  </a:cubicBezTo>
                  <a:cubicBezTo>
                    <a:pt x="28" y="62"/>
                    <a:pt x="29" y="57"/>
                    <a:pt x="31" y="51"/>
                  </a:cubicBezTo>
                  <a:cubicBezTo>
                    <a:pt x="32" y="48"/>
                    <a:pt x="31" y="47"/>
                    <a:pt x="30" y="45"/>
                  </a:cubicBezTo>
                  <a:cubicBezTo>
                    <a:pt x="29" y="44"/>
                    <a:pt x="28" y="43"/>
                    <a:pt x="28" y="40"/>
                  </a:cubicBezTo>
                  <a:cubicBezTo>
                    <a:pt x="29" y="37"/>
                    <a:pt x="27" y="34"/>
                    <a:pt x="25" y="32"/>
                  </a:cubicBezTo>
                  <a:cubicBezTo>
                    <a:pt x="24" y="30"/>
                    <a:pt x="22" y="28"/>
                    <a:pt x="22" y="27"/>
                  </a:cubicBezTo>
                  <a:cubicBezTo>
                    <a:pt x="22" y="24"/>
                    <a:pt x="22" y="14"/>
                    <a:pt x="22" y="8"/>
                  </a:cubicBezTo>
                  <a:cubicBezTo>
                    <a:pt x="22" y="8"/>
                    <a:pt x="22" y="8"/>
                    <a:pt x="22" y="8"/>
                  </a:cubicBezTo>
                  <a:cubicBezTo>
                    <a:pt x="22" y="8"/>
                    <a:pt x="22" y="8"/>
                    <a:pt x="22" y="8"/>
                  </a:cubicBezTo>
                  <a:cubicBezTo>
                    <a:pt x="35" y="0"/>
                    <a:pt x="35" y="0"/>
                    <a:pt x="35" y="0"/>
                  </a:cubicBezTo>
                  <a:cubicBezTo>
                    <a:pt x="35" y="0"/>
                    <a:pt x="35" y="0"/>
                    <a:pt x="35" y="0"/>
                  </a:cubicBezTo>
                  <a:cubicBezTo>
                    <a:pt x="147" y="60"/>
                    <a:pt x="147" y="60"/>
                    <a:pt x="147" y="60"/>
                  </a:cubicBezTo>
                  <a:cubicBezTo>
                    <a:pt x="147" y="101"/>
                    <a:pt x="147" y="101"/>
                    <a:pt x="147" y="101"/>
                  </a:cubicBezTo>
                  <a:cubicBezTo>
                    <a:pt x="147" y="103"/>
                    <a:pt x="147" y="115"/>
                    <a:pt x="145" y="116"/>
                  </a:cubicBezTo>
                  <a:cubicBezTo>
                    <a:pt x="144" y="116"/>
                    <a:pt x="144" y="116"/>
                    <a:pt x="144" y="117"/>
                  </a:cubicBezTo>
                  <a:cubicBezTo>
                    <a:pt x="141" y="117"/>
                    <a:pt x="132" y="120"/>
                    <a:pt x="132" y="124"/>
                  </a:cubicBezTo>
                  <a:cubicBezTo>
                    <a:pt x="132" y="128"/>
                    <a:pt x="132" y="132"/>
                    <a:pt x="127" y="133"/>
                  </a:cubicBezTo>
                  <a:cubicBezTo>
                    <a:pt x="125" y="134"/>
                    <a:pt x="125" y="135"/>
                    <a:pt x="124" y="138"/>
                  </a:cubicBezTo>
                  <a:cubicBezTo>
                    <a:pt x="124" y="141"/>
                    <a:pt x="124" y="144"/>
                    <a:pt x="120" y="144"/>
                  </a:cubicBezTo>
                  <a:cubicBezTo>
                    <a:pt x="119" y="144"/>
                    <a:pt x="119" y="144"/>
                    <a:pt x="118" y="145"/>
                  </a:cubicBezTo>
                  <a:cubicBezTo>
                    <a:pt x="118" y="145"/>
                    <a:pt x="119" y="146"/>
                    <a:pt x="119" y="148"/>
                  </a:cubicBezTo>
                  <a:cubicBezTo>
                    <a:pt x="120" y="150"/>
                    <a:pt x="122" y="153"/>
                    <a:pt x="120" y="155"/>
                  </a:cubicBezTo>
                  <a:cubicBezTo>
                    <a:pt x="118" y="156"/>
                    <a:pt x="117" y="159"/>
                    <a:pt x="118" y="160"/>
                  </a:cubicBezTo>
                  <a:cubicBezTo>
                    <a:pt x="118" y="161"/>
                    <a:pt x="119" y="162"/>
                    <a:pt x="121" y="162"/>
                  </a:cubicBezTo>
                  <a:cubicBezTo>
                    <a:pt x="122" y="162"/>
                    <a:pt x="123" y="162"/>
                    <a:pt x="124" y="163"/>
                  </a:cubicBezTo>
                  <a:cubicBezTo>
                    <a:pt x="125" y="164"/>
                    <a:pt x="125" y="167"/>
                    <a:pt x="124" y="169"/>
                  </a:cubicBezTo>
                  <a:cubicBezTo>
                    <a:pt x="124" y="171"/>
                    <a:pt x="124" y="172"/>
                    <a:pt x="124" y="173"/>
                  </a:cubicBezTo>
                  <a:cubicBezTo>
                    <a:pt x="124" y="178"/>
                    <a:pt x="131" y="182"/>
                    <a:pt x="131" y="182"/>
                  </a:cubicBezTo>
                  <a:cubicBezTo>
                    <a:pt x="131" y="182"/>
                    <a:pt x="131" y="182"/>
                    <a:pt x="131" y="182"/>
                  </a:cubicBezTo>
                  <a:cubicBezTo>
                    <a:pt x="130" y="188"/>
                    <a:pt x="130" y="188"/>
                    <a:pt x="130" y="188"/>
                  </a:cubicBezTo>
                  <a:cubicBezTo>
                    <a:pt x="130" y="189"/>
                    <a:pt x="130" y="189"/>
                    <a:pt x="130" y="189"/>
                  </a:cubicBezTo>
                  <a:cubicBezTo>
                    <a:pt x="131" y="190"/>
                    <a:pt x="131" y="190"/>
                    <a:pt x="131" y="190"/>
                  </a:cubicBezTo>
                  <a:cubicBezTo>
                    <a:pt x="130" y="189"/>
                    <a:pt x="130" y="189"/>
                    <a:pt x="130" y="189"/>
                  </a:cubicBezTo>
                  <a:cubicBezTo>
                    <a:pt x="128" y="189"/>
                    <a:pt x="127" y="189"/>
                    <a:pt x="127" y="189"/>
                  </a:cubicBezTo>
                  <a:cubicBezTo>
                    <a:pt x="126" y="189"/>
                    <a:pt x="126" y="188"/>
                    <a:pt x="125" y="188"/>
                  </a:cubicBezTo>
                  <a:cubicBezTo>
                    <a:pt x="122" y="188"/>
                    <a:pt x="118" y="191"/>
                    <a:pt x="115" y="193"/>
                  </a:cubicBezTo>
                  <a:cubicBezTo>
                    <a:pt x="114" y="195"/>
                    <a:pt x="114" y="196"/>
                    <a:pt x="114" y="197"/>
                  </a:cubicBezTo>
                  <a:cubicBezTo>
                    <a:pt x="114" y="198"/>
                    <a:pt x="113" y="199"/>
                    <a:pt x="112" y="200"/>
                  </a:cubicBezTo>
                  <a:cubicBezTo>
                    <a:pt x="112" y="201"/>
                    <a:pt x="111" y="202"/>
                    <a:pt x="110" y="202"/>
                  </a:cubicBezTo>
                  <a:cubicBezTo>
                    <a:pt x="107" y="205"/>
                    <a:pt x="102" y="210"/>
                    <a:pt x="98" y="215"/>
                  </a:cubicBezTo>
                  <a:cubicBezTo>
                    <a:pt x="96" y="218"/>
                    <a:pt x="91" y="219"/>
                    <a:pt x="86" y="219"/>
                  </a:cubicBezTo>
                  <a:cubicBezTo>
                    <a:pt x="86" y="219"/>
                    <a:pt x="85" y="219"/>
                    <a:pt x="84" y="219"/>
                  </a:cubicBezTo>
                  <a:cubicBezTo>
                    <a:pt x="83" y="219"/>
                    <a:pt x="83" y="219"/>
                    <a:pt x="82" y="219"/>
                  </a:cubicBezTo>
                  <a:cubicBezTo>
                    <a:pt x="80" y="219"/>
                    <a:pt x="78" y="219"/>
                    <a:pt x="77" y="219"/>
                  </a:cubicBezTo>
                  <a:cubicBezTo>
                    <a:pt x="76" y="220"/>
                    <a:pt x="76" y="221"/>
                    <a:pt x="77" y="223"/>
                  </a:cubicBezTo>
                  <a:cubicBezTo>
                    <a:pt x="77" y="224"/>
                    <a:pt x="78" y="226"/>
                    <a:pt x="77" y="227"/>
                  </a:cubicBezTo>
                  <a:cubicBezTo>
                    <a:pt x="75" y="229"/>
                    <a:pt x="69" y="231"/>
                    <a:pt x="66" y="233"/>
                  </a:cubicBezTo>
                  <a:cubicBezTo>
                    <a:pt x="65" y="233"/>
                    <a:pt x="64" y="234"/>
                    <a:pt x="64" y="234"/>
                  </a:cubicBezTo>
                  <a:cubicBezTo>
                    <a:pt x="63" y="234"/>
                    <a:pt x="61" y="235"/>
                    <a:pt x="59" y="235"/>
                  </a:cubicBezTo>
                  <a:cubicBezTo>
                    <a:pt x="55" y="236"/>
                    <a:pt x="50" y="236"/>
                    <a:pt x="48" y="239"/>
                  </a:cubicBezTo>
                  <a:cubicBezTo>
                    <a:pt x="47" y="239"/>
                    <a:pt x="46" y="240"/>
                    <a:pt x="46" y="240"/>
                  </a:cubicBezTo>
                  <a:cubicBezTo>
                    <a:pt x="45" y="240"/>
                    <a:pt x="44" y="239"/>
                    <a:pt x="43" y="239"/>
                  </a:cubicBezTo>
                  <a:cubicBezTo>
                    <a:pt x="42" y="238"/>
                    <a:pt x="41" y="238"/>
                    <a:pt x="40" y="238"/>
                  </a:cubicBezTo>
                  <a:cubicBezTo>
                    <a:pt x="40" y="238"/>
                    <a:pt x="39" y="238"/>
                    <a:pt x="38" y="239"/>
                  </a:cubicBezTo>
                  <a:cubicBezTo>
                    <a:pt x="37" y="241"/>
                    <a:pt x="34" y="243"/>
                    <a:pt x="32" y="243"/>
                  </a:cubicBezTo>
                  <a:close/>
                  <a:moveTo>
                    <a:pt x="16" y="205"/>
                  </a:moveTo>
                  <a:cubicBezTo>
                    <a:pt x="11" y="205"/>
                    <a:pt x="9" y="206"/>
                    <a:pt x="9" y="207"/>
                  </a:cubicBezTo>
                  <a:cubicBezTo>
                    <a:pt x="9" y="208"/>
                    <a:pt x="9" y="208"/>
                    <a:pt x="9" y="208"/>
                  </a:cubicBezTo>
                  <a:cubicBezTo>
                    <a:pt x="9" y="210"/>
                    <a:pt x="8" y="213"/>
                    <a:pt x="13" y="217"/>
                  </a:cubicBezTo>
                  <a:cubicBezTo>
                    <a:pt x="14" y="218"/>
                    <a:pt x="16" y="220"/>
                    <a:pt x="17" y="221"/>
                  </a:cubicBezTo>
                  <a:cubicBezTo>
                    <a:pt x="21" y="223"/>
                    <a:pt x="23" y="226"/>
                    <a:pt x="25" y="230"/>
                  </a:cubicBezTo>
                  <a:cubicBezTo>
                    <a:pt x="27" y="236"/>
                    <a:pt x="29" y="240"/>
                    <a:pt x="30" y="241"/>
                  </a:cubicBezTo>
                  <a:cubicBezTo>
                    <a:pt x="31" y="242"/>
                    <a:pt x="31" y="242"/>
                    <a:pt x="32" y="242"/>
                  </a:cubicBezTo>
                  <a:cubicBezTo>
                    <a:pt x="34" y="242"/>
                    <a:pt x="36" y="240"/>
                    <a:pt x="38" y="238"/>
                  </a:cubicBezTo>
                  <a:cubicBezTo>
                    <a:pt x="38" y="237"/>
                    <a:pt x="39" y="237"/>
                    <a:pt x="40" y="237"/>
                  </a:cubicBezTo>
                  <a:cubicBezTo>
                    <a:pt x="41" y="237"/>
                    <a:pt x="42" y="237"/>
                    <a:pt x="43" y="238"/>
                  </a:cubicBezTo>
                  <a:cubicBezTo>
                    <a:pt x="44" y="238"/>
                    <a:pt x="45" y="239"/>
                    <a:pt x="46" y="239"/>
                  </a:cubicBezTo>
                  <a:cubicBezTo>
                    <a:pt x="46" y="239"/>
                    <a:pt x="46" y="239"/>
                    <a:pt x="47" y="238"/>
                  </a:cubicBezTo>
                  <a:cubicBezTo>
                    <a:pt x="49" y="235"/>
                    <a:pt x="54" y="235"/>
                    <a:pt x="59" y="234"/>
                  </a:cubicBezTo>
                  <a:cubicBezTo>
                    <a:pt x="61" y="234"/>
                    <a:pt x="62" y="234"/>
                    <a:pt x="63" y="233"/>
                  </a:cubicBezTo>
                  <a:cubicBezTo>
                    <a:pt x="64" y="233"/>
                    <a:pt x="64" y="232"/>
                    <a:pt x="65" y="232"/>
                  </a:cubicBezTo>
                  <a:cubicBezTo>
                    <a:pt x="69" y="230"/>
                    <a:pt x="74" y="228"/>
                    <a:pt x="76" y="226"/>
                  </a:cubicBezTo>
                  <a:cubicBezTo>
                    <a:pt x="77" y="226"/>
                    <a:pt x="77" y="225"/>
                    <a:pt x="76" y="223"/>
                  </a:cubicBezTo>
                  <a:cubicBezTo>
                    <a:pt x="75" y="222"/>
                    <a:pt x="74" y="220"/>
                    <a:pt x="77" y="219"/>
                  </a:cubicBezTo>
                  <a:cubicBezTo>
                    <a:pt x="78" y="218"/>
                    <a:pt x="80" y="218"/>
                    <a:pt x="82" y="218"/>
                  </a:cubicBezTo>
                  <a:cubicBezTo>
                    <a:pt x="83" y="218"/>
                    <a:pt x="83" y="218"/>
                    <a:pt x="84" y="218"/>
                  </a:cubicBezTo>
                  <a:cubicBezTo>
                    <a:pt x="89" y="218"/>
                    <a:pt x="95" y="218"/>
                    <a:pt x="97" y="214"/>
                  </a:cubicBezTo>
                  <a:cubicBezTo>
                    <a:pt x="101" y="210"/>
                    <a:pt x="106" y="205"/>
                    <a:pt x="110" y="202"/>
                  </a:cubicBezTo>
                  <a:cubicBezTo>
                    <a:pt x="110" y="201"/>
                    <a:pt x="111" y="200"/>
                    <a:pt x="112" y="200"/>
                  </a:cubicBezTo>
                  <a:cubicBezTo>
                    <a:pt x="112" y="199"/>
                    <a:pt x="113" y="198"/>
                    <a:pt x="113" y="197"/>
                  </a:cubicBezTo>
                  <a:cubicBezTo>
                    <a:pt x="113" y="196"/>
                    <a:pt x="113" y="195"/>
                    <a:pt x="115" y="193"/>
                  </a:cubicBezTo>
                  <a:cubicBezTo>
                    <a:pt x="117" y="190"/>
                    <a:pt x="122" y="187"/>
                    <a:pt x="125" y="187"/>
                  </a:cubicBezTo>
                  <a:cubicBezTo>
                    <a:pt x="126" y="187"/>
                    <a:pt x="127" y="188"/>
                    <a:pt x="127" y="188"/>
                  </a:cubicBezTo>
                  <a:cubicBezTo>
                    <a:pt x="128" y="188"/>
                    <a:pt x="128" y="188"/>
                    <a:pt x="129" y="188"/>
                  </a:cubicBezTo>
                  <a:cubicBezTo>
                    <a:pt x="130" y="182"/>
                    <a:pt x="130" y="182"/>
                    <a:pt x="130" y="182"/>
                  </a:cubicBezTo>
                  <a:cubicBezTo>
                    <a:pt x="129" y="182"/>
                    <a:pt x="123" y="178"/>
                    <a:pt x="123" y="173"/>
                  </a:cubicBezTo>
                  <a:cubicBezTo>
                    <a:pt x="123" y="172"/>
                    <a:pt x="123" y="171"/>
                    <a:pt x="123" y="169"/>
                  </a:cubicBezTo>
                  <a:cubicBezTo>
                    <a:pt x="124" y="167"/>
                    <a:pt x="124" y="165"/>
                    <a:pt x="123" y="164"/>
                  </a:cubicBezTo>
                  <a:cubicBezTo>
                    <a:pt x="122" y="163"/>
                    <a:pt x="122" y="163"/>
                    <a:pt x="121" y="163"/>
                  </a:cubicBezTo>
                  <a:cubicBezTo>
                    <a:pt x="119" y="163"/>
                    <a:pt x="117" y="162"/>
                    <a:pt x="117" y="160"/>
                  </a:cubicBezTo>
                  <a:cubicBezTo>
                    <a:pt x="116" y="159"/>
                    <a:pt x="117" y="156"/>
                    <a:pt x="119" y="154"/>
                  </a:cubicBezTo>
                  <a:cubicBezTo>
                    <a:pt x="120" y="153"/>
                    <a:pt x="119" y="150"/>
                    <a:pt x="118" y="148"/>
                  </a:cubicBezTo>
                  <a:cubicBezTo>
                    <a:pt x="118" y="146"/>
                    <a:pt x="117" y="145"/>
                    <a:pt x="118" y="144"/>
                  </a:cubicBezTo>
                  <a:cubicBezTo>
                    <a:pt x="118" y="143"/>
                    <a:pt x="119" y="143"/>
                    <a:pt x="120" y="143"/>
                  </a:cubicBezTo>
                  <a:cubicBezTo>
                    <a:pt x="123" y="143"/>
                    <a:pt x="123" y="141"/>
                    <a:pt x="123" y="138"/>
                  </a:cubicBezTo>
                  <a:cubicBezTo>
                    <a:pt x="124" y="135"/>
                    <a:pt x="124" y="133"/>
                    <a:pt x="126" y="132"/>
                  </a:cubicBezTo>
                  <a:cubicBezTo>
                    <a:pt x="130" y="132"/>
                    <a:pt x="131" y="129"/>
                    <a:pt x="131" y="124"/>
                  </a:cubicBezTo>
                  <a:cubicBezTo>
                    <a:pt x="131" y="119"/>
                    <a:pt x="139" y="117"/>
                    <a:pt x="143" y="116"/>
                  </a:cubicBezTo>
                  <a:cubicBezTo>
                    <a:pt x="144" y="115"/>
                    <a:pt x="144" y="115"/>
                    <a:pt x="144" y="115"/>
                  </a:cubicBezTo>
                  <a:cubicBezTo>
                    <a:pt x="146" y="115"/>
                    <a:pt x="146" y="107"/>
                    <a:pt x="146" y="101"/>
                  </a:cubicBezTo>
                  <a:cubicBezTo>
                    <a:pt x="146" y="61"/>
                    <a:pt x="146" y="61"/>
                    <a:pt x="146" y="61"/>
                  </a:cubicBezTo>
                  <a:cubicBezTo>
                    <a:pt x="35" y="2"/>
                    <a:pt x="35" y="2"/>
                    <a:pt x="35" y="2"/>
                  </a:cubicBezTo>
                  <a:cubicBezTo>
                    <a:pt x="23" y="8"/>
                    <a:pt x="23" y="8"/>
                    <a:pt x="23" y="8"/>
                  </a:cubicBezTo>
                  <a:cubicBezTo>
                    <a:pt x="23" y="16"/>
                    <a:pt x="23" y="25"/>
                    <a:pt x="23" y="27"/>
                  </a:cubicBezTo>
                  <a:cubicBezTo>
                    <a:pt x="23" y="28"/>
                    <a:pt x="25" y="30"/>
                    <a:pt x="26" y="31"/>
                  </a:cubicBezTo>
                  <a:cubicBezTo>
                    <a:pt x="28" y="34"/>
                    <a:pt x="30" y="37"/>
                    <a:pt x="29" y="40"/>
                  </a:cubicBezTo>
                  <a:cubicBezTo>
                    <a:pt x="29" y="42"/>
                    <a:pt x="30" y="44"/>
                    <a:pt x="31" y="45"/>
                  </a:cubicBezTo>
                  <a:cubicBezTo>
                    <a:pt x="32" y="46"/>
                    <a:pt x="33" y="48"/>
                    <a:pt x="32" y="51"/>
                  </a:cubicBezTo>
                  <a:cubicBezTo>
                    <a:pt x="30" y="57"/>
                    <a:pt x="29" y="62"/>
                    <a:pt x="29" y="67"/>
                  </a:cubicBezTo>
                  <a:cubicBezTo>
                    <a:pt x="29" y="90"/>
                    <a:pt x="29" y="102"/>
                    <a:pt x="28" y="103"/>
                  </a:cubicBezTo>
                  <a:cubicBezTo>
                    <a:pt x="26" y="104"/>
                    <a:pt x="6" y="125"/>
                    <a:pt x="5" y="132"/>
                  </a:cubicBezTo>
                  <a:cubicBezTo>
                    <a:pt x="4" y="136"/>
                    <a:pt x="3" y="137"/>
                    <a:pt x="3" y="138"/>
                  </a:cubicBezTo>
                  <a:cubicBezTo>
                    <a:pt x="2" y="139"/>
                    <a:pt x="2" y="140"/>
                    <a:pt x="2" y="145"/>
                  </a:cubicBezTo>
                  <a:cubicBezTo>
                    <a:pt x="2" y="146"/>
                    <a:pt x="1" y="147"/>
                    <a:pt x="1" y="149"/>
                  </a:cubicBezTo>
                  <a:cubicBezTo>
                    <a:pt x="2" y="149"/>
                    <a:pt x="3" y="150"/>
                    <a:pt x="3" y="150"/>
                  </a:cubicBezTo>
                  <a:cubicBezTo>
                    <a:pt x="3" y="151"/>
                    <a:pt x="4" y="151"/>
                    <a:pt x="4" y="152"/>
                  </a:cubicBezTo>
                  <a:cubicBezTo>
                    <a:pt x="5" y="153"/>
                    <a:pt x="6" y="154"/>
                    <a:pt x="6" y="154"/>
                  </a:cubicBezTo>
                  <a:cubicBezTo>
                    <a:pt x="7" y="156"/>
                    <a:pt x="8" y="158"/>
                    <a:pt x="10" y="158"/>
                  </a:cubicBezTo>
                  <a:cubicBezTo>
                    <a:pt x="12" y="158"/>
                    <a:pt x="13" y="159"/>
                    <a:pt x="15" y="160"/>
                  </a:cubicBezTo>
                  <a:cubicBezTo>
                    <a:pt x="18" y="164"/>
                    <a:pt x="20" y="169"/>
                    <a:pt x="20" y="172"/>
                  </a:cubicBezTo>
                  <a:cubicBezTo>
                    <a:pt x="20" y="174"/>
                    <a:pt x="20" y="175"/>
                    <a:pt x="21" y="177"/>
                  </a:cubicBezTo>
                  <a:cubicBezTo>
                    <a:pt x="21" y="179"/>
                    <a:pt x="22" y="181"/>
                    <a:pt x="22" y="185"/>
                  </a:cubicBezTo>
                  <a:cubicBezTo>
                    <a:pt x="21" y="192"/>
                    <a:pt x="25" y="201"/>
                    <a:pt x="28" y="203"/>
                  </a:cubicBezTo>
                  <a:cubicBezTo>
                    <a:pt x="28" y="203"/>
                    <a:pt x="29" y="204"/>
                    <a:pt x="28" y="204"/>
                  </a:cubicBezTo>
                  <a:cubicBezTo>
                    <a:pt x="28" y="206"/>
                    <a:pt x="24" y="206"/>
                    <a:pt x="23" y="206"/>
                  </a:cubicBezTo>
                  <a:cubicBezTo>
                    <a:pt x="23" y="206"/>
                    <a:pt x="22" y="206"/>
                    <a:pt x="21" y="206"/>
                  </a:cubicBezTo>
                  <a:cubicBezTo>
                    <a:pt x="20" y="206"/>
                    <a:pt x="18" y="205"/>
                    <a:pt x="16" y="20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1" name="Freeform 38"/>
            <p:cNvSpPr>
              <a:spLocks noEditPoints="1"/>
            </p:cNvSpPr>
            <p:nvPr/>
          </p:nvSpPr>
          <p:spPr>
            <a:xfrm>
              <a:off x="5380039" y="2986088"/>
              <a:ext cx="268288" cy="271463"/>
            </a:xfrm>
            <a:custGeom>
              <a:gdLst>
                <a:gd name="T0" fmla="*/ 123 w 158"/>
                <a:gd name="T1" fmla="*/ 156 h 160"/>
                <a:gd name="T2" fmla="*/ 104 w 158"/>
                <a:gd name="T3" fmla="*/ 156 h 160"/>
                <a:gd name="T4" fmla="*/ 98 w 158"/>
                <a:gd name="T5" fmla="*/ 153 h 160"/>
                <a:gd name="T6" fmla="*/ 3 w 158"/>
                <a:gd name="T7" fmla="*/ 157 h 160"/>
                <a:gd name="T8" fmla="*/ 2 w 158"/>
                <a:gd name="T9" fmla="*/ 35 h 160"/>
                <a:gd name="T10" fmla="*/ 4 w 158"/>
                <a:gd name="T11" fmla="*/ 16 h 160"/>
                <a:gd name="T12" fmla="*/ 5 w 158"/>
                <a:gd name="T13" fmla="*/ 4 h 160"/>
                <a:gd name="T14" fmla="*/ 7 w 158"/>
                <a:gd name="T15" fmla="*/ 0 h 160"/>
                <a:gd name="T16" fmla="*/ 29 w 158"/>
                <a:gd name="T17" fmla="*/ 6 h 160"/>
                <a:gd name="T18" fmla="*/ 56 w 158"/>
                <a:gd name="T19" fmla="*/ 14 h 160"/>
                <a:gd name="T20" fmla="*/ 71 w 158"/>
                <a:gd name="T21" fmla="*/ 12 h 160"/>
                <a:gd name="T22" fmla="*/ 102 w 158"/>
                <a:gd name="T23" fmla="*/ 7 h 160"/>
                <a:gd name="T24" fmla="*/ 120 w 158"/>
                <a:gd name="T25" fmla="*/ 11 h 160"/>
                <a:gd name="T26" fmla="*/ 131 w 158"/>
                <a:gd name="T27" fmla="*/ 12 h 160"/>
                <a:gd name="T28" fmla="*/ 137 w 158"/>
                <a:gd name="T29" fmla="*/ 10 h 160"/>
                <a:gd name="T30" fmla="*/ 148 w 158"/>
                <a:gd name="T31" fmla="*/ 36 h 160"/>
                <a:gd name="T32" fmla="*/ 145 w 158"/>
                <a:gd name="T33" fmla="*/ 48 h 160"/>
                <a:gd name="T34" fmla="*/ 145 w 158"/>
                <a:gd name="T35" fmla="*/ 45 h 160"/>
                <a:gd name="T36" fmla="*/ 136 w 158"/>
                <a:gd name="T37" fmla="*/ 66 h 160"/>
                <a:gd name="T38" fmla="*/ 119 w 158"/>
                <a:gd name="T39" fmla="*/ 42 h 160"/>
                <a:gd name="T40" fmla="*/ 119 w 158"/>
                <a:gd name="T41" fmla="*/ 54 h 160"/>
                <a:gd name="T42" fmla="*/ 129 w 158"/>
                <a:gd name="T43" fmla="*/ 70 h 160"/>
                <a:gd name="T44" fmla="*/ 136 w 158"/>
                <a:gd name="T45" fmla="*/ 85 h 160"/>
                <a:gd name="T46" fmla="*/ 151 w 158"/>
                <a:gd name="T47" fmla="*/ 115 h 160"/>
                <a:gd name="T48" fmla="*/ 158 w 158"/>
                <a:gd name="T49" fmla="*/ 131 h 160"/>
                <a:gd name="T50" fmla="*/ 158 w 158"/>
                <a:gd name="T51" fmla="*/ 137 h 160"/>
                <a:gd name="T52" fmla="*/ 158 w 158"/>
                <a:gd name="T53" fmla="*/ 137 h 160"/>
                <a:gd name="T54" fmla="*/ 157 w 158"/>
                <a:gd name="T55" fmla="*/ 139 h 160"/>
                <a:gd name="T56" fmla="*/ 149 w 158"/>
                <a:gd name="T57" fmla="*/ 143 h 160"/>
                <a:gd name="T58" fmla="*/ 140 w 158"/>
                <a:gd name="T59" fmla="*/ 153 h 160"/>
                <a:gd name="T60" fmla="*/ 131 w 158"/>
                <a:gd name="T61" fmla="*/ 160 h 160"/>
                <a:gd name="T62" fmla="*/ 124 w 158"/>
                <a:gd name="T63" fmla="*/ 155 h 160"/>
                <a:gd name="T64" fmla="*/ 131 w 158"/>
                <a:gd name="T65" fmla="*/ 159 h 160"/>
                <a:gd name="T66" fmla="*/ 140 w 158"/>
                <a:gd name="T67" fmla="*/ 152 h 160"/>
                <a:gd name="T68" fmla="*/ 149 w 158"/>
                <a:gd name="T69" fmla="*/ 142 h 160"/>
                <a:gd name="T70" fmla="*/ 151 w 158"/>
                <a:gd name="T71" fmla="*/ 142 h 160"/>
                <a:gd name="T72" fmla="*/ 156 w 158"/>
                <a:gd name="T73" fmla="*/ 137 h 160"/>
                <a:gd name="T74" fmla="*/ 157 w 158"/>
                <a:gd name="T75" fmla="*/ 137 h 160"/>
                <a:gd name="T76" fmla="*/ 155 w 158"/>
                <a:gd name="T77" fmla="*/ 124 h 160"/>
                <a:gd name="T78" fmla="*/ 142 w 158"/>
                <a:gd name="T79" fmla="*/ 99 h 160"/>
                <a:gd name="T80" fmla="*/ 131 w 158"/>
                <a:gd name="T81" fmla="*/ 79 h 160"/>
                <a:gd name="T82" fmla="*/ 124 w 158"/>
                <a:gd name="T83" fmla="*/ 62 h 160"/>
                <a:gd name="T84" fmla="*/ 111 w 158"/>
                <a:gd name="T85" fmla="*/ 28 h 160"/>
                <a:gd name="T86" fmla="*/ 112 w 158"/>
                <a:gd name="T87" fmla="*/ 27 h 160"/>
                <a:gd name="T88" fmla="*/ 122 w 158"/>
                <a:gd name="T89" fmla="*/ 46 h 160"/>
                <a:gd name="T90" fmla="*/ 142 w 158"/>
                <a:gd name="T91" fmla="*/ 51 h 160"/>
                <a:gd name="T92" fmla="*/ 145 w 158"/>
                <a:gd name="T93" fmla="*/ 41 h 160"/>
                <a:gd name="T94" fmla="*/ 137 w 158"/>
                <a:gd name="T95" fmla="*/ 11 h 160"/>
                <a:gd name="T96" fmla="*/ 131 w 158"/>
                <a:gd name="T97" fmla="*/ 13 h 160"/>
                <a:gd name="T98" fmla="*/ 120 w 158"/>
                <a:gd name="T99" fmla="*/ 12 h 160"/>
                <a:gd name="T100" fmla="*/ 102 w 158"/>
                <a:gd name="T101" fmla="*/ 8 h 160"/>
                <a:gd name="T102" fmla="*/ 72 w 158"/>
                <a:gd name="T103" fmla="*/ 13 h 160"/>
                <a:gd name="T104" fmla="*/ 55 w 158"/>
                <a:gd name="T105" fmla="*/ 14 h 160"/>
                <a:gd name="T106" fmla="*/ 29 w 158"/>
                <a:gd name="T107" fmla="*/ 7 h 160"/>
                <a:gd name="T108" fmla="*/ 6 w 158"/>
                <a:gd name="T109" fmla="*/ 4 h 160"/>
                <a:gd name="T110" fmla="*/ 5 w 158"/>
                <a:gd name="T111" fmla="*/ 15 h 160"/>
                <a:gd name="T112" fmla="*/ 3 w 158"/>
                <a:gd name="T113" fmla="*/ 35 h 160"/>
                <a:gd name="T114" fmla="*/ 4 w 158"/>
                <a:gd name="T115" fmla="*/ 156 h 160"/>
                <a:gd name="T116" fmla="*/ 97 w 158"/>
                <a:gd name="T117" fmla="*/ 153 h 160"/>
                <a:gd name="T118" fmla="*/ 105 w 158"/>
                <a:gd name="T119" fmla="*/ 155 h 1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60">
                  <a:moveTo>
                    <a:pt x="131" y="160"/>
                  </a:moveTo>
                  <a:cubicBezTo>
                    <a:pt x="127" y="160"/>
                    <a:pt x="124" y="157"/>
                    <a:pt x="123" y="156"/>
                  </a:cubicBezTo>
                  <a:cubicBezTo>
                    <a:pt x="104" y="156"/>
                    <a:pt x="104" y="156"/>
                    <a:pt x="104" y="156"/>
                  </a:cubicBezTo>
                  <a:cubicBezTo>
                    <a:pt x="104" y="156"/>
                    <a:pt x="104" y="156"/>
                    <a:pt x="104" y="156"/>
                  </a:cubicBezTo>
                  <a:cubicBezTo>
                    <a:pt x="104" y="156"/>
                    <a:pt x="101" y="153"/>
                    <a:pt x="99" y="153"/>
                  </a:cubicBezTo>
                  <a:cubicBezTo>
                    <a:pt x="98" y="153"/>
                    <a:pt x="98" y="153"/>
                    <a:pt x="98" y="153"/>
                  </a:cubicBezTo>
                  <a:cubicBezTo>
                    <a:pt x="92" y="157"/>
                    <a:pt x="92" y="157"/>
                    <a:pt x="92" y="157"/>
                  </a:cubicBezTo>
                  <a:cubicBezTo>
                    <a:pt x="3" y="157"/>
                    <a:pt x="3" y="157"/>
                    <a:pt x="3" y="157"/>
                  </a:cubicBezTo>
                  <a:cubicBezTo>
                    <a:pt x="3" y="44"/>
                    <a:pt x="3" y="44"/>
                    <a:pt x="3" y="44"/>
                  </a:cubicBezTo>
                  <a:cubicBezTo>
                    <a:pt x="3" y="41"/>
                    <a:pt x="2" y="38"/>
                    <a:pt x="2" y="35"/>
                  </a:cubicBezTo>
                  <a:cubicBezTo>
                    <a:pt x="1" y="30"/>
                    <a:pt x="0" y="26"/>
                    <a:pt x="3" y="22"/>
                  </a:cubicBezTo>
                  <a:cubicBezTo>
                    <a:pt x="5" y="20"/>
                    <a:pt x="5" y="18"/>
                    <a:pt x="4" y="16"/>
                  </a:cubicBezTo>
                  <a:cubicBezTo>
                    <a:pt x="4" y="13"/>
                    <a:pt x="3" y="10"/>
                    <a:pt x="5" y="5"/>
                  </a:cubicBezTo>
                  <a:cubicBezTo>
                    <a:pt x="5" y="4"/>
                    <a:pt x="5" y="4"/>
                    <a:pt x="5" y="4"/>
                  </a:cubicBezTo>
                  <a:cubicBezTo>
                    <a:pt x="6" y="3"/>
                    <a:pt x="6" y="2"/>
                    <a:pt x="6" y="1"/>
                  </a:cubicBezTo>
                  <a:cubicBezTo>
                    <a:pt x="7" y="0"/>
                    <a:pt x="7" y="0"/>
                    <a:pt x="7" y="0"/>
                  </a:cubicBezTo>
                  <a:cubicBezTo>
                    <a:pt x="7" y="1"/>
                    <a:pt x="7" y="1"/>
                    <a:pt x="7" y="1"/>
                  </a:cubicBezTo>
                  <a:cubicBezTo>
                    <a:pt x="9" y="3"/>
                    <a:pt x="16" y="5"/>
                    <a:pt x="29" y="6"/>
                  </a:cubicBezTo>
                  <a:cubicBezTo>
                    <a:pt x="39" y="7"/>
                    <a:pt x="47" y="10"/>
                    <a:pt x="53" y="13"/>
                  </a:cubicBezTo>
                  <a:cubicBezTo>
                    <a:pt x="54" y="13"/>
                    <a:pt x="55" y="13"/>
                    <a:pt x="56" y="14"/>
                  </a:cubicBezTo>
                  <a:cubicBezTo>
                    <a:pt x="58" y="15"/>
                    <a:pt x="61" y="15"/>
                    <a:pt x="64" y="15"/>
                  </a:cubicBezTo>
                  <a:cubicBezTo>
                    <a:pt x="66" y="15"/>
                    <a:pt x="70" y="15"/>
                    <a:pt x="71" y="12"/>
                  </a:cubicBezTo>
                  <a:cubicBezTo>
                    <a:pt x="74" y="9"/>
                    <a:pt x="86" y="6"/>
                    <a:pt x="95" y="6"/>
                  </a:cubicBezTo>
                  <a:cubicBezTo>
                    <a:pt x="98" y="6"/>
                    <a:pt x="101" y="6"/>
                    <a:pt x="102" y="7"/>
                  </a:cubicBezTo>
                  <a:cubicBezTo>
                    <a:pt x="107" y="10"/>
                    <a:pt x="111" y="12"/>
                    <a:pt x="116" y="12"/>
                  </a:cubicBezTo>
                  <a:cubicBezTo>
                    <a:pt x="117" y="12"/>
                    <a:pt x="119" y="11"/>
                    <a:pt x="120" y="11"/>
                  </a:cubicBezTo>
                  <a:cubicBezTo>
                    <a:pt x="121" y="11"/>
                    <a:pt x="122" y="11"/>
                    <a:pt x="124" y="11"/>
                  </a:cubicBezTo>
                  <a:cubicBezTo>
                    <a:pt x="126" y="11"/>
                    <a:pt x="129" y="11"/>
                    <a:pt x="131" y="12"/>
                  </a:cubicBezTo>
                  <a:cubicBezTo>
                    <a:pt x="133" y="12"/>
                    <a:pt x="135" y="12"/>
                    <a:pt x="135" y="12"/>
                  </a:cubicBezTo>
                  <a:cubicBezTo>
                    <a:pt x="136" y="12"/>
                    <a:pt x="136" y="11"/>
                    <a:pt x="137" y="10"/>
                  </a:cubicBezTo>
                  <a:cubicBezTo>
                    <a:pt x="138" y="9"/>
                    <a:pt x="138" y="9"/>
                    <a:pt x="138" y="9"/>
                  </a:cubicBezTo>
                  <a:cubicBezTo>
                    <a:pt x="148" y="36"/>
                    <a:pt x="148" y="36"/>
                    <a:pt x="148" y="36"/>
                  </a:cubicBezTo>
                  <a:cubicBezTo>
                    <a:pt x="146" y="42"/>
                    <a:pt x="146" y="42"/>
                    <a:pt x="146" y="42"/>
                  </a:cubicBezTo>
                  <a:cubicBezTo>
                    <a:pt x="145" y="48"/>
                    <a:pt x="145" y="48"/>
                    <a:pt x="145" y="48"/>
                  </a:cubicBezTo>
                  <a:cubicBezTo>
                    <a:pt x="145" y="46"/>
                    <a:pt x="145" y="46"/>
                    <a:pt x="145" y="46"/>
                  </a:cubicBezTo>
                  <a:cubicBezTo>
                    <a:pt x="145" y="45"/>
                    <a:pt x="145" y="45"/>
                    <a:pt x="145" y="45"/>
                  </a:cubicBezTo>
                  <a:cubicBezTo>
                    <a:pt x="144" y="46"/>
                    <a:pt x="144" y="49"/>
                    <a:pt x="143" y="51"/>
                  </a:cubicBezTo>
                  <a:cubicBezTo>
                    <a:pt x="142" y="58"/>
                    <a:pt x="140" y="66"/>
                    <a:pt x="136" y="66"/>
                  </a:cubicBezTo>
                  <a:cubicBezTo>
                    <a:pt x="130" y="66"/>
                    <a:pt x="122" y="48"/>
                    <a:pt x="121" y="46"/>
                  </a:cubicBezTo>
                  <a:cubicBezTo>
                    <a:pt x="120" y="45"/>
                    <a:pt x="120" y="44"/>
                    <a:pt x="119" y="42"/>
                  </a:cubicBezTo>
                  <a:cubicBezTo>
                    <a:pt x="117" y="38"/>
                    <a:pt x="113" y="28"/>
                    <a:pt x="112" y="28"/>
                  </a:cubicBezTo>
                  <a:cubicBezTo>
                    <a:pt x="111" y="29"/>
                    <a:pt x="112" y="45"/>
                    <a:pt x="119" y="54"/>
                  </a:cubicBezTo>
                  <a:cubicBezTo>
                    <a:pt x="121" y="57"/>
                    <a:pt x="123" y="59"/>
                    <a:pt x="124" y="61"/>
                  </a:cubicBezTo>
                  <a:cubicBezTo>
                    <a:pt x="127" y="64"/>
                    <a:pt x="129" y="66"/>
                    <a:pt x="129" y="70"/>
                  </a:cubicBezTo>
                  <a:cubicBezTo>
                    <a:pt x="129" y="73"/>
                    <a:pt x="130" y="76"/>
                    <a:pt x="132" y="78"/>
                  </a:cubicBezTo>
                  <a:cubicBezTo>
                    <a:pt x="134" y="80"/>
                    <a:pt x="135" y="82"/>
                    <a:pt x="136" y="85"/>
                  </a:cubicBezTo>
                  <a:cubicBezTo>
                    <a:pt x="136" y="88"/>
                    <a:pt x="139" y="93"/>
                    <a:pt x="142" y="98"/>
                  </a:cubicBezTo>
                  <a:cubicBezTo>
                    <a:pt x="146" y="104"/>
                    <a:pt x="150" y="110"/>
                    <a:pt x="151" y="115"/>
                  </a:cubicBezTo>
                  <a:cubicBezTo>
                    <a:pt x="152" y="119"/>
                    <a:pt x="154" y="121"/>
                    <a:pt x="155" y="123"/>
                  </a:cubicBezTo>
                  <a:cubicBezTo>
                    <a:pt x="157" y="125"/>
                    <a:pt x="158" y="127"/>
                    <a:pt x="158" y="131"/>
                  </a:cubicBezTo>
                  <a:cubicBezTo>
                    <a:pt x="157" y="133"/>
                    <a:pt x="158" y="135"/>
                    <a:pt x="158" y="137"/>
                  </a:cubicBezTo>
                  <a:cubicBezTo>
                    <a:pt x="158" y="137"/>
                    <a:pt x="158" y="137"/>
                    <a:pt x="158" y="137"/>
                  </a:cubicBezTo>
                  <a:cubicBezTo>
                    <a:pt x="158" y="137"/>
                    <a:pt x="158" y="137"/>
                    <a:pt x="158" y="137"/>
                  </a:cubicBezTo>
                  <a:cubicBezTo>
                    <a:pt x="158" y="137"/>
                    <a:pt x="158" y="137"/>
                    <a:pt x="158" y="137"/>
                  </a:cubicBezTo>
                  <a:cubicBezTo>
                    <a:pt x="157" y="138"/>
                    <a:pt x="157" y="138"/>
                    <a:pt x="157" y="138"/>
                  </a:cubicBezTo>
                  <a:cubicBezTo>
                    <a:pt x="157" y="139"/>
                    <a:pt x="157" y="139"/>
                    <a:pt x="157" y="139"/>
                  </a:cubicBezTo>
                  <a:cubicBezTo>
                    <a:pt x="154" y="143"/>
                    <a:pt x="153" y="143"/>
                    <a:pt x="151" y="143"/>
                  </a:cubicBezTo>
                  <a:cubicBezTo>
                    <a:pt x="150" y="143"/>
                    <a:pt x="150" y="143"/>
                    <a:pt x="149" y="143"/>
                  </a:cubicBezTo>
                  <a:cubicBezTo>
                    <a:pt x="148" y="143"/>
                    <a:pt x="147" y="145"/>
                    <a:pt x="146" y="147"/>
                  </a:cubicBezTo>
                  <a:cubicBezTo>
                    <a:pt x="145" y="150"/>
                    <a:pt x="144" y="153"/>
                    <a:pt x="140" y="153"/>
                  </a:cubicBezTo>
                  <a:cubicBezTo>
                    <a:pt x="136" y="153"/>
                    <a:pt x="135" y="155"/>
                    <a:pt x="135" y="157"/>
                  </a:cubicBezTo>
                  <a:cubicBezTo>
                    <a:pt x="134" y="159"/>
                    <a:pt x="133" y="160"/>
                    <a:pt x="131" y="160"/>
                  </a:cubicBezTo>
                  <a:close/>
                  <a:moveTo>
                    <a:pt x="105" y="155"/>
                  </a:moveTo>
                  <a:cubicBezTo>
                    <a:pt x="124" y="155"/>
                    <a:pt x="124" y="155"/>
                    <a:pt x="124" y="155"/>
                  </a:cubicBezTo>
                  <a:cubicBezTo>
                    <a:pt x="124" y="155"/>
                    <a:pt x="124" y="155"/>
                    <a:pt x="124" y="155"/>
                  </a:cubicBezTo>
                  <a:cubicBezTo>
                    <a:pt x="124" y="155"/>
                    <a:pt x="127" y="159"/>
                    <a:pt x="131" y="159"/>
                  </a:cubicBezTo>
                  <a:cubicBezTo>
                    <a:pt x="133" y="159"/>
                    <a:pt x="133" y="158"/>
                    <a:pt x="134" y="157"/>
                  </a:cubicBezTo>
                  <a:cubicBezTo>
                    <a:pt x="134" y="155"/>
                    <a:pt x="135" y="152"/>
                    <a:pt x="140" y="152"/>
                  </a:cubicBezTo>
                  <a:cubicBezTo>
                    <a:pt x="143" y="152"/>
                    <a:pt x="144" y="150"/>
                    <a:pt x="145" y="147"/>
                  </a:cubicBezTo>
                  <a:cubicBezTo>
                    <a:pt x="146" y="144"/>
                    <a:pt x="147" y="142"/>
                    <a:pt x="149" y="142"/>
                  </a:cubicBezTo>
                  <a:cubicBezTo>
                    <a:pt x="150" y="142"/>
                    <a:pt x="150" y="142"/>
                    <a:pt x="151" y="142"/>
                  </a:cubicBezTo>
                  <a:cubicBezTo>
                    <a:pt x="151" y="142"/>
                    <a:pt x="151" y="142"/>
                    <a:pt x="151" y="142"/>
                  </a:cubicBezTo>
                  <a:cubicBezTo>
                    <a:pt x="153" y="142"/>
                    <a:pt x="153" y="142"/>
                    <a:pt x="156" y="138"/>
                  </a:cubicBezTo>
                  <a:cubicBezTo>
                    <a:pt x="156" y="137"/>
                    <a:pt x="156" y="137"/>
                    <a:pt x="156" y="137"/>
                  </a:cubicBezTo>
                  <a:cubicBezTo>
                    <a:pt x="157" y="137"/>
                    <a:pt x="157" y="137"/>
                    <a:pt x="157" y="137"/>
                  </a:cubicBezTo>
                  <a:cubicBezTo>
                    <a:pt x="157" y="137"/>
                    <a:pt x="157" y="137"/>
                    <a:pt x="157" y="137"/>
                  </a:cubicBezTo>
                  <a:cubicBezTo>
                    <a:pt x="156" y="135"/>
                    <a:pt x="156" y="133"/>
                    <a:pt x="157" y="131"/>
                  </a:cubicBezTo>
                  <a:cubicBezTo>
                    <a:pt x="157" y="127"/>
                    <a:pt x="156" y="126"/>
                    <a:pt x="155" y="124"/>
                  </a:cubicBezTo>
                  <a:cubicBezTo>
                    <a:pt x="153" y="122"/>
                    <a:pt x="152" y="119"/>
                    <a:pt x="150" y="115"/>
                  </a:cubicBezTo>
                  <a:cubicBezTo>
                    <a:pt x="149" y="110"/>
                    <a:pt x="145" y="104"/>
                    <a:pt x="142" y="99"/>
                  </a:cubicBezTo>
                  <a:cubicBezTo>
                    <a:pt x="138" y="93"/>
                    <a:pt x="135" y="88"/>
                    <a:pt x="135" y="85"/>
                  </a:cubicBezTo>
                  <a:cubicBezTo>
                    <a:pt x="134" y="83"/>
                    <a:pt x="133" y="81"/>
                    <a:pt x="131" y="79"/>
                  </a:cubicBezTo>
                  <a:cubicBezTo>
                    <a:pt x="130" y="76"/>
                    <a:pt x="128" y="74"/>
                    <a:pt x="128" y="70"/>
                  </a:cubicBezTo>
                  <a:cubicBezTo>
                    <a:pt x="128" y="67"/>
                    <a:pt x="127" y="65"/>
                    <a:pt x="124" y="62"/>
                  </a:cubicBezTo>
                  <a:cubicBezTo>
                    <a:pt x="122" y="60"/>
                    <a:pt x="120" y="58"/>
                    <a:pt x="118" y="55"/>
                  </a:cubicBezTo>
                  <a:cubicBezTo>
                    <a:pt x="112" y="46"/>
                    <a:pt x="110" y="31"/>
                    <a:pt x="111" y="28"/>
                  </a:cubicBezTo>
                  <a:cubicBezTo>
                    <a:pt x="111" y="28"/>
                    <a:pt x="111" y="27"/>
                    <a:pt x="112" y="27"/>
                  </a:cubicBezTo>
                  <a:cubicBezTo>
                    <a:pt x="112" y="27"/>
                    <a:pt x="112" y="27"/>
                    <a:pt x="112" y="27"/>
                  </a:cubicBezTo>
                  <a:cubicBezTo>
                    <a:pt x="113" y="27"/>
                    <a:pt x="116" y="32"/>
                    <a:pt x="120" y="42"/>
                  </a:cubicBezTo>
                  <a:cubicBezTo>
                    <a:pt x="121" y="44"/>
                    <a:pt x="121" y="45"/>
                    <a:pt x="122" y="46"/>
                  </a:cubicBezTo>
                  <a:cubicBezTo>
                    <a:pt x="125" y="53"/>
                    <a:pt x="132" y="65"/>
                    <a:pt x="136" y="65"/>
                  </a:cubicBezTo>
                  <a:cubicBezTo>
                    <a:pt x="139" y="65"/>
                    <a:pt x="141" y="56"/>
                    <a:pt x="142" y="51"/>
                  </a:cubicBezTo>
                  <a:cubicBezTo>
                    <a:pt x="143" y="46"/>
                    <a:pt x="144" y="44"/>
                    <a:pt x="145" y="44"/>
                  </a:cubicBezTo>
                  <a:cubicBezTo>
                    <a:pt x="145" y="41"/>
                    <a:pt x="145" y="41"/>
                    <a:pt x="145" y="41"/>
                  </a:cubicBezTo>
                  <a:cubicBezTo>
                    <a:pt x="147" y="36"/>
                    <a:pt x="147" y="36"/>
                    <a:pt x="147" y="36"/>
                  </a:cubicBezTo>
                  <a:cubicBezTo>
                    <a:pt x="137" y="11"/>
                    <a:pt x="137" y="11"/>
                    <a:pt x="137" y="11"/>
                  </a:cubicBezTo>
                  <a:cubicBezTo>
                    <a:pt x="137" y="12"/>
                    <a:pt x="136" y="12"/>
                    <a:pt x="136" y="13"/>
                  </a:cubicBezTo>
                  <a:cubicBezTo>
                    <a:pt x="135" y="13"/>
                    <a:pt x="133" y="13"/>
                    <a:pt x="131" y="13"/>
                  </a:cubicBezTo>
                  <a:cubicBezTo>
                    <a:pt x="129" y="12"/>
                    <a:pt x="126" y="12"/>
                    <a:pt x="124" y="12"/>
                  </a:cubicBezTo>
                  <a:cubicBezTo>
                    <a:pt x="123" y="12"/>
                    <a:pt x="121" y="12"/>
                    <a:pt x="120" y="12"/>
                  </a:cubicBezTo>
                  <a:cubicBezTo>
                    <a:pt x="119" y="12"/>
                    <a:pt x="117" y="13"/>
                    <a:pt x="116" y="13"/>
                  </a:cubicBezTo>
                  <a:cubicBezTo>
                    <a:pt x="111" y="13"/>
                    <a:pt x="107" y="11"/>
                    <a:pt x="102" y="8"/>
                  </a:cubicBezTo>
                  <a:cubicBezTo>
                    <a:pt x="100" y="7"/>
                    <a:pt x="98" y="7"/>
                    <a:pt x="95" y="7"/>
                  </a:cubicBezTo>
                  <a:cubicBezTo>
                    <a:pt x="86" y="7"/>
                    <a:pt x="74" y="10"/>
                    <a:pt x="72" y="13"/>
                  </a:cubicBezTo>
                  <a:cubicBezTo>
                    <a:pt x="71" y="15"/>
                    <a:pt x="68" y="16"/>
                    <a:pt x="64" y="16"/>
                  </a:cubicBezTo>
                  <a:cubicBezTo>
                    <a:pt x="61" y="16"/>
                    <a:pt x="58" y="16"/>
                    <a:pt x="55" y="14"/>
                  </a:cubicBezTo>
                  <a:cubicBezTo>
                    <a:pt x="54" y="14"/>
                    <a:pt x="54" y="14"/>
                    <a:pt x="53" y="14"/>
                  </a:cubicBezTo>
                  <a:cubicBezTo>
                    <a:pt x="47" y="11"/>
                    <a:pt x="39" y="8"/>
                    <a:pt x="29" y="7"/>
                  </a:cubicBezTo>
                  <a:cubicBezTo>
                    <a:pt x="17" y="6"/>
                    <a:pt x="9" y="4"/>
                    <a:pt x="7" y="2"/>
                  </a:cubicBezTo>
                  <a:cubicBezTo>
                    <a:pt x="7" y="3"/>
                    <a:pt x="6" y="4"/>
                    <a:pt x="6" y="4"/>
                  </a:cubicBezTo>
                  <a:cubicBezTo>
                    <a:pt x="6" y="5"/>
                    <a:pt x="6" y="5"/>
                    <a:pt x="6" y="5"/>
                  </a:cubicBezTo>
                  <a:cubicBezTo>
                    <a:pt x="4" y="10"/>
                    <a:pt x="5" y="13"/>
                    <a:pt x="5" y="15"/>
                  </a:cubicBezTo>
                  <a:cubicBezTo>
                    <a:pt x="6" y="18"/>
                    <a:pt x="6" y="20"/>
                    <a:pt x="4" y="23"/>
                  </a:cubicBezTo>
                  <a:cubicBezTo>
                    <a:pt x="1" y="26"/>
                    <a:pt x="2" y="30"/>
                    <a:pt x="3" y="35"/>
                  </a:cubicBezTo>
                  <a:cubicBezTo>
                    <a:pt x="3" y="37"/>
                    <a:pt x="4" y="41"/>
                    <a:pt x="4" y="44"/>
                  </a:cubicBezTo>
                  <a:cubicBezTo>
                    <a:pt x="4" y="156"/>
                    <a:pt x="4" y="156"/>
                    <a:pt x="4" y="156"/>
                  </a:cubicBezTo>
                  <a:cubicBezTo>
                    <a:pt x="92" y="156"/>
                    <a:pt x="92" y="156"/>
                    <a:pt x="92" y="156"/>
                  </a:cubicBezTo>
                  <a:cubicBezTo>
                    <a:pt x="97" y="153"/>
                    <a:pt x="97" y="153"/>
                    <a:pt x="97" y="153"/>
                  </a:cubicBezTo>
                  <a:cubicBezTo>
                    <a:pt x="98" y="152"/>
                    <a:pt x="98" y="152"/>
                    <a:pt x="99" y="152"/>
                  </a:cubicBezTo>
                  <a:cubicBezTo>
                    <a:pt x="101" y="152"/>
                    <a:pt x="104" y="154"/>
                    <a:pt x="105" y="15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2" name="Freeform 39"/>
            <p:cNvSpPr>
              <a:spLocks noEditPoints="1"/>
            </p:cNvSpPr>
            <p:nvPr/>
          </p:nvSpPr>
          <p:spPr>
            <a:xfrm>
              <a:off x="5000626" y="3751263"/>
              <a:ext cx="139700" cy="157163"/>
            </a:xfrm>
            <a:custGeom>
              <a:gdLst>
                <a:gd name="T0" fmla="*/ 33 w 82"/>
                <a:gd name="T1" fmla="*/ 92 h 92"/>
                <a:gd name="T2" fmla="*/ 19 w 82"/>
                <a:gd name="T3" fmla="*/ 74 h 92"/>
                <a:gd name="T4" fmla="*/ 5 w 82"/>
                <a:gd name="T5" fmla="*/ 55 h 92"/>
                <a:gd name="T6" fmla="*/ 1 w 82"/>
                <a:gd name="T7" fmla="*/ 47 h 92"/>
                <a:gd name="T8" fmla="*/ 12 w 82"/>
                <a:gd name="T9" fmla="*/ 34 h 92"/>
                <a:gd name="T10" fmla="*/ 15 w 82"/>
                <a:gd name="T11" fmla="*/ 32 h 92"/>
                <a:gd name="T12" fmla="*/ 9 w 82"/>
                <a:gd name="T13" fmla="*/ 26 h 92"/>
                <a:gd name="T14" fmla="*/ 12 w 82"/>
                <a:gd name="T15" fmla="*/ 22 h 92"/>
                <a:gd name="T16" fmla="*/ 12 w 82"/>
                <a:gd name="T17" fmla="*/ 21 h 92"/>
                <a:gd name="T18" fmla="*/ 38 w 82"/>
                <a:gd name="T19" fmla="*/ 20 h 92"/>
                <a:gd name="T20" fmla="*/ 39 w 82"/>
                <a:gd name="T21" fmla="*/ 1 h 92"/>
                <a:gd name="T22" fmla="*/ 42 w 82"/>
                <a:gd name="T23" fmla="*/ 0 h 92"/>
                <a:gd name="T24" fmla="*/ 64 w 82"/>
                <a:gd name="T25" fmla="*/ 1 h 92"/>
                <a:gd name="T26" fmla="*/ 62 w 82"/>
                <a:gd name="T27" fmla="*/ 17 h 92"/>
                <a:gd name="T28" fmla="*/ 63 w 82"/>
                <a:gd name="T29" fmla="*/ 17 h 92"/>
                <a:gd name="T30" fmla="*/ 73 w 82"/>
                <a:gd name="T31" fmla="*/ 15 h 92"/>
                <a:gd name="T32" fmla="*/ 80 w 82"/>
                <a:gd name="T33" fmla="*/ 22 h 92"/>
                <a:gd name="T34" fmla="*/ 72 w 82"/>
                <a:gd name="T35" fmla="*/ 32 h 92"/>
                <a:gd name="T36" fmla="*/ 81 w 82"/>
                <a:gd name="T37" fmla="*/ 52 h 92"/>
                <a:gd name="T38" fmla="*/ 76 w 82"/>
                <a:gd name="T39" fmla="*/ 73 h 92"/>
                <a:gd name="T40" fmla="*/ 70 w 82"/>
                <a:gd name="T41" fmla="*/ 72 h 92"/>
                <a:gd name="T42" fmla="*/ 65 w 82"/>
                <a:gd name="T43" fmla="*/ 71 h 92"/>
                <a:gd name="T44" fmla="*/ 57 w 82"/>
                <a:gd name="T45" fmla="*/ 62 h 92"/>
                <a:gd name="T46" fmla="*/ 51 w 82"/>
                <a:gd name="T47" fmla="*/ 70 h 92"/>
                <a:gd name="T48" fmla="*/ 42 w 82"/>
                <a:gd name="T49" fmla="*/ 72 h 92"/>
                <a:gd name="T50" fmla="*/ 43 w 82"/>
                <a:gd name="T51" fmla="*/ 78 h 92"/>
                <a:gd name="T52" fmla="*/ 40 w 82"/>
                <a:gd name="T53" fmla="*/ 88 h 92"/>
                <a:gd name="T54" fmla="*/ 33 w 82"/>
                <a:gd name="T55" fmla="*/ 92 h 92"/>
                <a:gd name="T56" fmla="*/ 10 w 82"/>
                <a:gd name="T57" fmla="*/ 25 h 92"/>
                <a:gd name="T58" fmla="*/ 12 w 82"/>
                <a:gd name="T59" fmla="*/ 28 h 92"/>
                <a:gd name="T60" fmla="*/ 16 w 82"/>
                <a:gd name="T61" fmla="*/ 33 h 92"/>
                <a:gd name="T62" fmla="*/ 8 w 82"/>
                <a:gd name="T63" fmla="*/ 38 h 92"/>
                <a:gd name="T64" fmla="*/ 1 w 82"/>
                <a:gd name="T65" fmla="*/ 48 h 92"/>
                <a:gd name="T66" fmla="*/ 9 w 82"/>
                <a:gd name="T67" fmla="*/ 60 h 92"/>
                <a:gd name="T68" fmla="*/ 25 w 82"/>
                <a:gd name="T69" fmla="*/ 81 h 92"/>
                <a:gd name="T70" fmla="*/ 40 w 82"/>
                <a:gd name="T71" fmla="*/ 87 h 92"/>
                <a:gd name="T72" fmla="*/ 43 w 82"/>
                <a:gd name="T73" fmla="*/ 78 h 92"/>
                <a:gd name="T74" fmla="*/ 42 w 82"/>
                <a:gd name="T75" fmla="*/ 71 h 92"/>
                <a:gd name="T76" fmla="*/ 51 w 82"/>
                <a:gd name="T77" fmla="*/ 69 h 92"/>
                <a:gd name="T78" fmla="*/ 57 w 82"/>
                <a:gd name="T79" fmla="*/ 61 h 92"/>
                <a:gd name="T80" fmla="*/ 65 w 82"/>
                <a:gd name="T81" fmla="*/ 70 h 92"/>
                <a:gd name="T82" fmla="*/ 71 w 82"/>
                <a:gd name="T83" fmla="*/ 71 h 92"/>
                <a:gd name="T84" fmla="*/ 76 w 82"/>
                <a:gd name="T85" fmla="*/ 72 h 92"/>
                <a:gd name="T86" fmla="*/ 80 w 82"/>
                <a:gd name="T87" fmla="*/ 52 h 92"/>
                <a:gd name="T88" fmla="*/ 71 w 82"/>
                <a:gd name="T89" fmla="*/ 32 h 92"/>
                <a:gd name="T90" fmla="*/ 79 w 82"/>
                <a:gd name="T91" fmla="*/ 22 h 92"/>
                <a:gd name="T92" fmla="*/ 73 w 82"/>
                <a:gd name="T93" fmla="*/ 16 h 92"/>
                <a:gd name="T94" fmla="*/ 62 w 82"/>
                <a:gd name="T95" fmla="*/ 18 h 92"/>
                <a:gd name="T96" fmla="*/ 63 w 82"/>
                <a:gd name="T97" fmla="*/ 2 h 92"/>
                <a:gd name="T98" fmla="*/ 40 w 82"/>
                <a:gd name="T99" fmla="*/ 2 h 92"/>
                <a:gd name="T100" fmla="*/ 39 w 82"/>
                <a:gd name="T101" fmla="*/ 21 h 92"/>
                <a:gd name="T102" fmla="*/ 19 w 82"/>
                <a:gd name="T103" fmla="*/ 22 h 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92">
                  <a:moveTo>
                    <a:pt x="33" y="92"/>
                  </a:moveTo>
                  <a:cubicBezTo>
                    <a:pt x="33" y="92"/>
                    <a:pt x="33" y="92"/>
                    <a:pt x="33" y="92"/>
                  </a:cubicBezTo>
                  <a:cubicBezTo>
                    <a:pt x="27" y="87"/>
                    <a:pt x="26" y="85"/>
                    <a:pt x="24" y="82"/>
                  </a:cubicBezTo>
                  <a:cubicBezTo>
                    <a:pt x="23" y="80"/>
                    <a:pt x="22" y="77"/>
                    <a:pt x="19" y="74"/>
                  </a:cubicBezTo>
                  <a:cubicBezTo>
                    <a:pt x="11" y="66"/>
                    <a:pt x="8" y="64"/>
                    <a:pt x="8" y="60"/>
                  </a:cubicBezTo>
                  <a:cubicBezTo>
                    <a:pt x="8" y="59"/>
                    <a:pt x="6" y="57"/>
                    <a:pt x="5" y="55"/>
                  </a:cubicBezTo>
                  <a:cubicBezTo>
                    <a:pt x="2" y="53"/>
                    <a:pt x="0" y="50"/>
                    <a:pt x="0" y="48"/>
                  </a:cubicBezTo>
                  <a:cubicBezTo>
                    <a:pt x="1" y="47"/>
                    <a:pt x="1" y="47"/>
                    <a:pt x="1" y="47"/>
                  </a:cubicBezTo>
                  <a:cubicBezTo>
                    <a:pt x="5" y="44"/>
                    <a:pt x="7" y="41"/>
                    <a:pt x="7" y="38"/>
                  </a:cubicBezTo>
                  <a:cubicBezTo>
                    <a:pt x="7" y="36"/>
                    <a:pt x="9" y="35"/>
                    <a:pt x="12" y="34"/>
                  </a:cubicBezTo>
                  <a:cubicBezTo>
                    <a:pt x="13" y="34"/>
                    <a:pt x="14" y="33"/>
                    <a:pt x="15" y="33"/>
                  </a:cubicBezTo>
                  <a:cubicBezTo>
                    <a:pt x="15" y="33"/>
                    <a:pt x="15" y="33"/>
                    <a:pt x="15" y="32"/>
                  </a:cubicBezTo>
                  <a:cubicBezTo>
                    <a:pt x="14" y="31"/>
                    <a:pt x="13" y="30"/>
                    <a:pt x="12" y="29"/>
                  </a:cubicBezTo>
                  <a:cubicBezTo>
                    <a:pt x="10" y="28"/>
                    <a:pt x="9" y="27"/>
                    <a:pt x="9" y="26"/>
                  </a:cubicBezTo>
                  <a:cubicBezTo>
                    <a:pt x="9" y="25"/>
                    <a:pt x="9" y="25"/>
                    <a:pt x="9" y="25"/>
                  </a:cubicBezTo>
                  <a:cubicBezTo>
                    <a:pt x="10" y="24"/>
                    <a:pt x="11" y="23"/>
                    <a:pt x="12" y="22"/>
                  </a:cubicBezTo>
                  <a:cubicBezTo>
                    <a:pt x="12" y="21"/>
                    <a:pt x="12" y="21"/>
                    <a:pt x="12" y="21"/>
                  </a:cubicBezTo>
                  <a:cubicBezTo>
                    <a:pt x="12" y="21"/>
                    <a:pt x="12" y="21"/>
                    <a:pt x="12" y="21"/>
                  </a:cubicBezTo>
                  <a:cubicBezTo>
                    <a:pt x="16" y="21"/>
                    <a:pt x="18" y="21"/>
                    <a:pt x="19" y="21"/>
                  </a:cubicBezTo>
                  <a:cubicBezTo>
                    <a:pt x="22" y="21"/>
                    <a:pt x="36" y="20"/>
                    <a:pt x="38" y="20"/>
                  </a:cubicBezTo>
                  <a:cubicBezTo>
                    <a:pt x="38" y="18"/>
                    <a:pt x="39" y="10"/>
                    <a:pt x="39" y="1"/>
                  </a:cubicBezTo>
                  <a:cubicBezTo>
                    <a:pt x="39" y="1"/>
                    <a:pt x="39" y="1"/>
                    <a:pt x="39" y="1"/>
                  </a:cubicBezTo>
                  <a:cubicBezTo>
                    <a:pt x="42" y="0"/>
                    <a:pt x="42" y="0"/>
                    <a:pt x="42" y="0"/>
                  </a:cubicBezTo>
                  <a:cubicBezTo>
                    <a:pt x="42" y="0"/>
                    <a:pt x="42" y="0"/>
                    <a:pt x="42" y="0"/>
                  </a:cubicBezTo>
                  <a:cubicBezTo>
                    <a:pt x="42" y="0"/>
                    <a:pt x="53" y="1"/>
                    <a:pt x="63" y="1"/>
                  </a:cubicBezTo>
                  <a:cubicBezTo>
                    <a:pt x="64" y="1"/>
                    <a:pt x="64" y="1"/>
                    <a:pt x="64" y="1"/>
                  </a:cubicBezTo>
                  <a:cubicBezTo>
                    <a:pt x="64" y="2"/>
                    <a:pt x="64" y="2"/>
                    <a:pt x="64" y="2"/>
                  </a:cubicBezTo>
                  <a:cubicBezTo>
                    <a:pt x="63" y="6"/>
                    <a:pt x="62" y="14"/>
                    <a:pt x="62" y="17"/>
                  </a:cubicBezTo>
                  <a:cubicBezTo>
                    <a:pt x="62" y="17"/>
                    <a:pt x="62" y="17"/>
                    <a:pt x="63" y="17"/>
                  </a:cubicBezTo>
                  <a:cubicBezTo>
                    <a:pt x="63" y="17"/>
                    <a:pt x="63" y="17"/>
                    <a:pt x="63" y="17"/>
                  </a:cubicBezTo>
                  <a:cubicBezTo>
                    <a:pt x="64" y="17"/>
                    <a:pt x="65" y="17"/>
                    <a:pt x="67" y="16"/>
                  </a:cubicBezTo>
                  <a:cubicBezTo>
                    <a:pt x="69" y="16"/>
                    <a:pt x="71" y="15"/>
                    <a:pt x="73" y="15"/>
                  </a:cubicBezTo>
                  <a:cubicBezTo>
                    <a:pt x="74" y="15"/>
                    <a:pt x="76" y="15"/>
                    <a:pt x="77" y="16"/>
                  </a:cubicBezTo>
                  <a:cubicBezTo>
                    <a:pt x="79" y="18"/>
                    <a:pt x="80" y="20"/>
                    <a:pt x="80" y="22"/>
                  </a:cubicBezTo>
                  <a:cubicBezTo>
                    <a:pt x="79" y="25"/>
                    <a:pt x="78" y="27"/>
                    <a:pt x="75" y="29"/>
                  </a:cubicBezTo>
                  <a:cubicBezTo>
                    <a:pt x="73" y="29"/>
                    <a:pt x="72" y="31"/>
                    <a:pt x="72" y="32"/>
                  </a:cubicBezTo>
                  <a:cubicBezTo>
                    <a:pt x="72" y="34"/>
                    <a:pt x="74" y="38"/>
                    <a:pt x="77" y="39"/>
                  </a:cubicBezTo>
                  <a:cubicBezTo>
                    <a:pt x="82" y="42"/>
                    <a:pt x="81" y="46"/>
                    <a:pt x="81" y="52"/>
                  </a:cubicBezTo>
                  <a:cubicBezTo>
                    <a:pt x="81" y="53"/>
                    <a:pt x="81" y="54"/>
                    <a:pt x="81" y="55"/>
                  </a:cubicBezTo>
                  <a:cubicBezTo>
                    <a:pt x="81" y="63"/>
                    <a:pt x="81" y="72"/>
                    <a:pt x="76" y="73"/>
                  </a:cubicBezTo>
                  <a:cubicBezTo>
                    <a:pt x="75" y="73"/>
                    <a:pt x="75" y="73"/>
                    <a:pt x="75" y="73"/>
                  </a:cubicBezTo>
                  <a:cubicBezTo>
                    <a:pt x="73" y="73"/>
                    <a:pt x="72" y="72"/>
                    <a:pt x="70" y="72"/>
                  </a:cubicBezTo>
                  <a:cubicBezTo>
                    <a:pt x="69" y="71"/>
                    <a:pt x="67" y="71"/>
                    <a:pt x="66" y="71"/>
                  </a:cubicBezTo>
                  <a:cubicBezTo>
                    <a:pt x="65" y="71"/>
                    <a:pt x="65" y="71"/>
                    <a:pt x="65" y="71"/>
                  </a:cubicBezTo>
                  <a:cubicBezTo>
                    <a:pt x="63" y="71"/>
                    <a:pt x="62" y="69"/>
                    <a:pt x="61" y="66"/>
                  </a:cubicBezTo>
                  <a:cubicBezTo>
                    <a:pt x="60" y="64"/>
                    <a:pt x="59" y="62"/>
                    <a:pt x="57" y="62"/>
                  </a:cubicBezTo>
                  <a:cubicBezTo>
                    <a:pt x="56" y="62"/>
                    <a:pt x="56" y="63"/>
                    <a:pt x="55" y="65"/>
                  </a:cubicBezTo>
                  <a:cubicBezTo>
                    <a:pt x="55" y="67"/>
                    <a:pt x="54" y="70"/>
                    <a:pt x="51" y="70"/>
                  </a:cubicBezTo>
                  <a:cubicBezTo>
                    <a:pt x="50" y="70"/>
                    <a:pt x="50" y="70"/>
                    <a:pt x="50" y="70"/>
                  </a:cubicBezTo>
                  <a:cubicBezTo>
                    <a:pt x="47" y="70"/>
                    <a:pt x="44" y="70"/>
                    <a:pt x="42" y="72"/>
                  </a:cubicBezTo>
                  <a:cubicBezTo>
                    <a:pt x="42" y="72"/>
                    <a:pt x="42" y="74"/>
                    <a:pt x="43" y="76"/>
                  </a:cubicBezTo>
                  <a:cubicBezTo>
                    <a:pt x="43" y="77"/>
                    <a:pt x="43" y="77"/>
                    <a:pt x="43" y="78"/>
                  </a:cubicBezTo>
                  <a:cubicBezTo>
                    <a:pt x="45" y="82"/>
                    <a:pt x="46" y="85"/>
                    <a:pt x="45" y="86"/>
                  </a:cubicBezTo>
                  <a:cubicBezTo>
                    <a:pt x="44" y="88"/>
                    <a:pt x="43" y="88"/>
                    <a:pt x="40" y="88"/>
                  </a:cubicBezTo>
                  <a:cubicBezTo>
                    <a:pt x="38" y="88"/>
                    <a:pt x="35" y="89"/>
                    <a:pt x="34" y="92"/>
                  </a:cubicBezTo>
                  <a:lnTo>
                    <a:pt x="33" y="92"/>
                  </a:lnTo>
                  <a:close/>
                  <a:moveTo>
                    <a:pt x="12" y="22"/>
                  </a:moveTo>
                  <a:cubicBezTo>
                    <a:pt x="11" y="24"/>
                    <a:pt x="10" y="25"/>
                    <a:pt x="10" y="25"/>
                  </a:cubicBezTo>
                  <a:cubicBezTo>
                    <a:pt x="10" y="26"/>
                    <a:pt x="10" y="26"/>
                    <a:pt x="10" y="26"/>
                  </a:cubicBezTo>
                  <a:cubicBezTo>
                    <a:pt x="10" y="26"/>
                    <a:pt x="11" y="28"/>
                    <a:pt x="12" y="28"/>
                  </a:cubicBezTo>
                  <a:cubicBezTo>
                    <a:pt x="14" y="30"/>
                    <a:pt x="15" y="31"/>
                    <a:pt x="16" y="32"/>
                  </a:cubicBezTo>
                  <a:cubicBezTo>
                    <a:pt x="16" y="33"/>
                    <a:pt x="16" y="33"/>
                    <a:pt x="16" y="33"/>
                  </a:cubicBezTo>
                  <a:cubicBezTo>
                    <a:pt x="15" y="34"/>
                    <a:pt x="14" y="35"/>
                    <a:pt x="12" y="35"/>
                  </a:cubicBezTo>
                  <a:cubicBezTo>
                    <a:pt x="9" y="36"/>
                    <a:pt x="8" y="37"/>
                    <a:pt x="8" y="38"/>
                  </a:cubicBezTo>
                  <a:cubicBezTo>
                    <a:pt x="8" y="42"/>
                    <a:pt x="6" y="45"/>
                    <a:pt x="2" y="48"/>
                  </a:cubicBezTo>
                  <a:cubicBezTo>
                    <a:pt x="1" y="48"/>
                    <a:pt x="1" y="48"/>
                    <a:pt x="1" y="48"/>
                  </a:cubicBezTo>
                  <a:cubicBezTo>
                    <a:pt x="1" y="50"/>
                    <a:pt x="4" y="52"/>
                    <a:pt x="5" y="55"/>
                  </a:cubicBezTo>
                  <a:cubicBezTo>
                    <a:pt x="7" y="57"/>
                    <a:pt x="9" y="59"/>
                    <a:pt x="9" y="60"/>
                  </a:cubicBezTo>
                  <a:cubicBezTo>
                    <a:pt x="9" y="63"/>
                    <a:pt x="11" y="65"/>
                    <a:pt x="19" y="73"/>
                  </a:cubicBezTo>
                  <a:cubicBezTo>
                    <a:pt x="23" y="77"/>
                    <a:pt x="24" y="79"/>
                    <a:pt x="25" y="81"/>
                  </a:cubicBezTo>
                  <a:cubicBezTo>
                    <a:pt x="27" y="84"/>
                    <a:pt x="28" y="87"/>
                    <a:pt x="33" y="91"/>
                  </a:cubicBezTo>
                  <a:cubicBezTo>
                    <a:pt x="35" y="88"/>
                    <a:pt x="37" y="87"/>
                    <a:pt x="40" y="87"/>
                  </a:cubicBezTo>
                  <a:cubicBezTo>
                    <a:pt x="42" y="87"/>
                    <a:pt x="44" y="87"/>
                    <a:pt x="44" y="86"/>
                  </a:cubicBezTo>
                  <a:cubicBezTo>
                    <a:pt x="45" y="85"/>
                    <a:pt x="44" y="82"/>
                    <a:pt x="43" y="78"/>
                  </a:cubicBezTo>
                  <a:cubicBezTo>
                    <a:pt x="42" y="78"/>
                    <a:pt x="42" y="77"/>
                    <a:pt x="42" y="76"/>
                  </a:cubicBezTo>
                  <a:cubicBezTo>
                    <a:pt x="41" y="74"/>
                    <a:pt x="41" y="72"/>
                    <a:pt x="42" y="71"/>
                  </a:cubicBezTo>
                  <a:cubicBezTo>
                    <a:pt x="43" y="69"/>
                    <a:pt x="47" y="69"/>
                    <a:pt x="50" y="69"/>
                  </a:cubicBezTo>
                  <a:cubicBezTo>
                    <a:pt x="51" y="69"/>
                    <a:pt x="51" y="69"/>
                    <a:pt x="51" y="69"/>
                  </a:cubicBezTo>
                  <a:cubicBezTo>
                    <a:pt x="53" y="69"/>
                    <a:pt x="54" y="67"/>
                    <a:pt x="54" y="65"/>
                  </a:cubicBezTo>
                  <a:cubicBezTo>
                    <a:pt x="55" y="63"/>
                    <a:pt x="55" y="61"/>
                    <a:pt x="57" y="61"/>
                  </a:cubicBezTo>
                  <a:cubicBezTo>
                    <a:pt x="59" y="61"/>
                    <a:pt x="61" y="63"/>
                    <a:pt x="62" y="66"/>
                  </a:cubicBezTo>
                  <a:cubicBezTo>
                    <a:pt x="63" y="68"/>
                    <a:pt x="64" y="70"/>
                    <a:pt x="65" y="70"/>
                  </a:cubicBezTo>
                  <a:cubicBezTo>
                    <a:pt x="66" y="70"/>
                    <a:pt x="66" y="70"/>
                    <a:pt x="67" y="70"/>
                  </a:cubicBezTo>
                  <a:cubicBezTo>
                    <a:pt x="68" y="70"/>
                    <a:pt x="69" y="70"/>
                    <a:pt x="71" y="71"/>
                  </a:cubicBezTo>
                  <a:cubicBezTo>
                    <a:pt x="72" y="71"/>
                    <a:pt x="73" y="72"/>
                    <a:pt x="75" y="72"/>
                  </a:cubicBezTo>
                  <a:cubicBezTo>
                    <a:pt x="76" y="72"/>
                    <a:pt x="76" y="72"/>
                    <a:pt x="76" y="72"/>
                  </a:cubicBezTo>
                  <a:cubicBezTo>
                    <a:pt x="80" y="71"/>
                    <a:pt x="80" y="62"/>
                    <a:pt x="80" y="55"/>
                  </a:cubicBezTo>
                  <a:cubicBezTo>
                    <a:pt x="80" y="54"/>
                    <a:pt x="80" y="53"/>
                    <a:pt x="80" y="52"/>
                  </a:cubicBezTo>
                  <a:cubicBezTo>
                    <a:pt x="80" y="47"/>
                    <a:pt x="80" y="42"/>
                    <a:pt x="77" y="40"/>
                  </a:cubicBezTo>
                  <a:cubicBezTo>
                    <a:pt x="74" y="39"/>
                    <a:pt x="71" y="35"/>
                    <a:pt x="71" y="32"/>
                  </a:cubicBezTo>
                  <a:cubicBezTo>
                    <a:pt x="71" y="31"/>
                    <a:pt x="72" y="29"/>
                    <a:pt x="74" y="28"/>
                  </a:cubicBezTo>
                  <a:cubicBezTo>
                    <a:pt x="77" y="26"/>
                    <a:pt x="78" y="25"/>
                    <a:pt x="79" y="22"/>
                  </a:cubicBezTo>
                  <a:cubicBezTo>
                    <a:pt x="79" y="20"/>
                    <a:pt x="78" y="18"/>
                    <a:pt x="76" y="17"/>
                  </a:cubicBezTo>
                  <a:cubicBezTo>
                    <a:pt x="75" y="16"/>
                    <a:pt x="74" y="16"/>
                    <a:pt x="73" y="16"/>
                  </a:cubicBezTo>
                  <a:cubicBezTo>
                    <a:pt x="71" y="16"/>
                    <a:pt x="69" y="17"/>
                    <a:pt x="67" y="17"/>
                  </a:cubicBezTo>
                  <a:cubicBezTo>
                    <a:pt x="64" y="18"/>
                    <a:pt x="63" y="18"/>
                    <a:pt x="62" y="18"/>
                  </a:cubicBezTo>
                  <a:cubicBezTo>
                    <a:pt x="62" y="17"/>
                    <a:pt x="61" y="17"/>
                    <a:pt x="61" y="17"/>
                  </a:cubicBezTo>
                  <a:cubicBezTo>
                    <a:pt x="61" y="14"/>
                    <a:pt x="62" y="7"/>
                    <a:pt x="63" y="2"/>
                  </a:cubicBezTo>
                  <a:cubicBezTo>
                    <a:pt x="53" y="2"/>
                    <a:pt x="43" y="1"/>
                    <a:pt x="42" y="1"/>
                  </a:cubicBezTo>
                  <a:cubicBezTo>
                    <a:pt x="40" y="2"/>
                    <a:pt x="40" y="2"/>
                    <a:pt x="40" y="2"/>
                  </a:cubicBezTo>
                  <a:cubicBezTo>
                    <a:pt x="40" y="12"/>
                    <a:pt x="39" y="20"/>
                    <a:pt x="39" y="20"/>
                  </a:cubicBezTo>
                  <a:cubicBezTo>
                    <a:pt x="39" y="21"/>
                    <a:pt x="39" y="21"/>
                    <a:pt x="39" y="21"/>
                  </a:cubicBezTo>
                  <a:cubicBezTo>
                    <a:pt x="39" y="21"/>
                    <a:pt x="39" y="21"/>
                    <a:pt x="39" y="21"/>
                  </a:cubicBezTo>
                  <a:cubicBezTo>
                    <a:pt x="38" y="21"/>
                    <a:pt x="22" y="22"/>
                    <a:pt x="19" y="22"/>
                  </a:cubicBezTo>
                  <a:cubicBezTo>
                    <a:pt x="18" y="22"/>
                    <a:pt x="17" y="22"/>
                    <a:pt x="12"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3" name="Freeform 40"/>
            <p:cNvSpPr>
              <a:spLocks noEditPoints="1"/>
            </p:cNvSpPr>
            <p:nvPr/>
          </p:nvSpPr>
          <p:spPr>
            <a:xfrm>
              <a:off x="5014914" y="3752850"/>
              <a:ext cx="53975" cy="38100"/>
            </a:xfrm>
            <a:custGeom>
              <a:gdLst>
                <a:gd name="T0" fmla="*/ 3 w 32"/>
                <a:gd name="T1" fmla="*/ 22 h 22"/>
                <a:gd name="T2" fmla="*/ 4 w 32"/>
                <a:gd name="T3" fmla="*/ 21 h 22"/>
                <a:gd name="T4" fmla="*/ 4 w 32"/>
                <a:gd name="T5" fmla="*/ 18 h 22"/>
                <a:gd name="T6" fmla="*/ 3 w 32"/>
                <a:gd name="T7" fmla="*/ 18 h 22"/>
                <a:gd name="T8" fmla="*/ 0 w 32"/>
                <a:gd name="T9" fmla="*/ 15 h 22"/>
                <a:gd name="T10" fmla="*/ 4 w 32"/>
                <a:gd name="T11" fmla="*/ 11 h 22"/>
                <a:gd name="T12" fmla="*/ 8 w 32"/>
                <a:gd name="T13" fmla="*/ 7 h 22"/>
                <a:gd name="T14" fmla="*/ 7 w 32"/>
                <a:gd name="T15" fmla="*/ 2 h 22"/>
                <a:gd name="T16" fmla="*/ 7 w 32"/>
                <a:gd name="T17" fmla="*/ 2 h 22"/>
                <a:gd name="T18" fmla="*/ 7 w 32"/>
                <a:gd name="T19" fmla="*/ 1 h 22"/>
                <a:gd name="T20" fmla="*/ 7 w 32"/>
                <a:gd name="T21" fmla="*/ 1 h 22"/>
                <a:gd name="T22" fmla="*/ 27 w 32"/>
                <a:gd name="T23" fmla="*/ 1 h 22"/>
                <a:gd name="T24" fmla="*/ 32 w 32"/>
                <a:gd name="T25" fmla="*/ 0 h 22"/>
                <a:gd name="T26" fmla="*/ 32 w 32"/>
                <a:gd name="T27" fmla="*/ 0 h 22"/>
                <a:gd name="T28" fmla="*/ 31 w 32"/>
                <a:gd name="T29" fmla="*/ 19 h 22"/>
                <a:gd name="T30" fmla="*/ 31 w 32"/>
                <a:gd name="T31" fmla="*/ 20 h 22"/>
                <a:gd name="T32" fmla="*/ 31 w 32"/>
                <a:gd name="T33" fmla="*/ 20 h 22"/>
                <a:gd name="T34" fmla="*/ 11 w 32"/>
                <a:gd name="T35" fmla="*/ 21 h 22"/>
                <a:gd name="T36" fmla="*/ 4 w 32"/>
                <a:gd name="T37" fmla="*/ 21 h 22"/>
                <a:gd name="T38" fmla="*/ 3 w 32"/>
                <a:gd name="T39" fmla="*/ 22 h 22"/>
                <a:gd name="T40" fmla="*/ 8 w 32"/>
                <a:gd name="T41" fmla="*/ 2 h 22"/>
                <a:gd name="T42" fmla="*/ 9 w 32"/>
                <a:gd name="T43" fmla="*/ 7 h 22"/>
                <a:gd name="T44" fmla="*/ 4 w 32"/>
                <a:gd name="T45" fmla="*/ 12 h 22"/>
                <a:gd name="T46" fmla="*/ 1 w 32"/>
                <a:gd name="T47" fmla="*/ 15 h 22"/>
                <a:gd name="T48" fmla="*/ 3 w 32"/>
                <a:gd name="T49" fmla="*/ 17 h 22"/>
                <a:gd name="T50" fmla="*/ 5 w 32"/>
                <a:gd name="T51" fmla="*/ 18 h 22"/>
                <a:gd name="T52" fmla="*/ 5 w 32"/>
                <a:gd name="T53" fmla="*/ 20 h 22"/>
                <a:gd name="T54" fmla="*/ 11 w 32"/>
                <a:gd name="T55" fmla="*/ 20 h 22"/>
                <a:gd name="T56" fmla="*/ 30 w 32"/>
                <a:gd name="T57" fmla="*/ 19 h 22"/>
                <a:gd name="T58" fmla="*/ 31 w 32"/>
                <a:gd name="T59" fmla="*/ 1 h 22"/>
                <a:gd name="T60" fmla="*/ 28 w 32"/>
                <a:gd name="T61" fmla="*/ 2 h 22"/>
                <a:gd name="T62" fmla="*/ 8 w 32"/>
                <a:gd name="T63" fmla="*/ 2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2">
                  <a:moveTo>
                    <a:pt x="3" y="22"/>
                  </a:moveTo>
                  <a:cubicBezTo>
                    <a:pt x="4" y="21"/>
                    <a:pt x="4" y="21"/>
                    <a:pt x="4" y="21"/>
                  </a:cubicBezTo>
                  <a:cubicBezTo>
                    <a:pt x="5" y="19"/>
                    <a:pt x="5" y="18"/>
                    <a:pt x="4" y="18"/>
                  </a:cubicBezTo>
                  <a:cubicBezTo>
                    <a:pt x="4" y="18"/>
                    <a:pt x="4" y="18"/>
                    <a:pt x="3" y="18"/>
                  </a:cubicBezTo>
                  <a:cubicBezTo>
                    <a:pt x="2" y="17"/>
                    <a:pt x="0" y="17"/>
                    <a:pt x="0" y="15"/>
                  </a:cubicBezTo>
                  <a:cubicBezTo>
                    <a:pt x="0" y="14"/>
                    <a:pt x="1" y="12"/>
                    <a:pt x="4" y="11"/>
                  </a:cubicBezTo>
                  <a:cubicBezTo>
                    <a:pt x="6" y="10"/>
                    <a:pt x="7" y="9"/>
                    <a:pt x="8" y="7"/>
                  </a:cubicBezTo>
                  <a:cubicBezTo>
                    <a:pt x="8" y="5"/>
                    <a:pt x="8" y="4"/>
                    <a:pt x="7" y="2"/>
                  </a:cubicBezTo>
                  <a:cubicBezTo>
                    <a:pt x="7" y="2"/>
                    <a:pt x="7" y="2"/>
                    <a:pt x="7" y="2"/>
                  </a:cubicBezTo>
                  <a:cubicBezTo>
                    <a:pt x="7" y="1"/>
                    <a:pt x="7" y="1"/>
                    <a:pt x="7" y="1"/>
                  </a:cubicBezTo>
                  <a:cubicBezTo>
                    <a:pt x="7" y="1"/>
                    <a:pt x="7" y="1"/>
                    <a:pt x="7" y="1"/>
                  </a:cubicBezTo>
                  <a:cubicBezTo>
                    <a:pt x="27" y="1"/>
                    <a:pt x="27" y="1"/>
                    <a:pt x="27" y="1"/>
                  </a:cubicBezTo>
                  <a:cubicBezTo>
                    <a:pt x="32" y="0"/>
                    <a:pt x="32" y="0"/>
                    <a:pt x="32" y="0"/>
                  </a:cubicBezTo>
                  <a:cubicBezTo>
                    <a:pt x="32" y="0"/>
                    <a:pt x="32" y="0"/>
                    <a:pt x="32" y="0"/>
                  </a:cubicBezTo>
                  <a:cubicBezTo>
                    <a:pt x="32" y="11"/>
                    <a:pt x="31" y="19"/>
                    <a:pt x="31" y="19"/>
                  </a:cubicBezTo>
                  <a:cubicBezTo>
                    <a:pt x="31" y="20"/>
                    <a:pt x="31" y="20"/>
                    <a:pt x="31" y="20"/>
                  </a:cubicBezTo>
                  <a:cubicBezTo>
                    <a:pt x="31" y="20"/>
                    <a:pt x="31" y="20"/>
                    <a:pt x="31" y="20"/>
                  </a:cubicBezTo>
                  <a:cubicBezTo>
                    <a:pt x="30" y="20"/>
                    <a:pt x="14" y="21"/>
                    <a:pt x="11" y="21"/>
                  </a:cubicBezTo>
                  <a:cubicBezTo>
                    <a:pt x="10" y="21"/>
                    <a:pt x="9" y="21"/>
                    <a:pt x="4" y="21"/>
                  </a:cubicBezTo>
                  <a:lnTo>
                    <a:pt x="3" y="22"/>
                  </a:lnTo>
                  <a:close/>
                  <a:moveTo>
                    <a:pt x="8" y="2"/>
                  </a:moveTo>
                  <a:cubicBezTo>
                    <a:pt x="9" y="4"/>
                    <a:pt x="9" y="6"/>
                    <a:pt x="9" y="7"/>
                  </a:cubicBezTo>
                  <a:cubicBezTo>
                    <a:pt x="8" y="9"/>
                    <a:pt x="6" y="11"/>
                    <a:pt x="4" y="12"/>
                  </a:cubicBezTo>
                  <a:cubicBezTo>
                    <a:pt x="2" y="13"/>
                    <a:pt x="1" y="14"/>
                    <a:pt x="1" y="15"/>
                  </a:cubicBezTo>
                  <a:cubicBezTo>
                    <a:pt x="1" y="16"/>
                    <a:pt x="2" y="17"/>
                    <a:pt x="3" y="17"/>
                  </a:cubicBezTo>
                  <a:cubicBezTo>
                    <a:pt x="4" y="17"/>
                    <a:pt x="5" y="17"/>
                    <a:pt x="5" y="18"/>
                  </a:cubicBezTo>
                  <a:cubicBezTo>
                    <a:pt x="6" y="18"/>
                    <a:pt x="6" y="19"/>
                    <a:pt x="5" y="20"/>
                  </a:cubicBezTo>
                  <a:cubicBezTo>
                    <a:pt x="8" y="20"/>
                    <a:pt x="10" y="20"/>
                    <a:pt x="11" y="20"/>
                  </a:cubicBezTo>
                  <a:cubicBezTo>
                    <a:pt x="14" y="20"/>
                    <a:pt x="28" y="19"/>
                    <a:pt x="30" y="19"/>
                  </a:cubicBezTo>
                  <a:cubicBezTo>
                    <a:pt x="30" y="17"/>
                    <a:pt x="31" y="10"/>
                    <a:pt x="31" y="1"/>
                  </a:cubicBezTo>
                  <a:cubicBezTo>
                    <a:pt x="28" y="2"/>
                    <a:pt x="28" y="2"/>
                    <a:pt x="28" y="2"/>
                  </a:cubicBezTo>
                  <a:lnTo>
                    <a:pt x="8" y="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4" name="Freeform 41"/>
            <p:cNvSpPr>
              <a:spLocks noEditPoints="1"/>
            </p:cNvSpPr>
            <p:nvPr/>
          </p:nvSpPr>
          <p:spPr>
            <a:xfrm>
              <a:off x="5057776" y="3716338"/>
              <a:ext cx="176213" cy="220663"/>
            </a:xfrm>
            <a:custGeom>
              <a:gdLst>
                <a:gd name="T0" fmla="*/ 2 w 104"/>
                <a:gd name="T1" fmla="*/ 114 h 130"/>
                <a:gd name="T2" fmla="*/ 0 w 104"/>
                <a:gd name="T3" fmla="*/ 112 h 130"/>
                <a:gd name="T4" fmla="*/ 10 w 104"/>
                <a:gd name="T5" fmla="*/ 99 h 130"/>
                <a:gd name="T6" fmla="*/ 17 w 104"/>
                <a:gd name="T7" fmla="*/ 90 h 130"/>
                <a:gd name="T8" fmla="*/ 24 w 104"/>
                <a:gd name="T9" fmla="*/ 82 h 130"/>
                <a:gd name="T10" fmla="*/ 34 w 104"/>
                <a:gd name="T11" fmla="*/ 91 h 130"/>
                <a:gd name="T12" fmla="*/ 43 w 104"/>
                <a:gd name="T13" fmla="*/ 93 h 130"/>
                <a:gd name="T14" fmla="*/ 44 w 104"/>
                <a:gd name="T15" fmla="*/ 61 h 130"/>
                <a:gd name="T16" fmla="*/ 46 w 104"/>
                <a:gd name="T17" fmla="*/ 43 h 130"/>
                <a:gd name="T18" fmla="*/ 34 w 104"/>
                <a:gd name="T19" fmla="*/ 38 h 130"/>
                <a:gd name="T20" fmla="*/ 30 w 104"/>
                <a:gd name="T21" fmla="*/ 22 h 130"/>
                <a:gd name="T22" fmla="*/ 47 w 104"/>
                <a:gd name="T23" fmla="*/ 22 h 130"/>
                <a:gd name="T24" fmla="*/ 72 w 104"/>
                <a:gd name="T25" fmla="*/ 15 h 130"/>
                <a:gd name="T26" fmla="*/ 83 w 104"/>
                <a:gd name="T27" fmla="*/ 2 h 130"/>
                <a:gd name="T28" fmla="*/ 102 w 104"/>
                <a:gd name="T29" fmla="*/ 2 h 130"/>
                <a:gd name="T30" fmla="*/ 103 w 104"/>
                <a:gd name="T31" fmla="*/ 3 h 130"/>
                <a:gd name="T32" fmla="*/ 95 w 104"/>
                <a:gd name="T33" fmla="*/ 33 h 130"/>
                <a:gd name="T34" fmla="*/ 77 w 104"/>
                <a:gd name="T35" fmla="*/ 74 h 130"/>
                <a:gd name="T36" fmla="*/ 71 w 104"/>
                <a:gd name="T37" fmla="*/ 104 h 130"/>
                <a:gd name="T38" fmla="*/ 61 w 104"/>
                <a:gd name="T39" fmla="*/ 121 h 130"/>
                <a:gd name="T40" fmla="*/ 49 w 104"/>
                <a:gd name="T41" fmla="*/ 124 h 130"/>
                <a:gd name="T42" fmla="*/ 34 w 104"/>
                <a:gd name="T43" fmla="*/ 125 h 130"/>
                <a:gd name="T44" fmla="*/ 28 w 104"/>
                <a:gd name="T45" fmla="*/ 122 h 130"/>
                <a:gd name="T46" fmla="*/ 1 w 104"/>
                <a:gd name="T47" fmla="*/ 113 h 130"/>
                <a:gd name="T48" fmla="*/ 28 w 104"/>
                <a:gd name="T49" fmla="*/ 121 h 130"/>
                <a:gd name="T50" fmla="*/ 34 w 104"/>
                <a:gd name="T51" fmla="*/ 124 h 130"/>
                <a:gd name="T52" fmla="*/ 50 w 104"/>
                <a:gd name="T53" fmla="*/ 124 h 130"/>
                <a:gd name="T54" fmla="*/ 61 w 104"/>
                <a:gd name="T55" fmla="*/ 120 h 130"/>
                <a:gd name="T56" fmla="*/ 70 w 104"/>
                <a:gd name="T57" fmla="*/ 104 h 130"/>
                <a:gd name="T58" fmla="*/ 76 w 104"/>
                <a:gd name="T59" fmla="*/ 73 h 130"/>
                <a:gd name="T60" fmla="*/ 94 w 104"/>
                <a:gd name="T61" fmla="*/ 33 h 130"/>
                <a:gd name="T62" fmla="*/ 102 w 104"/>
                <a:gd name="T63" fmla="*/ 3 h 130"/>
                <a:gd name="T64" fmla="*/ 76 w 104"/>
                <a:gd name="T65" fmla="*/ 5 h 130"/>
                <a:gd name="T66" fmla="*/ 68 w 104"/>
                <a:gd name="T67" fmla="*/ 30 h 130"/>
                <a:gd name="T68" fmla="*/ 47 w 104"/>
                <a:gd name="T69" fmla="*/ 23 h 130"/>
                <a:gd name="T70" fmla="*/ 30 w 104"/>
                <a:gd name="T71" fmla="*/ 38 h 130"/>
                <a:gd name="T72" fmla="*/ 44 w 104"/>
                <a:gd name="T73" fmla="*/ 37 h 130"/>
                <a:gd name="T74" fmla="*/ 39 w 104"/>
                <a:gd name="T75" fmla="*/ 53 h 130"/>
                <a:gd name="T76" fmla="*/ 48 w 104"/>
                <a:gd name="T77" fmla="*/ 76 h 130"/>
                <a:gd name="T78" fmla="*/ 37 w 104"/>
                <a:gd name="T79" fmla="*/ 93 h 130"/>
                <a:gd name="T80" fmla="*/ 28 w 104"/>
                <a:gd name="T81" fmla="*/ 87 h 130"/>
                <a:gd name="T82" fmla="*/ 18 w 104"/>
                <a:gd name="T83" fmla="*/ 91 h 130"/>
                <a:gd name="T84" fmla="*/ 10 w 104"/>
                <a:gd name="T85" fmla="*/ 97 h 130"/>
                <a:gd name="T86" fmla="*/ 7 w 104"/>
                <a:gd name="T87" fmla="*/ 109 h 1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130">
                  <a:moveTo>
                    <a:pt x="14" y="130"/>
                  </a:moveTo>
                  <a:cubicBezTo>
                    <a:pt x="14" y="129"/>
                    <a:pt x="14" y="129"/>
                    <a:pt x="14" y="129"/>
                  </a:cubicBezTo>
                  <a:cubicBezTo>
                    <a:pt x="11" y="123"/>
                    <a:pt x="7" y="118"/>
                    <a:pt x="2" y="114"/>
                  </a:cubicBezTo>
                  <a:cubicBezTo>
                    <a:pt x="1" y="114"/>
                    <a:pt x="1" y="114"/>
                    <a:pt x="0" y="113"/>
                  </a:cubicBezTo>
                  <a:cubicBezTo>
                    <a:pt x="0" y="113"/>
                    <a:pt x="0" y="113"/>
                    <a:pt x="0" y="113"/>
                  </a:cubicBezTo>
                  <a:cubicBezTo>
                    <a:pt x="0" y="112"/>
                    <a:pt x="0" y="112"/>
                    <a:pt x="0" y="112"/>
                  </a:cubicBezTo>
                  <a:cubicBezTo>
                    <a:pt x="2" y="110"/>
                    <a:pt x="4" y="108"/>
                    <a:pt x="7" y="108"/>
                  </a:cubicBezTo>
                  <a:cubicBezTo>
                    <a:pt x="9" y="108"/>
                    <a:pt x="11" y="108"/>
                    <a:pt x="11" y="107"/>
                  </a:cubicBezTo>
                  <a:cubicBezTo>
                    <a:pt x="12" y="106"/>
                    <a:pt x="11" y="103"/>
                    <a:pt x="10" y="99"/>
                  </a:cubicBezTo>
                  <a:cubicBezTo>
                    <a:pt x="9" y="99"/>
                    <a:pt x="9" y="98"/>
                    <a:pt x="9" y="97"/>
                  </a:cubicBezTo>
                  <a:cubicBezTo>
                    <a:pt x="8" y="95"/>
                    <a:pt x="8" y="93"/>
                    <a:pt x="9" y="92"/>
                  </a:cubicBezTo>
                  <a:cubicBezTo>
                    <a:pt x="10" y="90"/>
                    <a:pt x="14" y="90"/>
                    <a:pt x="17" y="90"/>
                  </a:cubicBezTo>
                  <a:cubicBezTo>
                    <a:pt x="18" y="90"/>
                    <a:pt x="18" y="90"/>
                    <a:pt x="18" y="90"/>
                  </a:cubicBezTo>
                  <a:cubicBezTo>
                    <a:pt x="20" y="90"/>
                    <a:pt x="21" y="88"/>
                    <a:pt x="21" y="86"/>
                  </a:cubicBezTo>
                  <a:cubicBezTo>
                    <a:pt x="22" y="84"/>
                    <a:pt x="22" y="82"/>
                    <a:pt x="24" y="82"/>
                  </a:cubicBezTo>
                  <a:cubicBezTo>
                    <a:pt x="26" y="82"/>
                    <a:pt x="28" y="84"/>
                    <a:pt x="29" y="87"/>
                  </a:cubicBezTo>
                  <a:cubicBezTo>
                    <a:pt x="30" y="89"/>
                    <a:pt x="31" y="91"/>
                    <a:pt x="32" y="91"/>
                  </a:cubicBezTo>
                  <a:cubicBezTo>
                    <a:pt x="33" y="91"/>
                    <a:pt x="33" y="91"/>
                    <a:pt x="34" y="91"/>
                  </a:cubicBezTo>
                  <a:cubicBezTo>
                    <a:pt x="35" y="91"/>
                    <a:pt x="36" y="91"/>
                    <a:pt x="38" y="92"/>
                  </a:cubicBezTo>
                  <a:cubicBezTo>
                    <a:pt x="39" y="92"/>
                    <a:pt x="40" y="93"/>
                    <a:pt x="42" y="93"/>
                  </a:cubicBezTo>
                  <a:cubicBezTo>
                    <a:pt x="43" y="93"/>
                    <a:pt x="43" y="93"/>
                    <a:pt x="43" y="93"/>
                  </a:cubicBezTo>
                  <a:cubicBezTo>
                    <a:pt x="47" y="92"/>
                    <a:pt x="47" y="83"/>
                    <a:pt x="47" y="76"/>
                  </a:cubicBezTo>
                  <a:cubicBezTo>
                    <a:pt x="47" y="75"/>
                    <a:pt x="47" y="74"/>
                    <a:pt x="47" y="73"/>
                  </a:cubicBezTo>
                  <a:cubicBezTo>
                    <a:pt x="47" y="68"/>
                    <a:pt x="47" y="63"/>
                    <a:pt x="44" y="61"/>
                  </a:cubicBezTo>
                  <a:cubicBezTo>
                    <a:pt x="41" y="60"/>
                    <a:pt x="38" y="56"/>
                    <a:pt x="38" y="53"/>
                  </a:cubicBezTo>
                  <a:cubicBezTo>
                    <a:pt x="38" y="52"/>
                    <a:pt x="39" y="50"/>
                    <a:pt x="41" y="49"/>
                  </a:cubicBezTo>
                  <a:cubicBezTo>
                    <a:pt x="44" y="47"/>
                    <a:pt x="45" y="46"/>
                    <a:pt x="46" y="43"/>
                  </a:cubicBezTo>
                  <a:cubicBezTo>
                    <a:pt x="46" y="41"/>
                    <a:pt x="45" y="39"/>
                    <a:pt x="43" y="38"/>
                  </a:cubicBezTo>
                  <a:cubicBezTo>
                    <a:pt x="42" y="37"/>
                    <a:pt x="41" y="37"/>
                    <a:pt x="40" y="37"/>
                  </a:cubicBezTo>
                  <a:cubicBezTo>
                    <a:pt x="38" y="37"/>
                    <a:pt x="36" y="38"/>
                    <a:pt x="34" y="38"/>
                  </a:cubicBezTo>
                  <a:cubicBezTo>
                    <a:pt x="32" y="39"/>
                    <a:pt x="31" y="39"/>
                    <a:pt x="30" y="39"/>
                  </a:cubicBezTo>
                  <a:cubicBezTo>
                    <a:pt x="29" y="39"/>
                    <a:pt x="28" y="38"/>
                    <a:pt x="28" y="38"/>
                  </a:cubicBezTo>
                  <a:cubicBezTo>
                    <a:pt x="28" y="35"/>
                    <a:pt x="29" y="27"/>
                    <a:pt x="30" y="22"/>
                  </a:cubicBezTo>
                  <a:cubicBezTo>
                    <a:pt x="30" y="22"/>
                    <a:pt x="30" y="22"/>
                    <a:pt x="30" y="22"/>
                  </a:cubicBezTo>
                  <a:cubicBezTo>
                    <a:pt x="30" y="22"/>
                    <a:pt x="30" y="22"/>
                    <a:pt x="30" y="22"/>
                  </a:cubicBezTo>
                  <a:cubicBezTo>
                    <a:pt x="40" y="22"/>
                    <a:pt x="46" y="22"/>
                    <a:pt x="47" y="22"/>
                  </a:cubicBezTo>
                  <a:cubicBezTo>
                    <a:pt x="48" y="22"/>
                    <a:pt x="48" y="22"/>
                    <a:pt x="48" y="22"/>
                  </a:cubicBezTo>
                  <a:cubicBezTo>
                    <a:pt x="53" y="22"/>
                    <a:pt x="65" y="27"/>
                    <a:pt x="68" y="29"/>
                  </a:cubicBezTo>
                  <a:cubicBezTo>
                    <a:pt x="68" y="27"/>
                    <a:pt x="69" y="19"/>
                    <a:pt x="72" y="15"/>
                  </a:cubicBezTo>
                  <a:cubicBezTo>
                    <a:pt x="76" y="11"/>
                    <a:pt x="75" y="5"/>
                    <a:pt x="75" y="5"/>
                  </a:cubicBezTo>
                  <a:cubicBezTo>
                    <a:pt x="75" y="4"/>
                    <a:pt x="75" y="4"/>
                    <a:pt x="75" y="4"/>
                  </a:cubicBezTo>
                  <a:cubicBezTo>
                    <a:pt x="83" y="2"/>
                    <a:pt x="83" y="2"/>
                    <a:pt x="83" y="2"/>
                  </a:cubicBezTo>
                  <a:cubicBezTo>
                    <a:pt x="89" y="0"/>
                    <a:pt x="89" y="0"/>
                    <a:pt x="89" y="0"/>
                  </a:cubicBezTo>
                  <a:cubicBezTo>
                    <a:pt x="90" y="0"/>
                    <a:pt x="90" y="0"/>
                    <a:pt x="90" y="0"/>
                  </a:cubicBezTo>
                  <a:cubicBezTo>
                    <a:pt x="102" y="2"/>
                    <a:pt x="102" y="2"/>
                    <a:pt x="102" y="2"/>
                  </a:cubicBezTo>
                  <a:cubicBezTo>
                    <a:pt x="102" y="3"/>
                    <a:pt x="102" y="3"/>
                    <a:pt x="102" y="3"/>
                  </a:cubicBezTo>
                  <a:cubicBezTo>
                    <a:pt x="102" y="3"/>
                    <a:pt x="102" y="3"/>
                    <a:pt x="102" y="3"/>
                  </a:cubicBezTo>
                  <a:cubicBezTo>
                    <a:pt x="103" y="3"/>
                    <a:pt x="103" y="3"/>
                    <a:pt x="103" y="3"/>
                  </a:cubicBezTo>
                  <a:cubicBezTo>
                    <a:pt x="104" y="9"/>
                    <a:pt x="102" y="15"/>
                    <a:pt x="100" y="18"/>
                  </a:cubicBezTo>
                  <a:cubicBezTo>
                    <a:pt x="100" y="19"/>
                    <a:pt x="99" y="20"/>
                    <a:pt x="99" y="20"/>
                  </a:cubicBezTo>
                  <a:cubicBezTo>
                    <a:pt x="97" y="23"/>
                    <a:pt x="95" y="26"/>
                    <a:pt x="95" y="33"/>
                  </a:cubicBezTo>
                  <a:cubicBezTo>
                    <a:pt x="95" y="38"/>
                    <a:pt x="92" y="44"/>
                    <a:pt x="89" y="50"/>
                  </a:cubicBezTo>
                  <a:cubicBezTo>
                    <a:pt x="87" y="55"/>
                    <a:pt x="84" y="60"/>
                    <a:pt x="84" y="64"/>
                  </a:cubicBezTo>
                  <a:cubicBezTo>
                    <a:pt x="84" y="68"/>
                    <a:pt x="80" y="71"/>
                    <a:pt x="77" y="74"/>
                  </a:cubicBezTo>
                  <a:cubicBezTo>
                    <a:pt x="74" y="76"/>
                    <a:pt x="72" y="78"/>
                    <a:pt x="72" y="80"/>
                  </a:cubicBezTo>
                  <a:cubicBezTo>
                    <a:pt x="72" y="82"/>
                    <a:pt x="72" y="84"/>
                    <a:pt x="71" y="88"/>
                  </a:cubicBezTo>
                  <a:cubicBezTo>
                    <a:pt x="71" y="92"/>
                    <a:pt x="71" y="98"/>
                    <a:pt x="71" y="104"/>
                  </a:cubicBezTo>
                  <a:cubicBezTo>
                    <a:pt x="71" y="109"/>
                    <a:pt x="69" y="110"/>
                    <a:pt x="68" y="110"/>
                  </a:cubicBezTo>
                  <a:cubicBezTo>
                    <a:pt x="66" y="111"/>
                    <a:pt x="65" y="111"/>
                    <a:pt x="65" y="115"/>
                  </a:cubicBezTo>
                  <a:cubicBezTo>
                    <a:pt x="65" y="120"/>
                    <a:pt x="64" y="121"/>
                    <a:pt x="61" y="121"/>
                  </a:cubicBezTo>
                  <a:cubicBezTo>
                    <a:pt x="60" y="121"/>
                    <a:pt x="58" y="122"/>
                    <a:pt x="56" y="123"/>
                  </a:cubicBezTo>
                  <a:cubicBezTo>
                    <a:pt x="53" y="126"/>
                    <a:pt x="52" y="127"/>
                    <a:pt x="51" y="127"/>
                  </a:cubicBezTo>
                  <a:cubicBezTo>
                    <a:pt x="49" y="127"/>
                    <a:pt x="49" y="125"/>
                    <a:pt x="49" y="124"/>
                  </a:cubicBezTo>
                  <a:cubicBezTo>
                    <a:pt x="49" y="121"/>
                    <a:pt x="47" y="120"/>
                    <a:pt x="45" y="120"/>
                  </a:cubicBezTo>
                  <a:cubicBezTo>
                    <a:pt x="43" y="120"/>
                    <a:pt x="40" y="122"/>
                    <a:pt x="38" y="123"/>
                  </a:cubicBezTo>
                  <a:cubicBezTo>
                    <a:pt x="37" y="125"/>
                    <a:pt x="35" y="125"/>
                    <a:pt x="34" y="125"/>
                  </a:cubicBezTo>
                  <a:cubicBezTo>
                    <a:pt x="32" y="125"/>
                    <a:pt x="31" y="124"/>
                    <a:pt x="30" y="124"/>
                  </a:cubicBezTo>
                  <a:cubicBezTo>
                    <a:pt x="29" y="123"/>
                    <a:pt x="28" y="123"/>
                    <a:pt x="28" y="123"/>
                  </a:cubicBezTo>
                  <a:cubicBezTo>
                    <a:pt x="28" y="122"/>
                    <a:pt x="28" y="122"/>
                    <a:pt x="28" y="122"/>
                  </a:cubicBezTo>
                  <a:cubicBezTo>
                    <a:pt x="26" y="122"/>
                    <a:pt x="21" y="125"/>
                    <a:pt x="15" y="130"/>
                  </a:cubicBezTo>
                  <a:lnTo>
                    <a:pt x="14" y="130"/>
                  </a:lnTo>
                  <a:close/>
                  <a:moveTo>
                    <a:pt x="1" y="113"/>
                  </a:moveTo>
                  <a:cubicBezTo>
                    <a:pt x="1" y="113"/>
                    <a:pt x="2" y="113"/>
                    <a:pt x="2" y="114"/>
                  </a:cubicBezTo>
                  <a:cubicBezTo>
                    <a:pt x="8" y="118"/>
                    <a:pt x="12" y="123"/>
                    <a:pt x="15" y="129"/>
                  </a:cubicBezTo>
                  <a:cubicBezTo>
                    <a:pt x="18" y="126"/>
                    <a:pt x="25" y="121"/>
                    <a:pt x="28" y="121"/>
                  </a:cubicBezTo>
                  <a:cubicBezTo>
                    <a:pt x="28" y="122"/>
                    <a:pt x="28" y="122"/>
                    <a:pt x="28" y="122"/>
                  </a:cubicBezTo>
                  <a:cubicBezTo>
                    <a:pt x="29" y="122"/>
                    <a:pt x="30" y="122"/>
                    <a:pt x="30" y="123"/>
                  </a:cubicBezTo>
                  <a:cubicBezTo>
                    <a:pt x="31" y="124"/>
                    <a:pt x="32" y="124"/>
                    <a:pt x="34" y="124"/>
                  </a:cubicBezTo>
                  <a:cubicBezTo>
                    <a:pt x="35" y="124"/>
                    <a:pt x="36" y="124"/>
                    <a:pt x="38" y="123"/>
                  </a:cubicBezTo>
                  <a:cubicBezTo>
                    <a:pt x="40" y="121"/>
                    <a:pt x="43" y="119"/>
                    <a:pt x="45" y="119"/>
                  </a:cubicBezTo>
                  <a:cubicBezTo>
                    <a:pt x="48" y="119"/>
                    <a:pt x="50" y="121"/>
                    <a:pt x="50" y="124"/>
                  </a:cubicBezTo>
                  <a:cubicBezTo>
                    <a:pt x="50" y="125"/>
                    <a:pt x="50" y="126"/>
                    <a:pt x="51" y="126"/>
                  </a:cubicBezTo>
                  <a:cubicBezTo>
                    <a:pt x="52" y="126"/>
                    <a:pt x="54" y="124"/>
                    <a:pt x="56" y="123"/>
                  </a:cubicBezTo>
                  <a:cubicBezTo>
                    <a:pt x="57" y="121"/>
                    <a:pt x="59" y="120"/>
                    <a:pt x="61" y="120"/>
                  </a:cubicBezTo>
                  <a:cubicBezTo>
                    <a:pt x="63" y="120"/>
                    <a:pt x="64" y="120"/>
                    <a:pt x="64" y="115"/>
                  </a:cubicBezTo>
                  <a:cubicBezTo>
                    <a:pt x="64" y="110"/>
                    <a:pt x="66" y="110"/>
                    <a:pt x="67" y="109"/>
                  </a:cubicBezTo>
                  <a:cubicBezTo>
                    <a:pt x="69" y="109"/>
                    <a:pt x="70" y="109"/>
                    <a:pt x="70" y="104"/>
                  </a:cubicBezTo>
                  <a:cubicBezTo>
                    <a:pt x="70" y="98"/>
                    <a:pt x="70" y="92"/>
                    <a:pt x="70" y="87"/>
                  </a:cubicBezTo>
                  <a:cubicBezTo>
                    <a:pt x="71" y="84"/>
                    <a:pt x="71" y="82"/>
                    <a:pt x="71" y="80"/>
                  </a:cubicBezTo>
                  <a:cubicBezTo>
                    <a:pt x="71" y="78"/>
                    <a:pt x="73" y="76"/>
                    <a:pt x="76" y="73"/>
                  </a:cubicBezTo>
                  <a:cubicBezTo>
                    <a:pt x="79" y="70"/>
                    <a:pt x="83" y="67"/>
                    <a:pt x="83" y="64"/>
                  </a:cubicBezTo>
                  <a:cubicBezTo>
                    <a:pt x="83" y="60"/>
                    <a:pt x="86" y="55"/>
                    <a:pt x="88" y="50"/>
                  </a:cubicBezTo>
                  <a:cubicBezTo>
                    <a:pt x="91" y="44"/>
                    <a:pt x="94" y="38"/>
                    <a:pt x="94" y="33"/>
                  </a:cubicBezTo>
                  <a:cubicBezTo>
                    <a:pt x="94" y="26"/>
                    <a:pt x="96" y="23"/>
                    <a:pt x="98" y="20"/>
                  </a:cubicBezTo>
                  <a:cubicBezTo>
                    <a:pt x="98" y="19"/>
                    <a:pt x="99" y="18"/>
                    <a:pt x="100" y="17"/>
                  </a:cubicBezTo>
                  <a:cubicBezTo>
                    <a:pt x="101" y="15"/>
                    <a:pt x="103" y="9"/>
                    <a:pt x="102" y="3"/>
                  </a:cubicBezTo>
                  <a:cubicBezTo>
                    <a:pt x="90" y="1"/>
                    <a:pt x="90" y="1"/>
                    <a:pt x="90" y="1"/>
                  </a:cubicBezTo>
                  <a:cubicBezTo>
                    <a:pt x="83" y="3"/>
                    <a:pt x="83" y="3"/>
                    <a:pt x="83" y="3"/>
                  </a:cubicBezTo>
                  <a:cubicBezTo>
                    <a:pt x="76" y="5"/>
                    <a:pt x="76" y="5"/>
                    <a:pt x="76" y="5"/>
                  </a:cubicBezTo>
                  <a:cubicBezTo>
                    <a:pt x="76" y="7"/>
                    <a:pt x="76" y="12"/>
                    <a:pt x="73" y="16"/>
                  </a:cubicBezTo>
                  <a:cubicBezTo>
                    <a:pt x="69" y="20"/>
                    <a:pt x="69" y="30"/>
                    <a:pt x="69" y="30"/>
                  </a:cubicBezTo>
                  <a:cubicBezTo>
                    <a:pt x="68" y="30"/>
                    <a:pt x="68" y="30"/>
                    <a:pt x="68" y="30"/>
                  </a:cubicBezTo>
                  <a:cubicBezTo>
                    <a:pt x="68" y="30"/>
                    <a:pt x="68" y="30"/>
                    <a:pt x="68" y="30"/>
                  </a:cubicBezTo>
                  <a:cubicBezTo>
                    <a:pt x="68" y="30"/>
                    <a:pt x="53" y="23"/>
                    <a:pt x="48" y="23"/>
                  </a:cubicBezTo>
                  <a:cubicBezTo>
                    <a:pt x="48" y="23"/>
                    <a:pt x="48" y="23"/>
                    <a:pt x="47" y="23"/>
                  </a:cubicBezTo>
                  <a:cubicBezTo>
                    <a:pt x="46" y="23"/>
                    <a:pt x="40" y="23"/>
                    <a:pt x="31" y="23"/>
                  </a:cubicBezTo>
                  <a:cubicBezTo>
                    <a:pt x="30" y="28"/>
                    <a:pt x="29" y="35"/>
                    <a:pt x="29" y="38"/>
                  </a:cubicBezTo>
                  <a:cubicBezTo>
                    <a:pt x="29" y="38"/>
                    <a:pt x="29" y="38"/>
                    <a:pt x="30" y="38"/>
                  </a:cubicBezTo>
                  <a:cubicBezTo>
                    <a:pt x="31" y="38"/>
                    <a:pt x="32" y="38"/>
                    <a:pt x="34" y="37"/>
                  </a:cubicBezTo>
                  <a:cubicBezTo>
                    <a:pt x="36" y="37"/>
                    <a:pt x="38" y="36"/>
                    <a:pt x="40" y="36"/>
                  </a:cubicBezTo>
                  <a:cubicBezTo>
                    <a:pt x="41" y="36"/>
                    <a:pt x="43" y="36"/>
                    <a:pt x="44" y="37"/>
                  </a:cubicBezTo>
                  <a:cubicBezTo>
                    <a:pt x="46" y="39"/>
                    <a:pt x="47" y="41"/>
                    <a:pt x="47" y="43"/>
                  </a:cubicBezTo>
                  <a:cubicBezTo>
                    <a:pt x="46" y="46"/>
                    <a:pt x="45" y="48"/>
                    <a:pt x="42" y="50"/>
                  </a:cubicBezTo>
                  <a:cubicBezTo>
                    <a:pt x="40" y="50"/>
                    <a:pt x="39" y="52"/>
                    <a:pt x="39" y="53"/>
                  </a:cubicBezTo>
                  <a:cubicBezTo>
                    <a:pt x="39" y="55"/>
                    <a:pt x="41" y="59"/>
                    <a:pt x="44" y="60"/>
                  </a:cubicBezTo>
                  <a:cubicBezTo>
                    <a:pt x="49" y="63"/>
                    <a:pt x="48" y="67"/>
                    <a:pt x="48" y="73"/>
                  </a:cubicBezTo>
                  <a:cubicBezTo>
                    <a:pt x="48" y="74"/>
                    <a:pt x="48" y="75"/>
                    <a:pt x="48" y="76"/>
                  </a:cubicBezTo>
                  <a:cubicBezTo>
                    <a:pt x="48" y="84"/>
                    <a:pt x="48" y="93"/>
                    <a:pt x="43" y="94"/>
                  </a:cubicBezTo>
                  <a:cubicBezTo>
                    <a:pt x="42" y="94"/>
                    <a:pt x="42" y="94"/>
                    <a:pt x="42" y="94"/>
                  </a:cubicBezTo>
                  <a:cubicBezTo>
                    <a:pt x="40" y="94"/>
                    <a:pt x="39" y="93"/>
                    <a:pt x="37" y="93"/>
                  </a:cubicBezTo>
                  <a:cubicBezTo>
                    <a:pt x="36" y="92"/>
                    <a:pt x="34" y="92"/>
                    <a:pt x="33" y="92"/>
                  </a:cubicBezTo>
                  <a:cubicBezTo>
                    <a:pt x="32" y="92"/>
                    <a:pt x="32" y="92"/>
                    <a:pt x="32" y="92"/>
                  </a:cubicBezTo>
                  <a:cubicBezTo>
                    <a:pt x="30" y="92"/>
                    <a:pt x="29" y="90"/>
                    <a:pt x="28" y="87"/>
                  </a:cubicBezTo>
                  <a:cubicBezTo>
                    <a:pt x="27" y="85"/>
                    <a:pt x="26" y="83"/>
                    <a:pt x="24" y="83"/>
                  </a:cubicBezTo>
                  <a:cubicBezTo>
                    <a:pt x="23" y="83"/>
                    <a:pt x="23" y="84"/>
                    <a:pt x="22" y="86"/>
                  </a:cubicBezTo>
                  <a:cubicBezTo>
                    <a:pt x="22" y="88"/>
                    <a:pt x="21" y="91"/>
                    <a:pt x="18" y="91"/>
                  </a:cubicBezTo>
                  <a:cubicBezTo>
                    <a:pt x="17" y="91"/>
                    <a:pt x="17" y="91"/>
                    <a:pt x="17" y="91"/>
                  </a:cubicBezTo>
                  <a:cubicBezTo>
                    <a:pt x="14" y="91"/>
                    <a:pt x="11" y="91"/>
                    <a:pt x="9" y="93"/>
                  </a:cubicBezTo>
                  <a:cubicBezTo>
                    <a:pt x="9" y="93"/>
                    <a:pt x="9" y="95"/>
                    <a:pt x="10" y="97"/>
                  </a:cubicBezTo>
                  <a:cubicBezTo>
                    <a:pt x="10" y="98"/>
                    <a:pt x="10" y="98"/>
                    <a:pt x="10" y="99"/>
                  </a:cubicBezTo>
                  <a:cubicBezTo>
                    <a:pt x="12" y="103"/>
                    <a:pt x="13" y="106"/>
                    <a:pt x="12" y="107"/>
                  </a:cubicBezTo>
                  <a:cubicBezTo>
                    <a:pt x="11" y="109"/>
                    <a:pt x="10" y="109"/>
                    <a:pt x="7" y="109"/>
                  </a:cubicBezTo>
                  <a:cubicBezTo>
                    <a:pt x="5" y="109"/>
                    <a:pt x="3" y="110"/>
                    <a:pt x="1" y="1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5" name="Freeform 42"/>
            <p:cNvSpPr>
              <a:spLocks noEditPoints="1"/>
            </p:cNvSpPr>
            <p:nvPr/>
          </p:nvSpPr>
          <p:spPr>
            <a:xfrm>
              <a:off x="5311776" y="3216275"/>
              <a:ext cx="406400" cy="504825"/>
            </a:xfrm>
            <a:custGeom>
              <a:gdLst>
                <a:gd name="T0" fmla="*/ 128 w 240"/>
                <a:gd name="T1" fmla="*/ 297 h 297"/>
                <a:gd name="T2" fmla="*/ 109 w 240"/>
                <a:gd name="T3" fmla="*/ 282 h 297"/>
                <a:gd name="T4" fmla="*/ 99 w 240"/>
                <a:gd name="T5" fmla="*/ 282 h 297"/>
                <a:gd name="T6" fmla="*/ 80 w 240"/>
                <a:gd name="T7" fmla="*/ 276 h 297"/>
                <a:gd name="T8" fmla="*/ 73 w 240"/>
                <a:gd name="T9" fmla="*/ 264 h 297"/>
                <a:gd name="T10" fmla="*/ 48 w 240"/>
                <a:gd name="T11" fmla="*/ 238 h 297"/>
                <a:gd name="T12" fmla="*/ 31 w 240"/>
                <a:gd name="T13" fmla="*/ 225 h 297"/>
                <a:gd name="T14" fmla="*/ 21 w 240"/>
                <a:gd name="T15" fmla="*/ 216 h 297"/>
                <a:gd name="T16" fmla="*/ 23 w 240"/>
                <a:gd name="T17" fmla="*/ 201 h 297"/>
                <a:gd name="T18" fmla="*/ 7 w 240"/>
                <a:gd name="T19" fmla="*/ 171 h 297"/>
                <a:gd name="T20" fmla="*/ 1 w 240"/>
                <a:gd name="T21" fmla="*/ 158 h 297"/>
                <a:gd name="T22" fmla="*/ 4 w 240"/>
                <a:gd name="T23" fmla="*/ 141 h 297"/>
                <a:gd name="T24" fmla="*/ 27 w 240"/>
                <a:gd name="T25" fmla="*/ 114 h 297"/>
                <a:gd name="T26" fmla="*/ 43 w 240"/>
                <a:gd name="T27" fmla="*/ 50 h 297"/>
                <a:gd name="T28" fmla="*/ 139 w 240"/>
                <a:gd name="T29" fmla="*/ 16 h 297"/>
                <a:gd name="T30" fmla="*/ 171 w 240"/>
                <a:gd name="T31" fmla="*/ 23 h 297"/>
                <a:gd name="T32" fmla="*/ 189 w 240"/>
                <a:gd name="T33" fmla="*/ 6 h 297"/>
                <a:gd name="T34" fmla="*/ 196 w 240"/>
                <a:gd name="T35" fmla="*/ 1 h 297"/>
                <a:gd name="T36" fmla="*/ 198 w 240"/>
                <a:gd name="T37" fmla="*/ 1 h 297"/>
                <a:gd name="T38" fmla="*/ 222 w 240"/>
                <a:gd name="T39" fmla="*/ 51 h 297"/>
                <a:gd name="T40" fmla="*/ 239 w 240"/>
                <a:gd name="T41" fmla="*/ 82 h 297"/>
                <a:gd name="T42" fmla="*/ 218 w 240"/>
                <a:gd name="T43" fmla="*/ 103 h 297"/>
                <a:gd name="T44" fmla="*/ 208 w 240"/>
                <a:gd name="T45" fmla="*/ 149 h 297"/>
                <a:gd name="T46" fmla="*/ 190 w 240"/>
                <a:gd name="T47" fmla="*/ 173 h 297"/>
                <a:gd name="T48" fmla="*/ 179 w 240"/>
                <a:gd name="T49" fmla="*/ 192 h 297"/>
                <a:gd name="T50" fmla="*/ 173 w 240"/>
                <a:gd name="T51" fmla="*/ 223 h 297"/>
                <a:gd name="T52" fmla="*/ 162 w 240"/>
                <a:gd name="T53" fmla="*/ 225 h 297"/>
                <a:gd name="T54" fmla="*/ 173 w 240"/>
                <a:gd name="T55" fmla="*/ 240 h 297"/>
                <a:gd name="T56" fmla="*/ 200 w 240"/>
                <a:gd name="T57" fmla="*/ 268 h 297"/>
                <a:gd name="T58" fmla="*/ 198 w 240"/>
                <a:gd name="T59" fmla="*/ 281 h 297"/>
                <a:gd name="T60" fmla="*/ 172 w 240"/>
                <a:gd name="T61" fmla="*/ 288 h 297"/>
                <a:gd name="T62" fmla="*/ 158 w 240"/>
                <a:gd name="T63" fmla="*/ 293 h 297"/>
                <a:gd name="T64" fmla="*/ 139 w 240"/>
                <a:gd name="T65" fmla="*/ 293 h 297"/>
                <a:gd name="T66" fmla="*/ 158 w 240"/>
                <a:gd name="T67" fmla="*/ 292 h 297"/>
                <a:gd name="T68" fmla="*/ 172 w 240"/>
                <a:gd name="T69" fmla="*/ 287 h 297"/>
                <a:gd name="T70" fmla="*/ 197 w 240"/>
                <a:gd name="T71" fmla="*/ 280 h 297"/>
                <a:gd name="T72" fmla="*/ 184 w 240"/>
                <a:gd name="T73" fmla="*/ 257 h 297"/>
                <a:gd name="T74" fmla="*/ 158 w 240"/>
                <a:gd name="T75" fmla="*/ 234 h 297"/>
                <a:gd name="T76" fmla="*/ 170 w 240"/>
                <a:gd name="T77" fmla="*/ 222 h 297"/>
                <a:gd name="T78" fmla="*/ 177 w 240"/>
                <a:gd name="T79" fmla="*/ 199 h 297"/>
                <a:gd name="T80" fmla="*/ 185 w 240"/>
                <a:gd name="T81" fmla="*/ 186 h 297"/>
                <a:gd name="T82" fmla="*/ 199 w 240"/>
                <a:gd name="T83" fmla="*/ 161 h 297"/>
                <a:gd name="T84" fmla="*/ 210 w 240"/>
                <a:gd name="T85" fmla="*/ 134 h 297"/>
                <a:gd name="T86" fmla="*/ 225 w 240"/>
                <a:gd name="T87" fmla="*/ 95 h 297"/>
                <a:gd name="T88" fmla="*/ 221 w 240"/>
                <a:gd name="T89" fmla="*/ 51 h 297"/>
                <a:gd name="T90" fmla="*/ 197 w 240"/>
                <a:gd name="T91" fmla="*/ 2 h 297"/>
                <a:gd name="T92" fmla="*/ 186 w 240"/>
                <a:gd name="T93" fmla="*/ 11 h 297"/>
                <a:gd name="T94" fmla="*/ 163 w 240"/>
                <a:gd name="T95" fmla="*/ 20 h 297"/>
                <a:gd name="T96" fmla="*/ 138 w 240"/>
                <a:gd name="T97" fmla="*/ 17 h 297"/>
                <a:gd name="T98" fmla="*/ 31 w 240"/>
                <a:gd name="T99" fmla="*/ 51 h 297"/>
                <a:gd name="T100" fmla="*/ 16 w 240"/>
                <a:gd name="T101" fmla="*/ 122 h 297"/>
                <a:gd name="T102" fmla="*/ 2 w 240"/>
                <a:gd name="T103" fmla="*/ 143 h 297"/>
                <a:gd name="T104" fmla="*/ 5 w 240"/>
                <a:gd name="T105" fmla="*/ 160 h 297"/>
                <a:gd name="T106" fmla="*/ 15 w 240"/>
                <a:gd name="T107" fmla="*/ 180 h 297"/>
                <a:gd name="T108" fmla="*/ 25 w 240"/>
                <a:gd name="T109" fmla="*/ 203 h 297"/>
                <a:gd name="T110" fmla="*/ 23 w 240"/>
                <a:gd name="T111" fmla="*/ 218 h 297"/>
                <a:gd name="T112" fmla="*/ 46 w 240"/>
                <a:gd name="T113" fmla="*/ 233 h 297"/>
                <a:gd name="T114" fmla="*/ 64 w 240"/>
                <a:gd name="T115" fmla="*/ 256 h 297"/>
                <a:gd name="T116" fmla="*/ 81 w 240"/>
                <a:gd name="T117" fmla="*/ 276 h 297"/>
                <a:gd name="T118" fmla="*/ 99 w 240"/>
                <a:gd name="T119" fmla="*/ 281 h 297"/>
                <a:gd name="T120" fmla="*/ 128 w 240"/>
                <a:gd name="T121" fmla="*/ 296 h 2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97">
                  <a:moveTo>
                    <a:pt x="147" y="297"/>
                  </a:moveTo>
                  <a:cubicBezTo>
                    <a:pt x="146" y="297"/>
                    <a:pt x="145" y="296"/>
                    <a:pt x="143" y="296"/>
                  </a:cubicBezTo>
                  <a:cubicBezTo>
                    <a:pt x="142" y="295"/>
                    <a:pt x="140" y="293"/>
                    <a:pt x="139" y="294"/>
                  </a:cubicBezTo>
                  <a:cubicBezTo>
                    <a:pt x="136" y="294"/>
                    <a:pt x="129" y="296"/>
                    <a:pt x="128" y="297"/>
                  </a:cubicBezTo>
                  <a:cubicBezTo>
                    <a:pt x="128" y="297"/>
                    <a:pt x="128" y="297"/>
                    <a:pt x="128" y="297"/>
                  </a:cubicBezTo>
                  <a:cubicBezTo>
                    <a:pt x="127" y="297"/>
                    <a:pt x="127" y="297"/>
                    <a:pt x="127" y="297"/>
                  </a:cubicBezTo>
                  <a:cubicBezTo>
                    <a:pt x="121" y="290"/>
                    <a:pt x="112" y="284"/>
                    <a:pt x="111" y="282"/>
                  </a:cubicBezTo>
                  <a:cubicBezTo>
                    <a:pt x="110" y="282"/>
                    <a:pt x="110" y="282"/>
                    <a:pt x="109" y="282"/>
                  </a:cubicBezTo>
                  <a:cubicBezTo>
                    <a:pt x="107" y="282"/>
                    <a:pt x="104" y="284"/>
                    <a:pt x="104" y="284"/>
                  </a:cubicBezTo>
                  <a:cubicBezTo>
                    <a:pt x="104" y="285"/>
                    <a:pt x="104" y="285"/>
                    <a:pt x="104" y="285"/>
                  </a:cubicBezTo>
                  <a:cubicBezTo>
                    <a:pt x="103" y="284"/>
                    <a:pt x="103" y="284"/>
                    <a:pt x="103" y="284"/>
                  </a:cubicBezTo>
                  <a:cubicBezTo>
                    <a:pt x="103" y="284"/>
                    <a:pt x="101" y="282"/>
                    <a:pt x="99" y="282"/>
                  </a:cubicBezTo>
                  <a:cubicBezTo>
                    <a:pt x="98" y="282"/>
                    <a:pt x="97" y="282"/>
                    <a:pt x="96" y="283"/>
                  </a:cubicBezTo>
                  <a:cubicBezTo>
                    <a:pt x="95" y="284"/>
                    <a:pt x="93" y="285"/>
                    <a:pt x="92" y="285"/>
                  </a:cubicBezTo>
                  <a:cubicBezTo>
                    <a:pt x="89" y="285"/>
                    <a:pt x="86" y="283"/>
                    <a:pt x="86" y="283"/>
                  </a:cubicBezTo>
                  <a:cubicBezTo>
                    <a:pt x="86" y="283"/>
                    <a:pt x="82" y="281"/>
                    <a:pt x="80" y="276"/>
                  </a:cubicBezTo>
                  <a:cubicBezTo>
                    <a:pt x="79" y="274"/>
                    <a:pt x="78" y="273"/>
                    <a:pt x="76" y="272"/>
                  </a:cubicBezTo>
                  <a:cubicBezTo>
                    <a:pt x="76" y="272"/>
                    <a:pt x="76" y="272"/>
                    <a:pt x="76" y="272"/>
                  </a:cubicBezTo>
                  <a:cubicBezTo>
                    <a:pt x="76" y="272"/>
                    <a:pt x="76" y="272"/>
                    <a:pt x="76" y="272"/>
                  </a:cubicBezTo>
                  <a:cubicBezTo>
                    <a:pt x="73" y="264"/>
                    <a:pt x="73" y="264"/>
                    <a:pt x="73" y="264"/>
                  </a:cubicBezTo>
                  <a:cubicBezTo>
                    <a:pt x="71" y="263"/>
                    <a:pt x="63" y="259"/>
                    <a:pt x="63" y="256"/>
                  </a:cubicBezTo>
                  <a:cubicBezTo>
                    <a:pt x="63" y="254"/>
                    <a:pt x="63" y="251"/>
                    <a:pt x="58" y="247"/>
                  </a:cubicBezTo>
                  <a:cubicBezTo>
                    <a:pt x="56" y="245"/>
                    <a:pt x="54" y="244"/>
                    <a:pt x="53" y="243"/>
                  </a:cubicBezTo>
                  <a:cubicBezTo>
                    <a:pt x="50" y="242"/>
                    <a:pt x="48" y="240"/>
                    <a:pt x="48" y="238"/>
                  </a:cubicBezTo>
                  <a:cubicBezTo>
                    <a:pt x="48" y="237"/>
                    <a:pt x="48" y="236"/>
                    <a:pt x="46" y="233"/>
                  </a:cubicBezTo>
                  <a:cubicBezTo>
                    <a:pt x="45" y="233"/>
                    <a:pt x="44" y="231"/>
                    <a:pt x="42" y="230"/>
                  </a:cubicBezTo>
                  <a:cubicBezTo>
                    <a:pt x="38" y="225"/>
                    <a:pt x="31" y="225"/>
                    <a:pt x="31" y="225"/>
                  </a:cubicBezTo>
                  <a:cubicBezTo>
                    <a:pt x="31" y="225"/>
                    <a:pt x="31" y="225"/>
                    <a:pt x="31" y="225"/>
                  </a:cubicBezTo>
                  <a:cubicBezTo>
                    <a:pt x="29" y="220"/>
                    <a:pt x="29" y="220"/>
                    <a:pt x="29" y="220"/>
                  </a:cubicBezTo>
                  <a:cubicBezTo>
                    <a:pt x="23" y="219"/>
                    <a:pt x="23" y="219"/>
                    <a:pt x="23" y="219"/>
                  </a:cubicBezTo>
                  <a:cubicBezTo>
                    <a:pt x="23" y="219"/>
                    <a:pt x="23" y="219"/>
                    <a:pt x="23" y="219"/>
                  </a:cubicBezTo>
                  <a:cubicBezTo>
                    <a:pt x="23" y="219"/>
                    <a:pt x="21" y="218"/>
                    <a:pt x="21" y="216"/>
                  </a:cubicBezTo>
                  <a:cubicBezTo>
                    <a:pt x="21" y="215"/>
                    <a:pt x="23" y="214"/>
                    <a:pt x="25" y="213"/>
                  </a:cubicBezTo>
                  <a:cubicBezTo>
                    <a:pt x="26" y="212"/>
                    <a:pt x="26" y="212"/>
                    <a:pt x="26" y="211"/>
                  </a:cubicBezTo>
                  <a:cubicBezTo>
                    <a:pt x="27" y="209"/>
                    <a:pt x="26" y="205"/>
                    <a:pt x="24" y="203"/>
                  </a:cubicBezTo>
                  <a:cubicBezTo>
                    <a:pt x="24" y="202"/>
                    <a:pt x="24" y="202"/>
                    <a:pt x="23" y="201"/>
                  </a:cubicBezTo>
                  <a:cubicBezTo>
                    <a:pt x="23" y="199"/>
                    <a:pt x="15" y="190"/>
                    <a:pt x="13" y="187"/>
                  </a:cubicBezTo>
                  <a:cubicBezTo>
                    <a:pt x="13" y="187"/>
                    <a:pt x="13" y="187"/>
                    <a:pt x="13" y="187"/>
                  </a:cubicBezTo>
                  <a:cubicBezTo>
                    <a:pt x="14" y="180"/>
                    <a:pt x="14" y="180"/>
                    <a:pt x="14" y="180"/>
                  </a:cubicBezTo>
                  <a:cubicBezTo>
                    <a:pt x="13" y="180"/>
                    <a:pt x="7" y="176"/>
                    <a:pt x="7" y="171"/>
                  </a:cubicBezTo>
                  <a:cubicBezTo>
                    <a:pt x="7" y="170"/>
                    <a:pt x="7" y="169"/>
                    <a:pt x="7" y="167"/>
                  </a:cubicBezTo>
                  <a:cubicBezTo>
                    <a:pt x="8" y="165"/>
                    <a:pt x="8" y="163"/>
                    <a:pt x="7" y="162"/>
                  </a:cubicBezTo>
                  <a:cubicBezTo>
                    <a:pt x="6" y="161"/>
                    <a:pt x="6" y="161"/>
                    <a:pt x="5" y="161"/>
                  </a:cubicBezTo>
                  <a:cubicBezTo>
                    <a:pt x="3" y="161"/>
                    <a:pt x="1" y="160"/>
                    <a:pt x="1" y="158"/>
                  </a:cubicBezTo>
                  <a:cubicBezTo>
                    <a:pt x="0" y="157"/>
                    <a:pt x="1" y="154"/>
                    <a:pt x="3" y="152"/>
                  </a:cubicBezTo>
                  <a:cubicBezTo>
                    <a:pt x="4" y="151"/>
                    <a:pt x="3" y="148"/>
                    <a:pt x="2" y="146"/>
                  </a:cubicBezTo>
                  <a:cubicBezTo>
                    <a:pt x="2" y="144"/>
                    <a:pt x="1" y="143"/>
                    <a:pt x="2" y="142"/>
                  </a:cubicBezTo>
                  <a:cubicBezTo>
                    <a:pt x="2" y="141"/>
                    <a:pt x="3" y="141"/>
                    <a:pt x="4" y="141"/>
                  </a:cubicBezTo>
                  <a:cubicBezTo>
                    <a:pt x="7" y="141"/>
                    <a:pt x="7" y="139"/>
                    <a:pt x="7" y="136"/>
                  </a:cubicBezTo>
                  <a:cubicBezTo>
                    <a:pt x="8" y="133"/>
                    <a:pt x="8" y="131"/>
                    <a:pt x="10" y="130"/>
                  </a:cubicBezTo>
                  <a:cubicBezTo>
                    <a:pt x="14" y="130"/>
                    <a:pt x="15" y="127"/>
                    <a:pt x="15" y="122"/>
                  </a:cubicBezTo>
                  <a:cubicBezTo>
                    <a:pt x="15" y="117"/>
                    <a:pt x="23" y="115"/>
                    <a:pt x="27" y="114"/>
                  </a:cubicBezTo>
                  <a:cubicBezTo>
                    <a:pt x="28" y="113"/>
                    <a:pt x="28" y="113"/>
                    <a:pt x="28" y="113"/>
                  </a:cubicBezTo>
                  <a:cubicBezTo>
                    <a:pt x="30" y="113"/>
                    <a:pt x="30" y="105"/>
                    <a:pt x="30" y="99"/>
                  </a:cubicBezTo>
                  <a:cubicBezTo>
                    <a:pt x="30" y="50"/>
                    <a:pt x="30" y="50"/>
                    <a:pt x="30" y="50"/>
                  </a:cubicBezTo>
                  <a:cubicBezTo>
                    <a:pt x="43" y="50"/>
                    <a:pt x="43" y="50"/>
                    <a:pt x="43" y="50"/>
                  </a:cubicBezTo>
                  <a:cubicBezTo>
                    <a:pt x="43" y="20"/>
                    <a:pt x="43" y="20"/>
                    <a:pt x="43" y="20"/>
                  </a:cubicBezTo>
                  <a:cubicBezTo>
                    <a:pt x="132" y="20"/>
                    <a:pt x="132" y="20"/>
                    <a:pt x="132" y="20"/>
                  </a:cubicBezTo>
                  <a:cubicBezTo>
                    <a:pt x="137" y="17"/>
                    <a:pt x="137" y="17"/>
                    <a:pt x="137" y="17"/>
                  </a:cubicBezTo>
                  <a:cubicBezTo>
                    <a:pt x="138" y="16"/>
                    <a:pt x="138" y="16"/>
                    <a:pt x="139" y="16"/>
                  </a:cubicBezTo>
                  <a:cubicBezTo>
                    <a:pt x="141" y="16"/>
                    <a:pt x="144" y="18"/>
                    <a:pt x="145" y="19"/>
                  </a:cubicBezTo>
                  <a:cubicBezTo>
                    <a:pt x="164" y="19"/>
                    <a:pt x="164" y="19"/>
                    <a:pt x="164" y="19"/>
                  </a:cubicBezTo>
                  <a:cubicBezTo>
                    <a:pt x="164" y="19"/>
                    <a:pt x="164" y="19"/>
                    <a:pt x="164" y="19"/>
                  </a:cubicBezTo>
                  <a:cubicBezTo>
                    <a:pt x="164" y="19"/>
                    <a:pt x="167" y="23"/>
                    <a:pt x="171" y="23"/>
                  </a:cubicBezTo>
                  <a:cubicBezTo>
                    <a:pt x="173" y="23"/>
                    <a:pt x="173" y="22"/>
                    <a:pt x="174" y="21"/>
                  </a:cubicBezTo>
                  <a:cubicBezTo>
                    <a:pt x="174" y="19"/>
                    <a:pt x="175" y="16"/>
                    <a:pt x="180" y="16"/>
                  </a:cubicBezTo>
                  <a:cubicBezTo>
                    <a:pt x="183" y="16"/>
                    <a:pt x="184" y="14"/>
                    <a:pt x="185" y="11"/>
                  </a:cubicBezTo>
                  <a:cubicBezTo>
                    <a:pt x="186" y="8"/>
                    <a:pt x="187" y="6"/>
                    <a:pt x="189" y="6"/>
                  </a:cubicBezTo>
                  <a:cubicBezTo>
                    <a:pt x="190" y="6"/>
                    <a:pt x="190" y="6"/>
                    <a:pt x="191" y="6"/>
                  </a:cubicBezTo>
                  <a:cubicBezTo>
                    <a:pt x="191" y="6"/>
                    <a:pt x="191" y="6"/>
                    <a:pt x="191" y="6"/>
                  </a:cubicBezTo>
                  <a:cubicBezTo>
                    <a:pt x="193" y="6"/>
                    <a:pt x="193" y="6"/>
                    <a:pt x="196" y="2"/>
                  </a:cubicBezTo>
                  <a:cubicBezTo>
                    <a:pt x="196" y="1"/>
                    <a:pt x="196" y="1"/>
                    <a:pt x="196" y="1"/>
                  </a:cubicBezTo>
                  <a:cubicBezTo>
                    <a:pt x="197" y="1"/>
                    <a:pt x="197" y="1"/>
                    <a:pt x="197" y="1"/>
                  </a:cubicBezTo>
                  <a:cubicBezTo>
                    <a:pt x="197" y="1"/>
                    <a:pt x="197" y="1"/>
                    <a:pt x="197" y="1"/>
                  </a:cubicBezTo>
                  <a:cubicBezTo>
                    <a:pt x="198" y="0"/>
                    <a:pt x="198" y="0"/>
                    <a:pt x="198" y="0"/>
                  </a:cubicBezTo>
                  <a:cubicBezTo>
                    <a:pt x="198" y="1"/>
                    <a:pt x="198" y="1"/>
                    <a:pt x="198" y="1"/>
                  </a:cubicBezTo>
                  <a:cubicBezTo>
                    <a:pt x="199" y="5"/>
                    <a:pt x="201" y="9"/>
                    <a:pt x="206" y="11"/>
                  </a:cubicBezTo>
                  <a:cubicBezTo>
                    <a:pt x="212" y="15"/>
                    <a:pt x="218" y="23"/>
                    <a:pt x="219" y="27"/>
                  </a:cubicBezTo>
                  <a:cubicBezTo>
                    <a:pt x="219" y="28"/>
                    <a:pt x="219" y="29"/>
                    <a:pt x="219" y="31"/>
                  </a:cubicBezTo>
                  <a:cubicBezTo>
                    <a:pt x="220" y="36"/>
                    <a:pt x="222" y="43"/>
                    <a:pt x="222" y="51"/>
                  </a:cubicBezTo>
                  <a:cubicBezTo>
                    <a:pt x="222" y="62"/>
                    <a:pt x="225" y="71"/>
                    <a:pt x="230" y="73"/>
                  </a:cubicBezTo>
                  <a:cubicBezTo>
                    <a:pt x="232" y="74"/>
                    <a:pt x="236" y="78"/>
                    <a:pt x="239" y="82"/>
                  </a:cubicBezTo>
                  <a:cubicBezTo>
                    <a:pt x="240" y="82"/>
                    <a:pt x="240" y="82"/>
                    <a:pt x="240" y="82"/>
                  </a:cubicBezTo>
                  <a:cubicBezTo>
                    <a:pt x="239" y="82"/>
                    <a:pt x="239" y="82"/>
                    <a:pt x="239" y="82"/>
                  </a:cubicBezTo>
                  <a:cubicBezTo>
                    <a:pt x="236" y="88"/>
                    <a:pt x="231" y="92"/>
                    <a:pt x="228" y="94"/>
                  </a:cubicBezTo>
                  <a:cubicBezTo>
                    <a:pt x="227" y="94"/>
                    <a:pt x="226" y="95"/>
                    <a:pt x="225" y="95"/>
                  </a:cubicBezTo>
                  <a:cubicBezTo>
                    <a:pt x="225" y="96"/>
                    <a:pt x="223" y="97"/>
                    <a:pt x="222" y="98"/>
                  </a:cubicBezTo>
                  <a:cubicBezTo>
                    <a:pt x="219" y="99"/>
                    <a:pt x="217" y="100"/>
                    <a:pt x="218" y="103"/>
                  </a:cubicBezTo>
                  <a:cubicBezTo>
                    <a:pt x="218" y="108"/>
                    <a:pt x="217" y="112"/>
                    <a:pt x="212" y="118"/>
                  </a:cubicBezTo>
                  <a:cubicBezTo>
                    <a:pt x="208" y="122"/>
                    <a:pt x="210" y="128"/>
                    <a:pt x="211" y="134"/>
                  </a:cubicBezTo>
                  <a:cubicBezTo>
                    <a:pt x="211" y="135"/>
                    <a:pt x="211" y="136"/>
                    <a:pt x="211" y="137"/>
                  </a:cubicBezTo>
                  <a:cubicBezTo>
                    <a:pt x="212" y="141"/>
                    <a:pt x="210" y="145"/>
                    <a:pt x="208" y="149"/>
                  </a:cubicBezTo>
                  <a:cubicBezTo>
                    <a:pt x="207" y="151"/>
                    <a:pt x="206" y="153"/>
                    <a:pt x="206" y="154"/>
                  </a:cubicBezTo>
                  <a:cubicBezTo>
                    <a:pt x="206" y="158"/>
                    <a:pt x="202" y="162"/>
                    <a:pt x="199" y="162"/>
                  </a:cubicBezTo>
                  <a:cubicBezTo>
                    <a:pt x="198" y="162"/>
                    <a:pt x="196" y="165"/>
                    <a:pt x="195" y="167"/>
                  </a:cubicBezTo>
                  <a:cubicBezTo>
                    <a:pt x="193" y="169"/>
                    <a:pt x="192" y="171"/>
                    <a:pt x="190" y="173"/>
                  </a:cubicBezTo>
                  <a:cubicBezTo>
                    <a:pt x="189" y="174"/>
                    <a:pt x="189" y="177"/>
                    <a:pt x="188" y="180"/>
                  </a:cubicBezTo>
                  <a:cubicBezTo>
                    <a:pt x="188" y="183"/>
                    <a:pt x="188" y="186"/>
                    <a:pt x="186" y="187"/>
                  </a:cubicBezTo>
                  <a:cubicBezTo>
                    <a:pt x="185" y="188"/>
                    <a:pt x="183" y="189"/>
                    <a:pt x="182" y="189"/>
                  </a:cubicBezTo>
                  <a:cubicBezTo>
                    <a:pt x="181" y="190"/>
                    <a:pt x="179" y="191"/>
                    <a:pt x="179" y="192"/>
                  </a:cubicBezTo>
                  <a:cubicBezTo>
                    <a:pt x="179" y="192"/>
                    <a:pt x="179" y="192"/>
                    <a:pt x="180" y="193"/>
                  </a:cubicBezTo>
                  <a:cubicBezTo>
                    <a:pt x="181" y="194"/>
                    <a:pt x="180" y="197"/>
                    <a:pt x="178" y="199"/>
                  </a:cubicBezTo>
                  <a:cubicBezTo>
                    <a:pt x="177" y="202"/>
                    <a:pt x="175" y="204"/>
                    <a:pt x="175" y="207"/>
                  </a:cubicBezTo>
                  <a:cubicBezTo>
                    <a:pt x="175" y="211"/>
                    <a:pt x="175" y="222"/>
                    <a:pt x="173" y="223"/>
                  </a:cubicBezTo>
                  <a:cubicBezTo>
                    <a:pt x="173" y="223"/>
                    <a:pt x="173" y="223"/>
                    <a:pt x="172" y="223"/>
                  </a:cubicBezTo>
                  <a:cubicBezTo>
                    <a:pt x="171" y="223"/>
                    <a:pt x="171" y="223"/>
                    <a:pt x="170" y="223"/>
                  </a:cubicBezTo>
                  <a:cubicBezTo>
                    <a:pt x="169" y="223"/>
                    <a:pt x="168" y="223"/>
                    <a:pt x="167" y="223"/>
                  </a:cubicBezTo>
                  <a:cubicBezTo>
                    <a:pt x="162" y="223"/>
                    <a:pt x="162" y="224"/>
                    <a:pt x="162" y="225"/>
                  </a:cubicBezTo>
                  <a:cubicBezTo>
                    <a:pt x="162" y="228"/>
                    <a:pt x="161" y="229"/>
                    <a:pt x="160" y="230"/>
                  </a:cubicBezTo>
                  <a:cubicBezTo>
                    <a:pt x="159" y="231"/>
                    <a:pt x="158" y="232"/>
                    <a:pt x="159" y="233"/>
                  </a:cubicBezTo>
                  <a:cubicBezTo>
                    <a:pt x="160" y="235"/>
                    <a:pt x="162" y="235"/>
                    <a:pt x="165" y="236"/>
                  </a:cubicBezTo>
                  <a:cubicBezTo>
                    <a:pt x="168" y="237"/>
                    <a:pt x="171" y="238"/>
                    <a:pt x="173" y="240"/>
                  </a:cubicBezTo>
                  <a:cubicBezTo>
                    <a:pt x="173" y="242"/>
                    <a:pt x="175" y="244"/>
                    <a:pt x="177" y="246"/>
                  </a:cubicBezTo>
                  <a:cubicBezTo>
                    <a:pt x="180" y="249"/>
                    <a:pt x="184" y="253"/>
                    <a:pt x="185" y="257"/>
                  </a:cubicBezTo>
                  <a:cubicBezTo>
                    <a:pt x="188" y="264"/>
                    <a:pt x="195" y="267"/>
                    <a:pt x="198" y="267"/>
                  </a:cubicBezTo>
                  <a:cubicBezTo>
                    <a:pt x="199" y="267"/>
                    <a:pt x="199" y="267"/>
                    <a:pt x="200" y="268"/>
                  </a:cubicBezTo>
                  <a:cubicBezTo>
                    <a:pt x="200" y="269"/>
                    <a:pt x="200" y="271"/>
                    <a:pt x="199" y="275"/>
                  </a:cubicBezTo>
                  <a:cubicBezTo>
                    <a:pt x="199" y="276"/>
                    <a:pt x="199" y="278"/>
                    <a:pt x="198" y="281"/>
                  </a:cubicBezTo>
                  <a:cubicBezTo>
                    <a:pt x="198" y="281"/>
                    <a:pt x="198" y="281"/>
                    <a:pt x="198" y="281"/>
                  </a:cubicBezTo>
                  <a:cubicBezTo>
                    <a:pt x="198" y="281"/>
                    <a:pt x="198" y="281"/>
                    <a:pt x="198" y="281"/>
                  </a:cubicBezTo>
                  <a:cubicBezTo>
                    <a:pt x="196" y="280"/>
                    <a:pt x="195" y="280"/>
                    <a:pt x="194" y="279"/>
                  </a:cubicBezTo>
                  <a:cubicBezTo>
                    <a:pt x="193" y="277"/>
                    <a:pt x="190" y="277"/>
                    <a:pt x="186" y="278"/>
                  </a:cubicBezTo>
                  <a:cubicBezTo>
                    <a:pt x="183" y="278"/>
                    <a:pt x="175" y="283"/>
                    <a:pt x="174" y="285"/>
                  </a:cubicBezTo>
                  <a:cubicBezTo>
                    <a:pt x="174" y="286"/>
                    <a:pt x="173" y="287"/>
                    <a:pt x="172" y="288"/>
                  </a:cubicBezTo>
                  <a:cubicBezTo>
                    <a:pt x="171" y="289"/>
                    <a:pt x="171" y="289"/>
                    <a:pt x="171" y="289"/>
                  </a:cubicBezTo>
                  <a:cubicBezTo>
                    <a:pt x="169" y="290"/>
                    <a:pt x="168" y="291"/>
                    <a:pt x="168" y="292"/>
                  </a:cubicBezTo>
                  <a:cubicBezTo>
                    <a:pt x="167" y="294"/>
                    <a:pt x="166" y="294"/>
                    <a:pt x="163" y="294"/>
                  </a:cubicBezTo>
                  <a:cubicBezTo>
                    <a:pt x="161" y="294"/>
                    <a:pt x="159" y="294"/>
                    <a:pt x="158" y="293"/>
                  </a:cubicBezTo>
                  <a:cubicBezTo>
                    <a:pt x="158" y="293"/>
                    <a:pt x="157" y="293"/>
                    <a:pt x="156" y="293"/>
                  </a:cubicBezTo>
                  <a:cubicBezTo>
                    <a:pt x="154" y="293"/>
                    <a:pt x="149" y="295"/>
                    <a:pt x="148" y="297"/>
                  </a:cubicBezTo>
                  <a:cubicBezTo>
                    <a:pt x="147" y="297"/>
                    <a:pt x="147" y="297"/>
                    <a:pt x="147" y="297"/>
                  </a:cubicBezTo>
                  <a:close/>
                  <a:moveTo>
                    <a:pt x="139" y="293"/>
                  </a:moveTo>
                  <a:cubicBezTo>
                    <a:pt x="140" y="293"/>
                    <a:pt x="142" y="294"/>
                    <a:pt x="144" y="295"/>
                  </a:cubicBezTo>
                  <a:cubicBezTo>
                    <a:pt x="145" y="296"/>
                    <a:pt x="147" y="297"/>
                    <a:pt x="147" y="296"/>
                  </a:cubicBezTo>
                  <a:cubicBezTo>
                    <a:pt x="148" y="294"/>
                    <a:pt x="153" y="292"/>
                    <a:pt x="156" y="292"/>
                  </a:cubicBezTo>
                  <a:cubicBezTo>
                    <a:pt x="157" y="292"/>
                    <a:pt x="158" y="292"/>
                    <a:pt x="158" y="292"/>
                  </a:cubicBezTo>
                  <a:cubicBezTo>
                    <a:pt x="160" y="293"/>
                    <a:pt x="161" y="293"/>
                    <a:pt x="163" y="293"/>
                  </a:cubicBezTo>
                  <a:cubicBezTo>
                    <a:pt x="165" y="293"/>
                    <a:pt x="167" y="293"/>
                    <a:pt x="167" y="292"/>
                  </a:cubicBezTo>
                  <a:cubicBezTo>
                    <a:pt x="167" y="291"/>
                    <a:pt x="168" y="290"/>
                    <a:pt x="170" y="288"/>
                  </a:cubicBezTo>
                  <a:cubicBezTo>
                    <a:pt x="171" y="288"/>
                    <a:pt x="171" y="287"/>
                    <a:pt x="172" y="287"/>
                  </a:cubicBezTo>
                  <a:cubicBezTo>
                    <a:pt x="172" y="286"/>
                    <a:pt x="173" y="286"/>
                    <a:pt x="173" y="285"/>
                  </a:cubicBezTo>
                  <a:cubicBezTo>
                    <a:pt x="174" y="282"/>
                    <a:pt x="182" y="277"/>
                    <a:pt x="185" y="277"/>
                  </a:cubicBezTo>
                  <a:cubicBezTo>
                    <a:pt x="190" y="276"/>
                    <a:pt x="193" y="276"/>
                    <a:pt x="195" y="278"/>
                  </a:cubicBezTo>
                  <a:cubicBezTo>
                    <a:pt x="195" y="279"/>
                    <a:pt x="196" y="279"/>
                    <a:pt x="197" y="280"/>
                  </a:cubicBezTo>
                  <a:cubicBezTo>
                    <a:pt x="198" y="278"/>
                    <a:pt x="198" y="276"/>
                    <a:pt x="198" y="274"/>
                  </a:cubicBezTo>
                  <a:cubicBezTo>
                    <a:pt x="199" y="271"/>
                    <a:pt x="199" y="269"/>
                    <a:pt x="199" y="268"/>
                  </a:cubicBezTo>
                  <a:cubicBezTo>
                    <a:pt x="199" y="268"/>
                    <a:pt x="199" y="268"/>
                    <a:pt x="198" y="268"/>
                  </a:cubicBezTo>
                  <a:cubicBezTo>
                    <a:pt x="194" y="268"/>
                    <a:pt x="187" y="264"/>
                    <a:pt x="184" y="257"/>
                  </a:cubicBezTo>
                  <a:cubicBezTo>
                    <a:pt x="183" y="253"/>
                    <a:pt x="180" y="250"/>
                    <a:pt x="177" y="247"/>
                  </a:cubicBezTo>
                  <a:cubicBezTo>
                    <a:pt x="174" y="245"/>
                    <a:pt x="172" y="243"/>
                    <a:pt x="172" y="241"/>
                  </a:cubicBezTo>
                  <a:cubicBezTo>
                    <a:pt x="171" y="239"/>
                    <a:pt x="168" y="238"/>
                    <a:pt x="165" y="237"/>
                  </a:cubicBezTo>
                  <a:cubicBezTo>
                    <a:pt x="162" y="236"/>
                    <a:pt x="159" y="236"/>
                    <a:pt x="158" y="234"/>
                  </a:cubicBezTo>
                  <a:cubicBezTo>
                    <a:pt x="157" y="232"/>
                    <a:pt x="158" y="230"/>
                    <a:pt x="159" y="229"/>
                  </a:cubicBezTo>
                  <a:cubicBezTo>
                    <a:pt x="160" y="228"/>
                    <a:pt x="161" y="227"/>
                    <a:pt x="161" y="225"/>
                  </a:cubicBezTo>
                  <a:cubicBezTo>
                    <a:pt x="161" y="222"/>
                    <a:pt x="165" y="222"/>
                    <a:pt x="167" y="222"/>
                  </a:cubicBezTo>
                  <a:cubicBezTo>
                    <a:pt x="168" y="222"/>
                    <a:pt x="169" y="222"/>
                    <a:pt x="170" y="222"/>
                  </a:cubicBezTo>
                  <a:cubicBezTo>
                    <a:pt x="171" y="222"/>
                    <a:pt x="171" y="222"/>
                    <a:pt x="172" y="222"/>
                  </a:cubicBezTo>
                  <a:cubicBezTo>
                    <a:pt x="173" y="222"/>
                    <a:pt x="173" y="222"/>
                    <a:pt x="173" y="222"/>
                  </a:cubicBezTo>
                  <a:cubicBezTo>
                    <a:pt x="173" y="222"/>
                    <a:pt x="174" y="212"/>
                    <a:pt x="174" y="207"/>
                  </a:cubicBezTo>
                  <a:cubicBezTo>
                    <a:pt x="174" y="204"/>
                    <a:pt x="176" y="201"/>
                    <a:pt x="177" y="199"/>
                  </a:cubicBezTo>
                  <a:cubicBezTo>
                    <a:pt x="179" y="197"/>
                    <a:pt x="180" y="195"/>
                    <a:pt x="179" y="193"/>
                  </a:cubicBezTo>
                  <a:cubicBezTo>
                    <a:pt x="178" y="193"/>
                    <a:pt x="178" y="192"/>
                    <a:pt x="178" y="191"/>
                  </a:cubicBezTo>
                  <a:cubicBezTo>
                    <a:pt x="178" y="190"/>
                    <a:pt x="180" y="189"/>
                    <a:pt x="182" y="188"/>
                  </a:cubicBezTo>
                  <a:cubicBezTo>
                    <a:pt x="183" y="188"/>
                    <a:pt x="184" y="187"/>
                    <a:pt x="185" y="186"/>
                  </a:cubicBezTo>
                  <a:cubicBezTo>
                    <a:pt x="187" y="185"/>
                    <a:pt x="187" y="183"/>
                    <a:pt x="187" y="180"/>
                  </a:cubicBezTo>
                  <a:cubicBezTo>
                    <a:pt x="188" y="177"/>
                    <a:pt x="188" y="174"/>
                    <a:pt x="190" y="172"/>
                  </a:cubicBezTo>
                  <a:cubicBezTo>
                    <a:pt x="191" y="171"/>
                    <a:pt x="192" y="169"/>
                    <a:pt x="194" y="167"/>
                  </a:cubicBezTo>
                  <a:cubicBezTo>
                    <a:pt x="196" y="164"/>
                    <a:pt x="197" y="161"/>
                    <a:pt x="199" y="161"/>
                  </a:cubicBezTo>
                  <a:cubicBezTo>
                    <a:pt x="201" y="161"/>
                    <a:pt x="205" y="158"/>
                    <a:pt x="205" y="154"/>
                  </a:cubicBezTo>
                  <a:cubicBezTo>
                    <a:pt x="205" y="153"/>
                    <a:pt x="206" y="151"/>
                    <a:pt x="207" y="148"/>
                  </a:cubicBezTo>
                  <a:cubicBezTo>
                    <a:pt x="209" y="145"/>
                    <a:pt x="211" y="141"/>
                    <a:pt x="210" y="137"/>
                  </a:cubicBezTo>
                  <a:cubicBezTo>
                    <a:pt x="210" y="136"/>
                    <a:pt x="210" y="135"/>
                    <a:pt x="210" y="134"/>
                  </a:cubicBezTo>
                  <a:cubicBezTo>
                    <a:pt x="209" y="128"/>
                    <a:pt x="207" y="122"/>
                    <a:pt x="211" y="117"/>
                  </a:cubicBezTo>
                  <a:cubicBezTo>
                    <a:pt x="216" y="112"/>
                    <a:pt x="217" y="107"/>
                    <a:pt x="217" y="103"/>
                  </a:cubicBezTo>
                  <a:cubicBezTo>
                    <a:pt x="216" y="100"/>
                    <a:pt x="219" y="98"/>
                    <a:pt x="221" y="97"/>
                  </a:cubicBezTo>
                  <a:cubicBezTo>
                    <a:pt x="223" y="96"/>
                    <a:pt x="224" y="95"/>
                    <a:pt x="225" y="95"/>
                  </a:cubicBezTo>
                  <a:cubicBezTo>
                    <a:pt x="225" y="94"/>
                    <a:pt x="226" y="93"/>
                    <a:pt x="227" y="93"/>
                  </a:cubicBezTo>
                  <a:cubicBezTo>
                    <a:pt x="230" y="91"/>
                    <a:pt x="235" y="88"/>
                    <a:pt x="238" y="82"/>
                  </a:cubicBezTo>
                  <a:cubicBezTo>
                    <a:pt x="235" y="78"/>
                    <a:pt x="232" y="75"/>
                    <a:pt x="230" y="74"/>
                  </a:cubicBezTo>
                  <a:cubicBezTo>
                    <a:pt x="224" y="72"/>
                    <a:pt x="221" y="63"/>
                    <a:pt x="221" y="51"/>
                  </a:cubicBezTo>
                  <a:cubicBezTo>
                    <a:pt x="221" y="43"/>
                    <a:pt x="219" y="36"/>
                    <a:pt x="218" y="31"/>
                  </a:cubicBezTo>
                  <a:cubicBezTo>
                    <a:pt x="218" y="29"/>
                    <a:pt x="218" y="28"/>
                    <a:pt x="218" y="27"/>
                  </a:cubicBezTo>
                  <a:cubicBezTo>
                    <a:pt x="217" y="24"/>
                    <a:pt x="212" y="16"/>
                    <a:pt x="205" y="12"/>
                  </a:cubicBezTo>
                  <a:cubicBezTo>
                    <a:pt x="201" y="10"/>
                    <a:pt x="198" y="6"/>
                    <a:pt x="197" y="2"/>
                  </a:cubicBezTo>
                  <a:cubicBezTo>
                    <a:pt x="197" y="3"/>
                    <a:pt x="197" y="3"/>
                    <a:pt x="197" y="3"/>
                  </a:cubicBezTo>
                  <a:cubicBezTo>
                    <a:pt x="194" y="7"/>
                    <a:pt x="193" y="7"/>
                    <a:pt x="191" y="7"/>
                  </a:cubicBezTo>
                  <a:cubicBezTo>
                    <a:pt x="190" y="7"/>
                    <a:pt x="190" y="7"/>
                    <a:pt x="189" y="7"/>
                  </a:cubicBezTo>
                  <a:cubicBezTo>
                    <a:pt x="188" y="7"/>
                    <a:pt x="187" y="9"/>
                    <a:pt x="186" y="11"/>
                  </a:cubicBezTo>
                  <a:cubicBezTo>
                    <a:pt x="185" y="14"/>
                    <a:pt x="184" y="17"/>
                    <a:pt x="180" y="17"/>
                  </a:cubicBezTo>
                  <a:cubicBezTo>
                    <a:pt x="176" y="17"/>
                    <a:pt x="175" y="19"/>
                    <a:pt x="175" y="21"/>
                  </a:cubicBezTo>
                  <a:cubicBezTo>
                    <a:pt x="174" y="23"/>
                    <a:pt x="173" y="24"/>
                    <a:pt x="171" y="24"/>
                  </a:cubicBezTo>
                  <a:cubicBezTo>
                    <a:pt x="167" y="24"/>
                    <a:pt x="164" y="21"/>
                    <a:pt x="163" y="20"/>
                  </a:cubicBezTo>
                  <a:cubicBezTo>
                    <a:pt x="144" y="20"/>
                    <a:pt x="144" y="20"/>
                    <a:pt x="144" y="20"/>
                  </a:cubicBezTo>
                  <a:cubicBezTo>
                    <a:pt x="144" y="20"/>
                    <a:pt x="144" y="20"/>
                    <a:pt x="144" y="20"/>
                  </a:cubicBezTo>
                  <a:cubicBezTo>
                    <a:pt x="144" y="20"/>
                    <a:pt x="141" y="17"/>
                    <a:pt x="139" y="17"/>
                  </a:cubicBezTo>
                  <a:cubicBezTo>
                    <a:pt x="138" y="17"/>
                    <a:pt x="138" y="17"/>
                    <a:pt x="138" y="17"/>
                  </a:cubicBezTo>
                  <a:cubicBezTo>
                    <a:pt x="132" y="21"/>
                    <a:pt x="132" y="21"/>
                    <a:pt x="132" y="21"/>
                  </a:cubicBezTo>
                  <a:cubicBezTo>
                    <a:pt x="44" y="21"/>
                    <a:pt x="44" y="21"/>
                    <a:pt x="44" y="21"/>
                  </a:cubicBezTo>
                  <a:cubicBezTo>
                    <a:pt x="44" y="51"/>
                    <a:pt x="44" y="51"/>
                    <a:pt x="44" y="51"/>
                  </a:cubicBezTo>
                  <a:cubicBezTo>
                    <a:pt x="31" y="51"/>
                    <a:pt x="31" y="51"/>
                    <a:pt x="31" y="51"/>
                  </a:cubicBezTo>
                  <a:cubicBezTo>
                    <a:pt x="31" y="99"/>
                    <a:pt x="31" y="99"/>
                    <a:pt x="31" y="99"/>
                  </a:cubicBezTo>
                  <a:cubicBezTo>
                    <a:pt x="31" y="101"/>
                    <a:pt x="31" y="113"/>
                    <a:pt x="29" y="114"/>
                  </a:cubicBezTo>
                  <a:cubicBezTo>
                    <a:pt x="28" y="114"/>
                    <a:pt x="28" y="114"/>
                    <a:pt x="28" y="115"/>
                  </a:cubicBezTo>
                  <a:cubicBezTo>
                    <a:pt x="25" y="115"/>
                    <a:pt x="16" y="118"/>
                    <a:pt x="16" y="122"/>
                  </a:cubicBezTo>
                  <a:cubicBezTo>
                    <a:pt x="16" y="126"/>
                    <a:pt x="16" y="130"/>
                    <a:pt x="11" y="131"/>
                  </a:cubicBezTo>
                  <a:cubicBezTo>
                    <a:pt x="9" y="132"/>
                    <a:pt x="9" y="133"/>
                    <a:pt x="8" y="136"/>
                  </a:cubicBezTo>
                  <a:cubicBezTo>
                    <a:pt x="8" y="139"/>
                    <a:pt x="8" y="142"/>
                    <a:pt x="4" y="142"/>
                  </a:cubicBezTo>
                  <a:cubicBezTo>
                    <a:pt x="3" y="142"/>
                    <a:pt x="3" y="142"/>
                    <a:pt x="2" y="143"/>
                  </a:cubicBezTo>
                  <a:cubicBezTo>
                    <a:pt x="2" y="143"/>
                    <a:pt x="3" y="144"/>
                    <a:pt x="3" y="146"/>
                  </a:cubicBezTo>
                  <a:cubicBezTo>
                    <a:pt x="4" y="148"/>
                    <a:pt x="6" y="151"/>
                    <a:pt x="4" y="153"/>
                  </a:cubicBezTo>
                  <a:cubicBezTo>
                    <a:pt x="2" y="154"/>
                    <a:pt x="1" y="157"/>
                    <a:pt x="2" y="158"/>
                  </a:cubicBezTo>
                  <a:cubicBezTo>
                    <a:pt x="2" y="159"/>
                    <a:pt x="3" y="160"/>
                    <a:pt x="5" y="160"/>
                  </a:cubicBezTo>
                  <a:cubicBezTo>
                    <a:pt x="6" y="160"/>
                    <a:pt x="7" y="160"/>
                    <a:pt x="8" y="161"/>
                  </a:cubicBezTo>
                  <a:cubicBezTo>
                    <a:pt x="9" y="162"/>
                    <a:pt x="9" y="165"/>
                    <a:pt x="8" y="167"/>
                  </a:cubicBezTo>
                  <a:cubicBezTo>
                    <a:pt x="8" y="169"/>
                    <a:pt x="8" y="170"/>
                    <a:pt x="8" y="171"/>
                  </a:cubicBezTo>
                  <a:cubicBezTo>
                    <a:pt x="8" y="176"/>
                    <a:pt x="15" y="180"/>
                    <a:pt x="15" y="180"/>
                  </a:cubicBezTo>
                  <a:cubicBezTo>
                    <a:pt x="15" y="180"/>
                    <a:pt x="15" y="180"/>
                    <a:pt x="15" y="180"/>
                  </a:cubicBezTo>
                  <a:cubicBezTo>
                    <a:pt x="14" y="186"/>
                    <a:pt x="14" y="186"/>
                    <a:pt x="14" y="186"/>
                  </a:cubicBezTo>
                  <a:cubicBezTo>
                    <a:pt x="15" y="188"/>
                    <a:pt x="23" y="198"/>
                    <a:pt x="24" y="201"/>
                  </a:cubicBezTo>
                  <a:cubicBezTo>
                    <a:pt x="25" y="201"/>
                    <a:pt x="25" y="202"/>
                    <a:pt x="25" y="203"/>
                  </a:cubicBezTo>
                  <a:cubicBezTo>
                    <a:pt x="27" y="205"/>
                    <a:pt x="28" y="209"/>
                    <a:pt x="27" y="211"/>
                  </a:cubicBezTo>
                  <a:cubicBezTo>
                    <a:pt x="27" y="212"/>
                    <a:pt x="26" y="213"/>
                    <a:pt x="25" y="214"/>
                  </a:cubicBezTo>
                  <a:cubicBezTo>
                    <a:pt x="23" y="215"/>
                    <a:pt x="22" y="216"/>
                    <a:pt x="22" y="216"/>
                  </a:cubicBezTo>
                  <a:cubicBezTo>
                    <a:pt x="22" y="217"/>
                    <a:pt x="23" y="218"/>
                    <a:pt x="23" y="218"/>
                  </a:cubicBezTo>
                  <a:cubicBezTo>
                    <a:pt x="30" y="219"/>
                    <a:pt x="30" y="219"/>
                    <a:pt x="30" y="219"/>
                  </a:cubicBezTo>
                  <a:cubicBezTo>
                    <a:pt x="31" y="224"/>
                    <a:pt x="31" y="224"/>
                    <a:pt x="31" y="224"/>
                  </a:cubicBezTo>
                  <a:cubicBezTo>
                    <a:pt x="33" y="224"/>
                    <a:pt x="39" y="224"/>
                    <a:pt x="43" y="229"/>
                  </a:cubicBezTo>
                  <a:cubicBezTo>
                    <a:pt x="44" y="231"/>
                    <a:pt x="45" y="232"/>
                    <a:pt x="46" y="233"/>
                  </a:cubicBezTo>
                  <a:cubicBezTo>
                    <a:pt x="48" y="235"/>
                    <a:pt x="49" y="236"/>
                    <a:pt x="49" y="238"/>
                  </a:cubicBezTo>
                  <a:cubicBezTo>
                    <a:pt x="49" y="240"/>
                    <a:pt x="51" y="241"/>
                    <a:pt x="53" y="242"/>
                  </a:cubicBezTo>
                  <a:cubicBezTo>
                    <a:pt x="55" y="243"/>
                    <a:pt x="56" y="245"/>
                    <a:pt x="58" y="246"/>
                  </a:cubicBezTo>
                  <a:cubicBezTo>
                    <a:pt x="64" y="251"/>
                    <a:pt x="64" y="254"/>
                    <a:pt x="64" y="256"/>
                  </a:cubicBezTo>
                  <a:cubicBezTo>
                    <a:pt x="64" y="258"/>
                    <a:pt x="70" y="261"/>
                    <a:pt x="73" y="263"/>
                  </a:cubicBezTo>
                  <a:cubicBezTo>
                    <a:pt x="74" y="263"/>
                    <a:pt x="74" y="263"/>
                    <a:pt x="74" y="263"/>
                  </a:cubicBezTo>
                  <a:cubicBezTo>
                    <a:pt x="77" y="272"/>
                    <a:pt x="77" y="272"/>
                    <a:pt x="77" y="272"/>
                  </a:cubicBezTo>
                  <a:cubicBezTo>
                    <a:pt x="78" y="272"/>
                    <a:pt x="80" y="273"/>
                    <a:pt x="81" y="276"/>
                  </a:cubicBezTo>
                  <a:cubicBezTo>
                    <a:pt x="83" y="280"/>
                    <a:pt x="87" y="282"/>
                    <a:pt x="87" y="283"/>
                  </a:cubicBezTo>
                  <a:cubicBezTo>
                    <a:pt x="87" y="283"/>
                    <a:pt x="89" y="284"/>
                    <a:pt x="92" y="284"/>
                  </a:cubicBezTo>
                  <a:cubicBezTo>
                    <a:pt x="93" y="284"/>
                    <a:pt x="94" y="284"/>
                    <a:pt x="95" y="283"/>
                  </a:cubicBezTo>
                  <a:cubicBezTo>
                    <a:pt x="96" y="282"/>
                    <a:pt x="97" y="281"/>
                    <a:pt x="99" y="281"/>
                  </a:cubicBezTo>
                  <a:cubicBezTo>
                    <a:pt x="101" y="281"/>
                    <a:pt x="103" y="283"/>
                    <a:pt x="104" y="283"/>
                  </a:cubicBezTo>
                  <a:cubicBezTo>
                    <a:pt x="105" y="283"/>
                    <a:pt x="107" y="281"/>
                    <a:pt x="109" y="281"/>
                  </a:cubicBezTo>
                  <a:cubicBezTo>
                    <a:pt x="110" y="281"/>
                    <a:pt x="111" y="281"/>
                    <a:pt x="111" y="282"/>
                  </a:cubicBezTo>
                  <a:cubicBezTo>
                    <a:pt x="113" y="283"/>
                    <a:pt x="121" y="289"/>
                    <a:pt x="128" y="296"/>
                  </a:cubicBezTo>
                  <a:cubicBezTo>
                    <a:pt x="130" y="295"/>
                    <a:pt x="136" y="293"/>
                    <a:pt x="138" y="293"/>
                  </a:cubicBezTo>
                  <a:cubicBezTo>
                    <a:pt x="139" y="293"/>
                    <a:pt x="139" y="293"/>
                    <a:pt x="139" y="29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6" name="Freeform 43"/>
            <p:cNvSpPr>
              <a:spLocks noEditPoints="1"/>
            </p:cNvSpPr>
            <p:nvPr/>
          </p:nvSpPr>
          <p:spPr>
            <a:xfrm>
              <a:off x="5792789" y="3490913"/>
              <a:ext cx="47625" cy="49213"/>
            </a:xfrm>
            <a:custGeom>
              <a:gdLst>
                <a:gd name="T0" fmla="*/ 18 w 28"/>
                <a:gd name="T1" fmla="*/ 29 h 29"/>
                <a:gd name="T2" fmla="*/ 18 w 28"/>
                <a:gd name="T3" fmla="*/ 29 h 29"/>
                <a:gd name="T4" fmla="*/ 13 w 28"/>
                <a:gd name="T5" fmla="*/ 26 h 29"/>
                <a:gd name="T6" fmla="*/ 12 w 28"/>
                <a:gd name="T7" fmla="*/ 27 h 29"/>
                <a:gd name="T8" fmla="*/ 6 w 28"/>
                <a:gd name="T9" fmla="*/ 28 h 29"/>
                <a:gd name="T10" fmla="*/ 3 w 28"/>
                <a:gd name="T11" fmla="*/ 27 h 29"/>
                <a:gd name="T12" fmla="*/ 3 w 28"/>
                <a:gd name="T13" fmla="*/ 14 h 29"/>
                <a:gd name="T14" fmla="*/ 10 w 28"/>
                <a:gd name="T15" fmla="*/ 4 h 29"/>
                <a:gd name="T16" fmla="*/ 11 w 28"/>
                <a:gd name="T17" fmla="*/ 4 h 29"/>
                <a:gd name="T18" fmla="*/ 11 w 28"/>
                <a:gd name="T19" fmla="*/ 4 h 29"/>
                <a:gd name="T20" fmla="*/ 12 w 28"/>
                <a:gd name="T21" fmla="*/ 4 h 29"/>
                <a:gd name="T22" fmla="*/ 15 w 28"/>
                <a:gd name="T23" fmla="*/ 4 h 29"/>
                <a:gd name="T24" fmla="*/ 17 w 28"/>
                <a:gd name="T25" fmla="*/ 4 h 29"/>
                <a:gd name="T26" fmla="*/ 21 w 28"/>
                <a:gd name="T27" fmla="*/ 1 h 29"/>
                <a:gd name="T28" fmla="*/ 22 w 28"/>
                <a:gd name="T29" fmla="*/ 0 h 29"/>
                <a:gd name="T30" fmla="*/ 22 w 28"/>
                <a:gd name="T31" fmla="*/ 1 h 29"/>
                <a:gd name="T32" fmla="*/ 24 w 28"/>
                <a:gd name="T33" fmla="*/ 2 h 29"/>
                <a:gd name="T34" fmla="*/ 28 w 28"/>
                <a:gd name="T35" fmla="*/ 10 h 29"/>
                <a:gd name="T36" fmla="*/ 25 w 28"/>
                <a:gd name="T37" fmla="*/ 12 h 29"/>
                <a:gd name="T38" fmla="*/ 17 w 28"/>
                <a:gd name="T39" fmla="*/ 17 h 29"/>
                <a:gd name="T40" fmla="*/ 17 w 28"/>
                <a:gd name="T41" fmla="*/ 18 h 29"/>
                <a:gd name="T42" fmla="*/ 19 w 28"/>
                <a:gd name="T43" fmla="*/ 19 h 29"/>
                <a:gd name="T44" fmla="*/ 25 w 28"/>
                <a:gd name="T45" fmla="*/ 21 h 29"/>
                <a:gd name="T46" fmla="*/ 25 w 28"/>
                <a:gd name="T47" fmla="*/ 21 h 29"/>
                <a:gd name="T48" fmla="*/ 25 w 28"/>
                <a:gd name="T49" fmla="*/ 22 h 29"/>
                <a:gd name="T50" fmla="*/ 19 w 28"/>
                <a:gd name="T51" fmla="*/ 29 h 29"/>
                <a:gd name="T52" fmla="*/ 18 w 28"/>
                <a:gd name="T53" fmla="*/ 29 h 29"/>
                <a:gd name="T54" fmla="*/ 13 w 28"/>
                <a:gd name="T55" fmla="*/ 25 h 29"/>
                <a:gd name="T56" fmla="*/ 18 w 28"/>
                <a:gd name="T57" fmla="*/ 28 h 29"/>
                <a:gd name="T58" fmla="*/ 24 w 28"/>
                <a:gd name="T59" fmla="*/ 22 h 29"/>
                <a:gd name="T60" fmla="*/ 19 w 28"/>
                <a:gd name="T61" fmla="*/ 20 h 29"/>
                <a:gd name="T62" fmla="*/ 16 w 28"/>
                <a:gd name="T63" fmla="*/ 18 h 29"/>
                <a:gd name="T64" fmla="*/ 16 w 28"/>
                <a:gd name="T65" fmla="*/ 17 h 29"/>
                <a:gd name="T66" fmla="*/ 25 w 28"/>
                <a:gd name="T67" fmla="*/ 11 h 29"/>
                <a:gd name="T68" fmla="*/ 27 w 28"/>
                <a:gd name="T69" fmla="*/ 9 h 29"/>
                <a:gd name="T70" fmla="*/ 23 w 28"/>
                <a:gd name="T71" fmla="*/ 3 h 29"/>
                <a:gd name="T72" fmla="*/ 22 w 28"/>
                <a:gd name="T73" fmla="*/ 2 h 29"/>
                <a:gd name="T74" fmla="*/ 22 w 28"/>
                <a:gd name="T75" fmla="*/ 2 h 29"/>
                <a:gd name="T76" fmla="*/ 18 w 28"/>
                <a:gd name="T77" fmla="*/ 4 h 29"/>
                <a:gd name="T78" fmla="*/ 15 w 28"/>
                <a:gd name="T79" fmla="*/ 5 h 29"/>
                <a:gd name="T80" fmla="*/ 12 w 28"/>
                <a:gd name="T81" fmla="*/ 5 h 29"/>
                <a:gd name="T82" fmla="*/ 11 w 28"/>
                <a:gd name="T83" fmla="*/ 5 h 29"/>
                <a:gd name="T84" fmla="*/ 4 w 28"/>
                <a:gd name="T85" fmla="*/ 15 h 29"/>
                <a:gd name="T86" fmla="*/ 4 w 28"/>
                <a:gd name="T87" fmla="*/ 26 h 29"/>
                <a:gd name="T88" fmla="*/ 6 w 28"/>
                <a:gd name="T89" fmla="*/ 27 h 29"/>
                <a:gd name="T90" fmla="*/ 11 w 28"/>
                <a:gd name="T91" fmla="*/ 26 h 29"/>
                <a:gd name="T92" fmla="*/ 13 w 28"/>
                <a:gd name="T93" fmla="*/ 25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29">
                  <a:moveTo>
                    <a:pt x="18" y="29"/>
                  </a:moveTo>
                  <a:cubicBezTo>
                    <a:pt x="18" y="29"/>
                    <a:pt x="18" y="29"/>
                    <a:pt x="18" y="29"/>
                  </a:cubicBezTo>
                  <a:cubicBezTo>
                    <a:pt x="16" y="27"/>
                    <a:pt x="15" y="26"/>
                    <a:pt x="13" y="26"/>
                  </a:cubicBezTo>
                  <a:cubicBezTo>
                    <a:pt x="13" y="26"/>
                    <a:pt x="12" y="26"/>
                    <a:pt x="12" y="27"/>
                  </a:cubicBezTo>
                  <a:cubicBezTo>
                    <a:pt x="10" y="28"/>
                    <a:pt x="8" y="28"/>
                    <a:pt x="6" y="28"/>
                  </a:cubicBezTo>
                  <a:cubicBezTo>
                    <a:pt x="4" y="28"/>
                    <a:pt x="3" y="28"/>
                    <a:pt x="3" y="27"/>
                  </a:cubicBezTo>
                  <a:cubicBezTo>
                    <a:pt x="2" y="25"/>
                    <a:pt x="0" y="18"/>
                    <a:pt x="3" y="14"/>
                  </a:cubicBezTo>
                  <a:cubicBezTo>
                    <a:pt x="6" y="11"/>
                    <a:pt x="10" y="5"/>
                    <a:pt x="10" y="4"/>
                  </a:cubicBezTo>
                  <a:cubicBezTo>
                    <a:pt x="11" y="4"/>
                    <a:pt x="11" y="4"/>
                    <a:pt x="11" y="4"/>
                  </a:cubicBezTo>
                  <a:cubicBezTo>
                    <a:pt x="11" y="4"/>
                    <a:pt x="11" y="4"/>
                    <a:pt x="11" y="4"/>
                  </a:cubicBezTo>
                  <a:cubicBezTo>
                    <a:pt x="12" y="4"/>
                    <a:pt x="12" y="4"/>
                    <a:pt x="12" y="4"/>
                  </a:cubicBezTo>
                  <a:cubicBezTo>
                    <a:pt x="13" y="4"/>
                    <a:pt x="14" y="4"/>
                    <a:pt x="15" y="4"/>
                  </a:cubicBezTo>
                  <a:cubicBezTo>
                    <a:pt x="16" y="4"/>
                    <a:pt x="17" y="4"/>
                    <a:pt x="17" y="4"/>
                  </a:cubicBezTo>
                  <a:cubicBezTo>
                    <a:pt x="18" y="3"/>
                    <a:pt x="19" y="2"/>
                    <a:pt x="21" y="1"/>
                  </a:cubicBezTo>
                  <a:cubicBezTo>
                    <a:pt x="22" y="0"/>
                    <a:pt x="22" y="0"/>
                    <a:pt x="22" y="0"/>
                  </a:cubicBezTo>
                  <a:cubicBezTo>
                    <a:pt x="22" y="1"/>
                    <a:pt x="22" y="1"/>
                    <a:pt x="22" y="1"/>
                  </a:cubicBezTo>
                  <a:cubicBezTo>
                    <a:pt x="23" y="2"/>
                    <a:pt x="23" y="2"/>
                    <a:pt x="24" y="2"/>
                  </a:cubicBezTo>
                  <a:cubicBezTo>
                    <a:pt x="26" y="4"/>
                    <a:pt x="28" y="7"/>
                    <a:pt x="28" y="10"/>
                  </a:cubicBezTo>
                  <a:cubicBezTo>
                    <a:pt x="27" y="11"/>
                    <a:pt x="27" y="12"/>
                    <a:pt x="25" y="12"/>
                  </a:cubicBezTo>
                  <a:cubicBezTo>
                    <a:pt x="22" y="13"/>
                    <a:pt x="17" y="16"/>
                    <a:pt x="17" y="17"/>
                  </a:cubicBezTo>
                  <a:cubicBezTo>
                    <a:pt x="17" y="18"/>
                    <a:pt x="17" y="18"/>
                    <a:pt x="17" y="18"/>
                  </a:cubicBezTo>
                  <a:cubicBezTo>
                    <a:pt x="17" y="18"/>
                    <a:pt x="18" y="18"/>
                    <a:pt x="19" y="19"/>
                  </a:cubicBezTo>
                  <a:cubicBezTo>
                    <a:pt x="21" y="19"/>
                    <a:pt x="23" y="20"/>
                    <a:pt x="25" y="21"/>
                  </a:cubicBezTo>
                  <a:cubicBezTo>
                    <a:pt x="25" y="21"/>
                    <a:pt x="25" y="21"/>
                    <a:pt x="25" y="21"/>
                  </a:cubicBezTo>
                  <a:cubicBezTo>
                    <a:pt x="25" y="22"/>
                    <a:pt x="25" y="22"/>
                    <a:pt x="25" y="22"/>
                  </a:cubicBezTo>
                  <a:cubicBezTo>
                    <a:pt x="22" y="24"/>
                    <a:pt x="20" y="27"/>
                    <a:pt x="19" y="29"/>
                  </a:cubicBezTo>
                  <a:lnTo>
                    <a:pt x="18" y="29"/>
                  </a:lnTo>
                  <a:close/>
                  <a:moveTo>
                    <a:pt x="13" y="25"/>
                  </a:moveTo>
                  <a:cubicBezTo>
                    <a:pt x="15" y="25"/>
                    <a:pt x="16" y="26"/>
                    <a:pt x="18" y="28"/>
                  </a:cubicBezTo>
                  <a:cubicBezTo>
                    <a:pt x="20" y="26"/>
                    <a:pt x="21" y="24"/>
                    <a:pt x="24" y="22"/>
                  </a:cubicBezTo>
                  <a:cubicBezTo>
                    <a:pt x="22" y="21"/>
                    <a:pt x="20" y="20"/>
                    <a:pt x="19" y="20"/>
                  </a:cubicBezTo>
                  <a:cubicBezTo>
                    <a:pt x="18" y="19"/>
                    <a:pt x="17" y="19"/>
                    <a:pt x="16" y="18"/>
                  </a:cubicBezTo>
                  <a:cubicBezTo>
                    <a:pt x="16" y="18"/>
                    <a:pt x="16" y="18"/>
                    <a:pt x="16" y="17"/>
                  </a:cubicBezTo>
                  <a:cubicBezTo>
                    <a:pt x="16" y="15"/>
                    <a:pt x="21" y="12"/>
                    <a:pt x="25" y="11"/>
                  </a:cubicBezTo>
                  <a:cubicBezTo>
                    <a:pt x="26" y="11"/>
                    <a:pt x="26" y="10"/>
                    <a:pt x="27" y="9"/>
                  </a:cubicBezTo>
                  <a:cubicBezTo>
                    <a:pt x="27" y="8"/>
                    <a:pt x="26" y="5"/>
                    <a:pt x="23" y="3"/>
                  </a:cubicBezTo>
                  <a:cubicBezTo>
                    <a:pt x="22" y="2"/>
                    <a:pt x="22" y="2"/>
                    <a:pt x="22" y="2"/>
                  </a:cubicBezTo>
                  <a:cubicBezTo>
                    <a:pt x="22" y="2"/>
                    <a:pt x="22" y="2"/>
                    <a:pt x="22" y="2"/>
                  </a:cubicBezTo>
                  <a:cubicBezTo>
                    <a:pt x="20" y="3"/>
                    <a:pt x="18" y="4"/>
                    <a:pt x="18" y="4"/>
                  </a:cubicBezTo>
                  <a:cubicBezTo>
                    <a:pt x="17" y="5"/>
                    <a:pt x="16" y="5"/>
                    <a:pt x="15" y="5"/>
                  </a:cubicBezTo>
                  <a:cubicBezTo>
                    <a:pt x="14" y="5"/>
                    <a:pt x="13" y="5"/>
                    <a:pt x="12" y="5"/>
                  </a:cubicBezTo>
                  <a:cubicBezTo>
                    <a:pt x="11" y="5"/>
                    <a:pt x="11" y="5"/>
                    <a:pt x="11" y="5"/>
                  </a:cubicBezTo>
                  <a:cubicBezTo>
                    <a:pt x="10" y="6"/>
                    <a:pt x="7" y="12"/>
                    <a:pt x="4" y="15"/>
                  </a:cubicBezTo>
                  <a:cubicBezTo>
                    <a:pt x="1" y="18"/>
                    <a:pt x="3" y="25"/>
                    <a:pt x="4" y="26"/>
                  </a:cubicBezTo>
                  <a:cubicBezTo>
                    <a:pt x="4" y="27"/>
                    <a:pt x="5" y="27"/>
                    <a:pt x="6" y="27"/>
                  </a:cubicBezTo>
                  <a:cubicBezTo>
                    <a:pt x="8" y="27"/>
                    <a:pt x="10" y="27"/>
                    <a:pt x="11" y="26"/>
                  </a:cubicBezTo>
                  <a:cubicBezTo>
                    <a:pt x="12" y="25"/>
                    <a:pt x="13" y="25"/>
                    <a:pt x="13"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7" name="Freeform 44"/>
            <p:cNvSpPr>
              <a:spLocks noEditPoints="1"/>
            </p:cNvSpPr>
            <p:nvPr/>
          </p:nvSpPr>
          <p:spPr>
            <a:xfrm>
              <a:off x="5662614" y="3354388"/>
              <a:ext cx="169863" cy="144463"/>
            </a:xfrm>
            <a:custGeom>
              <a:gdLst>
                <a:gd name="T0" fmla="*/ 89 w 100"/>
                <a:gd name="T1" fmla="*/ 85 h 85"/>
                <a:gd name="T2" fmla="*/ 87 w 100"/>
                <a:gd name="T3" fmla="*/ 85 h 85"/>
                <a:gd name="T4" fmla="*/ 57 w 100"/>
                <a:gd name="T5" fmla="*/ 55 h 85"/>
                <a:gd name="T6" fmla="*/ 46 w 100"/>
                <a:gd name="T7" fmla="*/ 55 h 85"/>
                <a:gd name="T8" fmla="*/ 41 w 100"/>
                <a:gd name="T9" fmla="*/ 54 h 85"/>
                <a:gd name="T10" fmla="*/ 37 w 100"/>
                <a:gd name="T11" fmla="*/ 55 h 85"/>
                <a:gd name="T12" fmla="*/ 28 w 100"/>
                <a:gd name="T13" fmla="*/ 52 h 85"/>
                <a:gd name="T14" fmla="*/ 21 w 100"/>
                <a:gd name="T15" fmla="*/ 52 h 85"/>
                <a:gd name="T16" fmla="*/ 16 w 100"/>
                <a:gd name="T17" fmla="*/ 57 h 85"/>
                <a:gd name="T18" fmla="*/ 4 w 100"/>
                <a:gd name="T19" fmla="*/ 57 h 85"/>
                <a:gd name="T20" fmla="*/ 3 w 100"/>
                <a:gd name="T21" fmla="*/ 56 h 85"/>
                <a:gd name="T22" fmla="*/ 4 w 100"/>
                <a:gd name="T23" fmla="*/ 36 h 85"/>
                <a:gd name="T24" fmla="*/ 14 w 100"/>
                <a:gd name="T25" fmla="*/ 16 h 85"/>
                <a:gd name="T26" fmla="*/ 20 w 100"/>
                <a:gd name="T27" fmla="*/ 12 h 85"/>
                <a:gd name="T28" fmla="*/ 32 w 100"/>
                <a:gd name="T29" fmla="*/ 0 h 85"/>
                <a:gd name="T30" fmla="*/ 41 w 100"/>
                <a:gd name="T31" fmla="*/ 17 h 85"/>
                <a:gd name="T32" fmla="*/ 55 w 100"/>
                <a:gd name="T33" fmla="*/ 42 h 85"/>
                <a:gd name="T34" fmla="*/ 84 w 100"/>
                <a:gd name="T35" fmla="*/ 63 h 85"/>
                <a:gd name="T36" fmla="*/ 100 w 100"/>
                <a:gd name="T37" fmla="*/ 81 h 85"/>
                <a:gd name="T38" fmla="*/ 95 w 100"/>
                <a:gd name="T39" fmla="*/ 84 h 85"/>
                <a:gd name="T40" fmla="*/ 89 w 100"/>
                <a:gd name="T41" fmla="*/ 84 h 85"/>
                <a:gd name="T42" fmla="*/ 92 w 100"/>
                <a:gd name="T43" fmla="*/ 84 h 85"/>
                <a:gd name="T44" fmla="*/ 98 w 100"/>
                <a:gd name="T45" fmla="*/ 81 h 85"/>
                <a:gd name="T46" fmla="*/ 60 w 100"/>
                <a:gd name="T47" fmla="*/ 48 h 85"/>
                <a:gd name="T48" fmla="*/ 51 w 100"/>
                <a:gd name="T49" fmla="*/ 39 h 85"/>
                <a:gd name="T50" fmla="*/ 32 w 100"/>
                <a:gd name="T51" fmla="*/ 2 h 85"/>
                <a:gd name="T52" fmla="*/ 18 w 100"/>
                <a:gd name="T53" fmla="*/ 14 h 85"/>
                <a:gd name="T54" fmla="*/ 11 w 100"/>
                <a:gd name="T55" fmla="*/ 22 h 85"/>
                <a:gd name="T56" fmla="*/ 4 w 100"/>
                <a:gd name="T57" fmla="*/ 53 h 85"/>
                <a:gd name="T58" fmla="*/ 10 w 100"/>
                <a:gd name="T59" fmla="*/ 55 h 85"/>
                <a:gd name="T60" fmla="*/ 17 w 100"/>
                <a:gd name="T61" fmla="*/ 57 h 85"/>
                <a:gd name="T62" fmla="*/ 28 w 100"/>
                <a:gd name="T63" fmla="*/ 50 h 85"/>
                <a:gd name="T64" fmla="*/ 34 w 100"/>
                <a:gd name="T65" fmla="*/ 54 h 85"/>
                <a:gd name="T66" fmla="*/ 42 w 100"/>
                <a:gd name="T67" fmla="*/ 53 h 85"/>
                <a:gd name="T68" fmla="*/ 46 w 100"/>
                <a:gd name="T69" fmla="*/ 54 h 85"/>
                <a:gd name="T70" fmla="*/ 57 w 100"/>
                <a:gd name="T71" fmla="*/ 54 h 85"/>
                <a:gd name="T72" fmla="*/ 89 w 100"/>
                <a:gd name="T73" fmla="*/ 84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85">
                  <a:moveTo>
                    <a:pt x="92" y="85"/>
                  </a:moveTo>
                  <a:cubicBezTo>
                    <a:pt x="91" y="85"/>
                    <a:pt x="90" y="85"/>
                    <a:pt x="89" y="85"/>
                  </a:cubicBezTo>
                  <a:cubicBezTo>
                    <a:pt x="88" y="85"/>
                    <a:pt x="88" y="85"/>
                    <a:pt x="88" y="85"/>
                  </a:cubicBezTo>
                  <a:cubicBezTo>
                    <a:pt x="87" y="85"/>
                    <a:pt x="87" y="85"/>
                    <a:pt x="87" y="85"/>
                  </a:cubicBezTo>
                  <a:cubicBezTo>
                    <a:pt x="87" y="84"/>
                    <a:pt x="87" y="84"/>
                    <a:pt x="87" y="84"/>
                  </a:cubicBezTo>
                  <a:cubicBezTo>
                    <a:pt x="77" y="73"/>
                    <a:pt x="59" y="55"/>
                    <a:pt x="57" y="55"/>
                  </a:cubicBezTo>
                  <a:cubicBezTo>
                    <a:pt x="56" y="54"/>
                    <a:pt x="53" y="55"/>
                    <a:pt x="51" y="55"/>
                  </a:cubicBezTo>
                  <a:cubicBezTo>
                    <a:pt x="49" y="55"/>
                    <a:pt x="47" y="55"/>
                    <a:pt x="46" y="55"/>
                  </a:cubicBezTo>
                  <a:cubicBezTo>
                    <a:pt x="44" y="55"/>
                    <a:pt x="43" y="55"/>
                    <a:pt x="42" y="55"/>
                  </a:cubicBezTo>
                  <a:cubicBezTo>
                    <a:pt x="42" y="54"/>
                    <a:pt x="41" y="54"/>
                    <a:pt x="41" y="54"/>
                  </a:cubicBezTo>
                  <a:cubicBezTo>
                    <a:pt x="40" y="53"/>
                    <a:pt x="40" y="53"/>
                    <a:pt x="40" y="53"/>
                  </a:cubicBezTo>
                  <a:cubicBezTo>
                    <a:pt x="39" y="53"/>
                    <a:pt x="38" y="54"/>
                    <a:pt x="37" y="55"/>
                  </a:cubicBezTo>
                  <a:cubicBezTo>
                    <a:pt x="35" y="55"/>
                    <a:pt x="35" y="55"/>
                    <a:pt x="34" y="55"/>
                  </a:cubicBezTo>
                  <a:cubicBezTo>
                    <a:pt x="31" y="55"/>
                    <a:pt x="30" y="54"/>
                    <a:pt x="28" y="52"/>
                  </a:cubicBezTo>
                  <a:cubicBezTo>
                    <a:pt x="27" y="51"/>
                    <a:pt x="27" y="51"/>
                    <a:pt x="27" y="51"/>
                  </a:cubicBezTo>
                  <a:cubicBezTo>
                    <a:pt x="24" y="48"/>
                    <a:pt x="22" y="49"/>
                    <a:pt x="21" y="52"/>
                  </a:cubicBezTo>
                  <a:cubicBezTo>
                    <a:pt x="20" y="56"/>
                    <a:pt x="19" y="58"/>
                    <a:pt x="17" y="58"/>
                  </a:cubicBezTo>
                  <a:cubicBezTo>
                    <a:pt x="17" y="58"/>
                    <a:pt x="16" y="58"/>
                    <a:pt x="16" y="57"/>
                  </a:cubicBezTo>
                  <a:cubicBezTo>
                    <a:pt x="15" y="57"/>
                    <a:pt x="14" y="56"/>
                    <a:pt x="10" y="56"/>
                  </a:cubicBezTo>
                  <a:cubicBezTo>
                    <a:pt x="8" y="56"/>
                    <a:pt x="6" y="56"/>
                    <a:pt x="4" y="57"/>
                  </a:cubicBezTo>
                  <a:cubicBezTo>
                    <a:pt x="3" y="57"/>
                    <a:pt x="3" y="57"/>
                    <a:pt x="3" y="57"/>
                  </a:cubicBezTo>
                  <a:cubicBezTo>
                    <a:pt x="3" y="56"/>
                    <a:pt x="3" y="56"/>
                    <a:pt x="3" y="56"/>
                  </a:cubicBezTo>
                  <a:cubicBezTo>
                    <a:pt x="3" y="55"/>
                    <a:pt x="3" y="54"/>
                    <a:pt x="3" y="53"/>
                  </a:cubicBezTo>
                  <a:cubicBezTo>
                    <a:pt x="2" y="47"/>
                    <a:pt x="0" y="41"/>
                    <a:pt x="4" y="36"/>
                  </a:cubicBezTo>
                  <a:cubicBezTo>
                    <a:pt x="9" y="31"/>
                    <a:pt x="10" y="26"/>
                    <a:pt x="10" y="22"/>
                  </a:cubicBezTo>
                  <a:cubicBezTo>
                    <a:pt x="9" y="19"/>
                    <a:pt x="12" y="17"/>
                    <a:pt x="14" y="16"/>
                  </a:cubicBezTo>
                  <a:cubicBezTo>
                    <a:pt x="16" y="15"/>
                    <a:pt x="17" y="14"/>
                    <a:pt x="18" y="14"/>
                  </a:cubicBezTo>
                  <a:cubicBezTo>
                    <a:pt x="18" y="13"/>
                    <a:pt x="19" y="12"/>
                    <a:pt x="20" y="12"/>
                  </a:cubicBezTo>
                  <a:cubicBezTo>
                    <a:pt x="23" y="10"/>
                    <a:pt x="28" y="7"/>
                    <a:pt x="32" y="1"/>
                  </a:cubicBezTo>
                  <a:cubicBezTo>
                    <a:pt x="32" y="0"/>
                    <a:pt x="32" y="0"/>
                    <a:pt x="32" y="0"/>
                  </a:cubicBezTo>
                  <a:cubicBezTo>
                    <a:pt x="32" y="1"/>
                    <a:pt x="32" y="1"/>
                    <a:pt x="32" y="1"/>
                  </a:cubicBezTo>
                  <a:cubicBezTo>
                    <a:pt x="35" y="4"/>
                    <a:pt x="41" y="11"/>
                    <a:pt x="41" y="17"/>
                  </a:cubicBezTo>
                  <a:cubicBezTo>
                    <a:pt x="41" y="25"/>
                    <a:pt x="48" y="38"/>
                    <a:pt x="51" y="38"/>
                  </a:cubicBezTo>
                  <a:cubicBezTo>
                    <a:pt x="53" y="38"/>
                    <a:pt x="54" y="40"/>
                    <a:pt x="55" y="42"/>
                  </a:cubicBezTo>
                  <a:cubicBezTo>
                    <a:pt x="56" y="45"/>
                    <a:pt x="58" y="47"/>
                    <a:pt x="60" y="47"/>
                  </a:cubicBezTo>
                  <a:cubicBezTo>
                    <a:pt x="65" y="47"/>
                    <a:pt x="75" y="53"/>
                    <a:pt x="84" y="63"/>
                  </a:cubicBezTo>
                  <a:cubicBezTo>
                    <a:pt x="91" y="72"/>
                    <a:pt x="96" y="78"/>
                    <a:pt x="99" y="81"/>
                  </a:cubicBezTo>
                  <a:cubicBezTo>
                    <a:pt x="100" y="81"/>
                    <a:pt x="100" y="81"/>
                    <a:pt x="100" y="81"/>
                  </a:cubicBezTo>
                  <a:cubicBezTo>
                    <a:pt x="99" y="81"/>
                    <a:pt x="99" y="81"/>
                    <a:pt x="99" y="81"/>
                  </a:cubicBezTo>
                  <a:cubicBezTo>
                    <a:pt x="97" y="83"/>
                    <a:pt x="95" y="84"/>
                    <a:pt x="95" y="84"/>
                  </a:cubicBezTo>
                  <a:cubicBezTo>
                    <a:pt x="94" y="85"/>
                    <a:pt x="93" y="85"/>
                    <a:pt x="92" y="85"/>
                  </a:cubicBezTo>
                  <a:close/>
                  <a:moveTo>
                    <a:pt x="89" y="84"/>
                  </a:moveTo>
                  <a:cubicBezTo>
                    <a:pt x="89" y="84"/>
                    <a:pt x="89" y="84"/>
                    <a:pt x="89" y="84"/>
                  </a:cubicBezTo>
                  <a:cubicBezTo>
                    <a:pt x="90" y="84"/>
                    <a:pt x="91" y="84"/>
                    <a:pt x="92" y="84"/>
                  </a:cubicBezTo>
                  <a:cubicBezTo>
                    <a:pt x="93" y="84"/>
                    <a:pt x="94" y="84"/>
                    <a:pt x="94" y="84"/>
                  </a:cubicBezTo>
                  <a:cubicBezTo>
                    <a:pt x="95" y="83"/>
                    <a:pt x="96" y="82"/>
                    <a:pt x="98" y="81"/>
                  </a:cubicBezTo>
                  <a:cubicBezTo>
                    <a:pt x="95" y="78"/>
                    <a:pt x="90" y="73"/>
                    <a:pt x="83" y="64"/>
                  </a:cubicBezTo>
                  <a:cubicBezTo>
                    <a:pt x="75" y="54"/>
                    <a:pt x="65" y="48"/>
                    <a:pt x="60" y="48"/>
                  </a:cubicBezTo>
                  <a:cubicBezTo>
                    <a:pt x="57" y="48"/>
                    <a:pt x="55" y="45"/>
                    <a:pt x="54" y="43"/>
                  </a:cubicBezTo>
                  <a:cubicBezTo>
                    <a:pt x="53" y="41"/>
                    <a:pt x="52" y="39"/>
                    <a:pt x="51" y="39"/>
                  </a:cubicBezTo>
                  <a:cubicBezTo>
                    <a:pt x="47" y="39"/>
                    <a:pt x="40" y="25"/>
                    <a:pt x="40" y="17"/>
                  </a:cubicBezTo>
                  <a:cubicBezTo>
                    <a:pt x="40" y="13"/>
                    <a:pt x="37" y="8"/>
                    <a:pt x="32" y="2"/>
                  </a:cubicBezTo>
                  <a:cubicBezTo>
                    <a:pt x="28" y="8"/>
                    <a:pt x="24" y="11"/>
                    <a:pt x="21" y="13"/>
                  </a:cubicBezTo>
                  <a:cubicBezTo>
                    <a:pt x="20" y="13"/>
                    <a:pt x="19" y="14"/>
                    <a:pt x="18" y="14"/>
                  </a:cubicBezTo>
                  <a:cubicBezTo>
                    <a:pt x="18" y="15"/>
                    <a:pt x="16" y="16"/>
                    <a:pt x="15" y="17"/>
                  </a:cubicBezTo>
                  <a:cubicBezTo>
                    <a:pt x="12" y="18"/>
                    <a:pt x="10" y="19"/>
                    <a:pt x="11" y="22"/>
                  </a:cubicBezTo>
                  <a:cubicBezTo>
                    <a:pt x="11" y="27"/>
                    <a:pt x="10" y="31"/>
                    <a:pt x="5" y="37"/>
                  </a:cubicBezTo>
                  <a:cubicBezTo>
                    <a:pt x="1" y="41"/>
                    <a:pt x="3" y="47"/>
                    <a:pt x="4" y="53"/>
                  </a:cubicBezTo>
                  <a:cubicBezTo>
                    <a:pt x="4" y="54"/>
                    <a:pt x="4" y="55"/>
                    <a:pt x="4" y="56"/>
                  </a:cubicBezTo>
                  <a:cubicBezTo>
                    <a:pt x="6" y="55"/>
                    <a:pt x="8" y="55"/>
                    <a:pt x="10" y="55"/>
                  </a:cubicBezTo>
                  <a:cubicBezTo>
                    <a:pt x="15" y="55"/>
                    <a:pt x="16" y="56"/>
                    <a:pt x="16" y="56"/>
                  </a:cubicBezTo>
                  <a:cubicBezTo>
                    <a:pt x="17" y="57"/>
                    <a:pt x="17" y="57"/>
                    <a:pt x="17" y="57"/>
                  </a:cubicBezTo>
                  <a:cubicBezTo>
                    <a:pt x="18" y="57"/>
                    <a:pt x="19" y="54"/>
                    <a:pt x="20" y="52"/>
                  </a:cubicBezTo>
                  <a:cubicBezTo>
                    <a:pt x="21" y="48"/>
                    <a:pt x="24" y="47"/>
                    <a:pt x="28" y="50"/>
                  </a:cubicBezTo>
                  <a:cubicBezTo>
                    <a:pt x="28" y="51"/>
                    <a:pt x="29" y="51"/>
                    <a:pt x="29" y="52"/>
                  </a:cubicBezTo>
                  <a:cubicBezTo>
                    <a:pt x="31" y="53"/>
                    <a:pt x="32" y="54"/>
                    <a:pt x="34" y="54"/>
                  </a:cubicBezTo>
                  <a:cubicBezTo>
                    <a:pt x="34" y="54"/>
                    <a:pt x="35" y="54"/>
                    <a:pt x="36" y="54"/>
                  </a:cubicBezTo>
                  <a:cubicBezTo>
                    <a:pt x="40" y="52"/>
                    <a:pt x="41" y="52"/>
                    <a:pt x="42" y="53"/>
                  </a:cubicBezTo>
                  <a:cubicBezTo>
                    <a:pt x="42" y="53"/>
                    <a:pt x="42" y="53"/>
                    <a:pt x="43" y="54"/>
                  </a:cubicBezTo>
                  <a:cubicBezTo>
                    <a:pt x="43" y="54"/>
                    <a:pt x="44" y="54"/>
                    <a:pt x="46" y="54"/>
                  </a:cubicBezTo>
                  <a:cubicBezTo>
                    <a:pt x="47" y="54"/>
                    <a:pt x="49" y="54"/>
                    <a:pt x="51" y="54"/>
                  </a:cubicBezTo>
                  <a:cubicBezTo>
                    <a:pt x="53" y="54"/>
                    <a:pt x="56" y="53"/>
                    <a:pt x="57" y="54"/>
                  </a:cubicBezTo>
                  <a:cubicBezTo>
                    <a:pt x="60" y="54"/>
                    <a:pt x="86" y="81"/>
                    <a:pt x="88" y="84"/>
                  </a:cubicBezTo>
                  <a:lnTo>
                    <a:pt x="89" y="84"/>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8" name="Freeform 45"/>
            <p:cNvSpPr>
              <a:spLocks noEditPoints="1"/>
            </p:cNvSpPr>
            <p:nvPr/>
          </p:nvSpPr>
          <p:spPr>
            <a:xfrm>
              <a:off x="5578476" y="3433763"/>
              <a:ext cx="369888" cy="290513"/>
            </a:xfrm>
            <a:custGeom>
              <a:gdLst>
                <a:gd name="T0" fmla="*/ 94 w 218"/>
                <a:gd name="T1" fmla="*/ 170 h 171"/>
                <a:gd name="T2" fmla="*/ 51 w 218"/>
                <a:gd name="T3" fmla="*/ 156 h 171"/>
                <a:gd name="T4" fmla="*/ 41 w 218"/>
                <a:gd name="T5" fmla="*/ 153 h 171"/>
                <a:gd name="T6" fmla="*/ 41 w 218"/>
                <a:gd name="T7" fmla="*/ 146 h 171"/>
                <a:gd name="T8" fmla="*/ 27 w 218"/>
                <a:gd name="T9" fmla="*/ 129 h 171"/>
                <a:gd name="T10" fmla="*/ 8 w 218"/>
                <a:gd name="T11" fmla="*/ 109 h 171"/>
                <a:gd name="T12" fmla="*/ 4 w 218"/>
                <a:gd name="T13" fmla="*/ 97 h 171"/>
                <a:gd name="T14" fmla="*/ 15 w 218"/>
                <a:gd name="T15" fmla="*/ 94 h 171"/>
                <a:gd name="T16" fmla="*/ 20 w 218"/>
                <a:gd name="T17" fmla="*/ 71 h 171"/>
                <a:gd name="T18" fmla="*/ 25 w 218"/>
                <a:gd name="T19" fmla="*/ 60 h 171"/>
                <a:gd name="T20" fmla="*/ 33 w 218"/>
                <a:gd name="T21" fmla="*/ 44 h 171"/>
                <a:gd name="T22" fmla="*/ 48 w 218"/>
                <a:gd name="T23" fmla="*/ 26 h 171"/>
                <a:gd name="T24" fmla="*/ 53 w 218"/>
                <a:gd name="T25" fmla="*/ 9 h 171"/>
                <a:gd name="T26" fmla="*/ 60 w 218"/>
                <a:gd name="T27" fmla="*/ 8 h 171"/>
                <a:gd name="T28" fmla="*/ 70 w 218"/>
                <a:gd name="T29" fmla="*/ 5 h 171"/>
                <a:gd name="T30" fmla="*/ 84 w 218"/>
                <a:gd name="T31" fmla="*/ 7 h 171"/>
                <a:gd name="T32" fmla="*/ 93 w 218"/>
                <a:gd name="T33" fmla="*/ 7 h 171"/>
                <a:gd name="T34" fmla="*/ 107 w 218"/>
                <a:gd name="T35" fmla="*/ 7 h 171"/>
                <a:gd name="T36" fmla="*/ 138 w 218"/>
                <a:gd name="T37" fmla="*/ 37 h 171"/>
                <a:gd name="T38" fmla="*/ 133 w 218"/>
                <a:gd name="T39" fmla="*/ 60 h 171"/>
                <a:gd name="T40" fmla="*/ 146 w 218"/>
                <a:gd name="T41" fmla="*/ 62 h 171"/>
                <a:gd name="T42" fmla="*/ 152 w 218"/>
                <a:gd name="T43" fmla="*/ 80 h 171"/>
                <a:gd name="T44" fmla="*/ 191 w 218"/>
                <a:gd name="T45" fmla="*/ 99 h 171"/>
                <a:gd name="T46" fmla="*/ 217 w 218"/>
                <a:gd name="T47" fmla="*/ 107 h 171"/>
                <a:gd name="T48" fmla="*/ 167 w 218"/>
                <a:gd name="T49" fmla="*/ 149 h 171"/>
                <a:gd name="T50" fmla="*/ 143 w 218"/>
                <a:gd name="T51" fmla="*/ 159 h 171"/>
                <a:gd name="T52" fmla="*/ 124 w 218"/>
                <a:gd name="T53" fmla="*/ 163 h 171"/>
                <a:gd name="T54" fmla="*/ 114 w 218"/>
                <a:gd name="T55" fmla="*/ 159 h 171"/>
                <a:gd name="T56" fmla="*/ 95 w 218"/>
                <a:gd name="T57" fmla="*/ 171 h 171"/>
                <a:gd name="T58" fmla="*/ 46 w 218"/>
                <a:gd name="T59" fmla="*/ 154 h 171"/>
                <a:gd name="T60" fmla="*/ 77 w 218"/>
                <a:gd name="T61" fmla="*/ 167 h 171"/>
                <a:gd name="T62" fmla="*/ 95 w 218"/>
                <a:gd name="T63" fmla="*/ 170 h 171"/>
                <a:gd name="T64" fmla="*/ 114 w 218"/>
                <a:gd name="T65" fmla="*/ 158 h 171"/>
                <a:gd name="T66" fmla="*/ 123 w 218"/>
                <a:gd name="T67" fmla="*/ 162 h 171"/>
                <a:gd name="T68" fmla="*/ 143 w 218"/>
                <a:gd name="T69" fmla="*/ 158 h 171"/>
                <a:gd name="T70" fmla="*/ 167 w 218"/>
                <a:gd name="T71" fmla="*/ 148 h 171"/>
                <a:gd name="T72" fmla="*/ 217 w 218"/>
                <a:gd name="T73" fmla="*/ 106 h 171"/>
                <a:gd name="T74" fmla="*/ 162 w 218"/>
                <a:gd name="T75" fmla="*/ 89 h 171"/>
                <a:gd name="T76" fmla="*/ 143 w 218"/>
                <a:gd name="T77" fmla="*/ 67 h 171"/>
                <a:gd name="T78" fmla="*/ 139 w 218"/>
                <a:gd name="T79" fmla="*/ 60 h 171"/>
                <a:gd name="T80" fmla="*/ 130 w 218"/>
                <a:gd name="T81" fmla="*/ 47 h 171"/>
                <a:gd name="T82" fmla="*/ 101 w 218"/>
                <a:gd name="T83" fmla="*/ 8 h 171"/>
                <a:gd name="T84" fmla="*/ 91 w 218"/>
                <a:gd name="T85" fmla="*/ 7 h 171"/>
                <a:gd name="T86" fmla="*/ 84 w 218"/>
                <a:gd name="T87" fmla="*/ 8 h 171"/>
                <a:gd name="T88" fmla="*/ 71 w 218"/>
                <a:gd name="T89" fmla="*/ 5 h 171"/>
                <a:gd name="T90" fmla="*/ 60 w 218"/>
                <a:gd name="T91" fmla="*/ 9 h 171"/>
                <a:gd name="T92" fmla="*/ 49 w 218"/>
                <a:gd name="T93" fmla="*/ 26 h 171"/>
                <a:gd name="T94" fmla="*/ 33 w 218"/>
                <a:gd name="T95" fmla="*/ 45 h 171"/>
                <a:gd name="T96" fmla="*/ 25 w 218"/>
                <a:gd name="T97" fmla="*/ 61 h 171"/>
                <a:gd name="T98" fmla="*/ 21 w 218"/>
                <a:gd name="T99" fmla="*/ 71 h 171"/>
                <a:gd name="T100" fmla="*/ 15 w 218"/>
                <a:gd name="T101" fmla="*/ 95 h 171"/>
                <a:gd name="T102" fmla="*/ 5 w 218"/>
                <a:gd name="T103" fmla="*/ 97 h 171"/>
                <a:gd name="T104" fmla="*/ 8 w 218"/>
                <a:gd name="T105" fmla="*/ 108 h 171"/>
                <a:gd name="T106" fmla="*/ 28 w 218"/>
                <a:gd name="T107" fmla="*/ 129 h 171"/>
                <a:gd name="T108" fmla="*/ 42 w 218"/>
                <a:gd name="T109" fmla="*/ 147 h 1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171">
                  <a:moveTo>
                    <a:pt x="95" y="171"/>
                  </a:moveTo>
                  <a:cubicBezTo>
                    <a:pt x="95" y="171"/>
                    <a:pt x="95" y="171"/>
                    <a:pt x="95" y="171"/>
                  </a:cubicBezTo>
                  <a:cubicBezTo>
                    <a:pt x="94" y="171"/>
                    <a:pt x="94" y="171"/>
                    <a:pt x="94" y="170"/>
                  </a:cubicBezTo>
                  <a:cubicBezTo>
                    <a:pt x="92" y="169"/>
                    <a:pt x="80" y="168"/>
                    <a:pt x="77" y="168"/>
                  </a:cubicBezTo>
                  <a:cubicBezTo>
                    <a:pt x="74" y="168"/>
                    <a:pt x="63" y="160"/>
                    <a:pt x="60" y="158"/>
                  </a:cubicBezTo>
                  <a:cubicBezTo>
                    <a:pt x="58" y="156"/>
                    <a:pt x="54" y="156"/>
                    <a:pt x="51" y="156"/>
                  </a:cubicBezTo>
                  <a:cubicBezTo>
                    <a:pt x="48" y="156"/>
                    <a:pt x="46" y="155"/>
                    <a:pt x="45" y="155"/>
                  </a:cubicBezTo>
                  <a:cubicBezTo>
                    <a:pt x="45" y="154"/>
                    <a:pt x="43" y="154"/>
                    <a:pt x="42" y="154"/>
                  </a:cubicBezTo>
                  <a:cubicBezTo>
                    <a:pt x="42" y="153"/>
                    <a:pt x="41" y="153"/>
                    <a:pt x="41" y="153"/>
                  </a:cubicBezTo>
                  <a:cubicBezTo>
                    <a:pt x="40" y="153"/>
                    <a:pt x="40" y="153"/>
                    <a:pt x="40" y="153"/>
                  </a:cubicBezTo>
                  <a:cubicBezTo>
                    <a:pt x="40" y="152"/>
                    <a:pt x="40" y="152"/>
                    <a:pt x="40" y="152"/>
                  </a:cubicBezTo>
                  <a:cubicBezTo>
                    <a:pt x="41" y="150"/>
                    <a:pt x="41" y="148"/>
                    <a:pt x="41" y="146"/>
                  </a:cubicBezTo>
                  <a:cubicBezTo>
                    <a:pt x="42" y="143"/>
                    <a:pt x="42" y="141"/>
                    <a:pt x="42" y="140"/>
                  </a:cubicBezTo>
                  <a:cubicBezTo>
                    <a:pt x="42" y="140"/>
                    <a:pt x="42" y="140"/>
                    <a:pt x="41" y="140"/>
                  </a:cubicBezTo>
                  <a:cubicBezTo>
                    <a:pt x="37" y="140"/>
                    <a:pt x="30" y="136"/>
                    <a:pt x="27" y="129"/>
                  </a:cubicBezTo>
                  <a:cubicBezTo>
                    <a:pt x="26" y="125"/>
                    <a:pt x="23" y="122"/>
                    <a:pt x="20" y="119"/>
                  </a:cubicBezTo>
                  <a:cubicBezTo>
                    <a:pt x="17" y="117"/>
                    <a:pt x="15" y="115"/>
                    <a:pt x="15" y="113"/>
                  </a:cubicBezTo>
                  <a:cubicBezTo>
                    <a:pt x="14" y="111"/>
                    <a:pt x="11" y="110"/>
                    <a:pt x="8" y="109"/>
                  </a:cubicBezTo>
                  <a:cubicBezTo>
                    <a:pt x="5" y="108"/>
                    <a:pt x="2" y="108"/>
                    <a:pt x="1" y="106"/>
                  </a:cubicBezTo>
                  <a:cubicBezTo>
                    <a:pt x="0" y="104"/>
                    <a:pt x="1" y="102"/>
                    <a:pt x="2" y="101"/>
                  </a:cubicBezTo>
                  <a:cubicBezTo>
                    <a:pt x="3" y="100"/>
                    <a:pt x="4" y="99"/>
                    <a:pt x="4" y="97"/>
                  </a:cubicBezTo>
                  <a:cubicBezTo>
                    <a:pt x="4" y="94"/>
                    <a:pt x="8" y="94"/>
                    <a:pt x="10" y="94"/>
                  </a:cubicBezTo>
                  <a:cubicBezTo>
                    <a:pt x="11" y="94"/>
                    <a:pt x="12" y="94"/>
                    <a:pt x="13" y="94"/>
                  </a:cubicBezTo>
                  <a:cubicBezTo>
                    <a:pt x="14" y="94"/>
                    <a:pt x="14" y="94"/>
                    <a:pt x="15" y="94"/>
                  </a:cubicBezTo>
                  <a:cubicBezTo>
                    <a:pt x="16" y="94"/>
                    <a:pt x="16" y="94"/>
                    <a:pt x="16" y="94"/>
                  </a:cubicBezTo>
                  <a:cubicBezTo>
                    <a:pt x="16" y="94"/>
                    <a:pt x="17" y="84"/>
                    <a:pt x="17" y="79"/>
                  </a:cubicBezTo>
                  <a:cubicBezTo>
                    <a:pt x="17" y="76"/>
                    <a:pt x="19" y="73"/>
                    <a:pt x="20" y="71"/>
                  </a:cubicBezTo>
                  <a:cubicBezTo>
                    <a:pt x="22" y="69"/>
                    <a:pt x="23" y="67"/>
                    <a:pt x="22" y="65"/>
                  </a:cubicBezTo>
                  <a:cubicBezTo>
                    <a:pt x="21" y="65"/>
                    <a:pt x="21" y="64"/>
                    <a:pt x="21" y="63"/>
                  </a:cubicBezTo>
                  <a:cubicBezTo>
                    <a:pt x="21" y="62"/>
                    <a:pt x="23" y="61"/>
                    <a:pt x="25" y="60"/>
                  </a:cubicBezTo>
                  <a:cubicBezTo>
                    <a:pt x="26" y="60"/>
                    <a:pt x="27" y="59"/>
                    <a:pt x="28" y="58"/>
                  </a:cubicBezTo>
                  <a:cubicBezTo>
                    <a:pt x="30" y="57"/>
                    <a:pt x="30" y="55"/>
                    <a:pt x="30" y="52"/>
                  </a:cubicBezTo>
                  <a:cubicBezTo>
                    <a:pt x="31" y="49"/>
                    <a:pt x="31" y="46"/>
                    <a:pt x="33" y="44"/>
                  </a:cubicBezTo>
                  <a:cubicBezTo>
                    <a:pt x="34" y="43"/>
                    <a:pt x="35" y="41"/>
                    <a:pt x="37" y="39"/>
                  </a:cubicBezTo>
                  <a:cubicBezTo>
                    <a:pt x="39" y="36"/>
                    <a:pt x="40" y="33"/>
                    <a:pt x="42" y="33"/>
                  </a:cubicBezTo>
                  <a:cubicBezTo>
                    <a:pt x="44" y="33"/>
                    <a:pt x="48" y="30"/>
                    <a:pt x="48" y="26"/>
                  </a:cubicBezTo>
                  <a:cubicBezTo>
                    <a:pt x="48" y="25"/>
                    <a:pt x="49" y="23"/>
                    <a:pt x="50" y="20"/>
                  </a:cubicBezTo>
                  <a:cubicBezTo>
                    <a:pt x="52" y="17"/>
                    <a:pt x="54" y="13"/>
                    <a:pt x="53" y="9"/>
                  </a:cubicBezTo>
                  <a:cubicBezTo>
                    <a:pt x="53" y="9"/>
                    <a:pt x="53" y="9"/>
                    <a:pt x="53" y="9"/>
                  </a:cubicBezTo>
                  <a:cubicBezTo>
                    <a:pt x="53" y="9"/>
                    <a:pt x="53" y="9"/>
                    <a:pt x="53" y="9"/>
                  </a:cubicBezTo>
                  <a:cubicBezTo>
                    <a:pt x="54" y="9"/>
                    <a:pt x="54" y="9"/>
                    <a:pt x="54" y="9"/>
                  </a:cubicBezTo>
                  <a:cubicBezTo>
                    <a:pt x="56" y="8"/>
                    <a:pt x="58" y="8"/>
                    <a:pt x="60" y="8"/>
                  </a:cubicBezTo>
                  <a:cubicBezTo>
                    <a:pt x="65" y="8"/>
                    <a:pt x="66" y="9"/>
                    <a:pt x="66" y="9"/>
                  </a:cubicBezTo>
                  <a:cubicBezTo>
                    <a:pt x="67" y="10"/>
                    <a:pt x="67" y="10"/>
                    <a:pt x="67" y="10"/>
                  </a:cubicBezTo>
                  <a:cubicBezTo>
                    <a:pt x="68" y="10"/>
                    <a:pt x="69" y="7"/>
                    <a:pt x="70" y="5"/>
                  </a:cubicBezTo>
                  <a:cubicBezTo>
                    <a:pt x="71" y="1"/>
                    <a:pt x="74" y="0"/>
                    <a:pt x="78" y="3"/>
                  </a:cubicBezTo>
                  <a:cubicBezTo>
                    <a:pt x="78" y="4"/>
                    <a:pt x="79" y="4"/>
                    <a:pt x="79" y="5"/>
                  </a:cubicBezTo>
                  <a:cubicBezTo>
                    <a:pt x="81" y="6"/>
                    <a:pt x="82" y="7"/>
                    <a:pt x="84" y="7"/>
                  </a:cubicBezTo>
                  <a:cubicBezTo>
                    <a:pt x="84" y="7"/>
                    <a:pt x="85" y="7"/>
                    <a:pt x="86" y="7"/>
                  </a:cubicBezTo>
                  <a:cubicBezTo>
                    <a:pt x="90" y="5"/>
                    <a:pt x="91" y="5"/>
                    <a:pt x="92" y="6"/>
                  </a:cubicBezTo>
                  <a:cubicBezTo>
                    <a:pt x="92" y="6"/>
                    <a:pt x="92" y="6"/>
                    <a:pt x="93" y="7"/>
                  </a:cubicBezTo>
                  <a:cubicBezTo>
                    <a:pt x="93" y="7"/>
                    <a:pt x="94" y="7"/>
                    <a:pt x="96" y="7"/>
                  </a:cubicBezTo>
                  <a:cubicBezTo>
                    <a:pt x="97" y="7"/>
                    <a:pt x="99" y="7"/>
                    <a:pt x="101" y="7"/>
                  </a:cubicBezTo>
                  <a:cubicBezTo>
                    <a:pt x="103" y="7"/>
                    <a:pt x="106" y="6"/>
                    <a:pt x="107" y="7"/>
                  </a:cubicBezTo>
                  <a:cubicBezTo>
                    <a:pt x="110" y="7"/>
                    <a:pt x="136" y="34"/>
                    <a:pt x="138" y="37"/>
                  </a:cubicBezTo>
                  <a:cubicBezTo>
                    <a:pt x="139" y="37"/>
                    <a:pt x="139" y="37"/>
                    <a:pt x="139" y="37"/>
                  </a:cubicBezTo>
                  <a:cubicBezTo>
                    <a:pt x="138" y="37"/>
                    <a:pt x="138" y="37"/>
                    <a:pt x="138" y="37"/>
                  </a:cubicBezTo>
                  <a:cubicBezTo>
                    <a:pt x="138" y="38"/>
                    <a:pt x="134" y="44"/>
                    <a:pt x="131" y="48"/>
                  </a:cubicBezTo>
                  <a:cubicBezTo>
                    <a:pt x="128" y="51"/>
                    <a:pt x="130" y="58"/>
                    <a:pt x="131" y="59"/>
                  </a:cubicBezTo>
                  <a:cubicBezTo>
                    <a:pt x="131" y="60"/>
                    <a:pt x="132" y="60"/>
                    <a:pt x="133" y="60"/>
                  </a:cubicBezTo>
                  <a:cubicBezTo>
                    <a:pt x="135" y="60"/>
                    <a:pt x="137" y="60"/>
                    <a:pt x="138" y="59"/>
                  </a:cubicBezTo>
                  <a:cubicBezTo>
                    <a:pt x="141" y="57"/>
                    <a:pt x="143" y="58"/>
                    <a:pt x="146" y="61"/>
                  </a:cubicBezTo>
                  <a:cubicBezTo>
                    <a:pt x="146" y="62"/>
                    <a:pt x="146" y="62"/>
                    <a:pt x="146" y="62"/>
                  </a:cubicBezTo>
                  <a:cubicBezTo>
                    <a:pt x="146" y="62"/>
                    <a:pt x="146" y="62"/>
                    <a:pt x="146" y="62"/>
                  </a:cubicBezTo>
                  <a:cubicBezTo>
                    <a:pt x="143" y="65"/>
                    <a:pt x="143" y="67"/>
                    <a:pt x="144" y="67"/>
                  </a:cubicBezTo>
                  <a:cubicBezTo>
                    <a:pt x="145" y="70"/>
                    <a:pt x="150" y="79"/>
                    <a:pt x="152" y="80"/>
                  </a:cubicBezTo>
                  <a:cubicBezTo>
                    <a:pt x="154" y="80"/>
                    <a:pt x="155" y="82"/>
                    <a:pt x="157" y="84"/>
                  </a:cubicBezTo>
                  <a:cubicBezTo>
                    <a:pt x="158" y="86"/>
                    <a:pt x="160" y="88"/>
                    <a:pt x="162" y="88"/>
                  </a:cubicBezTo>
                  <a:cubicBezTo>
                    <a:pt x="165" y="89"/>
                    <a:pt x="181" y="95"/>
                    <a:pt x="191" y="99"/>
                  </a:cubicBezTo>
                  <a:cubicBezTo>
                    <a:pt x="202" y="103"/>
                    <a:pt x="209" y="103"/>
                    <a:pt x="211" y="103"/>
                  </a:cubicBezTo>
                  <a:cubicBezTo>
                    <a:pt x="211" y="103"/>
                    <a:pt x="217" y="103"/>
                    <a:pt x="218" y="105"/>
                  </a:cubicBezTo>
                  <a:cubicBezTo>
                    <a:pt x="218" y="106"/>
                    <a:pt x="218" y="107"/>
                    <a:pt x="217" y="107"/>
                  </a:cubicBezTo>
                  <a:cubicBezTo>
                    <a:pt x="214" y="110"/>
                    <a:pt x="182" y="142"/>
                    <a:pt x="178" y="146"/>
                  </a:cubicBezTo>
                  <a:cubicBezTo>
                    <a:pt x="175" y="149"/>
                    <a:pt x="173" y="149"/>
                    <a:pt x="170" y="149"/>
                  </a:cubicBezTo>
                  <a:cubicBezTo>
                    <a:pt x="169" y="149"/>
                    <a:pt x="168" y="149"/>
                    <a:pt x="167" y="149"/>
                  </a:cubicBezTo>
                  <a:cubicBezTo>
                    <a:pt x="166" y="149"/>
                    <a:pt x="164" y="149"/>
                    <a:pt x="161" y="149"/>
                  </a:cubicBezTo>
                  <a:cubicBezTo>
                    <a:pt x="156" y="149"/>
                    <a:pt x="151" y="153"/>
                    <a:pt x="147" y="156"/>
                  </a:cubicBezTo>
                  <a:cubicBezTo>
                    <a:pt x="145" y="158"/>
                    <a:pt x="144" y="159"/>
                    <a:pt x="143" y="159"/>
                  </a:cubicBezTo>
                  <a:cubicBezTo>
                    <a:pt x="142" y="159"/>
                    <a:pt x="142" y="159"/>
                    <a:pt x="142" y="159"/>
                  </a:cubicBezTo>
                  <a:cubicBezTo>
                    <a:pt x="141" y="159"/>
                    <a:pt x="136" y="160"/>
                    <a:pt x="131" y="161"/>
                  </a:cubicBezTo>
                  <a:cubicBezTo>
                    <a:pt x="127" y="162"/>
                    <a:pt x="125" y="162"/>
                    <a:pt x="124" y="163"/>
                  </a:cubicBezTo>
                  <a:cubicBezTo>
                    <a:pt x="123" y="163"/>
                    <a:pt x="122" y="163"/>
                    <a:pt x="122" y="163"/>
                  </a:cubicBezTo>
                  <a:cubicBezTo>
                    <a:pt x="119" y="163"/>
                    <a:pt x="117" y="162"/>
                    <a:pt x="116" y="160"/>
                  </a:cubicBezTo>
                  <a:cubicBezTo>
                    <a:pt x="116" y="159"/>
                    <a:pt x="115" y="159"/>
                    <a:pt x="114" y="159"/>
                  </a:cubicBezTo>
                  <a:cubicBezTo>
                    <a:pt x="112" y="159"/>
                    <a:pt x="108" y="161"/>
                    <a:pt x="104" y="163"/>
                  </a:cubicBezTo>
                  <a:cubicBezTo>
                    <a:pt x="102" y="164"/>
                    <a:pt x="100" y="166"/>
                    <a:pt x="98" y="168"/>
                  </a:cubicBezTo>
                  <a:cubicBezTo>
                    <a:pt x="97" y="169"/>
                    <a:pt x="96" y="171"/>
                    <a:pt x="95" y="171"/>
                  </a:cubicBezTo>
                  <a:close/>
                  <a:moveTo>
                    <a:pt x="41" y="152"/>
                  </a:moveTo>
                  <a:cubicBezTo>
                    <a:pt x="42" y="152"/>
                    <a:pt x="42" y="152"/>
                    <a:pt x="43" y="153"/>
                  </a:cubicBezTo>
                  <a:cubicBezTo>
                    <a:pt x="44" y="153"/>
                    <a:pt x="45" y="153"/>
                    <a:pt x="46" y="154"/>
                  </a:cubicBezTo>
                  <a:cubicBezTo>
                    <a:pt x="47" y="154"/>
                    <a:pt x="49" y="155"/>
                    <a:pt x="51" y="155"/>
                  </a:cubicBezTo>
                  <a:cubicBezTo>
                    <a:pt x="55" y="155"/>
                    <a:pt x="59" y="155"/>
                    <a:pt x="61" y="157"/>
                  </a:cubicBezTo>
                  <a:cubicBezTo>
                    <a:pt x="64" y="160"/>
                    <a:pt x="74" y="167"/>
                    <a:pt x="77" y="167"/>
                  </a:cubicBezTo>
                  <a:cubicBezTo>
                    <a:pt x="80" y="167"/>
                    <a:pt x="92" y="168"/>
                    <a:pt x="94" y="169"/>
                  </a:cubicBezTo>
                  <a:cubicBezTo>
                    <a:pt x="94" y="170"/>
                    <a:pt x="95" y="170"/>
                    <a:pt x="95" y="170"/>
                  </a:cubicBezTo>
                  <a:cubicBezTo>
                    <a:pt x="95" y="170"/>
                    <a:pt x="95" y="170"/>
                    <a:pt x="95" y="170"/>
                  </a:cubicBezTo>
                  <a:cubicBezTo>
                    <a:pt x="95" y="170"/>
                    <a:pt x="96" y="168"/>
                    <a:pt x="98" y="167"/>
                  </a:cubicBezTo>
                  <a:cubicBezTo>
                    <a:pt x="99" y="165"/>
                    <a:pt x="101" y="163"/>
                    <a:pt x="103" y="162"/>
                  </a:cubicBezTo>
                  <a:cubicBezTo>
                    <a:pt x="107" y="160"/>
                    <a:pt x="112" y="158"/>
                    <a:pt x="114" y="158"/>
                  </a:cubicBezTo>
                  <a:cubicBezTo>
                    <a:pt x="116" y="158"/>
                    <a:pt x="117" y="159"/>
                    <a:pt x="117" y="159"/>
                  </a:cubicBezTo>
                  <a:cubicBezTo>
                    <a:pt x="117" y="161"/>
                    <a:pt x="120" y="162"/>
                    <a:pt x="122" y="162"/>
                  </a:cubicBezTo>
                  <a:cubicBezTo>
                    <a:pt x="123" y="162"/>
                    <a:pt x="123" y="162"/>
                    <a:pt x="123" y="162"/>
                  </a:cubicBezTo>
                  <a:cubicBezTo>
                    <a:pt x="125" y="161"/>
                    <a:pt x="128" y="160"/>
                    <a:pt x="131" y="160"/>
                  </a:cubicBezTo>
                  <a:cubicBezTo>
                    <a:pt x="135" y="159"/>
                    <a:pt x="141" y="158"/>
                    <a:pt x="143" y="158"/>
                  </a:cubicBezTo>
                  <a:cubicBezTo>
                    <a:pt x="143" y="158"/>
                    <a:pt x="143" y="158"/>
                    <a:pt x="143" y="158"/>
                  </a:cubicBezTo>
                  <a:cubicBezTo>
                    <a:pt x="143" y="158"/>
                    <a:pt x="145" y="157"/>
                    <a:pt x="147" y="155"/>
                  </a:cubicBezTo>
                  <a:cubicBezTo>
                    <a:pt x="150" y="153"/>
                    <a:pt x="155" y="148"/>
                    <a:pt x="161" y="148"/>
                  </a:cubicBezTo>
                  <a:cubicBezTo>
                    <a:pt x="164" y="148"/>
                    <a:pt x="166" y="148"/>
                    <a:pt x="167" y="148"/>
                  </a:cubicBezTo>
                  <a:cubicBezTo>
                    <a:pt x="172" y="149"/>
                    <a:pt x="174" y="149"/>
                    <a:pt x="177" y="145"/>
                  </a:cubicBezTo>
                  <a:cubicBezTo>
                    <a:pt x="181" y="141"/>
                    <a:pt x="213" y="109"/>
                    <a:pt x="216" y="107"/>
                  </a:cubicBezTo>
                  <a:cubicBezTo>
                    <a:pt x="217" y="106"/>
                    <a:pt x="217" y="106"/>
                    <a:pt x="217" y="106"/>
                  </a:cubicBezTo>
                  <a:cubicBezTo>
                    <a:pt x="216" y="105"/>
                    <a:pt x="214" y="104"/>
                    <a:pt x="211" y="104"/>
                  </a:cubicBezTo>
                  <a:cubicBezTo>
                    <a:pt x="209" y="104"/>
                    <a:pt x="202" y="104"/>
                    <a:pt x="191" y="100"/>
                  </a:cubicBezTo>
                  <a:cubicBezTo>
                    <a:pt x="180" y="95"/>
                    <a:pt x="164" y="90"/>
                    <a:pt x="162" y="89"/>
                  </a:cubicBezTo>
                  <a:cubicBezTo>
                    <a:pt x="160" y="89"/>
                    <a:pt x="158" y="87"/>
                    <a:pt x="156" y="84"/>
                  </a:cubicBezTo>
                  <a:cubicBezTo>
                    <a:pt x="154" y="83"/>
                    <a:pt x="153" y="81"/>
                    <a:pt x="152" y="81"/>
                  </a:cubicBezTo>
                  <a:cubicBezTo>
                    <a:pt x="149" y="79"/>
                    <a:pt x="144" y="70"/>
                    <a:pt x="143" y="67"/>
                  </a:cubicBezTo>
                  <a:cubicBezTo>
                    <a:pt x="142" y="66"/>
                    <a:pt x="143" y="64"/>
                    <a:pt x="145" y="62"/>
                  </a:cubicBezTo>
                  <a:cubicBezTo>
                    <a:pt x="143" y="60"/>
                    <a:pt x="142" y="59"/>
                    <a:pt x="140" y="59"/>
                  </a:cubicBezTo>
                  <a:cubicBezTo>
                    <a:pt x="140" y="59"/>
                    <a:pt x="139" y="59"/>
                    <a:pt x="139" y="60"/>
                  </a:cubicBezTo>
                  <a:cubicBezTo>
                    <a:pt x="137" y="61"/>
                    <a:pt x="135" y="61"/>
                    <a:pt x="133" y="61"/>
                  </a:cubicBezTo>
                  <a:cubicBezTo>
                    <a:pt x="131" y="61"/>
                    <a:pt x="130" y="61"/>
                    <a:pt x="130" y="60"/>
                  </a:cubicBezTo>
                  <a:cubicBezTo>
                    <a:pt x="129" y="58"/>
                    <a:pt x="127" y="51"/>
                    <a:pt x="130" y="47"/>
                  </a:cubicBezTo>
                  <a:cubicBezTo>
                    <a:pt x="133" y="44"/>
                    <a:pt x="137" y="38"/>
                    <a:pt x="137" y="37"/>
                  </a:cubicBezTo>
                  <a:cubicBezTo>
                    <a:pt x="127" y="26"/>
                    <a:pt x="109" y="8"/>
                    <a:pt x="107" y="8"/>
                  </a:cubicBezTo>
                  <a:cubicBezTo>
                    <a:pt x="106" y="7"/>
                    <a:pt x="103" y="8"/>
                    <a:pt x="101" y="8"/>
                  </a:cubicBezTo>
                  <a:cubicBezTo>
                    <a:pt x="99" y="8"/>
                    <a:pt x="97" y="8"/>
                    <a:pt x="96" y="8"/>
                  </a:cubicBezTo>
                  <a:cubicBezTo>
                    <a:pt x="94" y="8"/>
                    <a:pt x="93" y="8"/>
                    <a:pt x="92" y="8"/>
                  </a:cubicBezTo>
                  <a:cubicBezTo>
                    <a:pt x="92" y="7"/>
                    <a:pt x="91" y="7"/>
                    <a:pt x="91" y="7"/>
                  </a:cubicBezTo>
                  <a:cubicBezTo>
                    <a:pt x="90" y="6"/>
                    <a:pt x="90" y="6"/>
                    <a:pt x="90" y="6"/>
                  </a:cubicBezTo>
                  <a:cubicBezTo>
                    <a:pt x="89" y="6"/>
                    <a:pt x="88" y="7"/>
                    <a:pt x="87" y="8"/>
                  </a:cubicBezTo>
                  <a:cubicBezTo>
                    <a:pt x="85" y="8"/>
                    <a:pt x="85" y="8"/>
                    <a:pt x="84" y="8"/>
                  </a:cubicBezTo>
                  <a:cubicBezTo>
                    <a:pt x="81" y="8"/>
                    <a:pt x="80" y="7"/>
                    <a:pt x="78" y="5"/>
                  </a:cubicBezTo>
                  <a:cubicBezTo>
                    <a:pt x="77" y="4"/>
                    <a:pt x="77" y="4"/>
                    <a:pt x="77" y="4"/>
                  </a:cubicBezTo>
                  <a:cubicBezTo>
                    <a:pt x="74" y="1"/>
                    <a:pt x="72" y="2"/>
                    <a:pt x="71" y="5"/>
                  </a:cubicBezTo>
                  <a:cubicBezTo>
                    <a:pt x="70" y="9"/>
                    <a:pt x="69" y="11"/>
                    <a:pt x="67" y="11"/>
                  </a:cubicBezTo>
                  <a:cubicBezTo>
                    <a:pt x="67" y="11"/>
                    <a:pt x="66" y="11"/>
                    <a:pt x="66" y="10"/>
                  </a:cubicBezTo>
                  <a:cubicBezTo>
                    <a:pt x="65" y="10"/>
                    <a:pt x="64" y="9"/>
                    <a:pt x="60" y="9"/>
                  </a:cubicBezTo>
                  <a:cubicBezTo>
                    <a:pt x="58" y="9"/>
                    <a:pt x="56" y="9"/>
                    <a:pt x="54" y="10"/>
                  </a:cubicBezTo>
                  <a:cubicBezTo>
                    <a:pt x="55" y="13"/>
                    <a:pt x="53" y="18"/>
                    <a:pt x="51" y="21"/>
                  </a:cubicBezTo>
                  <a:cubicBezTo>
                    <a:pt x="50" y="23"/>
                    <a:pt x="49" y="25"/>
                    <a:pt x="49" y="26"/>
                  </a:cubicBezTo>
                  <a:cubicBezTo>
                    <a:pt x="49" y="30"/>
                    <a:pt x="45" y="34"/>
                    <a:pt x="42" y="34"/>
                  </a:cubicBezTo>
                  <a:cubicBezTo>
                    <a:pt x="41" y="34"/>
                    <a:pt x="39" y="37"/>
                    <a:pt x="38" y="39"/>
                  </a:cubicBezTo>
                  <a:cubicBezTo>
                    <a:pt x="36" y="41"/>
                    <a:pt x="35" y="43"/>
                    <a:pt x="33" y="45"/>
                  </a:cubicBezTo>
                  <a:cubicBezTo>
                    <a:pt x="32" y="46"/>
                    <a:pt x="32" y="49"/>
                    <a:pt x="31" y="52"/>
                  </a:cubicBezTo>
                  <a:cubicBezTo>
                    <a:pt x="31" y="55"/>
                    <a:pt x="31" y="58"/>
                    <a:pt x="29" y="59"/>
                  </a:cubicBezTo>
                  <a:cubicBezTo>
                    <a:pt x="28" y="60"/>
                    <a:pt x="26" y="61"/>
                    <a:pt x="25" y="61"/>
                  </a:cubicBezTo>
                  <a:cubicBezTo>
                    <a:pt x="24" y="62"/>
                    <a:pt x="22" y="63"/>
                    <a:pt x="22" y="64"/>
                  </a:cubicBezTo>
                  <a:cubicBezTo>
                    <a:pt x="22" y="64"/>
                    <a:pt x="22" y="64"/>
                    <a:pt x="23" y="65"/>
                  </a:cubicBezTo>
                  <a:cubicBezTo>
                    <a:pt x="24" y="66"/>
                    <a:pt x="23" y="69"/>
                    <a:pt x="21" y="71"/>
                  </a:cubicBezTo>
                  <a:cubicBezTo>
                    <a:pt x="20" y="74"/>
                    <a:pt x="18" y="76"/>
                    <a:pt x="18" y="79"/>
                  </a:cubicBezTo>
                  <a:cubicBezTo>
                    <a:pt x="18" y="83"/>
                    <a:pt x="18" y="94"/>
                    <a:pt x="16" y="95"/>
                  </a:cubicBezTo>
                  <a:cubicBezTo>
                    <a:pt x="16" y="95"/>
                    <a:pt x="16" y="95"/>
                    <a:pt x="15" y="95"/>
                  </a:cubicBezTo>
                  <a:cubicBezTo>
                    <a:pt x="14" y="95"/>
                    <a:pt x="14" y="95"/>
                    <a:pt x="13" y="95"/>
                  </a:cubicBezTo>
                  <a:cubicBezTo>
                    <a:pt x="12" y="95"/>
                    <a:pt x="11" y="95"/>
                    <a:pt x="10" y="95"/>
                  </a:cubicBezTo>
                  <a:cubicBezTo>
                    <a:pt x="5" y="95"/>
                    <a:pt x="5" y="96"/>
                    <a:pt x="5" y="97"/>
                  </a:cubicBezTo>
                  <a:cubicBezTo>
                    <a:pt x="5" y="100"/>
                    <a:pt x="4" y="101"/>
                    <a:pt x="3" y="102"/>
                  </a:cubicBezTo>
                  <a:cubicBezTo>
                    <a:pt x="2" y="103"/>
                    <a:pt x="1" y="104"/>
                    <a:pt x="2" y="105"/>
                  </a:cubicBezTo>
                  <a:cubicBezTo>
                    <a:pt x="3" y="107"/>
                    <a:pt x="5" y="107"/>
                    <a:pt x="8" y="108"/>
                  </a:cubicBezTo>
                  <a:cubicBezTo>
                    <a:pt x="11" y="109"/>
                    <a:pt x="14" y="110"/>
                    <a:pt x="16" y="112"/>
                  </a:cubicBezTo>
                  <a:cubicBezTo>
                    <a:pt x="16" y="114"/>
                    <a:pt x="18" y="116"/>
                    <a:pt x="20" y="118"/>
                  </a:cubicBezTo>
                  <a:cubicBezTo>
                    <a:pt x="23" y="121"/>
                    <a:pt x="27" y="125"/>
                    <a:pt x="28" y="129"/>
                  </a:cubicBezTo>
                  <a:cubicBezTo>
                    <a:pt x="31" y="136"/>
                    <a:pt x="38" y="139"/>
                    <a:pt x="41" y="139"/>
                  </a:cubicBezTo>
                  <a:cubicBezTo>
                    <a:pt x="42" y="139"/>
                    <a:pt x="42" y="139"/>
                    <a:pt x="43" y="140"/>
                  </a:cubicBezTo>
                  <a:cubicBezTo>
                    <a:pt x="43" y="141"/>
                    <a:pt x="43" y="143"/>
                    <a:pt x="42" y="147"/>
                  </a:cubicBezTo>
                  <a:cubicBezTo>
                    <a:pt x="42" y="148"/>
                    <a:pt x="42" y="150"/>
                    <a:pt x="41" y="1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19" name="Freeform 46"/>
            <p:cNvSpPr>
              <a:spLocks noEditPoints="1"/>
            </p:cNvSpPr>
            <p:nvPr/>
          </p:nvSpPr>
          <p:spPr>
            <a:xfrm>
              <a:off x="5635626" y="2906713"/>
              <a:ext cx="34925" cy="47625"/>
            </a:xfrm>
            <a:custGeom>
              <a:gdLst>
                <a:gd name="T0" fmla="*/ 7 w 21"/>
                <a:gd name="T1" fmla="*/ 28 h 28"/>
                <a:gd name="T2" fmla="*/ 0 w 21"/>
                <a:gd name="T3" fmla="*/ 25 h 28"/>
                <a:gd name="T4" fmla="*/ 0 w 21"/>
                <a:gd name="T5" fmla="*/ 24 h 28"/>
                <a:gd name="T6" fmla="*/ 5 w 21"/>
                <a:gd name="T7" fmla="*/ 14 h 28"/>
                <a:gd name="T8" fmla="*/ 11 w 21"/>
                <a:gd name="T9" fmla="*/ 2 h 28"/>
                <a:gd name="T10" fmla="*/ 11 w 21"/>
                <a:gd name="T11" fmla="*/ 1 h 28"/>
                <a:gd name="T12" fmla="*/ 11 w 21"/>
                <a:gd name="T13" fmla="*/ 0 h 28"/>
                <a:gd name="T14" fmla="*/ 11 w 21"/>
                <a:gd name="T15" fmla="*/ 0 h 28"/>
                <a:gd name="T16" fmla="*/ 20 w 21"/>
                <a:gd name="T17" fmla="*/ 4 h 28"/>
                <a:gd name="T18" fmla="*/ 19 w 21"/>
                <a:gd name="T19" fmla="*/ 12 h 28"/>
                <a:gd name="T20" fmla="*/ 8 w 21"/>
                <a:gd name="T21" fmla="*/ 27 h 28"/>
                <a:gd name="T22" fmla="*/ 7 w 21"/>
                <a:gd name="T23" fmla="*/ 28 h 28"/>
                <a:gd name="T24" fmla="*/ 1 w 21"/>
                <a:gd name="T25" fmla="*/ 24 h 28"/>
                <a:gd name="T26" fmla="*/ 7 w 21"/>
                <a:gd name="T27" fmla="*/ 27 h 28"/>
                <a:gd name="T28" fmla="*/ 18 w 21"/>
                <a:gd name="T29" fmla="*/ 12 h 28"/>
                <a:gd name="T30" fmla="*/ 19 w 21"/>
                <a:gd name="T31" fmla="*/ 5 h 28"/>
                <a:gd name="T32" fmla="*/ 12 w 21"/>
                <a:gd name="T33" fmla="*/ 1 h 28"/>
                <a:gd name="T34" fmla="*/ 12 w 21"/>
                <a:gd name="T35" fmla="*/ 1 h 28"/>
                <a:gd name="T36" fmla="*/ 12 w 21"/>
                <a:gd name="T37" fmla="*/ 2 h 28"/>
                <a:gd name="T38" fmla="*/ 6 w 21"/>
                <a:gd name="T39" fmla="*/ 15 h 28"/>
                <a:gd name="T40" fmla="*/ 1 w 21"/>
                <a:gd name="T41" fmla="*/ 24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7" y="28"/>
                  </a:moveTo>
                  <a:cubicBezTo>
                    <a:pt x="0" y="25"/>
                    <a:pt x="0" y="25"/>
                    <a:pt x="0" y="25"/>
                  </a:cubicBezTo>
                  <a:cubicBezTo>
                    <a:pt x="0" y="24"/>
                    <a:pt x="0" y="24"/>
                    <a:pt x="0" y="24"/>
                  </a:cubicBezTo>
                  <a:cubicBezTo>
                    <a:pt x="1" y="21"/>
                    <a:pt x="3" y="18"/>
                    <a:pt x="5" y="14"/>
                  </a:cubicBezTo>
                  <a:cubicBezTo>
                    <a:pt x="8" y="10"/>
                    <a:pt x="11" y="5"/>
                    <a:pt x="11" y="2"/>
                  </a:cubicBezTo>
                  <a:cubicBezTo>
                    <a:pt x="11" y="1"/>
                    <a:pt x="11" y="1"/>
                    <a:pt x="11" y="1"/>
                  </a:cubicBezTo>
                  <a:cubicBezTo>
                    <a:pt x="11" y="0"/>
                    <a:pt x="11" y="0"/>
                    <a:pt x="11" y="0"/>
                  </a:cubicBezTo>
                  <a:cubicBezTo>
                    <a:pt x="11" y="0"/>
                    <a:pt x="11" y="0"/>
                    <a:pt x="11" y="0"/>
                  </a:cubicBezTo>
                  <a:cubicBezTo>
                    <a:pt x="17" y="0"/>
                    <a:pt x="19" y="2"/>
                    <a:pt x="20" y="4"/>
                  </a:cubicBezTo>
                  <a:cubicBezTo>
                    <a:pt x="21" y="7"/>
                    <a:pt x="20" y="11"/>
                    <a:pt x="19" y="12"/>
                  </a:cubicBezTo>
                  <a:cubicBezTo>
                    <a:pt x="17" y="14"/>
                    <a:pt x="11" y="21"/>
                    <a:pt x="8" y="27"/>
                  </a:cubicBezTo>
                  <a:lnTo>
                    <a:pt x="7" y="28"/>
                  </a:lnTo>
                  <a:close/>
                  <a:moveTo>
                    <a:pt x="1" y="24"/>
                  </a:moveTo>
                  <a:cubicBezTo>
                    <a:pt x="7" y="27"/>
                    <a:pt x="7" y="27"/>
                    <a:pt x="7" y="27"/>
                  </a:cubicBezTo>
                  <a:cubicBezTo>
                    <a:pt x="10" y="20"/>
                    <a:pt x="16" y="14"/>
                    <a:pt x="18" y="12"/>
                  </a:cubicBezTo>
                  <a:cubicBezTo>
                    <a:pt x="19" y="10"/>
                    <a:pt x="20" y="7"/>
                    <a:pt x="19" y="5"/>
                  </a:cubicBezTo>
                  <a:cubicBezTo>
                    <a:pt x="18" y="2"/>
                    <a:pt x="16" y="1"/>
                    <a:pt x="12" y="1"/>
                  </a:cubicBezTo>
                  <a:cubicBezTo>
                    <a:pt x="12" y="1"/>
                    <a:pt x="12" y="1"/>
                    <a:pt x="12" y="1"/>
                  </a:cubicBezTo>
                  <a:cubicBezTo>
                    <a:pt x="12" y="2"/>
                    <a:pt x="12" y="2"/>
                    <a:pt x="12" y="2"/>
                  </a:cubicBezTo>
                  <a:cubicBezTo>
                    <a:pt x="12" y="5"/>
                    <a:pt x="9" y="10"/>
                    <a:pt x="6" y="15"/>
                  </a:cubicBezTo>
                  <a:cubicBezTo>
                    <a:pt x="4" y="18"/>
                    <a:pt x="2" y="21"/>
                    <a:pt x="1"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0" name="Freeform 47"/>
            <p:cNvSpPr>
              <a:spLocks noEditPoints="1"/>
            </p:cNvSpPr>
            <p:nvPr/>
          </p:nvSpPr>
          <p:spPr>
            <a:xfrm>
              <a:off x="5645151" y="2836863"/>
              <a:ext cx="173038" cy="136525"/>
            </a:xfrm>
            <a:custGeom>
              <a:gdLst>
                <a:gd name="T0" fmla="*/ 3 w 102"/>
                <a:gd name="T1" fmla="*/ 74 h 81"/>
                <a:gd name="T2" fmla="*/ 0 w 102"/>
                <a:gd name="T3" fmla="*/ 68 h 81"/>
                <a:gd name="T4" fmla="*/ 12 w 102"/>
                <a:gd name="T5" fmla="*/ 53 h 81"/>
                <a:gd name="T6" fmla="*/ 5 w 102"/>
                <a:gd name="T7" fmla="*/ 42 h 81"/>
                <a:gd name="T8" fmla="*/ 5 w 102"/>
                <a:gd name="T9" fmla="*/ 42 h 81"/>
                <a:gd name="T10" fmla="*/ 6 w 102"/>
                <a:gd name="T11" fmla="*/ 31 h 81"/>
                <a:gd name="T12" fmla="*/ 6 w 102"/>
                <a:gd name="T13" fmla="*/ 23 h 81"/>
                <a:gd name="T14" fmla="*/ 6 w 102"/>
                <a:gd name="T15" fmla="*/ 23 h 81"/>
                <a:gd name="T16" fmla="*/ 15 w 102"/>
                <a:gd name="T17" fmla="*/ 13 h 81"/>
                <a:gd name="T18" fmla="*/ 21 w 102"/>
                <a:gd name="T19" fmla="*/ 10 h 81"/>
                <a:gd name="T20" fmla="*/ 38 w 102"/>
                <a:gd name="T21" fmla="*/ 8 h 81"/>
                <a:gd name="T22" fmla="*/ 44 w 102"/>
                <a:gd name="T23" fmla="*/ 8 h 81"/>
                <a:gd name="T24" fmla="*/ 51 w 102"/>
                <a:gd name="T25" fmla="*/ 9 h 81"/>
                <a:gd name="T26" fmla="*/ 69 w 102"/>
                <a:gd name="T27" fmla="*/ 5 h 81"/>
                <a:gd name="T28" fmla="*/ 95 w 102"/>
                <a:gd name="T29" fmla="*/ 0 h 81"/>
                <a:gd name="T30" fmla="*/ 102 w 102"/>
                <a:gd name="T31" fmla="*/ 2 h 81"/>
                <a:gd name="T32" fmla="*/ 84 w 102"/>
                <a:gd name="T33" fmla="*/ 16 h 81"/>
                <a:gd name="T34" fmla="*/ 85 w 102"/>
                <a:gd name="T35" fmla="*/ 28 h 81"/>
                <a:gd name="T36" fmla="*/ 80 w 102"/>
                <a:gd name="T37" fmla="*/ 48 h 81"/>
                <a:gd name="T38" fmla="*/ 80 w 102"/>
                <a:gd name="T39" fmla="*/ 48 h 81"/>
                <a:gd name="T40" fmla="*/ 16 w 102"/>
                <a:gd name="T41" fmla="*/ 81 h 81"/>
                <a:gd name="T42" fmla="*/ 16 w 102"/>
                <a:gd name="T43" fmla="*/ 80 h 81"/>
                <a:gd name="T44" fmla="*/ 80 w 102"/>
                <a:gd name="T45" fmla="*/ 47 h 81"/>
                <a:gd name="T46" fmla="*/ 84 w 102"/>
                <a:gd name="T47" fmla="*/ 27 h 81"/>
                <a:gd name="T48" fmla="*/ 83 w 102"/>
                <a:gd name="T49" fmla="*/ 16 h 81"/>
                <a:gd name="T50" fmla="*/ 100 w 102"/>
                <a:gd name="T51" fmla="*/ 3 h 81"/>
                <a:gd name="T52" fmla="*/ 79 w 102"/>
                <a:gd name="T53" fmla="*/ 4 h 81"/>
                <a:gd name="T54" fmla="*/ 60 w 102"/>
                <a:gd name="T55" fmla="*/ 9 h 81"/>
                <a:gd name="T56" fmla="*/ 47 w 102"/>
                <a:gd name="T57" fmla="*/ 10 h 81"/>
                <a:gd name="T58" fmla="*/ 41 w 102"/>
                <a:gd name="T59" fmla="*/ 7 h 81"/>
                <a:gd name="T60" fmla="*/ 34 w 102"/>
                <a:gd name="T61" fmla="*/ 10 h 81"/>
                <a:gd name="T62" fmla="*/ 19 w 102"/>
                <a:gd name="T63" fmla="*/ 10 h 81"/>
                <a:gd name="T64" fmla="*/ 15 w 102"/>
                <a:gd name="T65" fmla="*/ 15 h 81"/>
                <a:gd name="T66" fmla="*/ 7 w 102"/>
                <a:gd name="T67" fmla="*/ 25 h 81"/>
                <a:gd name="T68" fmla="*/ 7 w 102"/>
                <a:gd name="T69" fmla="*/ 38 h 81"/>
                <a:gd name="T70" fmla="*/ 6 w 102"/>
                <a:gd name="T71" fmla="*/ 41 h 81"/>
                <a:gd name="T72" fmla="*/ 13 w 102"/>
                <a:gd name="T73" fmla="*/ 53 h 81"/>
                <a:gd name="T74" fmla="*/ 2 w 102"/>
                <a:gd name="T75" fmla="*/ 68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81">
                  <a:moveTo>
                    <a:pt x="16" y="81"/>
                  </a:moveTo>
                  <a:cubicBezTo>
                    <a:pt x="3" y="74"/>
                    <a:pt x="3" y="74"/>
                    <a:pt x="3" y="74"/>
                  </a:cubicBezTo>
                  <a:cubicBezTo>
                    <a:pt x="1" y="69"/>
                    <a:pt x="1" y="69"/>
                    <a:pt x="1" y="69"/>
                  </a:cubicBezTo>
                  <a:cubicBezTo>
                    <a:pt x="0" y="68"/>
                    <a:pt x="0" y="68"/>
                    <a:pt x="0" y="68"/>
                  </a:cubicBezTo>
                  <a:cubicBezTo>
                    <a:pt x="1" y="68"/>
                    <a:pt x="1" y="68"/>
                    <a:pt x="1" y="68"/>
                  </a:cubicBezTo>
                  <a:cubicBezTo>
                    <a:pt x="4" y="62"/>
                    <a:pt x="10" y="55"/>
                    <a:pt x="12" y="53"/>
                  </a:cubicBezTo>
                  <a:cubicBezTo>
                    <a:pt x="13" y="51"/>
                    <a:pt x="14" y="48"/>
                    <a:pt x="13" y="46"/>
                  </a:cubicBezTo>
                  <a:cubicBezTo>
                    <a:pt x="12" y="43"/>
                    <a:pt x="10" y="42"/>
                    <a:pt x="5" y="42"/>
                  </a:cubicBezTo>
                  <a:cubicBezTo>
                    <a:pt x="5" y="42"/>
                    <a:pt x="5" y="42"/>
                    <a:pt x="5" y="42"/>
                  </a:cubicBezTo>
                  <a:cubicBezTo>
                    <a:pt x="5" y="42"/>
                    <a:pt x="5" y="42"/>
                    <a:pt x="5" y="42"/>
                  </a:cubicBezTo>
                  <a:cubicBezTo>
                    <a:pt x="5" y="40"/>
                    <a:pt x="5" y="38"/>
                    <a:pt x="6" y="37"/>
                  </a:cubicBezTo>
                  <a:cubicBezTo>
                    <a:pt x="7" y="35"/>
                    <a:pt x="7" y="33"/>
                    <a:pt x="6" y="31"/>
                  </a:cubicBezTo>
                  <a:cubicBezTo>
                    <a:pt x="4" y="29"/>
                    <a:pt x="5" y="27"/>
                    <a:pt x="6" y="25"/>
                  </a:cubicBezTo>
                  <a:cubicBezTo>
                    <a:pt x="6" y="24"/>
                    <a:pt x="6" y="24"/>
                    <a:pt x="6" y="23"/>
                  </a:cubicBezTo>
                  <a:cubicBezTo>
                    <a:pt x="6" y="23"/>
                    <a:pt x="6" y="23"/>
                    <a:pt x="6" y="23"/>
                  </a:cubicBezTo>
                  <a:cubicBezTo>
                    <a:pt x="6" y="23"/>
                    <a:pt x="6" y="23"/>
                    <a:pt x="6" y="23"/>
                  </a:cubicBezTo>
                  <a:cubicBezTo>
                    <a:pt x="14" y="22"/>
                    <a:pt x="14" y="18"/>
                    <a:pt x="14" y="15"/>
                  </a:cubicBezTo>
                  <a:cubicBezTo>
                    <a:pt x="14" y="14"/>
                    <a:pt x="14" y="14"/>
                    <a:pt x="15" y="13"/>
                  </a:cubicBezTo>
                  <a:cubicBezTo>
                    <a:pt x="15" y="11"/>
                    <a:pt x="16" y="9"/>
                    <a:pt x="19" y="9"/>
                  </a:cubicBezTo>
                  <a:cubicBezTo>
                    <a:pt x="20" y="9"/>
                    <a:pt x="20" y="9"/>
                    <a:pt x="21" y="10"/>
                  </a:cubicBezTo>
                  <a:cubicBezTo>
                    <a:pt x="24" y="12"/>
                    <a:pt x="28" y="12"/>
                    <a:pt x="34" y="9"/>
                  </a:cubicBezTo>
                  <a:cubicBezTo>
                    <a:pt x="35" y="9"/>
                    <a:pt x="37" y="8"/>
                    <a:pt x="38" y="8"/>
                  </a:cubicBezTo>
                  <a:cubicBezTo>
                    <a:pt x="39" y="7"/>
                    <a:pt x="40" y="6"/>
                    <a:pt x="41" y="6"/>
                  </a:cubicBezTo>
                  <a:cubicBezTo>
                    <a:pt x="42" y="6"/>
                    <a:pt x="43" y="7"/>
                    <a:pt x="44" y="8"/>
                  </a:cubicBezTo>
                  <a:cubicBezTo>
                    <a:pt x="44" y="9"/>
                    <a:pt x="45" y="9"/>
                    <a:pt x="47" y="9"/>
                  </a:cubicBezTo>
                  <a:cubicBezTo>
                    <a:pt x="48" y="9"/>
                    <a:pt x="50" y="9"/>
                    <a:pt x="51" y="9"/>
                  </a:cubicBezTo>
                  <a:cubicBezTo>
                    <a:pt x="54" y="9"/>
                    <a:pt x="57" y="8"/>
                    <a:pt x="60" y="8"/>
                  </a:cubicBezTo>
                  <a:cubicBezTo>
                    <a:pt x="64" y="8"/>
                    <a:pt x="67" y="7"/>
                    <a:pt x="69" y="5"/>
                  </a:cubicBezTo>
                  <a:cubicBezTo>
                    <a:pt x="72" y="4"/>
                    <a:pt x="75" y="2"/>
                    <a:pt x="79" y="3"/>
                  </a:cubicBezTo>
                  <a:cubicBezTo>
                    <a:pt x="88" y="3"/>
                    <a:pt x="95" y="0"/>
                    <a:pt x="95" y="0"/>
                  </a:cubicBezTo>
                  <a:cubicBezTo>
                    <a:pt x="95" y="0"/>
                    <a:pt x="95" y="0"/>
                    <a:pt x="95" y="0"/>
                  </a:cubicBezTo>
                  <a:cubicBezTo>
                    <a:pt x="102" y="2"/>
                    <a:pt x="102" y="2"/>
                    <a:pt x="102" y="2"/>
                  </a:cubicBezTo>
                  <a:cubicBezTo>
                    <a:pt x="93" y="9"/>
                    <a:pt x="93" y="9"/>
                    <a:pt x="93" y="9"/>
                  </a:cubicBezTo>
                  <a:cubicBezTo>
                    <a:pt x="93" y="9"/>
                    <a:pt x="85" y="12"/>
                    <a:pt x="84" y="16"/>
                  </a:cubicBezTo>
                  <a:cubicBezTo>
                    <a:pt x="83" y="18"/>
                    <a:pt x="84" y="20"/>
                    <a:pt x="85" y="22"/>
                  </a:cubicBezTo>
                  <a:cubicBezTo>
                    <a:pt x="85" y="24"/>
                    <a:pt x="86" y="26"/>
                    <a:pt x="85" y="28"/>
                  </a:cubicBezTo>
                  <a:cubicBezTo>
                    <a:pt x="83" y="31"/>
                    <a:pt x="83" y="37"/>
                    <a:pt x="84" y="39"/>
                  </a:cubicBezTo>
                  <a:cubicBezTo>
                    <a:pt x="84" y="42"/>
                    <a:pt x="81" y="47"/>
                    <a:pt x="80" y="48"/>
                  </a:cubicBezTo>
                  <a:cubicBezTo>
                    <a:pt x="80" y="48"/>
                    <a:pt x="80" y="48"/>
                    <a:pt x="80" y="48"/>
                  </a:cubicBezTo>
                  <a:cubicBezTo>
                    <a:pt x="80" y="48"/>
                    <a:pt x="80" y="48"/>
                    <a:pt x="80" y="48"/>
                  </a:cubicBezTo>
                  <a:cubicBezTo>
                    <a:pt x="78" y="49"/>
                    <a:pt x="34" y="73"/>
                    <a:pt x="30" y="74"/>
                  </a:cubicBezTo>
                  <a:cubicBezTo>
                    <a:pt x="26" y="74"/>
                    <a:pt x="17" y="81"/>
                    <a:pt x="16" y="81"/>
                  </a:cubicBezTo>
                  <a:close/>
                  <a:moveTo>
                    <a:pt x="3" y="73"/>
                  </a:moveTo>
                  <a:cubicBezTo>
                    <a:pt x="16" y="80"/>
                    <a:pt x="16" y="80"/>
                    <a:pt x="16" y="80"/>
                  </a:cubicBezTo>
                  <a:cubicBezTo>
                    <a:pt x="18" y="79"/>
                    <a:pt x="26" y="73"/>
                    <a:pt x="30" y="73"/>
                  </a:cubicBezTo>
                  <a:cubicBezTo>
                    <a:pt x="33" y="72"/>
                    <a:pt x="64" y="56"/>
                    <a:pt x="80" y="47"/>
                  </a:cubicBezTo>
                  <a:cubicBezTo>
                    <a:pt x="81" y="46"/>
                    <a:pt x="83" y="41"/>
                    <a:pt x="83" y="39"/>
                  </a:cubicBezTo>
                  <a:cubicBezTo>
                    <a:pt x="82" y="37"/>
                    <a:pt x="82" y="30"/>
                    <a:pt x="84" y="27"/>
                  </a:cubicBezTo>
                  <a:cubicBezTo>
                    <a:pt x="85" y="26"/>
                    <a:pt x="84" y="25"/>
                    <a:pt x="84" y="23"/>
                  </a:cubicBezTo>
                  <a:cubicBezTo>
                    <a:pt x="83" y="20"/>
                    <a:pt x="82" y="18"/>
                    <a:pt x="83" y="16"/>
                  </a:cubicBezTo>
                  <a:cubicBezTo>
                    <a:pt x="85" y="11"/>
                    <a:pt x="91" y="9"/>
                    <a:pt x="92" y="8"/>
                  </a:cubicBezTo>
                  <a:cubicBezTo>
                    <a:pt x="100" y="3"/>
                    <a:pt x="100" y="3"/>
                    <a:pt x="100" y="3"/>
                  </a:cubicBezTo>
                  <a:cubicBezTo>
                    <a:pt x="95" y="1"/>
                    <a:pt x="95" y="1"/>
                    <a:pt x="95" y="1"/>
                  </a:cubicBezTo>
                  <a:cubicBezTo>
                    <a:pt x="94" y="2"/>
                    <a:pt x="87" y="4"/>
                    <a:pt x="79" y="4"/>
                  </a:cubicBezTo>
                  <a:cubicBezTo>
                    <a:pt x="75" y="3"/>
                    <a:pt x="73" y="5"/>
                    <a:pt x="70" y="6"/>
                  </a:cubicBezTo>
                  <a:cubicBezTo>
                    <a:pt x="67" y="8"/>
                    <a:pt x="65" y="9"/>
                    <a:pt x="60" y="9"/>
                  </a:cubicBezTo>
                  <a:cubicBezTo>
                    <a:pt x="57" y="9"/>
                    <a:pt x="54" y="10"/>
                    <a:pt x="51" y="10"/>
                  </a:cubicBezTo>
                  <a:cubicBezTo>
                    <a:pt x="50" y="10"/>
                    <a:pt x="48" y="10"/>
                    <a:pt x="47" y="10"/>
                  </a:cubicBezTo>
                  <a:cubicBezTo>
                    <a:pt x="45" y="10"/>
                    <a:pt x="44" y="10"/>
                    <a:pt x="43" y="9"/>
                  </a:cubicBezTo>
                  <a:cubicBezTo>
                    <a:pt x="42" y="7"/>
                    <a:pt x="41" y="7"/>
                    <a:pt x="41" y="7"/>
                  </a:cubicBezTo>
                  <a:cubicBezTo>
                    <a:pt x="40" y="7"/>
                    <a:pt x="39" y="8"/>
                    <a:pt x="38" y="8"/>
                  </a:cubicBezTo>
                  <a:cubicBezTo>
                    <a:pt x="37" y="9"/>
                    <a:pt x="36" y="10"/>
                    <a:pt x="34" y="10"/>
                  </a:cubicBezTo>
                  <a:cubicBezTo>
                    <a:pt x="28" y="13"/>
                    <a:pt x="24" y="13"/>
                    <a:pt x="20" y="10"/>
                  </a:cubicBezTo>
                  <a:cubicBezTo>
                    <a:pt x="19" y="10"/>
                    <a:pt x="19" y="10"/>
                    <a:pt x="19" y="10"/>
                  </a:cubicBezTo>
                  <a:cubicBezTo>
                    <a:pt x="17" y="10"/>
                    <a:pt x="16" y="12"/>
                    <a:pt x="16" y="13"/>
                  </a:cubicBezTo>
                  <a:cubicBezTo>
                    <a:pt x="15" y="14"/>
                    <a:pt x="15" y="14"/>
                    <a:pt x="15" y="15"/>
                  </a:cubicBezTo>
                  <a:cubicBezTo>
                    <a:pt x="15" y="18"/>
                    <a:pt x="15" y="23"/>
                    <a:pt x="7" y="24"/>
                  </a:cubicBezTo>
                  <a:cubicBezTo>
                    <a:pt x="7" y="25"/>
                    <a:pt x="7" y="25"/>
                    <a:pt x="7" y="25"/>
                  </a:cubicBezTo>
                  <a:cubicBezTo>
                    <a:pt x="6" y="27"/>
                    <a:pt x="6" y="29"/>
                    <a:pt x="7" y="31"/>
                  </a:cubicBezTo>
                  <a:cubicBezTo>
                    <a:pt x="8" y="33"/>
                    <a:pt x="8" y="35"/>
                    <a:pt x="7" y="38"/>
                  </a:cubicBezTo>
                  <a:cubicBezTo>
                    <a:pt x="6" y="39"/>
                    <a:pt x="6" y="40"/>
                    <a:pt x="6" y="41"/>
                  </a:cubicBezTo>
                  <a:cubicBezTo>
                    <a:pt x="6" y="41"/>
                    <a:pt x="6" y="41"/>
                    <a:pt x="6" y="41"/>
                  </a:cubicBezTo>
                  <a:cubicBezTo>
                    <a:pt x="12" y="41"/>
                    <a:pt x="14" y="43"/>
                    <a:pt x="14" y="45"/>
                  </a:cubicBezTo>
                  <a:cubicBezTo>
                    <a:pt x="15" y="48"/>
                    <a:pt x="14" y="52"/>
                    <a:pt x="13" y="53"/>
                  </a:cubicBezTo>
                  <a:cubicBezTo>
                    <a:pt x="11" y="55"/>
                    <a:pt x="5" y="61"/>
                    <a:pt x="2" y="68"/>
                  </a:cubicBezTo>
                  <a:cubicBezTo>
                    <a:pt x="2" y="68"/>
                    <a:pt x="2" y="68"/>
                    <a:pt x="2" y="68"/>
                  </a:cubicBezTo>
                  <a:lnTo>
                    <a:pt x="3" y="7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1" name="Freeform 48"/>
            <p:cNvSpPr>
              <a:spLocks noEditPoints="1"/>
            </p:cNvSpPr>
            <p:nvPr/>
          </p:nvSpPr>
          <p:spPr>
            <a:xfrm>
              <a:off x="7870826" y="2806700"/>
              <a:ext cx="90488" cy="115888"/>
            </a:xfrm>
            <a:custGeom>
              <a:gdLst>
                <a:gd name="T0" fmla="*/ 7 w 53"/>
                <a:gd name="T1" fmla="*/ 69 h 69"/>
                <a:gd name="T2" fmla="*/ 3 w 53"/>
                <a:gd name="T3" fmla="*/ 68 h 69"/>
                <a:gd name="T4" fmla="*/ 3 w 53"/>
                <a:gd name="T5" fmla="*/ 64 h 69"/>
                <a:gd name="T6" fmla="*/ 1 w 53"/>
                <a:gd name="T7" fmla="*/ 58 h 69"/>
                <a:gd name="T8" fmla="*/ 3 w 53"/>
                <a:gd name="T9" fmla="*/ 51 h 69"/>
                <a:gd name="T10" fmla="*/ 6 w 53"/>
                <a:gd name="T11" fmla="*/ 41 h 69"/>
                <a:gd name="T12" fmla="*/ 3 w 53"/>
                <a:gd name="T13" fmla="*/ 28 h 69"/>
                <a:gd name="T14" fmla="*/ 7 w 53"/>
                <a:gd name="T15" fmla="*/ 27 h 69"/>
                <a:gd name="T16" fmla="*/ 8 w 53"/>
                <a:gd name="T17" fmla="*/ 27 h 69"/>
                <a:gd name="T18" fmla="*/ 11 w 53"/>
                <a:gd name="T19" fmla="*/ 24 h 69"/>
                <a:gd name="T20" fmla="*/ 8 w 53"/>
                <a:gd name="T21" fmla="*/ 21 h 69"/>
                <a:gd name="T22" fmla="*/ 4 w 53"/>
                <a:gd name="T23" fmla="*/ 17 h 69"/>
                <a:gd name="T24" fmla="*/ 3 w 53"/>
                <a:gd name="T25" fmla="*/ 13 h 69"/>
                <a:gd name="T26" fmla="*/ 3 w 53"/>
                <a:gd name="T27" fmla="*/ 13 h 69"/>
                <a:gd name="T28" fmla="*/ 3 w 53"/>
                <a:gd name="T29" fmla="*/ 13 h 69"/>
                <a:gd name="T30" fmla="*/ 8 w 53"/>
                <a:gd name="T31" fmla="*/ 9 h 69"/>
                <a:gd name="T32" fmla="*/ 12 w 53"/>
                <a:gd name="T33" fmla="*/ 6 h 69"/>
                <a:gd name="T34" fmla="*/ 25 w 53"/>
                <a:gd name="T35" fmla="*/ 3 h 69"/>
                <a:gd name="T36" fmla="*/ 33 w 53"/>
                <a:gd name="T37" fmla="*/ 1 h 69"/>
                <a:gd name="T38" fmla="*/ 33 w 53"/>
                <a:gd name="T39" fmla="*/ 0 h 69"/>
                <a:gd name="T40" fmla="*/ 33 w 53"/>
                <a:gd name="T41" fmla="*/ 1 h 69"/>
                <a:gd name="T42" fmla="*/ 48 w 53"/>
                <a:gd name="T43" fmla="*/ 25 h 69"/>
                <a:gd name="T44" fmla="*/ 52 w 53"/>
                <a:gd name="T45" fmla="*/ 46 h 69"/>
                <a:gd name="T46" fmla="*/ 52 w 53"/>
                <a:gd name="T47" fmla="*/ 50 h 69"/>
                <a:gd name="T48" fmla="*/ 46 w 53"/>
                <a:gd name="T49" fmla="*/ 53 h 69"/>
                <a:gd name="T50" fmla="*/ 45 w 53"/>
                <a:gd name="T51" fmla="*/ 53 h 69"/>
                <a:gd name="T52" fmla="*/ 42 w 53"/>
                <a:gd name="T53" fmla="*/ 52 h 69"/>
                <a:gd name="T54" fmla="*/ 32 w 53"/>
                <a:gd name="T55" fmla="*/ 59 h 69"/>
                <a:gd name="T56" fmla="*/ 7 w 53"/>
                <a:gd name="T57" fmla="*/ 69 h 69"/>
                <a:gd name="T58" fmla="*/ 6 w 53"/>
                <a:gd name="T59" fmla="*/ 27 h 69"/>
                <a:gd name="T60" fmla="*/ 4 w 53"/>
                <a:gd name="T61" fmla="*/ 29 h 69"/>
                <a:gd name="T62" fmla="*/ 7 w 53"/>
                <a:gd name="T63" fmla="*/ 40 h 69"/>
                <a:gd name="T64" fmla="*/ 4 w 53"/>
                <a:gd name="T65" fmla="*/ 52 h 69"/>
                <a:gd name="T66" fmla="*/ 2 w 53"/>
                <a:gd name="T67" fmla="*/ 58 h 69"/>
                <a:gd name="T68" fmla="*/ 4 w 53"/>
                <a:gd name="T69" fmla="*/ 64 h 69"/>
                <a:gd name="T70" fmla="*/ 4 w 53"/>
                <a:gd name="T71" fmla="*/ 67 h 69"/>
                <a:gd name="T72" fmla="*/ 7 w 53"/>
                <a:gd name="T73" fmla="*/ 68 h 69"/>
                <a:gd name="T74" fmla="*/ 31 w 53"/>
                <a:gd name="T75" fmla="*/ 58 h 69"/>
                <a:gd name="T76" fmla="*/ 42 w 53"/>
                <a:gd name="T77" fmla="*/ 51 h 69"/>
                <a:gd name="T78" fmla="*/ 45 w 53"/>
                <a:gd name="T79" fmla="*/ 52 h 69"/>
                <a:gd name="T80" fmla="*/ 46 w 53"/>
                <a:gd name="T81" fmla="*/ 52 h 69"/>
                <a:gd name="T82" fmla="*/ 51 w 53"/>
                <a:gd name="T83" fmla="*/ 50 h 69"/>
                <a:gd name="T84" fmla="*/ 51 w 53"/>
                <a:gd name="T85" fmla="*/ 47 h 69"/>
                <a:gd name="T86" fmla="*/ 47 w 53"/>
                <a:gd name="T87" fmla="*/ 25 h 69"/>
                <a:gd name="T88" fmla="*/ 33 w 53"/>
                <a:gd name="T89" fmla="*/ 2 h 69"/>
                <a:gd name="T90" fmla="*/ 25 w 53"/>
                <a:gd name="T91" fmla="*/ 4 h 69"/>
                <a:gd name="T92" fmla="*/ 12 w 53"/>
                <a:gd name="T93" fmla="*/ 7 h 69"/>
                <a:gd name="T94" fmla="*/ 9 w 53"/>
                <a:gd name="T95" fmla="*/ 10 h 69"/>
                <a:gd name="T96" fmla="*/ 4 w 53"/>
                <a:gd name="T97" fmla="*/ 13 h 69"/>
                <a:gd name="T98" fmla="*/ 5 w 53"/>
                <a:gd name="T99" fmla="*/ 16 h 69"/>
                <a:gd name="T100" fmla="*/ 8 w 53"/>
                <a:gd name="T101" fmla="*/ 20 h 69"/>
                <a:gd name="T102" fmla="*/ 12 w 53"/>
                <a:gd name="T103" fmla="*/ 24 h 69"/>
                <a:gd name="T104" fmla="*/ 8 w 53"/>
                <a:gd name="T105" fmla="*/ 28 h 69"/>
                <a:gd name="T106" fmla="*/ 7 w 53"/>
                <a:gd name="T107" fmla="*/ 28 h 69"/>
                <a:gd name="T108" fmla="*/ 6 w 53"/>
                <a:gd name="T109" fmla="*/ 27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69">
                  <a:moveTo>
                    <a:pt x="7" y="69"/>
                  </a:moveTo>
                  <a:cubicBezTo>
                    <a:pt x="5" y="69"/>
                    <a:pt x="4" y="69"/>
                    <a:pt x="3" y="68"/>
                  </a:cubicBezTo>
                  <a:cubicBezTo>
                    <a:pt x="3" y="67"/>
                    <a:pt x="3" y="66"/>
                    <a:pt x="3" y="64"/>
                  </a:cubicBezTo>
                  <a:cubicBezTo>
                    <a:pt x="3" y="62"/>
                    <a:pt x="3" y="60"/>
                    <a:pt x="1" y="58"/>
                  </a:cubicBezTo>
                  <a:cubicBezTo>
                    <a:pt x="0" y="57"/>
                    <a:pt x="1" y="54"/>
                    <a:pt x="3" y="51"/>
                  </a:cubicBezTo>
                  <a:cubicBezTo>
                    <a:pt x="6" y="48"/>
                    <a:pt x="8" y="44"/>
                    <a:pt x="6" y="41"/>
                  </a:cubicBezTo>
                  <a:cubicBezTo>
                    <a:pt x="3" y="36"/>
                    <a:pt x="2" y="31"/>
                    <a:pt x="3" y="28"/>
                  </a:cubicBezTo>
                  <a:cubicBezTo>
                    <a:pt x="4" y="27"/>
                    <a:pt x="5" y="26"/>
                    <a:pt x="7" y="27"/>
                  </a:cubicBezTo>
                  <a:cubicBezTo>
                    <a:pt x="8" y="27"/>
                    <a:pt x="8" y="27"/>
                    <a:pt x="8" y="27"/>
                  </a:cubicBezTo>
                  <a:cubicBezTo>
                    <a:pt x="10" y="27"/>
                    <a:pt x="11" y="25"/>
                    <a:pt x="11" y="24"/>
                  </a:cubicBezTo>
                  <a:cubicBezTo>
                    <a:pt x="11" y="23"/>
                    <a:pt x="10" y="22"/>
                    <a:pt x="8" y="21"/>
                  </a:cubicBezTo>
                  <a:cubicBezTo>
                    <a:pt x="5" y="21"/>
                    <a:pt x="5" y="19"/>
                    <a:pt x="4" y="17"/>
                  </a:cubicBezTo>
                  <a:cubicBezTo>
                    <a:pt x="4" y="15"/>
                    <a:pt x="4" y="14"/>
                    <a:pt x="3" y="13"/>
                  </a:cubicBezTo>
                  <a:cubicBezTo>
                    <a:pt x="3" y="13"/>
                    <a:pt x="3" y="13"/>
                    <a:pt x="3" y="13"/>
                  </a:cubicBezTo>
                  <a:cubicBezTo>
                    <a:pt x="3" y="13"/>
                    <a:pt x="3" y="13"/>
                    <a:pt x="3" y="13"/>
                  </a:cubicBezTo>
                  <a:cubicBezTo>
                    <a:pt x="5" y="11"/>
                    <a:pt x="6" y="10"/>
                    <a:pt x="8" y="9"/>
                  </a:cubicBezTo>
                  <a:cubicBezTo>
                    <a:pt x="10" y="8"/>
                    <a:pt x="11" y="7"/>
                    <a:pt x="12" y="6"/>
                  </a:cubicBezTo>
                  <a:cubicBezTo>
                    <a:pt x="14" y="4"/>
                    <a:pt x="18" y="3"/>
                    <a:pt x="25" y="3"/>
                  </a:cubicBezTo>
                  <a:cubicBezTo>
                    <a:pt x="28" y="3"/>
                    <a:pt x="30" y="2"/>
                    <a:pt x="33" y="1"/>
                  </a:cubicBezTo>
                  <a:cubicBezTo>
                    <a:pt x="33" y="0"/>
                    <a:pt x="33" y="0"/>
                    <a:pt x="33" y="0"/>
                  </a:cubicBezTo>
                  <a:cubicBezTo>
                    <a:pt x="33" y="1"/>
                    <a:pt x="33" y="1"/>
                    <a:pt x="33" y="1"/>
                  </a:cubicBezTo>
                  <a:cubicBezTo>
                    <a:pt x="39" y="7"/>
                    <a:pt x="49" y="19"/>
                    <a:pt x="48" y="25"/>
                  </a:cubicBezTo>
                  <a:cubicBezTo>
                    <a:pt x="48" y="35"/>
                    <a:pt x="50" y="43"/>
                    <a:pt x="52" y="46"/>
                  </a:cubicBezTo>
                  <a:cubicBezTo>
                    <a:pt x="53" y="47"/>
                    <a:pt x="53" y="49"/>
                    <a:pt x="52" y="50"/>
                  </a:cubicBezTo>
                  <a:cubicBezTo>
                    <a:pt x="51" y="53"/>
                    <a:pt x="48" y="54"/>
                    <a:pt x="46" y="53"/>
                  </a:cubicBezTo>
                  <a:cubicBezTo>
                    <a:pt x="45" y="53"/>
                    <a:pt x="45" y="53"/>
                    <a:pt x="45" y="53"/>
                  </a:cubicBezTo>
                  <a:cubicBezTo>
                    <a:pt x="44" y="53"/>
                    <a:pt x="43" y="52"/>
                    <a:pt x="42" y="52"/>
                  </a:cubicBezTo>
                  <a:cubicBezTo>
                    <a:pt x="40" y="52"/>
                    <a:pt x="37" y="54"/>
                    <a:pt x="32" y="59"/>
                  </a:cubicBezTo>
                  <a:cubicBezTo>
                    <a:pt x="26" y="65"/>
                    <a:pt x="13" y="69"/>
                    <a:pt x="7" y="69"/>
                  </a:cubicBezTo>
                  <a:close/>
                  <a:moveTo>
                    <a:pt x="6" y="27"/>
                  </a:moveTo>
                  <a:cubicBezTo>
                    <a:pt x="5" y="27"/>
                    <a:pt x="5" y="28"/>
                    <a:pt x="4" y="29"/>
                  </a:cubicBezTo>
                  <a:cubicBezTo>
                    <a:pt x="3" y="31"/>
                    <a:pt x="4" y="35"/>
                    <a:pt x="7" y="40"/>
                  </a:cubicBezTo>
                  <a:cubicBezTo>
                    <a:pt x="9" y="44"/>
                    <a:pt x="6" y="48"/>
                    <a:pt x="4" y="52"/>
                  </a:cubicBezTo>
                  <a:cubicBezTo>
                    <a:pt x="2" y="54"/>
                    <a:pt x="1" y="56"/>
                    <a:pt x="2" y="58"/>
                  </a:cubicBezTo>
                  <a:cubicBezTo>
                    <a:pt x="4" y="60"/>
                    <a:pt x="4" y="62"/>
                    <a:pt x="4" y="64"/>
                  </a:cubicBezTo>
                  <a:cubicBezTo>
                    <a:pt x="4" y="66"/>
                    <a:pt x="4" y="67"/>
                    <a:pt x="4" y="67"/>
                  </a:cubicBezTo>
                  <a:cubicBezTo>
                    <a:pt x="4" y="68"/>
                    <a:pt x="5" y="68"/>
                    <a:pt x="7" y="68"/>
                  </a:cubicBezTo>
                  <a:cubicBezTo>
                    <a:pt x="13" y="68"/>
                    <a:pt x="25" y="65"/>
                    <a:pt x="31" y="58"/>
                  </a:cubicBezTo>
                  <a:cubicBezTo>
                    <a:pt x="37" y="53"/>
                    <a:pt x="40" y="51"/>
                    <a:pt x="42" y="51"/>
                  </a:cubicBezTo>
                  <a:cubicBezTo>
                    <a:pt x="43" y="51"/>
                    <a:pt x="44" y="52"/>
                    <a:pt x="45" y="52"/>
                  </a:cubicBezTo>
                  <a:cubicBezTo>
                    <a:pt x="46" y="52"/>
                    <a:pt x="46" y="52"/>
                    <a:pt x="46" y="52"/>
                  </a:cubicBezTo>
                  <a:cubicBezTo>
                    <a:pt x="48" y="53"/>
                    <a:pt x="51" y="52"/>
                    <a:pt x="51" y="50"/>
                  </a:cubicBezTo>
                  <a:cubicBezTo>
                    <a:pt x="52" y="49"/>
                    <a:pt x="52" y="48"/>
                    <a:pt x="51" y="47"/>
                  </a:cubicBezTo>
                  <a:cubicBezTo>
                    <a:pt x="49" y="43"/>
                    <a:pt x="47" y="35"/>
                    <a:pt x="47" y="25"/>
                  </a:cubicBezTo>
                  <a:cubicBezTo>
                    <a:pt x="48" y="21"/>
                    <a:pt x="42" y="12"/>
                    <a:pt x="33" y="2"/>
                  </a:cubicBezTo>
                  <a:cubicBezTo>
                    <a:pt x="31" y="3"/>
                    <a:pt x="29" y="4"/>
                    <a:pt x="25" y="4"/>
                  </a:cubicBezTo>
                  <a:cubicBezTo>
                    <a:pt x="19" y="4"/>
                    <a:pt x="14" y="5"/>
                    <a:pt x="12" y="7"/>
                  </a:cubicBezTo>
                  <a:cubicBezTo>
                    <a:pt x="12" y="8"/>
                    <a:pt x="10" y="9"/>
                    <a:pt x="9" y="10"/>
                  </a:cubicBezTo>
                  <a:cubicBezTo>
                    <a:pt x="7" y="11"/>
                    <a:pt x="6" y="12"/>
                    <a:pt x="4" y="13"/>
                  </a:cubicBezTo>
                  <a:cubicBezTo>
                    <a:pt x="5" y="14"/>
                    <a:pt x="5" y="15"/>
                    <a:pt x="5" y="16"/>
                  </a:cubicBezTo>
                  <a:cubicBezTo>
                    <a:pt x="6" y="18"/>
                    <a:pt x="6" y="20"/>
                    <a:pt x="8" y="20"/>
                  </a:cubicBezTo>
                  <a:cubicBezTo>
                    <a:pt x="10" y="21"/>
                    <a:pt x="12" y="23"/>
                    <a:pt x="12" y="24"/>
                  </a:cubicBezTo>
                  <a:cubicBezTo>
                    <a:pt x="11" y="26"/>
                    <a:pt x="10" y="28"/>
                    <a:pt x="8" y="28"/>
                  </a:cubicBezTo>
                  <a:cubicBezTo>
                    <a:pt x="7" y="28"/>
                    <a:pt x="7" y="28"/>
                    <a:pt x="7" y="28"/>
                  </a:cubicBezTo>
                  <a:cubicBezTo>
                    <a:pt x="6" y="27"/>
                    <a:pt x="6" y="27"/>
                    <a:pt x="6" y="2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2" name="Freeform 49"/>
            <p:cNvSpPr>
              <a:spLocks noEditPoints="1"/>
            </p:cNvSpPr>
            <p:nvPr/>
          </p:nvSpPr>
          <p:spPr>
            <a:xfrm>
              <a:off x="6945314" y="3143250"/>
              <a:ext cx="104775" cy="141288"/>
            </a:xfrm>
            <a:custGeom>
              <a:gdLst>
                <a:gd name="T0" fmla="*/ 52 w 62"/>
                <a:gd name="T1" fmla="*/ 82 h 83"/>
                <a:gd name="T2" fmla="*/ 42 w 62"/>
                <a:gd name="T3" fmla="*/ 55 h 83"/>
                <a:gd name="T4" fmla="*/ 34 w 62"/>
                <a:gd name="T5" fmla="*/ 62 h 83"/>
                <a:gd name="T6" fmla="*/ 17 w 62"/>
                <a:gd name="T7" fmla="*/ 69 h 83"/>
                <a:gd name="T8" fmla="*/ 12 w 62"/>
                <a:gd name="T9" fmla="*/ 71 h 83"/>
                <a:gd name="T10" fmla="*/ 7 w 62"/>
                <a:gd name="T11" fmla="*/ 44 h 83"/>
                <a:gd name="T12" fmla="*/ 7 w 62"/>
                <a:gd name="T13" fmla="*/ 19 h 83"/>
                <a:gd name="T14" fmla="*/ 6 w 62"/>
                <a:gd name="T15" fmla="*/ 11 h 83"/>
                <a:gd name="T16" fmla="*/ 2 w 62"/>
                <a:gd name="T17" fmla="*/ 3 h 83"/>
                <a:gd name="T18" fmla="*/ 9 w 62"/>
                <a:gd name="T19" fmla="*/ 1 h 83"/>
                <a:gd name="T20" fmla="*/ 24 w 62"/>
                <a:gd name="T21" fmla="*/ 11 h 83"/>
                <a:gd name="T22" fmla="*/ 47 w 62"/>
                <a:gd name="T23" fmla="*/ 17 h 83"/>
                <a:gd name="T24" fmla="*/ 46 w 62"/>
                <a:gd name="T25" fmla="*/ 36 h 83"/>
                <a:gd name="T26" fmla="*/ 46 w 62"/>
                <a:gd name="T27" fmla="*/ 51 h 83"/>
                <a:gd name="T28" fmla="*/ 52 w 62"/>
                <a:gd name="T29" fmla="*/ 44 h 83"/>
                <a:gd name="T30" fmla="*/ 60 w 62"/>
                <a:gd name="T31" fmla="*/ 56 h 83"/>
                <a:gd name="T32" fmla="*/ 62 w 62"/>
                <a:gd name="T33" fmla="*/ 68 h 83"/>
                <a:gd name="T34" fmla="*/ 58 w 62"/>
                <a:gd name="T35" fmla="*/ 78 h 83"/>
                <a:gd name="T36" fmla="*/ 58 w 62"/>
                <a:gd name="T37" fmla="*/ 78 h 83"/>
                <a:gd name="T38" fmla="*/ 52 w 62"/>
                <a:gd name="T39" fmla="*/ 83 h 83"/>
                <a:gd name="T40" fmla="*/ 43 w 62"/>
                <a:gd name="T41" fmla="*/ 54 h 83"/>
                <a:gd name="T42" fmla="*/ 53 w 62"/>
                <a:gd name="T43" fmla="*/ 81 h 83"/>
                <a:gd name="T44" fmla="*/ 61 w 62"/>
                <a:gd name="T45" fmla="*/ 68 h 83"/>
                <a:gd name="T46" fmla="*/ 56 w 62"/>
                <a:gd name="T47" fmla="*/ 41 h 83"/>
                <a:gd name="T48" fmla="*/ 45 w 62"/>
                <a:gd name="T49" fmla="*/ 52 h 83"/>
                <a:gd name="T50" fmla="*/ 46 w 62"/>
                <a:gd name="T51" fmla="*/ 35 h 83"/>
                <a:gd name="T52" fmla="*/ 47 w 62"/>
                <a:gd name="T53" fmla="*/ 18 h 83"/>
                <a:gd name="T54" fmla="*/ 31 w 62"/>
                <a:gd name="T55" fmla="*/ 19 h 83"/>
                <a:gd name="T56" fmla="*/ 23 w 62"/>
                <a:gd name="T57" fmla="*/ 11 h 83"/>
                <a:gd name="T58" fmla="*/ 8 w 62"/>
                <a:gd name="T59" fmla="*/ 2 h 83"/>
                <a:gd name="T60" fmla="*/ 2 w 62"/>
                <a:gd name="T61" fmla="*/ 4 h 83"/>
                <a:gd name="T62" fmla="*/ 7 w 62"/>
                <a:gd name="T63" fmla="*/ 10 h 83"/>
                <a:gd name="T64" fmla="*/ 7 w 62"/>
                <a:gd name="T65" fmla="*/ 20 h 83"/>
                <a:gd name="T66" fmla="*/ 8 w 62"/>
                <a:gd name="T67" fmla="*/ 43 h 83"/>
                <a:gd name="T68" fmla="*/ 17 w 62"/>
                <a:gd name="T69" fmla="*/ 68 h 83"/>
                <a:gd name="T70" fmla="*/ 33 w 62"/>
                <a:gd name="T71" fmla="*/ 62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83">
                  <a:moveTo>
                    <a:pt x="52" y="83"/>
                  </a:moveTo>
                  <a:cubicBezTo>
                    <a:pt x="52" y="82"/>
                    <a:pt x="52" y="82"/>
                    <a:pt x="52" y="82"/>
                  </a:cubicBezTo>
                  <a:cubicBezTo>
                    <a:pt x="51" y="79"/>
                    <a:pt x="50" y="77"/>
                    <a:pt x="50" y="75"/>
                  </a:cubicBezTo>
                  <a:cubicBezTo>
                    <a:pt x="50" y="68"/>
                    <a:pt x="45" y="57"/>
                    <a:pt x="42" y="55"/>
                  </a:cubicBezTo>
                  <a:cubicBezTo>
                    <a:pt x="41" y="55"/>
                    <a:pt x="41" y="55"/>
                    <a:pt x="41" y="55"/>
                  </a:cubicBezTo>
                  <a:cubicBezTo>
                    <a:pt x="38" y="55"/>
                    <a:pt x="35" y="58"/>
                    <a:pt x="34" y="62"/>
                  </a:cubicBezTo>
                  <a:cubicBezTo>
                    <a:pt x="34" y="68"/>
                    <a:pt x="25" y="68"/>
                    <a:pt x="22" y="68"/>
                  </a:cubicBezTo>
                  <a:cubicBezTo>
                    <a:pt x="20" y="68"/>
                    <a:pt x="19" y="69"/>
                    <a:pt x="17" y="69"/>
                  </a:cubicBezTo>
                  <a:cubicBezTo>
                    <a:pt x="16" y="70"/>
                    <a:pt x="14" y="70"/>
                    <a:pt x="12" y="71"/>
                  </a:cubicBezTo>
                  <a:cubicBezTo>
                    <a:pt x="12" y="71"/>
                    <a:pt x="12" y="71"/>
                    <a:pt x="12" y="71"/>
                  </a:cubicBezTo>
                  <a:cubicBezTo>
                    <a:pt x="12" y="70"/>
                    <a:pt x="12" y="70"/>
                    <a:pt x="12" y="70"/>
                  </a:cubicBezTo>
                  <a:cubicBezTo>
                    <a:pt x="12" y="60"/>
                    <a:pt x="9" y="49"/>
                    <a:pt x="7" y="44"/>
                  </a:cubicBezTo>
                  <a:cubicBezTo>
                    <a:pt x="4" y="38"/>
                    <a:pt x="2" y="26"/>
                    <a:pt x="3" y="22"/>
                  </a:cubicBezTo>
                  <a:cubicBezTo>
                    <a:pt x="4" y="19"/>
                    <a:pt x="5" y="19"/>
                    <a:pt x="7" y="19"/>
                  </a:cubicBezTo>
                  <a:cubicBezTo>
                    <a:pt x="9" y="18"/>
                    <a:pt x="10" y="18"/>
                    <a:pt x="11" y="15"/>
                  </a:cubicBezTo>
                  <a:cubicBezTo>
                    <a:pt x="12" y="14"/>
                    <a:pt x="10" y="13"/>
                    <a:pt x="6" y="11"/>
                  </a:cubicBezTo>
                  <a:cubicBezTo>
                    <a:pt x="4" y="10"/>
                    <a:pt x="1" y="9"/>
                    <a:pt x="1" y="7"/>
                  </a:cubicBezTo>
                  <a:cubicBezTo>
                    <a:pt x="0" y="6"/>
                    <a:pt x="1" y="4"/>
                    <a:pt x="2" y="3"/>
                  </a:cubicBezTo>
                  <a:cubicBezTo>
                    <a:pt x="3" y="1"/>
                    <a:pt x="5" y="0"/>
                    <a:pt x="6" y="0"/>
                  </a:cubicBezTo>
                  <a:cubicBezTo>
                    <a:pt x="7" y="0"/>
                    <a:pt x="8" y="0"/>
                    <a:pt x="9" y="1"/>
                  </a:cubicBezTo>
                  <a:cubicBezTo>
                    <a:pt x="10" y="2"/>
                    <a:pt x="12" y="3"/>
                    <a:pt x="14" y="3"/>
                  </a:cubicBezTo>
                  <a:cubicBezTo>
                    <a:pt x="21" y="3"/>
                    <a:pt x="24" y="6"/>
                    <a:pt x="24" y="11"/>
                  </a:cubicBezTo>
                  <a:cubicBezTo>
                    <a:pt x="24" y="15"/>
                    <a:pt x="30" y="17"/>
                    <a:pt x="31" y="18"/>
                  </a:cubicBezTo>
                  <a:cubicBezTo>
                    <a:pt x="32" y="18"/>
                    <a:pt x="42" y="17"/>
                    <a:pt x="47" y="17"/>
                  </a:cubicBezTo>
                  <a:cubicBezTo>
                    <a:pt x="53" y="17"/>
                    <a:pt x="58" y="17"/>
                    <a:pt x="58" y="21"/>
                  </a:cubicBezTo>
                  <a:cubicBezTo>
                    <a:pt x="58" y="25"/>
                    <a:pt x="52" y="36"/>
                    <a:pt x="46" y="36"/>
                  </a:cubicBezTo>
                  <a:cubicBezTo>
                    <a:pt x="44" y="36"/>
                    <a:pt x="43" y="39"/>
                    <a:pt x="43" y="42"/>
                  </a:cubicBezTo>
                  <a:cubicBezTo>
                    <a:pt x="43" y="46"/>
                    <a:pt x="44" y="50"/>
                    <a:pt x="46" y="51"/>
                  </a:cubicBezTo>
                  <a:cubicBezTo>
                    <a:pt x="46" y="51"/>
                    <a:pt x="46" y="51"/>
                    <a:pt x="46" y="51"/>
                  </a:cubicBezTo>
                  <a:cubicBezTo>
                    <a:pt x="48" y="51"/>
                    <a:pt x="50" y="47"/>
                    <a:pt x="52" y="44"/>
                  </a:cubicBezTo>
                  <a:cubicBezTo>
                    <a:pt x="53" y="42"/>
                    <a:pt x="55" y="40"/>
                    <a:pt x="56" y="40"/>
                  </a:cubicBezTo>
                  <a:cubicBezTo>
                    <a:pt x="58" y="40"/>
                    <a:pt x="58" y="44"/>
                    <a:pt x="60" y="56"/>
                  </a:cubicBezTo>
                  <a:cubicBezTo>
                    <a:pt x="61" y="60"/>
                    <a:pt x="62" y="64"/>
                    <a:pt x="62" y="68"/>
                  </a:cubicBezTo>
                  <a:cubicBezTo>
                    <a:pt x="62" y="68"/>
                    <a:pt x="62" y="68"/>
                    <a:pt x="62" y="68"/>
                  </a:cubicBezTo>
                  <a:cubicBezTo>
                    <a:pt x="62" y="68"/>
                    <a:pt x="62" y="68"/>
                    <a:pt x="62" y="68"/>
                  </a:cubicBezTo>
                  <a:cubicBezTo>
                    <a:pt x="60" y="71"/>
                    <a:pt x="58" y="78"/>
                    <a:pt x="58" y="78"/>
                  </a:cubicBezTo>
                  <a:cubicBezTo>
                    <a:pt x="58" y="78"/>
                    <a:pt x="58" y="78"/>
                    <a:pt x="58" y="78"/>
                  </a:cubicBezTo>
                  <a:cubicBezTo>
                    <a:pt x="58" y="78"/>
                    <a:pt x="58" y="78"/>
                    <a:pt x="58" y="78"/>
                  </a:cubicBezTo>
                  <a:cubicBezTo>
                    <a:pt x="58" y="78"/>
                    <a:pt x="55" y="80"/>
                    <a:pt x="53" y="82"/>
                  </a:cubicBezTo>
                  <a:lnTo>
                    <a:pt x="52" y="83"/>
                  </a:lnTo>
                  <a:close/>
                  <a:moveTo>
                    <a:pt x="41" y="54"/>
                  </a:moveTo>
                  <a:cubicBezTo>
                    <a:pt x="42" y="54"/>
                    <a:pt x="42" y="54"/>
                    <a:pt x="43" y="54"/>
                  </a:cubicBezTo>
                  <a:cubicBezTo>
                    <a:pt x="46" y="56"/>
                    <a:pt x="51" y="68"/>
                    <a:pt x="51" y="75"/>
                  </a:cubicBezTo>
                  <a:cubicBezTo>
                    <a:pt x="51" y="76"/>
                    <a:pt x="51" y="79"/>
                    <a:pt x="53" y="81"/>
                  </a:cubicBezTo>
                  <a:cubicBezTo>
                    <a:pt x="55" y="79"/>
                    <a:pt x="57" y="78"/>
                    <a:pt x="57" y="77"/>
                  </a:cubicBezTo>
                  <a:cubicBezTo>
                    <a:pt x="58" y="76"/>
                    <a:pt x="59" y="71"/>
                    <a:pt x="61" y="68"/>
                  </a:cubicBezTo>
                  <a:cubicBezTo>
                    <a:pt x="61" y="64"/>
                    <a:pt x="60" y="60"/>
                    <a:pt x="59" y="56"/>
                  </a:cubicBezTo>
                  <a:cubicBezTo>
                    <a:pt x="58" y="49"/>
                    <a:pt x="57" y="41"/>
                    <a:pt x="56" y="41"/>
                  </a:cubicBezTo>
                  <a:cubicBezTo>
                    <a:pt x="55" y="41"/>
                    <a:pt x="54" y="43"/>
                    <a:pt x="53" y="45"/>
                  </a:cubicBezTo>
                  <a:cubicBezTo>
                    <a:pt x="51" y="48"/>
                    <a:pt x="48" y="52"/>
                    <a:pt x="45" y="52"/>
                  </a:cubicBezTo>
                  <a:cubicBezTo>
                    <a:pt x="43" y="51"/>
                    <a:pt x="42" y="46"/>
                    <a:pt x="42" y="42"/>
                  </a:cubicBezTo>
                  <a:cubicBezTo>
                    <a:pt x="42" y="38"/>
                    <a:pt x="44" y="35"/>
                    <a:pt x="46" y="35"/>
                  </a:cubicBezTo>
                  <a:cubicBezTo>
                    <a:pt x="51" y="35"/>
                    <a:pt x="57" y="24"/>
                    <a:pt x="57" y="21"/>
                  </a:cubicBezTo>
                  <a:cubicBezTo>
                    <a:pt x="57" y="18"/>
                    <a:pt x="52" y="18"/>
                    <a:pt x="47" y="18"/>
                  </a:cubicBezTo>
                  <a:cubicBezTo>
                    <a:pt x="42" y="18"/>
                    <a:pt x="31" y="19"/>
                    <a:pt x="31" y="19"/>
                  </a:cubicBezTo>
                  <a:cubicBezTo>
                    <a:pt x="31" y="19"/>
                    <a:pt x="31" y="19"/>
                    <a:pt x="31" y="19"/>
                  </a:cubicBezTo>
                  <a:cubicBezTo>
                    <a:pt x="31" y="19"/>
                    <a:pt x="31" y="19"/>
                    <a:pt x="31" y="19"/>
                  </a:cubicBezTo>
                  <a:cubicBezTo>
                    <a:pt x="30" y="19"/>
                    <a:pt x="23" y="16"/>
                    <a:pt x="23" y="11"/>
                  </a:cubicBezTo>
                  <a:cubicBezTo>
                    <a:pt x="23" y="8"/>
                    <a:pt x="22" y="4"/>
                    <a:pt x="14" y="4"/>
                  </a:cubicBezTo>
                  <a:cubicBezTo>
                    <a:pt x="11" y="4"/>
                    <a:pt x="10" y="3"/>
                    <a:pt x="8" y="2"/>
                  </a:cubicBezTo>
                  <a:cubicBezTo>
                    <a:pt x="7" y="1"/>
                    <a:pt x="7" y="1"/>
                    <a:pt x="6" y="1"/>
                  </a:cubicBezTo>
                  <a:cubicBezTo>
                    <a:pt x="5" y="1"/>
                    <a:pt x="4" y="2"/>
                    <a:pt x="2" y="4"/>
                  </a:cubicBezTo>
                  <a:cubicBezTo>
                    <a:pt x="2" y="5"/>
                    <a:pt x="1" y="6"/>
                    <a:pt x="2" y="6"/>
                  </a:cubicBezTo>
                  <a:cubicBezTo>
                    <a:pt x="2" y="8"/>
                    <a:pt x="4" y="9"/>
                    <a:pt x="7" y="10"/>
                  </a:cubicBezTo>
                  <a:cubicBezTo>
                    <a:pt x="10" y="12"/>
                    <a:pt x="13" y="13"/>
                    <a:pt x="12" y="16"/>
                  </a:cubicBezTo>
                  <a:cubicBezTo>
                    <a:pt x="11" y="19"/>
                    <a:pt x="9" y="19"/>
                    <a:pt x="7" y="20"/>
                  </a:cubicBezTo>
                  <a:cubicBezTo>
                    <a:pt x="6" y="20"/>
                    <a:pt x="5" y="20"/>
                    <a:pt x="4" y="22"/>
                  </a:cubicBezTo>
                  <a:cubicBezTo>
                    <a:pt x="3" y="26"/>
                    <a:pt x="5" y="37"/>
                    <a:pt x="8" y="43"/>
                  </a:cubicBezTo>
                  <a:cubicBezTo>
                    <a:pt x="10" y="48"/>
                    <a:pt x="13" y="60"/>
                    <a:pt x="13" y="70"/>
                  </a:cubicBezTo>
                  <a:cubicBezTo>
                    <a:pt x="14" y="69"/>
                    <a:pt x="15" y="69"/>
                    <a:pt x="17" y="68"/>
                  </a:cubicBezTo>
                  <a:cubicBezTo>
                    <a:pt x="18" y="68"/>
                    <a:pt x="20" y="67"/>
                    <a:pt x="22" y="67"/>
                  </a:cubicBezTo>
                  <a:cubicBezTo>
                    <a:pt x="29" y="67"/>
                    <a:pt x="33" y="65"/>
                    <a:pt x="33" y="62"/>
                  </a:cubicBezTo>
                  <a:cubicBezTo>
                    <a:pt x="34" y="57"/>
                    <a:pt x="38" y="54"/>
                    <a:pt x="41" y="5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3" name="Freeform 50"/>
            <p:cNvSpPr>
              <a:spLocks noEditPoints="1"/>
            </p:cNvSpPr>
            <p:nvPr/>
          </p:nvSpPr>
          <p:spPr>
            <a:xfrm>
              <a:off x="6465889" y="2889250"/>
              <a:ext cx="687388" cy="725488"/>
            </a:xfrm>
            <a:custGeom>
              <a:gdLst>
                <a:gd name="T0" fmla="*/ 73 w 406"/>
                <a:gd name="T1" fmla="*/ 293 h 427"/>
                <a:gd name="T2" fmla="*/ 56 w 406"/>
                <a:gd name="T3" fmla="*/ 219 h 427"/>
                <a:gd name="T4" fmla="*/ 30 w 406"/>
                <a:gd name="T5" fmla="*/ 205 h 427"/>
                <a:gd name="T6" fmla="*/ 1 w 406"/>
                <a:gd name="T7" fmla="*/ 191 h 427"/>
                <a:gd name="T8" fmla="*/ 27 w 406"/>
                <a:gd name="T9" fmla="*/ 180 h 427"/>
                <a:gd name="T10" fmla="*/ 28 w 406"/>
                <a:gd name="T11" fmla="*/ 126 h 427"/>
                <a:gd name="T12" fmla="*/ 51 w 406"/>
                <a:gd name="T13" fmla="*/ 125 h 427"/>
                <a:gd name="T14" fmla="*/ 85 w 406"/>
                <a:gd name="T15" fmla="*/ 85 h 427"/>
                <a:gd name="T16" fmla="*/ 95 w 406"/>
                <a:gd name="T17" fmla="*/ 50 h 427"/>
                <a:gd name="T18" fmla="*/ 111 w 406"/>
                <a:gd name="T19" fmla="*/ 18 h 427"/>
                <a:gd name="T20" fmla="*/ 146 w 406"/>
                <a:gd name="T21" fmla="*/ 8 h 427"/>
                <a:gd name="T22" fmla="*/ 154 w 406"/>
                <a:gd name="T23" fmla="*/ 49 h 427"/>
                <a:gd name="T24" fmla="*/ 177 w 406"/>
                <a:gd name="T25" fmla="*/ 83 h 427"/>
                <a:gd name="T26" fmla="*/ 187 w 406"/>
                <a:gd name="T27" fmla="*/ 117 h 427"/>
                <a:gd name="T28" fmla="*/ 238 w 406"/>
                <a:gd name="T29" fmla="*/ 139 h 427"/>
                <a:gd name="T30" fmla="*/ 287 w 406"/>
                <a:gd name="T31" fmla="*/ 122 h 427"/>
                <a:gd name="T32" fmla="*/ 307 w 406"/>
                <a:gd name="T33" fmla="*/ 142 h 427"/>
                <a:gd name="T34" fmla="*/ 335 w 406"/>
                <a:gd name="T35" fmla="*/ 141 h 427"/>
                <a:gd name="T36" fmla="*/ 353 w 406"/>
                <a:gd name="T37" fmla="*/ 113 h 427"/>
                <a:gd name="T38" fmla="*/ 391 w 406"/>
                <a:gd name="T39" fmla="*/ 104 h 427"/>
                <a:gd name="T40" fmla="*/ 403 w 406"/>
                <a:gd name="T41" fmla="*/ 135 h 427"/>
                <a:gd name="T42" fmla="*/ 373 w 406"/>
                <a:gd name="T43" fmla="*/ 161 h 427"/>
                <a:gd name="T44" fmla="*/ 353 w 406"/>
                <a:gd name="T45" fmla="*/ 192 h 427"/>
                <a:gd name="T46" fmla="*/ 339 w 406"/>
                <a:gd name="T47" fmla="*/ 191 h 427"/>
                <a:gd name="T48" fmla="*/ 314 w 406"/>
                <a:gd name="T49" fmla="*/ 169 h 427"/>
                <a:gd name="T50" fmla="*/ 290 w 406"/>
                <a:gd name="T51" fmla="*/ 160 h 427"/>
                <a:gd name="T52" fmla="*/ 292 w 406"/>
                <a:gd name="T53" fmla="*/ 221 h 427"/>
                <a:gd name="T54" fmla="*/ 194 w 406"/>
                <a:gd name="T55" fmla="*/ 301 h 427"/>
                <a:gd name="T56" fmla="*/ 157 w 406"/>
                <a:gd name="T57" fmla="*/ 404 h 427"/>
                <a:gd name="T58" fmla="*/ 65 w 406"/>
                <a:gd name="T59" fmla="*/ 243 h 427"/>
                <a:gd name="T60" fmla="*/ 116 w 406"/>
                <a:gd name="T61" fmla="*/ 400 h 427"/>
                <a:gd name="T62" fmla="*/ 170 w 406"/>
                <a:gd name="T63" fmla="*/ 364 h 427"/>
                <a:gd name="T64" fmla="*/ 239 w 406"/>
                <a:gd name="T65" fmla="*/ 259 h 427"/>
                <a:gd name="T66" fmla="*/ 286 w 406"/>
                <a:gd name="T67" fmla="*/ 172 h 427"/>
                <a:gd name="T68" fmla="*/ 297 w 406"/>
                <a:gd name="T69" fmla="*/ 153 h 427"/>
                <a:gd name="T70" fmla="*/ 335 w 406"/>
                <a:gd name="T71" fmla="*/ 194 h 427"/>
                <a:gd name="T72" fmla="*/ 354 w 406"/>
                <a:gd name="T73" fmla="*/ 186 h 427"/>
                <a:gd name="T74" fmla="*/ 374 w 406"/>
                <a:gd name="T75" fmla="*/ 152 h 427"/>
                <a:gd name="T76" fmla="*/ 400 w 406"/>
                <a:gd name="T77" fmla="*/ 127 h 427"/>
                <a:gd name="T78" fmla="*/ 381 w 406"/>
                <a:gd name="T79" fmla="*/ 107 h 427"/>
                <a:gd name="T80" fmla="*/ 346 w 406"/>
                <a:gd name="T81" fmla="*/ 123 h 427"/>
                <a:gd name="T82" fmla="*/ 317 w 406"/>
                <a:gd name="T83" fmla="*/ 144 h 427"/>
                <a:gd name="T84" fmla="*/ 291 w 406"/>
                <a:gd name="T85" fmla="*/ 123 h 427"/>
                <a:gd name="T86" fmla="*/ 247 w 406"/>
                <a:gd name="T87" fmla="*/ 144 h 427"/>
                <a:gd name="T88" fmla="*/ 192 w 406"/>
                <a:gd name="T89" fmla="*/ 121 h 427"/>
                <a:gd name="T90" fmla="*/ 182 w 406"/>
                <a:gd name="T91" fmla="*/ 89 h 427"/>
                <a:gd name="T92" fmla="*/ 150 w 406"/>
                <a:gd name="T93" fmla="*/ 56 h 427"/>
                <a:gd name="T94" fmla="*/ 155 w 406"/>
                <a:gd name="T95" fmla="*/ 28 h 427"/>
                <a:gd name="T96" fmla="*/ 111 w 406"/>
                <a:gd name="T97" fmla="*/ 19 h 427"/>
                <a:gd name="T98" fmla="*/ 97 w 406"/>
                <a:gd name="T99" fmla="*/ 48 h 427"/>
                <a:gd name="T100" fmla="*/ 77 w 406"/>
                <a:gd name="T101" fmla="*/ 92 h 427"/>
                <a:gd name="T102" fmla="*/ 44 w 406"/>
                <a:gd name="T103" fmla="*/ 125 h 427"/>
                <a:gd name="T104" fmla="*/ 24 w 406"/>
                <a:gd name="T105" fmla="*/ 143 h 427"/>
                <a:gd name="T106" fmla="*/ 20 w 406"/>
                <a:gd name="T107" fmla="*/ 182 h 427"/>
                <a:gd name="T108" fmla="*/ 14 w 406"/>
                <a:gd name="T109" fmla="*/ 203 h 427"/>
                <a:gd name="T110" fmla="*/ 41 w 406"/>
                <a:gd name="T111" fmla="*/ 236 h 4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6" h="427">
                  <a:moveTo>
                    <a:pt x="132" y="427"/>
                  </a:moveTo>
                  <a:cubicBezTo>
                    <a:pt x="132" y="427"/>
                    <a:pt x="132" y="427"/>
                    <a:pt x="132" y="427"/>
                  </a:cubicBezTo>
                  <a:cubicBezTo>
                    <a:pt x="131" y="427"/>
                    <a:pt x="130" y="427"/>
                    <a:pt x="129" y="426"/>
                  </a:cubicBezTo>
                  <a:cubicBezTo>
                    <a:pt x="126" y="424"/>
                    <a:pt x="115" y="410"/>
                    <a:pt x="115" y="400"/>
                  </a:cubicBezTo>
                  <a:cubicBezTo>
                    <a:pt x="115" y="391"/>
                    <a:pt x="106" y="376"/>
                    <a:pt x="101" y="370"/>
                  </a:cubicBezTo>
                  <a:cubicBezTo>
                    <a:pt x="99" y="367"/>
                    <a:pt x="97" y="361"/>
                    <a:pt x="95" y="353"/>
                  </a:cubicBezTo>
                  <a:cubicBezTo>
                    <a:pt x="93" y="346"/>
                    <a:pt x="90" y="338"/>
                    <a:pt x="87" y="332"/>
                  </a:cubicBezTo>
                  <a:cubicBezTo>
                    <a:pt x="81" y="322"/>
                    <a:pt x="75" y="303"/>
                    <a:pt x="73" y="293"/>
                  </a:cubicBezTo>
                  <a:cubicBezTo>
                    <a:pt x="73" y="288"/>
                    <a:pt x="71" y="283"/>
                    <a:pt x="70" y="279"/>
                  </a:cubicBezTo>
                  <a:cubicBezTo>
                    <a:pt x="68" y="274"/>
                    <a:pt x="67" y="270"/>
                    <a:pt x="67" y="267"/>
                  </a:cubicBezTo>
                  <a:cubicBezTo>
                    <a:pt x="66" y="265"/>
                    <a:pt x="66" y="262"/>
                    <a:pt x="65" y="259"/>
                  </a:cubicBezTo>
                  <a:cubicBezTo>
                    <a:pt x="64" y="253"/>
                    <a:pt x="62" y="246"/>
                    <a:pt x="64" y="242"/>
                  </a:cubicBezTo>
                  <a:cubicBezTo>
                    <a:pt x="66" y="236"/>
                    <a:pt x="67" y="232"/>
                    <a:pt x="64" y="229"/>
                  </a:cubicBezTo>
                  <a:cubicBezTo>
                    <a:pt x="62" y="228"/>
                    <a:pt x="62" y="224"/>
                    <a:pt x="62" y="221"/>
                  </a:cubicBezTo>
                  <a:cubicBezTo>
                    <a:pt x="62" y="218"/>
                    <a:pt x="62" y="215"/>
                    <a:pt x="61" y="214"/>
                  </a:cubicBezTo>
                  <a:cubicBezTo>
                    <a:pt x="59" y="214"/>
                    <a:pt x="57" y="216"/>
                    <a:pt x="56" y="219"/>
                  </a:cubicBezTo>
                  <a:cubicBezTo>
                    <a:pt x="56" y="220"/>
                    <a:pt x="56" y="221"/>
                    <a:pt x="56" y="221"/>
                  </a:cubicBezTo>
                  <a:cubicBezTo>
                    <a:pt x="57" y="221"/>
                    <a:pt x="58" y="222"/>
                    <a:pt x="57" y="224"/>
                  </a:cubicBezTo>
                  <a:cubicBezTo>
                    <a:pt x="57" y="227"/>
                    <a:pt x="50" y="235"/>
                    <a:pt x="41" y="237"/>
                  </a:cubicBezTo>
                  <a:cubicBezTo>
                    <a:pt x="40" y="237"/>
                    <a:pt x="40" y="237"/>
                    <a:pt x="40" y="237"/>
                  </a:cubicBezTo>
                  <a:cubicBezTo>
                    <a:pt x="31" y="237"/>
                    <a:pt x="19" y="224"/>
                    <a:pt x="13" y="217"/>
                  </a:cubicBezTo>
                  <a:cubicBezTo>
                    <a:pt x="11" y="214"/>
                    <a:pt x="9" y="212"/>
                    <a:pt x="10" y="211"/>
                  </a:cubicBezTo>
                  <a:cubicBezTo>
                    <a:pt x="10" y="210"/>
                    <a:pt x="12" y="210"/>
                    <a:pt x="16" y="210"/>
                  </a:cubicBezTo>
                  <a:cubicBezTo>
                    <a:pt x="21" y="209"/>
                    <a:pt x="30" y="208"/>
                    <a:pt x="30" y="205"/>
                  </a:cubicBezTo>
                  <a:cubicBezTo>
                    <a:pt x="30" y="203"/>
                    <a:pt x="29" y="203"/>
                    <a:pt x="29" y="203"/>
                  </a:cubicBezTo>
                  <a:cubicBezTo>
                    <a:pt x="28" y="203"/>
                    <a:pt x="27" y="203"/>
                    <a:pt x="25" y="204"/>
                  </a:cubicBezTo>
                  <a:cubicBezTo>
                    <a:pt x="24" y="204"/>
                    <a:pt x="21" y="205"/>
                    <a:pt x="18" y="205"/>
                  </a:cubicBezTo>
                  <a:cubicBezTo>
                    <a:pt x="17" y="205"/>
                    <a:pt x="15" y="205"/>
                    <a:pt x="14" y="204"/>
                  </a:cubicBezTo>
                  <a:cubicBezTo>
                    <a:pt x="9" y="202"/>
                    <a:pt x="7" y="199"/>
                    <a:pt x="5" y="196"/>
                  </a:cubicBezTo>
                  <a:cubicBezTo>
                    <a:pt x="3" y="195"/>
                    <a:pt x="2" y="193"/>
                    <a:pt x="1" y="192"/>
                  </a:cubicBezTo>
                  <a:cubicBezTo>
                    <a:pt x="0" y="191"/>
                    <a:pt x="0" y="191"/>
                    <a:pt x="0" y="191"/>
                  </a:cubicBezTo>
                  <a:cubicBezTo>
                    <a:pt x="1" y="191"/>
                    <a:pt x="1" y="191"/>
                    <a:pt x="1" y="191"/>
                  </a:cubicBezTo>
                  <a:cubicBezTo>
                    <a:pt x="1" y="191"/>
                    <a:pt x="1" y="191"/>
                    <a:pt x="1" y="190"/>
                  </a:cubicBezTo>
                  <a:cubicBezTo>
                    <a:pt x="1" y="190"/>
                    <a:pt x="1" y="190"/>
                    <a:pt x="1" y="190"/>
                  </a:cubicBezTo>
                  <a:cubicBezTo>
                    <a:pt x="2" y="189"/>
                    <a:pt x="3" y="188"/>
                    <a:pt x="4" y="187"/>
                  </a:cubicBezTo>
                  <a:cubicBezTo>
                    <a:pt x="5" y="184"/>
                    <a:pt x="7" y="180"/>
                    <a:pt x="12" y="180"/>
                  </a:cubicBezTo>
                  <a:cubicBezTo>
                    <a:pt x="13" y="180"/>
                    <a:pt x="14" y="180"/>
                    <a:pt x="15" y="181"/>
                  </a:cubicBezTo>
                  <a:cubicBezTo>
                    <a:pt x="17" y="181"/>
                    <a:pt x="18" y="181"/>
                    <a:pt x="20" y="181"/>
                  </a:cubicBezTo>
                  <a:cubicBezTo>
                    <a:pt x="22" y="181"/>
                    <a:pt x="23" y="181"/>
                    <a:pt x="24" y="180"/>
                  </a:cubicBezTo>
                  <a:cubicBezTo>
                    <a:pt x="25" y="180"/>
                    <a:pt x="26" y="180"/>
                    <a:pt x="27" y="180"/>
                  </a:cubicBezTo>
                  <a:cubicBezTo>
                    <a:pt x="28" y="180"/>
                    <a:pt x="28" y="180"/>
                    <a:pt x="29" y="180"/>
                  </a:cubicBezTo>
                  <a:cubicBezTo>
                    <a:pt x="31" y="180"/>
                    <a:pt x="32" y="181"/>
                    <a:pt x="33" y="181"/>
                  </a:cubicBezTo>
                  <a:cubicBezTo>
                    <a:pt x="36" y="181"/>
                    <a:pt x="38" y="180"/>
                    <a:pt x="39" y="177"/>
                  </a:cubicBezTo>
                  <a:cubicBezTo>
                    <a:pt x="41" y="174"/>
                    <a:pt x="37" y="168"/>
                    <a:pt x="34" y="165"/>
                  </a:cubicBezTo>
                  <a:cubicBezTo>
                    <a:pt x="31" y="162"/>
                    <a:pt x="27" y="155"/>
                    <a:pt x="28" y="149"/>
                  </a:cubicBezTo>
                  <a:cubicBezTo>
                    <a:pt x="28" y="147"/>
                    <a:pt x="26" y="145"/>
                    <a:pt x="23" y="144"/>
                  </a:cubicBezTo>
                  <a:cubicBezTo>
                    <a:pt x="21" y="143"/>
                    <a:pt x="19" y="142"/>
                    <a:pt x="19" y="139"/>
                  </a:cubicBezTo>
                  <a:cubicBezTo>
                    <a:pt x="19" y="135"/>
                    <a:pt x="25" y="129"/>
                    <a:pt x="28" y="126"/>
                  </a:cubicBezTo>
                  <a:cubicBezTo>
                    <a:pt x="29" y="126"/>
                    <a:pt x="29" y="125"/>
                    <a:pt x="30" y="125"/>
                  </a:cubicBezTo>
                  <a:cubicBezTo>
                    <a:pt x="30" y="125"/>
                    <a:pt x="30" y="125"/>
                    <a:pt x="31" y="125"/>
                  </a:cubicBezTo>
                  <a:cubicBezTo>
                    <a:pt x="32" y="125"/>
                    <a:pt x="33" y="125"/>
                    <a:pt x="35" y="126"/>
                  </a:cubicBezTo>
                  <a:cubicBezTo>
                    <a:pt x="36" y="126"/>
                    <a:pt x="38" y="127"/>
                    <a:pt x="39" y="127"/>
                  </a:cubicBezTo>
                  <a:cubicBezTo>
                    <a:pt x="40" y="127"/>
                    <a:pt x="40" y="127"/>
                    <a:pt x="40" y="126"/>
                  </a:cubicBezTo>
                  <a:cubicBezTo>
                    <a:pt x="41" y="125"/>
                    <a:pt x="42" y="124"/>
                    <a:pt x="44" y="124"/>
                  </a:cubicBezTo>
                  <a:cubicBezTo>
                    <a:pt x="46" y="124"/>
                    <a:pt x="48" y="125"/>
                    <a:pt x="49" y="125"/>
                  </a:cubicBezTo>
                  <a:cubicBezTo>
                    <a:pt x="50" y="125"/>
                    <a:pt x="50" y="125"/>
                    <a:pt x="51" y="125"/>
                  </a:cubicBezTo>
                  <a:cubicBezTo>
                    <a:pt x="51" y="126"/>
                    <a:pt x="51" y="126"/>
                    <a:pt x="51" y="126"/>
                  </a:cubicBezTo>
                  <a:cubicBezTo>
                    <a:pt x="53" y="126"/>
                    <a:pt x="58" y="120"/>
                    <a:pt x="58" y="115"/>
                  </a:cubicBezTo>
                  <a:cubicBezTo>
                    <a:pt x="59" y="111"/>
                    <a:pt x="63" y="110"/>
                    <a:pt x="67" y="109"/>
                  </a:cubicBezTo>
                  <a:cubicBezTo>
                    <a:pt x="68" y="108"/>
                    <a:pt x="70" y="108"/>
                    <a:pt x="70" y="107"/>
                  </a:cubicBezTo>
                  <a:cubicBezTo>
                    <a:pt x="71" y="106"/>
                    <a:pt x="73" y="101"/>
                    <a:pt x="74" y="97"/>
                  </a:cubicBezTo>
                  <a:cubicBezTo>
                    <a:pt x="75" y="95"/>
                    <a:pt x="76" y="93"/>
                    <a:pt x="76" y="92"/>
                  </a:cubicBezTo>
                  <a:cubicBezTo>
                    <a:pt x="77" y="91"/>
                    <a:pt x="78" y="91"/>
                    <a:pt x="79" y="90"/>
                  </a:cubicBezTo>
                  <a:cubicBezTo>
                    <a:pt x="82" y="90"/>
                    <a:pt x="85" y="89"/>
                    <a:pt x="85" y="85"/>
                  </a:cubicBezTo>
                  <a:cubicBezTo>
                    <a:pt x="85" y="79"/>
                    <a:pt x="88" y="77"/>
                    <a:pt x="92" y="77"/>
                  </a:cubicBezTo>
                  <a:cubicBezTo>
                    <a:pt x="94" y="76"/>
                    <a:pt x="94" y="74"/>
                    <a:pt x="94" y="70"/>
                  </a:cubicBezTo>
                  <a:cubicBezTo>
                    <a:pt x="94" y="69"/>
                    <a:pt x="94" y="67"/>
                    <a:pt x="94" y="66"/>
                  </a:cubicBezTo>
                  <a:cubicBezTo>
                    <a:pt x="95" y="62"/>
                    <a:pt x="97" y="56"/>
                    <a:pt x="102" y="55"/>
                  </a:cubicBezTo>
                  <a:cubicBezTo>
                    <a:pt x="104" y="55"/>
                    <a:pt x="103" y="54"/>
                    <a:pt x="103" y="54"/>
                  </a:cubicBezTo>
                  <a:cubicBezTo>
                    <a:pt x="103" y="52"/>
                    <a:pt x="100" y="49"/>
                    <a:pt x="97" y="49"/>
                  </a:cubicBezTo>
                  <a:cubicBezTo>
                    <a:pt x="96" y="49"/>
                    <a:pt x="96" y="49"/>
                    <a:pt x="96" y="50"/>
                  </a:cubicBezTo>
                  <a:cubicBezTo>
                    <a:pt x="95" y="50"/>
                    <a:pt x="95" y="50"/>
                    <a:pt x="95" y="50"/>
                  </a:cubicBezTo>
                  <a:cubicBezTo>
                    <a:pt x="90" y="50"/>
                    <a:pt x="87" y="37"/>
                    <a:pt x="86" y="35"/>
                  </a:cubicBezTo>
                  <a:cubicBezTo>
                    <a:pt x="86" y="35"/>
                    <a:pt x="86" y="35"/>
                    <a:pt x="86" y="35"/>
                  </a:cubicBezTo>
                  <a:cubicBezTo>
                    <a:pt x="86" y="35"/>
                    <a:pt x="86" y="35"/>
                    <a:pt x="86" y="35"/>
                  </a:cubicBezTo>
                  <a:cubicBezTo>
                    <a:pt x="87" y="31"/>
                    <a:pt x="86" y="23"/>
                    <a:pt x="84" y="22"/>
                  </a:cubicBezTo>
                  <a:cubicBezTo>
                    <a:pt x="83" y="21"/>
                    <a:pt x="83" y="20"/>
                    <a:pt x="83" y="19"/>
                  </a:cubicBezTo>
                  <a:cubicBezTo>
                    <a:pt x="84" y="16"/>
                    <a:pt x="88" y="13"/>
                    <a:pt x="92" y="13"/>
                  </a:cubicBezTo>
                  <a:cubicBezTo>
                    <a:pt x="95" y="13"/>
                    <a:pt x="98" y="14"/>
                    <a:pt x="102" y="15"/>
                  </a:cubicBezTo>
                  <a:cubicBezTo>
                    <a:pt x="105" y="16"/>
                    <a:pt x="109" y="18"/>
                    <a:pt x="111" y="18"/>
                  </a:cubicBezTo>
                  <a:cubicBezTo>
                    <a:pt x="112" y="18"/>
                    <a:pt x="113" y="17"/>
                    <a:pt x="114" y="17"/>
                  </a:cubicBezTo>
                  <a:cubicBezTo>
                    <a:pt x="116" y="15"/>
                    <a:pt x="121" y="14"/>
                    <a:pt x="124" y="13"/>
                  </a:cubicBezTo>
                  <a:cubicBezTo>
                    <a:pt x="126" y="12"/>
                    <a:pt x="127" y="12"/>
                    <a:pt x="128" y="11"/>
                  </a:cubicBezTo>
                  <a:cubicBezTo>
                    <a:pt x="130" y="10"/>
                    <a:pt x="133" y="4"/>
                    <a:pt x="133" y="1"/>
                  </a:cubicBezTo>
                  <a:cubicBezTo>
                    <a:pt x="134" y="1"/>
                    <a:pt x="134" y="1"/>
                    <a:pt x="134" y="1"/>
                  </a:cubicBezTo>
                  <a:cubicBezTo>
                    <a:pt x="140" y="0"/>
                    <a:pt x="140" y="0"/>
                    <a:pt x="140" y="0"/>
                  </a:cubicBezTo>
                  <a:cubicBezTo>
                    <a:pt x="140" y="0"/>
                    <a:pt x="140" y="0"/>
                    <a:pt x="140" y="0"/>
                  </a:cubicBezTo>
                  <a:cubicBezTo>
                    <a:pt x="140" y="0"/>
                    <a:pt x="145" y="3"/>
                    <a:pt x="146" y="8"/>
                  </a:cubicBezTo>
                  <a:cubicBezTo>
                    <a:pt x="147" y="11"/>
                    <a:pt x="150" y="15"/>
                    <a:pt x="154" y="17"/>
                  </a:cubicBezTo>
                  <a:cubicBezTo>
                    <a:pt x="158" y="19"/>
                    <a:pt x="156" y="24"/>
                    <a:pt x="156" y="28"/>
                  </a:cubicBezTo>
                  <a:cubicBezTo>
                    <a:pt x="155" y="29"/>
                    <a:pt x="155" y="31"/>
                    <a:pt x="155" y="31"/>
                  </a:cubicBezTo>
                  <a:cubicBezTo>
                    <a:pt x="155" y="33"/>
                    <a:pt x="157" y="35"/>
                    <a:pt x="159" y="37"/>
                  </a:cubicBezTo>
                  <a:cubicBezTo>
                    <a:pt x="160" y="39"/>
                    <a:pt x="162" y="41"/>
                    <a:pt x="163" y="44"/>
                  </a:cubicBezTo>
                  <a:cubicBezTo>
                    <a:pt x="164" y="45"/>
                    <a:pt x="164" y="47"/>
                    <a:pt x="163" y="48"/>
                  </a:cubicBezTo>
                  <a:cubicBezTo>
                    <a:pt x="162" y="50"/>
                    <a:pt x="160" y="51"/>
                    <a:pt x="158" y="51"/>
                  </a:cubicBezTo>
                  <a:cubicBezTo>
                    <a:pt x="156" y="51"/>
                    <a:pt x="155" y="50"/>
                    <a:pt x="154" y="49"/>
                  </a:cubicBezTo>
                  <a:cubicBezTo>
                    <a:pt x="153" y="49"/>
                    <a:pt x="153" y="49"/>
                    <a:pt x="152" y="49"/>
                  </a:cubicBezTo>
                  <a:cubicBezTo>
                    <a:pt x="151" y="49"/>
                    <a:pt x="151" y="49"/>
                    <a:pt x="151" y="50"/>
                  </a:cubicBezTo>
                  <a:cubicBezTo>
                    <a:pt x="150" y="51"/>
                    <a:pt x="150" y="54"/>
                    <a:pt x="151" y="55"/>
                  </a:cubicBezTo>
                  <a:cubicBezTo>
                    <a:pt x="152" y="56"/>
                    <a:pt x="152" y="58"/>
                    <a:pt x="153" y="60"/>
                  </a:cubicBezTo>
                  <a:cubicBezTo>
                    <a:pt x="153" y="63"/>
                    <a:pt x="154" y="66"/>
                    <a:pt x="156" y="66"/>
                  </a:cubicBezTo>
                  <a:cubicBezTo>
                    <a:pt x="158" y="67"/>
                    <a:pt x="160" y="69"/>
                    <a:pt x="162" y="71"/>
                  </a:cubicBezTo>
                  <a:cubicBezTo>
                    <a:pt x="164" y="73"/>
                    <a:pt x="166" y="75"/>
                    <a:pt x="168" y="75"/>
                  </a:cubicBezTo>
                  <a:cubicBezTo>
                    <a:pt x="172" y="75"/>
                    <a:pt x="176" y="82"/>
                    <a:pt x="177" y="83"/>
                  </a:cubicBezTo>
                  <a:cubicBezTo>
                    <a:pt x="178" y="83"/>
                    <a:pt x="183" y="87"/>
                    <a:pt x="183" y="89"/>
                  </a:cubicBezTo>
                  <a:cubicBezTo>
                    <a:pt x="183" y="90"/>
                    <a:pt x="182" y="92"/>
                    <a:pt x="180" y="93"/>
                  </a:cubicBezTo>
                  <a:cubicBezTo>
                    <a:pt x="178" y="95"/>
                    <a:pt x="176" y="97"/>
                    <a:pt x="176" y="98"/>
                  </a:cubicBezTo>
                  <a:cubicBezTo>
                    <a:pt x="176" y="100"/>
                    <a:pt x="176" y="102"/>
                    <a:pt x="175" y="104"/>
                  </a:cubicBezTo>
                  <a:cubicBezTo>
                    <a:pt x="175" y="106"/>
                    <a:pt x="174" y="108"/>
                    <a:pt x="174" y="109"/>
                  </a:cubicBezTo>
                  <a:cubicBezTo>
                    <a:pt x="174" y="111"/>
                    <a:pt x="176" y="111"/>
                    <a:pt x="178" y="112"/>
                  </a:cubicBezTo>
                  <a:cubicBezTo>
                    <a:pt x="179" y="113"/>
                    <a:pt x="181" y="114"/>
                    <a:pt x="181" y="115"/>
                  </a:cubicBezTo>
                  <a:cubicBezTo>
                    <a:pt x="182" y="116"/>
                    <a:pt x="185" y="117"/>
                    <a:pt x="187" y="117"/>
                  </a:cubicBezTo>
                  <a:cubicBezTo>
                    <a:pt x="190" y="118"/>
                    <a:pt x="193" y="119"/>
                    <a:pt x="193" y="121"/>
                  </a:cubicBezTo>
                  <a:cubicBezTo>
                    <a:pt x="194" y="123"/>
                    <a:pt x="200" y="125"/>
                    <a:pt x="204" y="126"/>
                  </a:cubicBezTo>
                  <a:cubicBezTo>
                    <a:pt x="207" y="127"/>
                    <a:pt x="212" y="130"/>
                    <a:pt x="215" y="133"/>
                  </a:cubicBezTo>
                  <a:cubicBezTo>
                    <a:pt x="216" y="133"/>
                    <a:pt x="216" y="133"/>
                    <a:pt x="216" y="133"/>
                  </a:cubicBezTo>
                  <a:cubicBezTo>
                    <a:pt x="217" y="133"/>
                    <a:pt x="217" y="133"/>
                    <a:pt x="217" y="133"/>
                  </a:cubicBezTo>
                  <a:cubicBezTo>
                    <a:pt x="219" y="133"/>
                    <a:pt x="222" y="133"/>
                    <a:pt x="224" y="132"/>
                  </a:cubicBezTo>
                  <a:cubicBezTo>
                    <a:pt x="226" y="131"/>
                    <a:pt x="228" y="131"/>
                    <a:pt x="229" y="131"/>
                  </a:cubicBezTo>
                  <a:cubicBezTo>
                    <a:pt x="233" y="131"/>
                    <a:pt x="237" y="136"/>
                    <a:pt x="238" y="139"/>
                  </a:cubicBezTo>
                  <a:cubicBezTo>
                    <a:pt x="238" y="140"/>
                    <a:pt x="243" y="142"/>
                    <a:pt x="247" y="143"/>
                  </a:cubicBezTo>
                  <a:cubicBezTo>
                    <a:pt x="251" y="144"/>
                    <a:pt x="255" y="145"/>
                    <a:pt x="257" y="146"/>
                  </a:cubicBezTo>
                  <a:cubicBezTo>
                    <a:pt x="258" y="147"/>
                    <a:pt x="260" y="148"/>
                    <a:pt x="264" y="148"/>
                  </a:cubicBezTo>
                  <a:cubicBezTo>
                    <a:pt x="271" y="148"/>
                    <a:pt x="279" y="146"/>
                    <a:pt x="281" y="144"/>
                  </a:cubicBezTo>
                  <a:cubicBezTo>
                    <a:pt x="283" y="142"/>
                    <a:pt x="283" y="138"/>
                    <a:pt x="282" y="135"/>
                  </a:cubicBezTo>
                  <a:cubicBezTo>
                    <a:pt x="282" y="133"/>
                    <a:pt x="282" y="131"/>
                    <a:pt x="282" y="129"/>
                  </a:cubicBezTo>
                  <a:cubicBezTo>
                    <a:pt x="282" y="126"/>
                    <a:pt x="283" y="125"/>
                    <a:pt x="285" y="125"/>
                  </a:cubicBezTo>
                  <a:cubicBezTo>
                    <a:pt x="286" y="124"/>
                    <a:pt x="287" y="124"/>
                    <a:pt x="287" y="122"/>
                  </a:cubicBezTo>
                  <a:cubicBezTo>
                    <a:pt x="288" y="121"/>
                    <a:pt x="289" y="121"/>
                    <a:pt x="289" y="121"/>
                  </a:cubicBezTo>
                  <a:cubicBezTo>
                    <a:pt x="290" y="121"/>
                    <a:pt x="291" y="121"/>
                    <a:pt x="291" y="122"/>
                  </a:cubicBezTo>
                  <a:cubicBezTo>
                    <a:pt x="293" y="124"/>
                    <a:pt x="294" y="127"/>
                    <a:pt x="293" y="130"/>
                  </a:cubicBezTo>
                  <a:cubicBezTo>
                    <a:pt x="292" y="133"/>
                    <a:pt x="293" y="136"/>
                    <a:pt x="295" y="138"/>
                  </a:cubicBezTo>
                  <a:cubicBezTo>
                    <a:pt x="296" y="139"/>
                    <a:pt x="296" y="139"/>
                    <a:pt x="297" y="139"/>
                  </a:cubicBezTo>
                  <a:cubicBezTo>
                    <a:pt x="298" y="139"/>
                    <a:pt x="299" y="140"/>
                    <a:pt x="301" y="140"/>
                  </a:cubicBezTo>
                  <a:cubicBezTo>
                    <a:pt x="302" y="141"/>
                    <a:pt x="303" y="142"/>
                    <a:pt x="305" y="142"/>
                  </a:cubicBezTo>
                  <a:cubicBezTo>
                    <a:pt x="306" y="142"/>
                    <a:pt x="306" y="142"/>
                    <a:pt x="307" y="142"/>
                  </a:cubicBezTo>
                  <a:cubicBezTo>
                    <a:pt x="307" y="141"/>
                    <a:pt x="308" y="141"/>
                    <a:pt x="309" y="141"/>
                  </a:cubicBezTo>
                  <a:cubicBezTo>
                    <a:pt x="310" y="141"/>
                    <a:pt x="311" y="142"/>
                    <a:pt x="313" y="142"/>
                  </a:cubicBezTo>
                  <a:cubicBezTo>
                    <a:pt x="314" y="143"/>
                    <a:pt x="316" y="143"/>
                    <a:pt x="317" y="143"/>
                  </a:cubicBezTo>
                  <a:cubicBezTo>
                    <a:pt x="318" y="143"/>
                    <a:pt x="319" y="143"/>
                    <a:pt x="320" y="143"/>
                  </a:cubicBezTo>
                  <a:cubicBezTo>
                    <a:pt x="322" y="142"/>
                    <a:pt x="323" y="142"/>
                    <a:pt x="324" y="142"/>
                  </a:cubicBezTo>
                  <a:cubicBezTo>
                    <a:pt x="326" y="142"/>
                    <a:pt x="327" y="142"/>
                    <a:pt x="328" y="143"/>
                  </a:cubicBezTo>
                  <a:cubicBezTo>
                    <a:pt x="329" y="143"/>
                    <a:pt x="330" y="143"/>
                    <a:pt x="331" y="143"/>
                  </a:cubicBezTo>
                  <a:cubicBezTo>
                    <a:pt x="333" y="143"/>
                    <a:pt x="334" y="142"/>
                    <a:pt x="335" y="141"/>
                  </a:cubicBezTo>
                  <a:cubicBezTo>
                    <a:pt x="337" y="137"/>
                    <a:pt x="333" y="129"/>
                    <a:pt x="333" y="129"/>
                  </a:cubicBezTo>
                  <a:cubicBezTo>
                    <a:pt x="333" y="129"/>
                    <a:pt x="333" y="129"/>
                    <a:pt x="333" y="129"/>
                  </a:cubicBezTo>
                  <a:cubicBezTo>
                    <a:pt x="333" y="128"/>
                    <a:pt x="333" y="128"/>
                    <a:pt x="333" y="128"/>
                  </a:cubicBezTo>
                  <a:cubicBezTo>
                    <a:pt x="334" y="128"/>
                    <a:pt x="339" y="125"/>
                    <a:pt x="341" y="125"/>
                  </a:cubicBezTo>
                  <a:cubicBezTo>
                    <a:pt x="342" y="125"/>
                    <a:pt x="343" y="124"/>
                    <a:pt x="345" y="122"/>
                  </a:cubicBezTo>
                  <a:cubicBezTo>
                    <a:pt x="346" y="121"/>
                    <a:pt x="346" y="120"/>
                    <a:pt x="347" y="119"/>
                  </a:cubicBezTo>
                  <a:cubicBezTo>
                    <a:pt x="348" y="118"/>
                    <a:pt x="349" y="117"/>
                    <a:pt x="349" y="116"/>
                  </a:cubicBezTo>
                  <a:cubicBezTo>
                    <a:pt x="350" y="115"/>
                    <a:pt x="351" y="113"/>
                    <a:pt x="353" y="113"/>
                  </a:cubicBezTo>
                  <a:cubicBezTo>
                    <a:pt x="355" y="114"/>
                    <a:pt x="356" y="113"/>
                    <a:pt x="358" y="111"/>
                  </a:cubicBezTo>
                  <a:cubicBezTo>
                    <a:pt x="360" y="109"/>
                    <a:pt x="362" y="107"/>
                    <a:pt x="366" y="105"/>
                  </a:cubicBezTo>
                  <a:cubicBezTo>
                    <a:pt x="368" y="104"/>
                    <a:pt x="369" y="104"/>
                    <a:pt x="371" y="104"/>
                  </a:cubicBezTo>
                  <a:cubicBezTo>
                    <a:pt x="374" y="104"/>
                    <a:pt x="376" y="104"/>
                    <a:pt x="377" y="105"/>
                  </a:cubicBezTo>
                  <a:cubicBezTo>
                    <a:pt x="379" y="105"/>
                    <a:pt x="380" y="106"/>
                    <a:pt x="381" y="106"/>
                  </a:cubicBezTo>
                  <a:cubicBezTo>
                    <a:pt x="382" y="106"/>
                    <a:pt x="382" y="105"/>
                    <a:pt x="383" y="105"/>
                  </a:cubicBezTo>
                  <a:cubicBezTo>
                    <a:pt x="385" y="103"/>
                    <a:pt x="387" y="102"/>
                    <a:pt x="389" y="102"/>
                  </a:cubicBezTo>
                  <a:cubicBezTo>
                    <a:pt x="390" y="102"/>
                    <a:pt x="391" y="103"/>
                    <a:pt x="391" y="104"/>
                  </a:cubicBezTo>
                  <a:cubicBezTo>
                    <a:pt x="391" y="106"/>
                    <a:pt x="392" y="107"/>
                    <a:pt x="394" y="109"/>
                  </a:cubicBezTo>
                  <a:cubicBezTo>
                    <a:pt x="395" y="111"/>
                    <a:pt x="396" y="112"/>
                    <a:pt x="397" y="114"/>
                  </a:cubicBezTo>
                  <a:cubicBezTo>
                    <a:pt x="398" y="116"/>
                    <a:pt x="403" y="118"/>
                    <a:pt x="405" y="118"/>
                  </a:cubicBezTo>
                  <a:cubicBezTo>
                    <a:pt x="406" y="118"/>
                    <a:pt x="406" y="118"/>
                    <a:pt x="406" y="118"/>
                  </a:cubicBezTo>
                  <a:cubicBezTo>
                    <a:pt x="406" y="119"/>
                    <a:pt x="406" y="119"/>
                    <a:pt x="406" y="119"/>
                  </a:cubicBezTo>
                  <a:cubicBezTo>
                    <a:pt x="405" y="119"/>
                    <a:pt x="404" y="125"/>
                    <a:pt x="402" y="126"/>
                  </a:cubicBezTo>
                  <a:cubicBezTo>
                    <a:pt x="401" y="126"/>
                    <a:pt x="401" y="127"/>
                    <a:pt x="401" y="127"/>
                  </a:cubicBezTo>
                  <a:cubicBezTo>
                    <a:pt x="400" y="129"/>
                    <a:pt x="401" y="132"/>
                    <a:pt x="403" y="135"/>
                  </a:cubicBezTo>
                  <a:cubicBezTo>
                    <a:pt x="404" y="136"/>
                    <a:pt x="404" y="137"/>
                    <a:pt x="404" y="138"/>
                  </a:cubicBezTo>
                  <a:cubicBezTo>
                    <a:pt x="404" y="138"/>
                    <a:pt x="403" y="139"/>
                    <a:pt x="402" y="139"/>
                  </a:cubicBezTo>
                  <a:cubicBezTo>
                    <a:pt x="400" y="139"/>
                    <a:pt x="397" y="137"/>
                    <a:pt x="396" y="135"/>
                  </a:cubicBezTo>
                  <a:cubicBezTo>
                    <a:pt x="396" y="135"/>
                    <a:pt x="396" y="135"/>
                    <a:pt x="395" y="135"/>
                  </a:cubicBezTo>
                  <a:cubicBezTo>
                    <a:pt x="393" y="135"/>
                    <a:pt x="388" y="138"/>
                    <a:pt x="385" y="141"/>
                  </a:cubicBezTo>
                  <a:cubicBezTo>
                    <a:pt x="384" y="142"/>
                    <a:pt x="382" y="142"/>
                    <a:pt x="381" y="143"/>
                  </a:cubicBezTo>
                  <a:cubicBezTo>
                    <a:pt x="378" y="145"/>
                    <a:pt x="375" y="147"/>
                    <a:pt x="375" y="152"/>
                  </a:cubicBezTo>
                  <a:cubicBezTo>
                    <a:pt x="375" y="155"/>
                    <a:pt x="374" y="158"/>
                    <a:pt x="373" y="161"/>
                  </a:cubicBezTo>
                  <a:cubicBezTo>
                    <a:pt x="372" y="164"/>
                    <a:pt x="370" y="167"/>
                    <a:pt x="371" y="170"/>
                  </a:cubicBezTo>
                  <a:cubicBezTo>
                    <a:pt x="372" y="173"/>
                    <a:pt x="370" y="177"/>
                    <a:pt x="368" y="181"/>
                  </a:cubicBezTo>
                  <a:cubicBezTo>
                    <a:pt x="367" y="184"/>
                    <a:pt x="366" y="186"/>
                    <a:pt x="366" y="187"/>
                  </a:cubicBezTo>
                  <a:cubicBezTo>
                    <a:pt x="366" y="188"/>
                    <a:pt x="366" y="188"/>
                    <a:pt x="366" y="188"/>
                  </a:cubicBezTo>
                  <a:cubicBezTo>
                    <a:pt x="365" y="189"/>
                    <a:pt x="365" y="189"/>
                    <a:pt x="364" y="189"/>
                  </a:cubicBezTo>
                  <a:cubicBezTo>
                    <a:pt x="362" y="189"/>
                    <a:pt x="359" y="188"/>
                    <a:pt x="357" y="188"/>
                  </a:cubicBezTo>
                  <a:cubicBezTo>
                    <a:pt x="356" y="188"/>
                    <a:pt x="354" y="187"/>
                    <a:pt x="354" y="187"/>
                  </a:cubicBezTo>
                  <a:cubicBezTo>
                    <a:pt x="354" y="188"/>
                    <a:pt x="353" y="190"/>
                    <a:pt x="353" y="192"/>
                  </a:cubicBezTo>
                  <a:cubicBezTo>
                    <a:pt x="353" y="196"/>
                    <a:pt x="353" y="200"/>
                    <a:pt x="351" y="201"/>
                  </a:cubicBezTo>
                  <a:cubicBezTo>
                    <a:pt x="351" y="203"/>
                    <a:pt x="350" y="206"/>
                    <a:pt x="350" y="209"/>
                  </a:cubicBezTo>
                  <a:cubicBezTo>
                    <a:pt x="350" y="213"/>
                    <a:pt x="349" y="217"/>
                    <a:pt x="347" y="217"/>
                  </a:cubicBezTo>
                  <a:cubicBezTo>
                    <a:pt x="347" y="217"/>
                    <a:pt x="346" y="218"/>
                    <a:pt x="345" y="218"/>
                  </a:cubicBezTo>
                  <a:cubicBezTo>
                    <a:pt x="345" y="219"/>
                    <a:pt x="345" y="219"/>
                    <a:pt x="345" y="219"/>
                  </a:cubicBezTo>
                  <a:cubicBezTo>
                    <a:pt x="344" y="218"/>
                    <a:pt x="344" y="218"/>
                    <a:pt x="344" y="218"/>
                  </a:cubicBezTo>
                  <a:cubicBezTo>
                    <a:pt x="344" y="214"/>
                    <a:pt x="343" y="210"/>
                    <a:pt x="342" y="206"/>
                  </a:cubicBezTo>
                  <a:cubicBezTo>
                    <a:pt x="341" y="199"/>
                    <a:pt x="340" y="191"/>
                    <a:pt x="339" y="191"/>
                  </a:cubicBezTo>
                  <a:cubicBezTo>
                    <a:pt x="338" y="191"/>
                    <a:pt x="337" y="193"/>
                    <a:pt x="336" y="195"/>
                  </a:cubicBezTo>
                  <a:cubicBezTo>
                    <a:pt x="334" y="198"/>
                    <a:pt x="331" y="202"/>
                    <a:pt x="328" y="202"/>
                  </a:cubicBezTo>
                  <a:cubicBezTo>
                    <a:pt x="326" y="201"/>
                    <a:pt x="325" y="196"/>
                    <a:pt x="325" y="192"/>
                  </a:cubicBezTo>
                  <a:cubicBezTo>
                    <a:pt x="325" y="188"/>
                    <a:pt x="327" y="185"/>
                    <a:pt x="329" y="185"/>
                  </a:cubicBezTo>
                  <a:cubicBezTo>
                    <a:pt x="334" y="185"/>
                    <a:pt x="340" y="174"/>
                    <a:pt x="340" y="171"/>
                  </a:cubicBezTo>
                  <a:cubicBezTo>
                    <a:pt x="340" y="168"/>
                    <a:pt x="335" y="168"/>
                    <a:pt x="330" y="168"/>
                  </a:cubicBezTo>
                  <a:cubicBezTo>
                    <a:pt x="325" y="168"/>
                    <a:pt x="314" y="169"/>
                    <a:pt x="314" y="169"/>
                  </a:cubicBezTo>
                  <a:cubicBezTo>
                    <a:pt x="314" y="169"/>
                    <a:pt x="314" y="169"/>
                    <a:pt x="314" y="169"/>
                  </a:cubicBezTo>
                  <a:cubicBezTo>
                    <a:pt x="314" y="169"/>
                    <a:pt x="314" y="169"/>
                    <a:pt x="314" y="169"/>
                  </a:cubicBezTo>
                  <a:cubicBezTo>
                    <a:pt x="313" y="169"/>
                    <a:pt x="306" y="166"/>
                    <a:pt x="306" y="161"/>
                  </a:cubicBezTo>
                  <a:cubicBezTo>
                    <a:pt x="306" y="158"/>
                    <a:pt x="305" y="154"/>
                    <a:pt x="297" y="154"/>
                  </a:cubicBezTo>
                  <a:cubicBezTo>
                    <a:pt x="294" y="154"/>
                    <a:pt x="293" y="153"/>
                    <a:pt x="291" y="152"/>
                  </a:cubicBezTo>
                  <a:cubicBezTo>
                    <a:pt x="290" y="151"/>
                    <a:pt x="290" y="151"/>
                    <a:pt x="289" y="151"/>
                  </a:cubicBezTo>
                  <a:cubicBezTo>
                    <a:pt x="288" y="151"/>
                    <a:pt x="287" y="152"/>
                    <a:pt x="285" y="154"/>
                  </a:cubicBezTo>
                  <a:cubicBezTo>
                    <a:pt x="285" y="155"/>
                    <a:pt x="284" y="156"/>
                    <a:pt x="285" y="156"/>
                  </a:cubicBezTo>
                  <a:cubicBezTo>
                    <a:pt x="285" y="158"/>
                    <a:pt x="287" y="159"/>
                    <a:pt x="290" y="160"/>
                  </a:cubicBezTo>
                  <a:cubicBezTo>
                    <a:pt x="293" y="162"/>
                    <a:pt x="296" y="163"/>
                    <a:pt x="295" y="166"/>
                  </a:cubicBezTo>
                  <a:cubicBezTo>
                    <a:pt x="294" y="169"/>
                    <a:pt x="292" y="169"/>
                    <a:pt x="290" y="170"/>
                  </a:cubicBezTo>
                  <a:cubicBezTo>
                    <a:pt x="289" y="170"/>
                    <a:pt x="288" y="170"/>
                    <a:pt x="287" y="172"/>
                  </a:cubicBezTo>
                  <a:cubicBezTo>
                    <a:pt x="286" y="176"/>
                    <a:pt x="288" y="187"/>
                    <a:pt x="291" y="193"/>
                  </a:cubicBezTo>
                  <a:cubicBezTo>
                    <a:pt x="293" y="198"/>
                    <a:pt x="296" y="210"/>
                    <a:pt x="296" y="220"/>
                  </a:cubicBezTo>
                  <a:cubicBezTo>
                    <a:pt x="296" y="221"/>
                    <a:pt x="296" y="221"/>
                    <a:pt x="296" y="221"/>
                  </a:cubicBezTo>
                  <a:cubicBezTo>
                    <a:pt x="295" y="221"/>
                    <a:pt x="295" y="221"/>
                    <a:pt x="295" y="221"/>
                  </a:cubicBezTo>
                  <a:cubicBezTo>
                    <a:pt x="294" y="221"/>
                    <a:pt x="293" y="221"/>
                    <a:pt x="292" y="221"/>
                  </a:cubicBezTo>
                  <a:cubicBezTo>
                    <a:pt x="285" y="221"/>
                    <a:pt x="267" y="224"/>
                    <a:pt x="266" y="229"/>
                  </a:cubicBezTo>
                  <a:cubicBezTo>
                    <a:pt x="266" y="231"/>
                    <a:pt x="266" y="233"/>
                    <a:pt x="266" y="234"/>
                  </a:cubicBezTo>
                  <a:cubicBezTo>
                    <a:pt x="266" y="238"/>
                    <a:pt x="266" y="240"/>
                    <a:pt x="262" y="245"/>
                  </a:cubicBezTo>
                  <a:cubicBezTo>
                    <a:pt x="259" y="247"/>
                    <a:pt x="255" y="249"/>
                    <a:pt x="251" y="251"/>
                  </a:cubicBezTo>
                  <a:cubicBezTo>
                    <a:pt x="247" y="254"/>
                    <a:pt x="242" y="256"/>
                    <a:pt x="239" y="260"/>
                  </a:cubicBezTo>
                  <a:cubicBezTo>
                    <a:pt x="235" y="267"/>
                    <a:pt x="220" y="281"/>
                    <a:pt x="216" y="284"/>
                  </a:cubicBezTo>
                  <a:cubicBezTo>
                    <a:pt x="214" y="285"/>
                    <a:pt x="212" y="286"/>
                    <a:pt x="210" y="288"/>
                  </a:cubicBezTo>
                  <a:cubicBezTo>
                    <a:pt x="204" y="292"/>
                    <a:pt x="197" y="297"/>
                    <a:pt x="194" y="301"/>
                  </a:cubicBezTo>
                  <a:cubicBezTo>
                    <a:pt x="190" y="307"/>
                    <a:pt x="184" y="311"/>
                    <a:pt x="179" y="311"/>
                  </a:cubicBezTo>
                  <a:cubicBezTo>
                    <a:pt x="177" y="312"/>
                    <a:pt x="176" y="314"/>
                    <a:pt x="176" y="317"/>
                  </a:cubicBezTo>
                  <a:cubicBezTo>
                    <a:pt x="175" y="319"/>
                    <a:pt x="175" y="321"/>
                    <a:pt x="174" y="323"/>
                  </a:cubicBezTo>
                  <a:cubicBezTo>
                    <a:pt x="172" y="328"/>
                    <a:pt x="171" y="336"/>
                    <a:pt x="173" y="341"/>
                  </a:cubicBezTo>
                  <a:cubicBezTo>
                    <a:pt x="176" y="347"/>
                    <a:pt x="175" y="360"/>
                    <a:pt x="171" y="365"/>
                  </a:cubicBezTo>
                  <a:cubicBezTo>
                    <a:pt x="167" y="370"/>
                    <a:pt x="167" y="378"/>
                    <a:pt x="167" y="383"/>
                  </a:cubicBezTo>
                  <a:cubicBezTo>
                    <a:pt x="167" y="389"/>
                    <a:pt x="167" y="393"/>
                    <a:pt x="162" y="394"/>
                  </a:cubicBezTo>
                  <a:cubicBezTo>
                    <a:pt x="159" y="395"/>
                    <a:pt x="158" y="398"/>
                    <a:pt x="157" y="404"/>
                  </a:cubicBezTo>
                  <a:cubicBezTo>
                    <a:pt x="157" y="406"/>
                    <a:pt x="154" y="408"/>
                    <a:pt x="151" y="410"/>
                  </a:cubicBezTo>
                  <a:cubicBezTo>
                    <a:pt x="148" y="412"/>
                    <a:pt x="145" y="414"/>
                    <a:pt x="144" y="417"/>
                  </a:cubicBezTo>
                  <a:cubicBezTo>
                    <a:pt x="142" y="422"/>
                    <a:pt x="136" y="427"/>
                    <a:pt x="132" y="427"/>
                  </a:cubicBezTo>
                  <a:close/>
                  <a:moveTo>
                    <a:pt x="60" y="213"/>
                  </a:moveTo>
                  <a:cubicBezTo>
                    <a:pt x="60" y="213"/>
                    <a:pt x="61" y="213"/>
                    <a:pt x="61" y="214"/>
                  </a:cubicBezTo>
                  <a:cubicBezTo>
                    <a:pt x="63" y="214"/>
                    <a:pt x="63" y="217"/>
                    <a:pt x="63" y="221"/>
                  </a:cubicBezTo>
                  <a:cubicBezTo>
                    <a:pt x="63" y="224"/>
                    <a:pt x="63" y="227"/>
                    <a:pt x="65" y="229"/>
                  </a:cubicBezTo>
                  <a:cubicBezTo>
                    <a:pt x="68" y="232"/>
                    <a:pt x="67" y="237"/>
                    <a:pt x="65" y="243"/>
                  </a:cubicBezTo>
                  <a:cubicBezTo>
                    <a:pt x="63" y="246"/>
                    <a:pt x="65" y="253"/>
                    <a:pt x="66" y="259"/>
                  </a:cubicBezTo>
                  <a:cubicBezTo>
                    <a:pt x="67" y="262"/>
                    <a:pt x="67" y="265"/>
                    <a:pt x="68" y="267"/>
                  </a:cubicBezTo>
                  <a:cubicBezTo>
                    <a:pt x="68" y="270"/>
                    <a:pt x="69" y="274"/>
                    <a:pt x="71" y="278"/>
                  </a:cubicBezTo>
                  <a:cubicBezTo>
                    <a:pt x="72" y="283"/>
                    <a:pt x="74" y="288"/>
                    <a:pt x="74" y="293"/>
                  </a:cubicBezTo>
                  <a:cubicBezTo>
                    <a:pt x="76" y="303"/>
                    <a:pt x="82" y="321"/>
                    <a:pt x="88" y="332"/>
                  </a:cubicBezTo>
                  <a:cubicBezTo>
                    <a:pt x="91" y="337"/>
                    <a:pt x="93" y="346"/>
                    <a:pt x="96" y="353"/>
                  </a:cubicBezTo>
                  <a:cubicBezTo>
                    <a:pt x="98" y="360"/>
                    <a:pt x="100" y="367"/>
                    <a:pt x="102" y="369"/>
                  </a:cubicBezTo>
                  <a:cubicBezTo>
                    <a:pt x="106" y="374"/>
                    <a:pt x="116" y="390"/>
                    <a:pt x="116" y="400"/>
                  </a:cubicBezTo>
                  <a:cubicBezTo>
                    <a:pt x="116" y="410"/>
                    <a:pt x="126" y="423"/>
                    <a:pt x="130" y="426"/>
                  </a:cubicBezTo>
                  <a:cubicBezTo>
                    <a:pt x="130" y="426"/>
                    <a:pt x="131" y="426"/>
                    <a:pt x="132" y="426"/>
                  </a:cubicBezTo>
                  <a:cubicBezTo>
                    <a:pt x="136" y="426"/>
                    <a:pt x="141" y="422"/>
                    <a:pt x="143" y="417"/>
                  </a:cubicBezTo>
                  <a:cubicBezTo>
                    <a:pt x="144" y="414"/>
                    <a:pt x="147" y="412"/>
                    <a:pt x="150" y="410"/>
                  </a:cubicBezTo>
                  <a:cubicBezTo>
                    <a:pt x="153" y="408"/>
                    <a:pt x="156" y="406"/>
                    <a:pt x="156" y="403"/>
                  </a:cubicBezTo>
                  <a:cubicBezTo>
                    <a:pt x="157" y="399"/>
                    <a:pt x="158" y="394"/>
                    <a:pt x="162" y="393"/>
                  </a:cubicBezTo>
                  <a:cubicBezTo>
                    <a:pt x="165" y="393"/>
                    <a:pt x="166" y="389"/>
                    <a:pt x="166" y="383"/>
                  </a:cubicBezTo>
                  <a:cubicBezTo>
                    <a:pt x="166" y="378"/>
                    <a:pt x="166" y="370"/>
                    <a:pt x="170" y="364"/>
                  </a:cubicBezTo>
                  <a:cubicBezTo>
                    <a:pt x="174" y="360"/>
                    <a:pt x="174" y="347"/>
                    <a:pt x="172" y="341"/>
                  </a:cubicBezTo>
                  <a:cubicBezTo>
                    <a:pt x="170" y="336"/>
                    <a:pt x="171" y="328"/>
                    <a:pt x="173" y="323"/>
                  </a:cubicBezTo>
                  <a:cubicBezTo>
                    <a:pt x="174" y="321"/>
                    <a:pt x="174" y="319"/>
                    <a:pt x="175" y="317"/>
                  </a:cubicBezTo>
                  <a:cubicBezTo>
                    <a:pt x="175" y="314"/>
                    <a:pt x="176" y="311"/>
                    <a:pt x="179" y="310"/>
                  </a:cubicBezTo>
                  <a:cubicBezTo>
                    <a:pt x="183" y="310"/>
                    <a:pt x="189" y="307"/>
                    <a:pt x="193" y="301"/>
                  </a:cubicBezTo>
                  <a:cubicBezTo>
                    <a:pt x="196" y="297"/>
                    <a:pt x="203" y="291"/>
                    <a:pt x="209" y="287"/>
                  </a:cubicBezTo>
                  <a:cubicBezTo>
                    <a:pt x="212" y="286"/>
                    <a:pt x="214" y="284"/>
                    <a:pt x="215" y="283"/>
                  </a:cubicBezTo>
                  <a:cubicBezTo>
                    <a:pt x="219" y="280"/>
                    <a:pt x="234" y="267"/>
                    <a:pt x="239" y="259"/>
                  </a:cubicBezTo>
                  <a:cubicBezTo>
                    <a:pt x="241" y="255"/>
                    <a:pt x="246" y="253"/>
                    <a:pt x="251" y="250"/>
                  </a:cubicBezTo>
                  <a:cubicBezTo>
                    <a:pt x="255" y="248"/>
                    <a:pt x="258" y="246"/>
                    <a:pt x="261" y="244"/>
                  </a:cubicBezTo>
                  <a:cubicBezTo>
                    <a:pt x="265" y="240"/>
                    <a:pt x="265" y="238"/>
                    <a:pt x="265" y="234"/>
                  </a:cubicBezTo>
                  <a:cubicBezTo>
                    <a:pt x="265" y="233"/>
                    <a:pt x="265" y="231"/>
                    <a:pt x="265" y="229"/>
                  </a:cubicBezTo>
                  <a:cubicBezTo>
                    <a:pt x="266" y="222"/>
                    <a:pt x="286" y="220"/>
                    <a:pt x="292" y="220"/>
                  </a:cubicBezTo>
                  <a:cubicBezTo>
                    <a:pt x="293" y="220"/>
                    <a:pt x="294" y="220"/>
                    <a:pt x="295" y="220"/>
                  </a:cubicBezTo>
                  <a:cubicBezTo>
                    <a:pt x="295" y="210"/>
                    <a:pt x="292" y="198"/>
                    <a:pt x="290" y="194"/>
                  </a:cubicBezTo>
                  <a:cubicBezTo>
                    <a:pt x="287" y="188"/>
                    <a:pt x="285" y="176"/>
                    <a:pt x="286" y="172"/>
                  </a:cubicBezTo>
                  <a:cubicBezTo>
                    <a:pt x="287" y="169"/>
                    <a:pt x="288" y="169"/>
                    <a:pt x="290" y="169"/>
                  </a:cubicBezTo>
                  <a:cubicBezTo>
                    <a:pt x="292" y="168"/>
                    <a:pt x="293" y="168"/>
                    <a:pt x="294" y="165"/>
                  </a:cubicBezTo>
                  <a:cubicBezTo>
                    <a:pt x="295" y="164"/>
                    <a:pt x="293" y="163"/>
                    <a:pt x="289" y="161"/>
                  </a:cubicBezTo>
                  <a:cubicBezTo>
                    <a:pt x="287" y="160"/>
                    <a:pt x="284" y="159"/>
                    <a:pt x="284" y="157"/>
                  </a:cubicBezTo>
                  <a:cubicBezTo>
                    <a:pt x="283" y="156"/>
                    <a:pt x="284" y="154"/>
                    <a:pt x="285" y="153"/>
                  </a:cubicBezTo>
                  <a:cubicBezTo>
                    <a:pt x="286" y="151"/>
                    <a:pt x="288" y="150"/>
                    <a:pt x="289" y="150"/>
                  </a:cubicBezTo>
                  <a:cubicBezTo>
                    <a:pt x="290" y="150"/>
                    <a:pt x="291" y="150"/>
                    <a:pt x="292" y="151"/>
                  </a:cubicBezTo>
                  <a:cubicBezTo>
                    <a:pt x="293" y="152"/>
                    <a:pt x="295" y="153"/>
                    <a:pt x="297" y="153"/>
                  </a:cubicBezTo>
                  <a:cubicBezTo>
                    <a:pt x="304" y="153"/>
                    <a:pt x="307" y="156"/>
                    <a:pt x="307" y="161"/>
                  </a:cubicBezTo>
                  <a:cubicBezTo>
                    <a:pt x="307" y="165"/>
                    <a:pt x="313" y="167"/>
                    <a:pt x="314" y="168"/>
                  </a:cubicBezTo>
                  <a:cubicBezTo>
                    <a:pt x="315" y="168"/>
                    <a:pt x="325" y="167"/>
                    <a:pt x="330" y="167"/>
                  </a:cubicBezTo>
                  <a:cubicBezTo>
                    <a:pt x="336" y="167"/>
                    <a:pt x="341" y="167"/>
                    <a:pt x="341" y="171"/>
                  </a:cubicBezTo>
                  <a:cubicBezTo>
                    <a:pt x="341" y="175"/>
                    <a:pt x="335" y="186"/>
                    <a:pt x="329" y="186"/>
                  </a:cubicBezTo>
                  <a:cubicBezTo>
                    <a:pt x="327" y="186"/>
                    <a:pt x="326" y="189"/>
                    <a:pt x="326" y="192"/>
                  </a:cubicBezTo>
                  <a:cubicBezTo>
                    <a:pt x="326" y="196"/>
                    <a:pt x="327" y="200"/>
                    <a:pt x="329" y="201"/>
                  </a:cubicBezTo>
                  <a:cubicBezTo>
                    <a:pt x="331" y="201"/>
                    <a:pt x="333" y="197"/>
                    <a:pt x="335" y="194"/>
                  </a:cubicBezTo>
                  <a:cubicBezTo>
                    <a:pt x="336" y="192"/>
                    <a:pt x="338" y="190"/>
                    <a:pt x="339" y="190"/>
                  </a:cubicBezTo>
                  <a:cubicBezTo>
                    <a:pt x="341" y="190"/>
                    <a:pt x="341" y="194"/>
                    <a:pt x="343" y="206"/>
                  </a:cubicBezTo>
                  <a:cubicBezTo>
                    <a:pt x="344" y="210"/>
                    <a:pt x="345" y="213"/>
                    <a:pt x="345" y="217"/>
                  </a:cubicBezTo>
                  <a:cubicBezTo>
                    <a:pt x="346" y="217"/>
                    <a:pt x="346" y="216"/>
                    <a:pt x="347" y="216"/>
                  </a:cubicBezTo>
                  <a:cubicBezTo>
                    <a:pt x="349" y="216"/>
                    <a:pt x="349" y="212"/>
                    <a:pt x="349" y="209"/>
                  </a:cubicBezTo>
                  <a:cubicBezTo>
                    <a:pt x="349" y="206"/>
                    <a:pt x="350" y="203"/>
                    <a:pt x="351" y="201"/>
                  </a:cubicBezTo>
                  <a:cubicBezTo>
                    <a:pt x="352" y="199"/>
                    <a:pt x="352" y="195"/>
                    <a:pt x="352" y="192"/>
                  </a:cubicBezTo>
                  <a:cubicBezTo>
                    <a:pt x="352" y="189"/>
                    <a:pt x="353" y="186"/>
                    <a:pt x="354" y="186"/>
                  </a:cubicBezTo>
                  <a:cubicBezTo>
                    <a:pt x="354" y="186"/>
                    <a:pt x="356" y="187"/>
                    <a:pt x="357" y="187"/>
                  </a:cubicBezTo>
                  <a:cubicBezTo>
                    <a:pt x="359" y="187"/>
                    <a:pt x="362" y="188"/>
                    <a:pt x="364" y="188"/>
                  </a:cubicBezTo>
                  <a:cubicBezTo>
                    <a:pt x="365" y="188"/>
                    <a:pt x="365" y="188"/>
                    <a:pt x="365" y="188"/>
                  </a:cubicBezTo>
                  <a:cubicBezTo>
                    <a:pt x="365" y="188"/>
                    <a:pt x="365" y="188"/>
                    <a:pt x="365" y="188"/>
                  </a:cubicBezTo>
                  <a:cubicBezTo>
                    <a:pt x="365" y="186"/>
                    <a:pt x="366" y="184"/>
                    <a:pt x="367" y="181"/>
                  </a:cubicBezTo>
                  <a:cubicBezTo>
                    <a:pt x="369" y="177"/>
                    <a:pt x="371" y="173"/>
                    <a:pt x="370" y="170"/>
                  </a:cubicBezTo>
                  <a:cubicBezTo>
                    <a:pt x="369" y="167"/>
                    <a:pt x="371" y="164"/>
                    <a:pt x="372" y="160"/>
                  </a:cubicBezTo>
                  <a:cubicBezTo>
                    <a:pt x="373" y="158"/>
                    <a:pt x="374" y="155"/>
                    <a:pt x="374" y="152"/>
                  </a:cubicBezTo>
                  <a:cubicBezTo>
                    <a:pt x="374" y="147"/>
                    <a:pt x="378" y="145"/>
                    <a:pt x="381" y="142"/>
                  </a:cubicBezTo>
                  <a:cubicBezTo>
                    <a:pt x="382" y="142"/>
                    <a:pt x="383" y="141"/>
                    <a:pt x="384" y="140"/>
                  </a:cubicBezTo>
                  <a:cubicBezTo>
                    <a:pt x="387" y="138"/>
                    <a:pt x="392" y="134"/>
                    <a:pt x="395" y="134"/>
                  </a:cubicBezTo>
                  <a:cubicBezTo>
                    <a:pt x="396" y="134"/>
                    <a:pt x="397" y="134"/>
                    <a:pt x="397" y="135"/>
                  </a:cubicBezTo>
                  <a:cubicBezTo>
                    <a:pt x="397" y="136"/>
                    <a:pt x="400" y="138"/>
                    <a:pt x="402" y="138"/>
                  </a:cubicBezTo>
                  <a:cubicBezTo>
                    <a:pt x="403" y="138"/>
                    <a:pt x="403" y="138"/>
                    <a:pt x="403" y="137"/>
                  </a:cubicBezTo>
                  <a:cubicBezTo>
                    <a:pt x="403" y="137"/>
                    <a:pt x="403" y="137"/>
                    <a:pt x="402" y="135"/>
                  </a:cubicBezTo>
                  <a:cubicBezTo>
                    <a:pt x="400" y="132"/>
                    <a:pt x="399" y="129"/>
                    <a:pt x="400" y="127"/>
                  </a:cubicBezTo>
                  <a:cubicBezTo>
                    <a:pt x="400" y="126"/>
                    <a:pt x="400" y="125"/>
                    <a:pt x="401" y="125"/>
                  </a:cubicBezTo>
                  <a:cubicBezTo>
                    <a:pt x="403" y="124"/>
                    <a:pt x="404" y="121"/>
                    <a:pt x="404" y="119"/>
                  </a:cubicBezTo>
                  <a:cubicBezTo>
                    <a:pt x="403" y="119"/>
                    <a:pt x="397" y="117"/>
                    <a:pt x="396" y="114"/>
                  </a:cubicBezTo>
                  <a:cubicBezTo>
                    <a:pt x="395" y="113"/>
                    <a:pt x="394" y="111"/>
                    <a:pt x="393" y="110"/>
                  </a:cubicBezTo>
                  <a:cubicBezTo>
                    <a:pt x="392" y="108"/>
                    <a:pt x="390" y="106"/>
                    <a:pt x="390" y="104"/>
                  </a:cubicBezTo>
                  <a:cubicBezTo>
                    <a:pt x="390" y="103"/>
                    <a:pt x="390" y="103"/>
                    <a:pt x="389" y="103"/>
                  </a:cubicBezTo>
                  <a:cubicBezTo>
                    <a:pt x="388" y="103"/>
                    <a:pt x="385" y="104"/>
                    <a:pt x="384" y="106"/>
                  </a:cubicBezTo>
                  <a:cubicBezTo>
                    <a:pt x="383" y="106"/>
                    <a:pt x="382" y="107"/>
                    <a:pt x="381" y="107"/>
                  </a:cubicBezTo>
                  <a:cubicBezTo>
                    <a:pt x="380" y="107"/>
                    <a:pt x="378" y="106"/>
                    <a:pt x="377" y="106"/>
                  </a:cubicBezTo>
                  <a:cubicBezTo>
                    <a:pt x="375" y="105"/>
                    <a:pt x="373" y="105"/>
                    <a:pt x="371" y="105"/>
                  </a:cubicBezTo>
                  <a:cubicBezTo>
                    <a:pt x="370" y="105"/>
                    <a:pt x="368" y="105"/>
                    <a:pt x="366" y="106"/>
                  </a:cubicBezTo>
                  <a:cubicBezTo>
                    <a:pt x="363" y="108"/>
                    <a:pt x="361" y="110"/>
                    <a:pt x="359" y="112"/>
                  </a:cubicBezTo>
                  <a:cubicBezTo>
                    <a:pt x="357" y="113"/>
                    <a:pt x="355" y="115"/>
                    <a:pt x="353" y="114"/>
                  </a:cubicBezTo>
                  <a:cubicBezTo>
                    <a:pt x="352" y="114"/>
                    <a:pt x="351" y="115"/>
                    <a:pt x="350" y="117"/>
                  </a:cubicBezTo>
                  <a:cubicBezTo>
                    <a:pt x="350" y="118"/>
                    <a:pt x="349" y="119"/>
                    <a:pt x="348" y="120"/>
                  </a:cubicBezTo>
                  <a:cubicBezTo>
                    <a:pt x="347" y="121"/>
                    <a:pt x="346" y="122"/>
                    <a:pt x="346" y="123"/>
                  </a:cubicBezTo>
                  <a:cubicBezTo>
                    <a:pt x="344" y="125"/>
                    <a:pt x="342" y="126"/>
                    <a:pt x="341" y="126"/>
                  </a:cubicBezTo>
                  <a:cubicBezTo>
                    <a:pt x="340" y="126"/>
                    <a:pt x="336" y="128"/>
                    <a:pt x="334" y="129"/>
                  </a:cubicBezTo>
                  <a:cubicBezTo>
                    <a:pt x="335" y="131"/>
                    <a:pt x="338" y="138"/>
                    <a:pt x="335" y="142"/>
                  </a:cubicBezTo>
                  <a:cubicBezTo>
                    <a:pt x="334" y="144"/>
                    <a:pt x="333" y="144"/>
                    <a:pt x="331" y="144"/>
                  </a:cubicBezTo>
                  <a:cubicBezTo>
                    <a:pt x="330" y="144"/>
                    <a:pt x="329" y="144"/>
                    <a:pt x="328" y="144"/>
                  </a:cubicBezTo>
                  <a:cubicBezTo>
                    <a:pt x="327" y="143"/>
                    <a:pt x="326" y="143"/>
                    <a:pt x="324" y="143"/>
                  </a:cubicBezTo>
                  <a:cubicBezTo>
                    <a:pt x="323" y="143"/>
                    <a:pt x="322" y="143"/>
                    <a:pt x="321" y="144"/>
                  </a:cubicBezTo>
                  <a:cubicBezTo>
                    <a:pt x="320" y="144"/>
                    <a:pt x="319" y="144"/>
                    <a:pt x="317" y="144"/>
                  </a:cubicBezTo>
                  <a:cubicBezTo>
                    <a:pt x="316" y="144"/>
                    <a:pt x="314" y="144"/>
                    <a:pt x="312" y="143"/>
                  </a:cubicBezTo>
                  <a:cubicBezTo>
                    <a:pt x="311" y="143"/>
                    <a:pt x="309" y="142"/>
                    <a:pt x="307" y="143"/>
                  </a:cubicBezTo>
                  <a:cubicBezTo>
                    <a:pt x="306" y="143"/>
                    <a:pt x="306" y="143"/>
                    <a:pt x="305" y="143"/>
                  </a:cubicBezTo>
                  <a:cubicBezTo>
                    <a:pt x="303" y="143"/>
                    <a:pt x="301" y="142"/>
                    <a:pt x="300" y="141"/>
                  </a:cubicBezTo>
                  <a:cubicBezTo>
                    <a:pt x="299" y="141"/>
                    <a:pt x="298" y="140"/>
                    <a:pt x="297" y="140"/>
                  </a:cubicBezTo>
                  <a:cubicBezTo>
                    <a:pt x="296" y="140"/>
                    <a:pt x="295" y="140"/>
                    <a:pt x="294" y="139"/>
                  </a:cubicBezTo>
                  <a:cubicBezTo>
                    <a:pt x="292" y="137"/>
                    <a:pt x="291" y="133"/>
                    <a:pt x="292" y="130"/>
                  </a:cubicBezTo>
                  <a:cubicBezTo>
                    <a:pt x="293" y="127"/>
                    <a:pt x="292" y="124"/>
                    <a:pt x="291" y="123"/>
                  </a:cubicBezTo>
                  <a:cubicBezTo>
                    <a:pt x="290" y="122"/>
                    <a:pt x="289" y="122"/>
                    <a:pt x="288" y="123"/>
                  </a:cubicBezTo>
                  <a:cubicBezTo>
                    <a:pt x="287" y="124"/>
                    <a:pt x="286" y="125"/>
                    <a:pt x="285" y="125"/>
                  </a:cubicBezTo>
                  <a:cubicBezTo>
                    <a:pt x="284" y="126"/>
                    <a:pt x="283" y="127"/>
                    <a:pt x="283" y="129"/>
                  </a:cubicBezTo>
                  <a:cubicBezTo>
                    <a:pt x="283" y="131"/>
                    <a:pt x="283" y="133"/>
                    <a:pt x="283" y="134"/>
                  </a:cubicBezTo>
                  <a:cubicBezTo>
                    <a:pt x="284" y="138"/>
                    <a:pt x="284" y="142"/>
                    <a:pt x="282" y="145"/>
                  </a:cubicBezTo>
                  <a:cubicBezTo>
                    <a:pt x="280" y="147"/>
                    <a:pt x="271" y="149"/>
                    <a:pt x="264" y="149"/>
                  </a:cubicBezTo>
                  <a:cubicBezTo>
                    <a:pt x="261" y="149"/>
                    <a:pt x="258" y="148"/>
                    <a:pt x="256" y="147"/>
                  </a:cubicBezTo>
                  <a:cubicBezTo>
                    <a:pt x="254" y="146"/>
                    <a:pt x="251" y="145"/>
                    <a:pt x="247" y="144"/>
                  </a:cubicBezTo>
                  <a:cubicBezTo>
                    <a:pt x="241" y="142"/>
                    <a:pt x="237" y="141"/>
                    <a:pt x="237" y="139"/>
                  </a:cubicBezTo>
                  <a:cubicBezTo>
                    <a:pt x="236" y="137"/>
                    <a:pt x="232" y="132"/>
                    <a:pt x="229" y="132"/>
                  </a:cubicBezTo>
                  <a:cubicBezTo>
                    <a:pt x="228" y="132"/>
                    <a:pt x="226" y="132"/>
                    <a:pt x="224" y="133"/>
                  </a:cubicBezTo>
                  <a:cubicBezTo>
                    <a:pt x="222" y="134"/>
                    <a:pt x="219" y="134"/>
                    <a:pt x="217" y="134"/>
                  </a:cubicBezTo>
                  <a:cubicBezTo>
                    <a:pt x="216" y="134"/>
                    <a:pt x="216" y="134"/>
                    <a:pt x="215" y="134"/>
                  </a:cubicBezTo>
                  <a:cubicBezTo>
                    <a:pt x="214" y="133"/>
                    <a:pt x="214" y="133"/>
                    <a:pt x="214" y="133"/>
                  </a:cubicBezTo>
                  <a:cubicBezTo>
                    <a:pt x="212" y="131"/>
                    <a:pt x="207" y="128"/>
                    <a:pt x="203" y="127"/>
                  </a:cubicBezTo>
                  <a:cubicBezTo>
                    <a:pt x="199" y="126"/>
                    <a:pt x="193" y="124"/>
                    <a:pt x="192" y="121"/>
                  </a:cubicBezTo>
                  <a:cubicBezTo>
                    <a:pt x="192" y="120"/>
                    <a:pt x="189" y="119"/>
                    <a:pt x="187" y="118"/>
                  </a:cubicBezTo>
                  <a:cubicBezTo>
                    <a:pt x="184" y="117"/>
                    <a:pt x="182" y="117"/>
                    <a:pt x="181" y="115"/>
                  </a:cubicBezTo>
                  <a:cubicBezTo>
                    <a:pt x="180" y="115"/>
                    <a:pt x="179" y="114"/>
                    <a:pt x="177" y="113"/>
                  </a:cubicBezTo>
                  <a:cubicBezTo>
                    <a:pt x="175" y="112"/>
                    <a:pt x="173" y="111"/>
                    <a:pt x="173" y="109"/>
                  </a:cubicBezTo>
                  <a:cubicBezTo>
                    <a:pt x="173" y="108"/>
                    <a:pt x="174" y="106"/>
                    <a:pt x="174" y="104"/>
                  </a:cubicBezTo>
                  <a:cubicBezTo>
                    <a:pt x="175" y="102"/>
                    <a:pt x="175" y="100"/>
                    <a:pt x="175" y="98"/>
                  </a:cubicBezTo>
                  <a:cubicBezTo>
                    <a:pt x="175" y="96"/>
                    <a:pt x="178" y="94"/>
                    <a:pt x="180" y="93"/>
                  </a:cubicBezTo>
                  <a:cubicBezTo>
                    <a:pt x="181" y="91"/>
                    <a:pt x="182" y="90"/>
                    <a:pt x="182" y="89"/>
                  </a:cubicBezTo>
                  <a:cubicBezTo>
                    <a:pt x="182" y="88"/>
                    <a:pt x="179" y="85"/>
                    <a:pt x="176" y="83"/>
                  </a:cubicBezTo>
                  <a:cubicBezTo>
                    <a:pt x="176" y="83"/>
                    <a:pt x="176" y="83"/>
                    <a:pt x="176" y="83"/>
                  </a:cubicBezTo>
                  <a:cubicBezTo>
                    <a:pt x="176" y="83"/>
                    <a:pt x="176" y="83"/>
                    <a:pt x="176" y="83"/>
                  </a:cubicBezTo>
                  <a:cubicBezTo>
                    <a:pt x="176" y="83"/>
                    <a:pt x="172" y="76"/>
                    <a:pt x="168" y="76"/>
                  </a:cubicBezTo>
                  <a:cubicBezTo>
                    <a:pt x="165" y="76"/>
                    <a:pt x="163" y="74"/>
                    <a:pt x="161" y="71"/>
                  </a:cubicBezTo>
                  <a:cubicBezTo>
                    <a:pt x="159" y="69"/>
                    <a:pt x="157" y="68"/>
                    <a:pt x="156" y="67"/>
                  </a:cubicBezTo>
                  <a:cubicBezTo>
                    <a:pt x="153" y="67"/>
                    <a:pt x="152" y="64"/>
                    <a:pt x="152" y="61"/>
                  </a:cubicBezTo>
                  <a:cubicBezTo>
                    <a:pt x="151" y="59"/>
                    <a:pt x="151" y="57"/>
                    <a:pt x="150" y="56"/>
                  </a:cubicBezTo>
                  <a:cubicBezTo>
                    <a:pt x="149" y="54"/>
                    <a:pt x="149" y="51"/>
                    <a:pt x="150" y="49"/>
                  </a:cubicBezTo>
                  <a:cubicBezTo>
                    <a:pt x="151" y="47"/>
                    <a:pt x="152" y="47"/>
                    <a:pt x="154" y="49"/>
                  </a:cubicBezTo>
                  <a:cubicBezTo>
                    <a:pt x="155" y="49"/>
                    <a:pt x="157" y="50"/>
                    <a:pt x="158" y="50"/>
                  </a:cubicBezTo>
                  <a:cubicBezTo>
                    <a:pt x="160" y="50"/>
                    <a:pt x="162" y="49"/>
                    <a:pt x="162" y="48"/>
                  </a:cubicBezTo>
                  <a:cubicBezTo>
                    <a:pt x="163" y="47"/>
                    <a:pt x="163" y="45"/>
                    <a:pt x="162" y="44"/>
                  </a:cubicBezTo>
                  <a:cubicBezTo>
                    <a:pt x="161" y="42"/>
                    <a:pt x="159" y="40"/>
                    <a:pt x="158" y="38"/>
                  </a:cubicBezTo>
                  <a:cubicBezTo>
                    <a:pt x="156" y="35"/>
                    <a:pt x="154" y="33"/>
                    <a:pt x="154" y="31"/>
                  </a:cubicBezTo>
                  <a:cubicBezTo>
                    <a:pt x="154" y="30"/>
                    <a:pt x="154" y="29"/>
                    <a:pt x="155" y="28"/>
                  </a:cubicBezTo>
                  <a:cubicBezTo>
                    <a:pt x="155" y="24"/>
                    <a:pt x="156" y="19"/>
                    <a:pt x="154" y="18"/>
                  </a:cubicBezTo>
                  <a:cubicBezTo>
                    <a:pt x="149" y="15"/>
                    <a:pt x="146" y="12"/>
                    <a:pt x="145" y="8"/>
                  </a:cubicBezTo>
                  <a:cubicBezTo>
                    <a:pt x="144" y="4"/>
                    <a:pt x="140" y="2"/>
                    <a:pt x="140" y="1"/>
                  </a:cubicBezTo>
                  <a:cubicBezTo>
                    <a:pt x="134" y="2"/>
                    <a:pt x="134" y="2"/>
                    <a:pt x="134" y="2"/>
                  </a:cubicBezTo>
                  <a:cubicBezTo>
                    <a:pt x="134" y="4"/>
                    <a:pt x="131" y="11"/>
                    <a:pt x="128" y="12"/>
                  </a:cubicBezTo>
                  <a:cubicBezTo>
                    <a:pt x="128" y="13"/>
                    <a:pt x="126" y="13"/>
                    <a:pt x="124" y="14"/>
                  </a:cubicBezTo>
                  <a:cubicBezTo>
                    <a:pt x="121" y="15"/>
                    <a:pt x="117" y="16"/>
                    <a:pt x="114" y="18"/>
                  </a:cubicBezTo>
                  <a:cubicBezTo>
                    <a:pt x="113" y="18"/>
                    <a:pt x="112" y="19"/>
                    <a:pt x="111" y="19"/>
                  </a:cubicBezTo>
                  <a:cubicBezTo>
                    <a:pt x="109" y="19"/>
                    <a:pt x="105" y="17"/>
                    <a:pt x="102" y="16"/>
                  </a:cubicBezTo>
                  <a:cubicBezTo>
                    <a:pt x="98" y="15"/>
                    <a:pt x="95" y="14"/>
                    <a:pt x="92" y="14"/>
                  </a:cubicBezTo>
                  <a:cubicBezTo>
                    <a:pt x="88" y="14"/>
                    <a:pt x="85" y="17"/>
                    <a:pt x="84" y="19"/>
                  </a:cubicBezTo>
                  <a:cubicBezTo>
                    <a:pt x="84" y="20"/>
                    <a:pt x="84" y="21"/>
                    <a:pt x="85" y="21"/>
                  </a:cubicBezTo>
                  <a:cubicBezTo>
                    <a:pt x="88" y="23"/>
                    <a:pt x="87" y="34"/>
                    <a:pt x="87" y="35"/>
                  </a:cubicBezTo>
                  <a:cubicBezTo>
                    <a:pt x="88" y="39"/>
                    <a:pt x="91" y="49"/>
                    <a:pt x="95" y="49"/>
                  </a:cubicBezTo>
                  <a:cubicBezTo>
                    <a:pt x="95" y="49"/>
                    <a:pt x="95" y="49"/>
                    <a:pt x="95" y="49"/>
                  </a:cubicBezTo>
                  <a:cubicBezTo>
                    <a:pt x="96" y="48"/>
                    <a:pt x="96" y="48"/>
                    <a:pt x="97" y="48"/>
                  </a:cubicBezTo>
                  <a:cubicBezTo>
                    <a:pt x="100" y="48"/>
                    <a:pt x="104" y="51"/>
                    <a:pt x="104" y="53"/>
                  </a:cubicBezTo>
                  <a:cubicBezTo>
                    <a:pt x="104" y="54"/>
                    <a:pt x="104" y="55"/>
                    <a:pt x="102" y="56"/>
                  </a:cubicBezTo>
                  <a:cubicBezTo>
                    <a:pt x="98" y="57"/>
                    <a:pt x="96" y="62"/>
                    <a:pt x="95" y="66"/>
                  </a:cubicBezTo>
                  <a:cubicBezTo>
                    <a:pt x="95" y="68"/>
                    <a:pt x="95" y="69"/>
                    <a:pt x="95" y="70"/>
                  </a:cubicBezTo>
                  <a:cubicBezTo>
                    <a:pt x="95" y="74"/>
                    <a:pt x="95" y="77"/>
                    <a:pt x="92" y="78"/>
                  </a:cubicBezTo>
                  <a:cubicBezTo>
                    <a:pt x="89" y="78"/>
                    <a:pt x="86" y="79"/>
                    <a:pt x="86" y="85"/>
                  </a:cubicBezTo>
                  <a:cubicBezTo>
                    <a:pt x="86" y="90"/>
                    <a:pt x="82" y="90"/>
                    <a:pt x="80" y="91"/>
                  </a:cubicBezTo>
                  <a:cubicBezTo>
                    <a:pt x="78" y="91"/>
                    <a:pt x="77" y="92"/>
                    <a:pt x="77" y="92"/>
                  </a:cubicBezTo>
                  <a:cubicBezTo>
                    <a:pt x="77" y="93"/>
                    <a:pt x="76" y="95"/>
                    <a:pt x="75" y="98"/>
                  </a:cubicBezTo>
                  <a:cubicBezTo>
                    <a:pt x="74" y="103"/>
                    <a:pt x="72" y="107"/>
                    <a:pt x="71" y="108"/>
                  </a:cubicBezTo>
                  <a:cubicBezTo>
                    <a:pt x="70" y="109"/>
                    <a:pt x="69" y="109"/>
                    <a:pt x="67" y="110"/>
                  </a:cubicBezTo>
                  <a:cubicBezTo>
                    <a:pt x="64" y="111"/>
                    <a:pt x="60" y="112"/>
                    <a:pt x="59" y="115"/>
                  </a:cubicBezTo>
                  <a:cubicBezTo>
                    <a:pt x="59" y="120"/>
                    <a:pt x="54" y="127"/>
                    <a:pt x="51" y="127"/>
                  </a:cubicBezTo>
                  <a:cubicBezTo>
                    <a:pt x="51" y="127"/>
                    <a:pt x="51" y="127"/>
                    <a:pt x="51" y="126"/>
                  </a:cubicBezTo>
                  <a:cubicBezTo>
                    <a:pt x="50" y="126"/>
                    <a:pt x="49" y="126"/>
                    <a:pt x="49" y="126"/>
                  </a:cubicBezTo>
                  <a:cubicBezTo>
                    <a:pt x="47" y="126"/>
                    <a:pt x="46" y="125"/>
                    <a:pt x="44" y="125"/>
                  </a:cubicBezTo>
                  <a:cubicBezTo>
                    <a:pt x="43" y="125"/>
                    <a:pt x="42" y="126"/>
                    <a:pt x="41" y="127"/>
                  </a:cubicBezTo>
                  <a:cubicBezTo>
                    <a:pt x="41" y="128"/>
                    <a:pt x="40" y="128"/>
                    <a:pt x="39" y="128"/>
                  </a:cubicBezTo>
                  <a:cubicBezTo>
                    <a:pt x="38" y="128"/>
                    <a:pt x="36" y="127"/>
                    <a:pt x="34" y="127"/>
                  </a:cubicBezTo>
                  <a:cubicBezTo>
                    <a:pt x="33" y="126"/>
                    <a:pt x="32" y="126"/>
                    <a:pt x="31" y="126"/>
                  </a:cubicBezTo>
                  <a:cubicBezTo>
                    <a:pt x="30" y="126"/>
                    <a:pt x="30" y="126"/>
                    <a:pt x="30" y="126"/>
                  </a:cubicBezTo>
                  <a:cubicBezTo>
                    <a:pt x="30" y="126"/>
                    <a:pt x="30" y="126"/>
                    <a:pt x="29" y="127"/>
                  </a:cubicBezTo>
                  <a:cubicBezTo>
                    <a:pt x="26" y="130"/>
                    <a:pt x="20" y="136"/>
                    <a:pt x="20" y="139"/>
                  </a:cubicBezTo>
                  <a:cubicBezTo>
                    <a:pt x="20" y="141"/>
                    <a:pt x="22" y="142"/>
                    <a:pt x="24" y="143"/>
                  </a:cubicBezTo>
                  <a:cubicBezTo>
                    <a:pt x="26" y="145"/>
                    <a:pt x="29" y="146"/>
                    <a:pt x="29" y="150"/>
                  </a:cubicBezTo>
                  <a:cubicBezTo>
                    <a:pt x="28" y="155"/>
                    <a:pt x="32" y="161"/>
                    <a:pt x="35" y="164"/>
                  </a:cubicBezTo>
                  <a:cubicBezTo>
                    <a:pt x="38" y="167"/>
                    <a:pt x="43" y="174"/>
                    <a:pt x="40" y="178"/>
                  </a:cubicBezTo>
                  <a:cubicBezTo>
                    <a:pt x="39" y="180"/>
                    <a:pt x="36" y="182"/>
                    <a:pt x="33" y="182"/>
                  </a:cubicBezTo>
                  <a:cubicBezTo>
                    <a:pt x="32" y="182"/>
                    <a:pt x="30" y="181"/>
                    <a:pt x="29" y="181"/>
                  </a:cubicBezTo>
                  <a:cubicBezTo>
                    <a:pt x="28" y="181"/>
                    <a:pt x="27" y="181"/>
                    <a:pt x="27" y="181"/>
                  </a:cubicBezTo>
                  <a:cubicBezTo>
                    <a:pt x="26" y="181"/>
                    <a:pt x="25" y="181"/>
                    <a:pt x="24" y="181"/>
                  </a:cubicBezTo>
                  <a:cubicBezTo>
                    <a:pt x="23" y="182"/>
                    <a:pt x="22" y="182"/>
                    <a:pt x="20" y="182"/>
                  </a:cubicBezTo>
                  <a:cubicBezTo>
                    <a:pt x="18" y="182"/>
                    <a:pt x="17" y="182"/>
                    <a:pt x="15" y="182"/>
                  </a:cubicBezTo>
                  <a:cubicBezTo>
                    <a:pt x="14" y="181"/>
                    <a:pt x="13" y="181"/>
                    <a:pt x="12" y="181"/>
                  </a:cubicBezTo>
                  <a:cubicBezTo>
                    <a:pt x="8" y="181"/>
                    <a:pt x="6" y="184"/>
                    <a:pt x="5" y="187"/>
                  </a:cubicBezTo>
                  <a:cubicBezTo>
                    <a:pt x="4" y="188"/>
                    <a:pt x="3" y="190"/>
                    <a:pt x="2" y="191"/>
                  </a:cubicBezTo>
                  <a:cubicBezTo>
                    <a:pt x="2" y="191"/>
                    <a:pt x="2" y="191"/>
                    <a:pt x="2" y="191"/>
                  </a:cubicBezTo>
                  <a:cubicBezTo>
                    <a:pt x="2" y="191"/>
                    <a:pt x="2" y="191"/>
                    <a:pt x="2" y="191"/>
                  </a:cubicBezTo>
                  <a:cubicBezTo>
                    <a:pt x="3" y="193"/>
                    <a:pt x="4" y="194"/>
                    <a:pt x="5" y="196"/>
                  </a:cubicBezTo>
                  <a:cubicBezTo>
                    <a:pt x="8" y="199"/>
                    <a:pt x="10" y="202"/>
                    <a:pt x="14" y="203"/>
                  </a:cubicBezTo>
                  <a:cubicBezTo>
                    <a:pt x="16" y="204"/>
                    <a:pt x="17" y="204"/>
                    <a:pt x="18" y="204"/>
                  </a:cubicBezTo>
                  <a:cubicBezTo>
                    <a:pt x="21" y="204"/>
                    <a:pt x="23" y="203"/>
                    <a:pt x="25" y="203"/>
                  </a:cubicBezTo>
                  <a:cubicBezTo>
                    <a:pt x="27" y="202"/>
                    <a:pt x="28" y="202"/>
                    <a:pt x="29" y="202"/>
                  </a:cubicBezTo>
                  <a:cubicBezTo>
                    <a:pt x="31" y="202"/>
                    <a:pt x="31" y="204"/>
                    <a:pt x="31" y="205"/>
                  </a:cubicBezTo>
                  <a:cubicBezTo>
                    <a:pt x="31" y="209"/>
                    <a:pt x="22" y="210"/>
                    <a:pt x="16" y="211"/>
                  </a:cubicBezTo>
                  <a:cubicBezTo>
                    <a:pt x="14" y="211"/>
                    <a:pt x="11" y="211"/>
                    <a:pt x="10" y="212"/>
                  </a:cubicBezTo>
                  <a:cubicBezTo>
                    <a:pt x="11" y="214"/>
                    <a:pt x="29" y="236"/>
                    <a:pt x="40" y="236"/>
                  </a:cubicBezTo>
                  <a:cubicBezTo>
                    <a:pt x="41" y="236"/>
                    <a:pt x="41" y="236"/>
                    <a:pt x="41" y="236"/>
                  </a:cubicBezTo>
                  <a:cubicBezTo>
                    <a:pt x="49" y="235"/>
                    <a:pt x="56" y="227"/>
                    <a:pt x="56" y="223"/>
                  </a:cubicBezTo>
                  <a:cubicBezTo>
                    <a:pt x="56" y="222"/>
                    <a:pt x="56" y="222"/>
                    <a:pt x="56" y="222"/>
                  </a:cubicBezTo>
                  <a:cubicBezTo>
                    <a:pt x="55" y="221"/>
                    <a:pt x="55" y="220"/>
                    <a:pt x="55" y="219"/>
                  </a:cubicBezTo>
                  <a:cubicBezTo>
                    <a:pt x="56" y="216"/>
                    <a:pt x="58" y="213"/>
                    <a:pt x="60" y="2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4" name="Freeform 51"/>
            <p:cNvSpPr>
              <a:spLocks noEditPoints="1"/>
            </p:cNvSpPr>
            <p:nvPr/>
          </p:nvSpPr>
          <p:spPr>
            <a:xfrm>
              <a:off x="6940551" y="2384425"/>
              <a:ext cx="777875" cy="333375"/>
            </a:xfrm>
            <a:custGeom>
              <a:gdLst>
                <a:gd name="T0" fmla="*/ 224 w 459"/>
                <a:gd name="T1" fmla="*/ 190 h 196"/>
                <a:gd name="T2" fmla="*/ 201 w 459"/>
                <a:gd name="T3" fmla="*/ 185 h 196"/>
                <a:gd name="T4" fmla="*/ 132 w 459"/>
                <a:gd name="T5" fmla="*/ 176 h 196"/>
                <a:gd name="T6" fmla="*/ 110 w 459"/>
                <a:gd name="T7" fmla="*/ 169 h 196"/>
                <a:gd name="T8" fmla="*/ 82 w 459"/>
                <a:gd name="T9" fmla="*/ 138 h 196"/>
                <a:gd name="T10" fmla="*/ 45 w 459"/>
                <a:gd name="T11" fmla="*/ 107 h 196"/>
                <a:gd name="T12" fmla="*/ 8 w 459"/>
                <a:gd name="T13" fmla="*/ 68 h 196"/>
                <a:gd name="T14" fmla="*/ 2 w 459"/>
                <a:gd name="T15" fmla="*/ 55 h 196"/>
                <a:gd name="T16" fmla="*/ 37 w 459"/>
                <a:gd name="T17" fmla="*/ 38 h 196"/>
                <a:gd name="T18" fmla="*/ 64 w 459"/>
                <a:gd name="T19" fmla="*/ 25 h 196"/>
                <a:gd name="T20" fmla="*/ 92 w 459"/>
                <a:gd name="T21" fmla="*/ 37 h 196"/>
                <a:gd name="T22" fmla="*/ 116 w 459"/>
                <a:gd name="T23" fmla="*/ 41 h 196"/>
                <a:gd name="T24" fmla="*/ 138 w 459"/>
                <a:gd name="T25" fmla="*/ 38 h 196"/>
                <a:gd name="T26" fmla="*/ 144 w 459"/>
                <a:gd name="T27" fmla="*/ 6 h 196"/>
                <a:gd name="T28" fmla="*/ 164 w 459"/>
                <a:gd name="T29" fmla="*/ 4 h 196"/>
                <a:gd name="T30" fmla="*/ 199 w 459"/>
                <a:gd name="T31" fmla="*/ 21 h 196"/>
                <a:gd name="T32" fmla="*/ 215 w 459"/>
                <a:gd name="T33" fmla="*/ 36 h 196"/>
                <a:gd name="T34" fmla="*/ 245 w 459"/>
                <a:gd name="T35" fmla="*/ 31 h 196"/>
                <a:gd name="T36" fmla="*/ 270 w 459"/>
                <a:gd name="T37" fmla="*/ 37 h 196"/>
                <a:gd name="T38" fmla="*/ 299 w 459"/>
                <a:gd name="T39" fmla="*/ 53 h 196"/>
                <a:gd name="T40" fmla="*/ 345 w 459"/>
                <a:gd name="T41" fmla="*/ 50 h 196"/>
                <a:gd name="T42" fmla="*/ 378 w 459"/>
                <a:gd name="T43" fmla="*/ 36 h 196"/>
                <a:gd name="T44" fmla="*/ 411 w 459"/>
                <a:gd name="T45" fmla="*/ 42 h 196"/>
                <a:gd name="T46" fmla="*/ 396 w 459"/>
                <a:gd name="T47" fmla="*/ 80 h 196"/>
                <a:gd name="T48" fmla="*/ 423 w 459"/>
                <a:gd name="T49" fmla="*/ 85 h 196"/>
                <a:gd name="T50" fmla="*/ 458 w 459"/>
                <a:gd name="T51" fmla="*/ 102 h 196"/>
                <a:gd name="T52" fmla="*/ 432 w 459"/>
                <a:gd name="T53" fmla="*/ 106 h 196"/>
                <a:gd name="T54" fmla="*/ 389 w 459"/>
                <a:gd name="T55" fmla="*/ 128 h 196"/>
                <a:gd name="T56" fmla="*/ 334 w 459"/>
                <a:gd name="T57" fmla="*/ 139 h 196"/>
                <a:gd name="T58" fmla="*/ 293 w 459"/>
                <a:gd name="T59" fmla="*/ 182 h 196"/>
                <a:gd name="T60" fmla="*/ 236 w 459"/>
                <a:gd name="T61" fmla="*/ 196 h 196"/>
                <a:gd name="T62" fmla="*/ 260 w 459"/>
                <a:gd name="T63" fmla="*/ 182 h 196"/>
                <a:gd name="T64" fmla="*/ 319 w 459"/>
                <a:gd name="T65" fmla="*/ 170 h 196"/>
                <a:gd name="T66" fmla="*/ 342 w 459"/>
                <a:gd name="T67" fmla="*/ 133 h 196"/>
                <a:gd name="T68" fmla="*/ 393 w 459"/>
                <a:gd name="T69" fmla="*/ 126 h 196"/>
                <a:gd name="T70" fmla="*/ 440 w 459"/>
                <a:gd name="T71" fmla="*/ 102 h 196"/>
                <a:gd name="T72" fmla="*/ 446 w 459"/>
                <a:gd name="T73" fmla="*/ 89 h 196"/>
                <a:gd name="T74" fmla="*/ 419 w 459"/>
                <a:gd name="T75" fmla="*/ 85 h 196"/>
                <a:gd name="T76" fmla="*/ 393 w 459"/>
                <a:gd name="T77" fmla="*/ 76 h 196"/>
                <a:gd name="T78" fmla="*/ 400 w 459"/>
                <a:gd name="T79" fmla="*/ 42 h 196"/>
                <a:gd name="T80" fmla="*/ 358 w 459"/>
                <a:gd name="T81" fmla="*/ 46 h 196"/>
                <a:gd name="T82" fmla="*/ 317 w 459"/>
                <a:gd name="T83" fmla="*/ 57 h 196"/>
                <a:gd name="T84" fmla="*/ 281 w 459"/>
                <a:gd name="T85" fmla="*/ 43 h 196"/>
                <a:gd name="T86" fmla="*/ 257 w 459"/>
                <a:gd name="T87" fmla="*/ 35 h 196"/>
                <a:gd name="T88" fmla="*/ 226 w 459"/>
                <a:gd name="T89" fmla="*/ 36 h 196"/>
                <a:gd name="T90" fmla="*/ 207 w 459"/>
                <a:gd name="T91" fmla="*/ 35 h 196"/>
                <a:gd name="T92" fmla="*/ 183 w 459"/>
                <a:gd name="T93" fmla="*/ 11 h 196"/>
                <a:gd name="T94" fmla="*/ 148 w 459"/>
                <a:gd name="T95" fmla="*/ 5 h 196"/>
                <a:gd name="T96" fmla="*/ 139 w 459"/>
                <a:gd name="T97" fmla="*/ 29 h 196"/>
                <a:gd name="T98" fmla="*/ 118 w 459"/>
                <a:gd name="T99" fmla="*/ 43 h 196"/>
                <a:gd name="T100" fmla="*/ 96 w 459"/>
                <a:gd name="T101" fmla="*/ 40 h 196"/>
                <a:gd name="T102" fmla="*/ 67 w 459"/>
                <a:gd name="T103" fmla="*/ 26 h 196"/>
                <a:gd name="T104" fmla="*/ 43 w 459"/>
                <a:gd name="T105" fmla="*/ 35 h 196"/>
                <a:gd name="T106" fmla="*/ 4 w 459"/>
                <a:gd name="T107" fmla="*/ 55 h 196"/>
                <a:gd name="T108" fmla="*/ 25 w 459"/>
                <a:gd name="T109" fmla="*/ 77 h 196"/>
                <a:gd name="T110" fmla="*/ 42 w 459"/>
                <a:gd name="T111" fmla="*/ 119 h 196"/>
                <a:gd name="T112" fmla="*/ 89 w 459"/>
                <a:gd name="T113" fmla="*/ 143 h 196"/>
                <a:gd name="T114" fmla="*/ 119 w 459"/>
                <a:gd name="T115" fmla="*/ 175 h 196"/>
                <a:gd name="T116" fmla="*/ 167 w 459"/>
                <a:gd name="T117" fmla="*/ 176 h 196"/>
                <a:gd name="T118" fmla="*/ 205 w 459"/>
                <a:gd name="T119" fmla="*/ 184 h 1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9" h="196">
                  <a:moveTo>
                    <a:pt x="236" y="196"/>
                  </a:moveTo>
                  <a:cubicBezTo>
                    <a:pt x="236" y="196"/>
                    <a:pt x="236" y="196"/>
                    <a:pt x="235" y="196"/>
                  </a:cubicBezTo>
                  <a:cubicBezTo>
                    <a:pt x="233" y="195"/>
                    <a:pt x="232" y="194"/>
                    <a:pt x="231" y="193"/>
                  </a:cubicBezTo>
                  <a:cubicBezTo>
                    <a:pt x="229" y="191"/>
                    <a:pt x="228" y="190"/>
                    <a:pt x="225" y="190"/>
                  </a:cubicBezTo>
                  <a:cubicBezTo>
                    <a:pt x="225" y="190"/>
                    <a:pt x="225" y="190"/>
                    <a:pt x="224" y="190"/>
                  </a:cubicBezTo>
                  <a:cubicBezTo>
                    <a:pt x="223" y="190"/>
                    <a:pt x="222" y="190"/>
                    <a:pt x="221" y="190"/>
                  </a:cubicBezTo>
                  <a:cubicBezTo>
                    <a:pt x="216" y="190"/>
                    <a:pt x="213" y="188"/>
                    <a:pt x="209" y="186"/>
                  </a:cubicBezTo>
                  <a:cubicBezTo>
                    <a:pt x="208" y="186"/>
                    <a:pt x="207" y="185"/>
                    <a:pt x="205" y="185"/>
                  </a:cubicBezTo>
                  <a:cubicBezTo>
                    <a:pt x="205" y="185"/>
                    <a:pt x="204" y="185"/>
                    <a:pt x="203" y="185"/>
                  </a:cubicBezTo>
                  <a:cubicBezTo>
                    <a:pt x="203" y="185"/>
                    <a:pt x="202" y="185"/>
                    <a:pt x="201" y="185"/>
                  </a:cubicBezTo>
                  <a:cubicBezTo>
                    <a:pt x="199" y="185"/>
                    <a:pt x="196" y="185"/>
                    <a:pt x="193" y="182"/>
                  </a:cubicBezTo>
                  <a:cubicBezTo>
                    <a:pt x="187" y="178"/>
                    <a:pt x="179" y="178"/>
                    <a:pt x="172" y="177"/>
                  </a:cubicBezTo>
                  <a:cubicBezTo>
                    <a:pt x="170" y="177"/>
                    <a:pt x="168" y="177"/>
                    <a:pt x="167" y="177"/>
                  </a:cubicBezTo>
                  <a:cubicBezTo>
                    <a:pt x="164" y="176"/>
                    <a:pt x="157" y="176"/>
                    <a:pt x="150" y="176"/>
                  </a:cubicBezTo>
                  <a:cubicBezTo>
                    <a:pt x="143" y="176"/>
                    <a:pt x="136" y="176"/>
                    <a:pt x="132" y="176"/>
                  </a:cubicBezTo>
                  <a:cubicBezTo>
                    <a:pt x="131" y="176"/>
                    <a:pt x="130" y="176"/>
                    <a:pt x="128" y="176"/>
                  </a:cubicBezTo>
                  <a:cubicBezTo>
                    <a:pt x="127" y="176"/>
                    <a:pt x="125" y="176"/>
                    <a:pt x="123" y="176"/>
                  </a:cubicBezTo>
                  <a:cubicBezTo>
                    <a:pt x="122" y="176"/>
                    <a:pt x="120" y="176"/>
                    <a:pt x="119" y="176"/>
                  </a:cubicBezTo>
                  <a:cubicBezTo>
                    <a:pt x="116" y="176"/>
                    <a:pt x="114" y="176"/>
                    <a:pt x="113" y="174"/>
                  </a:cubicBezTo>
                  <a:cubicBezTo>
                    <a:pt x="113" y="172"/>
                    <a:pt x="112" y="171"/>
                    <a:pt x="110" y="169"/>
                  </a:cubicBezTo>
                  <a:cubicBezTo>
                    <a:pt x="108" y="167"/>
                    <a:pt x="106" y="164"/>
                    <a:pt x="105" y="159"/>
                  </a:cubicBezTo>
                  <a:cubicBezTo>
                    <a:pt x="103" y="152"/>
                    <a:pt x="100" y="148"/>
                    <a:pt x="94" y="147"/>
                  </a:cubicBezTo>
                  <a:cubicBezTo>
                    <a:pt x="91" y="146"/>
                    <a:pt x="90" y="145"/>
                    <a:pt x="88" y="143"/>
                  </a:cubicBezTo>
                  <a:cubicBezTo>
                    <a:pt x="87" y="142"/>
                    <a:pt x="86" y="141"/>
                    <a:pt x="84" y="140"/>
                  </a:cubicBezTo>
                  <a:cubicBezTo>
                    <a:pt x="84" y="140"/>
                    <a:pt x="83" y="139"/>
                    <a:pt x="82" y="138"/>
                  </a:cubicBezTo>
                  <a:cubicBezTo>
                    <a:pt x="80" y="136"/>
                    <a:pt x="78" y="134"/>
                    <a:pt x="74" y="134"/>
                  </a:cubicBezTo>
                  <a:cubicBezTo>
                    <a:pt x="67" y="134"/>
                    <a:pt x="44" y="131"/>
                    <a:pt x="40" y="126"/>
                  </a:cubicBezTo>
                  <a:cubicBezTo>
                    <a:pt x="38" y="122"/>
                    <a:pt x="40" y="120"/>
                    <a:pt x="41" y="118"/>
                  </a:cubicBezTo>
                  <a:cubicBezTo>
                    <a:pt x="42" y="117"/>
                    <a:pt x="44" y="115"/>
                    <a:pt x="44" y="113"/>
                  </a:cubicBezTo>
                  <a:cubicBezTo>
                    <a:pt x="44" y="111"/>
                    <a:pt x="44" y="109"/>
                    <a:pt x="45" y="107"/>
                  </a:cubicBezTo>
                  <a:cubicBezTo>
                    <a:pt x="45" y="103"/>
                    <a:pt x="46" y="100"/>
                    <a:pt x="45" y="99"/>
                  </a:cubicBezTo>
                  <a:cubicBezTo>
                    <a:pt x="42" y="97"/>
                    <a:pt x="37" y="92"/>
                    <a:pt x="37" y="88"/>
                  </a:cubicBezTo>
                  <a:cubicBezTo>
                    <a:pt x="36" y="84"/>
                    <a:pt x="29" y="78"/>
                    <a:pt x="25" y="78"/>
                  </a:cubicBezTo>
                  <a:cubicBezTo>
                    <a:pt x="20" y="78"/>
                    <a:pt x="16" y="75"/>
                    <a:pt x="11" y="71"/>
                  </a:cubicBezTo>
                  <a:cubicBezTo>
                    <a:pt x="10" y="70"/>
                    <a:pt x="9" y="69"/>
                    <a:pt x="8" y="68"/>
                  </a:cubicBezTo>
                  <a:cubicBezTo>
                    <a:pt x="5" y="66"/>
                    <a:pt x="2" y="65"/>
                    <a:pt x="1" y="57"/>
                  </a:cubicBezTo>
                  <a:cubicBezTo>
                    <a:pt x="1" y="57"/>
                    <a:pt x="1" y="56"/>
                    <a:pt x="0" y="56"/>
                  </a:cubicBezTo>
                  <a:cubicBezTo>
                    <a:pt x="0" y="55"/>
                    <a:pt x="0" y="55"/>
                    <a:pt x="0" y="55"/>
                  </a:cubicBezTo>
                  <a:cubicBezTo>
                    <a:pt x="1" y="55"/>
                    <a:pt x="1" y="55"/>
                    <a:pt x="1" y="55"/>
                  </a:cubicBezTo>
                  <a:cubicBezTo>
                    <a:pt x="1" y="55"/>
                    <a:pt x="1" y="55"/>
                    <a:pt x="2" y="55"/>
                  </a:cubicBezTo>
                  <a:cubicBezTo>
                    <a:pt x="3" y="55"/>
                    <a:pt x="3" y="55"/>
                    <a:pt x="3" y="54"/>
                  </a:cubicBezTo>
                  <a:cubicBezTo>
                    <a:pt x="3" y="54"/>
                    <a:pt x="3" y="52"/>
                    <a:pt x="13" y="50"/>
                  </a:cubicBezTo>
                  <a:cubicBezTo>
                    <a:pt x="16" y="50"/>
                    <a:pt x="25" y="48"/>
                    <a:pt x="26" y="44"/>
                  </a:cubicBezTo>
                  <a:cubicBezTo>
                    <a:pt x="27" y="42"/>
                    <a:pt x="30" y="41"/>
                    <a:pt x="33" y="40"/>
                  </a:cubicBezTo>
                  <a:cubicBezTo>
                    <a:pt x="35" y="39"/>
                    <a:pt x="37" y="39"/>
                    <a:pt x="37" y="38"/>
                  </a:cubicBezTo>
                  <a:cubicBezTo>
                    <a:pt x="38" y="36"/>
                    <a:pt x="40" y="36"/>
                    <a:pt x="42" y="35"/>
                  </a:cubicBezTo>
                  <a:cubicBezTo>
                    <a:pt x="44" y="34"/>
                    <a:pt x="46" y="33"/>
                    <a:pt x="47" y="31"/>
                  </a:cubicBezTo>
                  <a:cubicBezTo>
                    <a:pt x="48" y="30"/>
                    <a:pt x="50" y="29"/>
                    <a:pt x="52" y="29"/>
                  </a:cubicBezTo>
                  <a:cubicBezTo>
                    <a:pt x="54" y="28"/>
                    <a:pt x="56" y="28"/>
                    <a:pt x="57" y="27"/>
                  </a:cubicBezTo>
                  <a:cubicBezTo>
                    <a:pt x="57" y="25"/>
                    <a:pt x="61" y="25"/>
                    <a:pt x="64" y="25"/>
                  </a:cubicBezTo>
                  <a:cubicBezTo>
                    <a:pt x="65" y="25"/>
                    <a:pt x="67" y="25"/>
                    <a:pt x="68" y="25"/>
                  </a:cubicBezTo>
                  <a:cubicBezTo>
                    <a:pt x="70" y="26"/>
                    <a:pt x="84" y="29"/>
                    <a:pt x="87" y="29"/>
                  </a:cubicBezTo>
                  <a:cubicBezTo>
                    <a:pt x="87" y="29"/>
                    <a:pt x="87" y="29"/>
                    <a:pt x="88" y="29"/>
                  </a:cubicBezTo>
                  <a:cubicBezTo>
                    <a:pt x="89" y="28"/>
                    <a:pt x="90" y="30"/>
                    <a:pt x="91" y="33"/>
                  </a:cubicBezTo>
                  <a:cubicBezTo>
                    <a:pt x="91" y="34"/>
                    <a:pt x="92" y="37"/>
                    <a:pt x="92" y="37"/>
                  </a:cubicBezTo>
                  <a:cubicBezTo>
                    <a:pt x="93" y="37"/>
                    <a:pt x="95" y="38"/>
                    <a:pt x="96" y="39"/>
                  </a:cubicBezTo>
                  <a:cubicBezTo>
                    <a:pt x="99" y="40"/>
                    <a:pt x="102" y="42"/>
                    <a:pt x="103" y="42"/>
                  </a:cubicBezTo>
                  <a:cubicBezTo>
                    <a:pt x="104" y="42"/>
                    <a:pt x="104" y="42"/>
                    <a:pt x="104" y="42"/>
                  </a:cubicBezTo>
                  <a:cubicBezTo>
                    <a:pt x="105" y="41"/>
                    <a:pt x="108" y="39"/>
                    <a:pt x="111" y="39"/>
                  </a:cubicBezTo>
                  <a:cubicBezTo>
                    <a:pt x="113" y="39"/>
                    <a:pt x="115" y="40"/>
                    <a:pt x="116" y="41"/>
                  </a:cubicBezTo>
                  <a:cubicBezTo>
                    <a:pt x="117" y="41"/>
                    <a:pt x="118" y="41"/>
                    <a:pt x="118" y="42"/>
                  </a:cubicBezTo>
                  <a:cubicBezTo>
                    <a:pt x="121" y="43"/>
                    <a:pt x="123" y="45"/>
                    <a:pt x="124" y="45"/>
                  </a:cubicBezTo>
                  <a:cubicBezTo>
                    <a:pt x="125" y="45"/>
                    <a:pt x="126" y="44"/>
                    <a:pt x="126" y="44"/>
                  </a:cubicBezTo>
                  <a:cubicBezTo>
                    <a:pt x="127" y="42"/>
                    <a:pt x="131" y="41"/>
                    <a:pt x="134" y="40"/>
                  </a:cubicBezTo>
                  <a:cubicBezTo>
                    <a:pt x="136" y="39"/>
                    <a:pt x="138" y="38"/>
                    <a:pt x="138" y="38"/>
                  </a:cubicBezTo>
                  <a:cubicBezTo>
                    <a:pt x="139" y="36"/>
                    <a:pt x="140" y="31"/>
                    <a:pt x="139" y="30"/>
                  </a:cubicBezTo>
                  <a:cubicBezTo>
                    <a:pt x="136" y="28"/>
                    <a:pt x="133" y="19"/>
                    <a:pt x="133" y="18"/>
                  </a:cubicBezTo>
                  <a:cubicBezTo>
                    <a:pt x="133" y="15"/>
                    <a:pt x="135" y="14"/>
                    <a:pt x="136" y="13"/>
                  </a:cubicBezTo>
                  <a:cubicBezTo>
                    <a:pt x="138" y="12"/>
                    <a:pt x="139" y="11"/>
                    <a:pt x="139" y="10"/>
                  </a:cubicBezTo>
                  <a:cubicBezTo>
                    <a:pt x="140" y="8"/>
                    <a:pt x="142" y="7"/>
                    <a:pt x="144" y="6"/>
                  </a:cubicBezTo>
                  <a:cubicBezTo>
                    <a:pt x="145" y="6"/>
                    <a:pt x="147" y="5"/>
                    <a:pt x="147" y="5"/>
                  </a:cubicBezTo>
                  <a:cubicBezTo>
                    <a:pt x="148" y="4"/>
                    <a:pt x="148" y="3"/>
                    <a:pt x="148" y="3"/>
                  </a:cubicBezTo>
                  <a:cubicBezTo>
                    <a:pt x="149" y="1"/>
                    <a:pt x="150" y="0"/>
                    <a:pt x="152" y="0"/>
                  </a:cubicBezTo>
                  <a:cubicBezTo>
                    <a:pt x="152" y="0"/>
                    <a:pt x="152" y="0"/>
                    <a:pt x="153" y="0"/>
                  </a:cubicBezTo>
                  <a:cubicBezTo>
                    <a:pt x="153" y="0"/>
                    <a:pt x="162" y="2"/>
                    <a:pt x="164" y="4"/>
                  </a:cubicBezTo>
                  <a:cubicBezTo>
                    <a:pt x="165" y="5"/>
                    <a:pt x="169" y="6"/>
                    <a:pt x="172" y="6"/>
                  </a:cubicBezTo>
                  <a:cubicBezTo>
                    <a:pt x="175" y="6"/>
                    <a:pt x="180" y="9"/>
                    <a:pt x="183" y="11"/>
                  </a:cubicBezTo>
                  <a:cubicBezTo>
                    <a:pt x="185" y="11"/>
                    <a:pt x="187" y="12"/>
                    <a:pt x="189" y="12"/>
                  </a:cubicBezTo>
                  <a:cubicBezTo>
                    <a:pt x="193" y="13"/>
                    <a:pt x="197" y="13"/>
                    <a:pt x="198" y="15"/>
                  </a:cubicBezTo>
                  <a:cubicBezTo>
                    <a:pt x="199" y="16"/>
                    <a:pt x="199" y="19"/>
                    <a:pt x="199" y="21"/>
                  </a:cubicBezTo>
                  <a:cubicBezTo>
                    <a:pt x="198" y="24"/>
                    <a:pt x="198" y="26"/>
                    <a:pt x="199" y="27"/>
                  </a:cubicBezTo>
                  <a:cubicBezTo>
                    <a:pt x="202" y="31"/>
                    <a:pt x="206" y="34"/>
                    <a:pt x="207" y="34"/>
                  </a:cubicBezTo>
                  <a:cubicBezTo>
                    <a:pt x="208" y="34"/>
                    <a:pt x="208" y="34"/>
                    <a:pt x="208" y="34"/>
                  </a:cubicBezTo>
                  <a:cubicBezTo>
                    <a:pt x="208" y="34"/>
                    <a:pt x="208" y="34"/>
                    <a:pt x="209" y="34"/>
                  </a:cubicBezTo>
                  <a:cubicBezTo>
                    <a:pt x="210" y="34"/>
                    <a:pt x="212" y="35"/>
                    <a:pt x="215" y="36"/>
                  </a:cubicBezTo>
                  <a:cubicBezTo>
                    <a:pt x="217" y="37"/>
                    <a:pt x="220" y="38"/>
                    <a:pt x="221" y="38"/>
                  </a:cubicBezTo>
                  <a:cubicBezTo>
                    <a:pt x="222" y="38"/>
                    <a:pt x="224" y="37"/>
                    <a:pt x="226" y="35"/>
                  </a:cubicBezTo>
                  <a:cubicBezTo>
                    <a:pt x="228" y="34"/>
                    <a:pt x="230" y="33"/>
                    <a:pt x="231" y="33"/>
                  </a:cubicBezTo>
                  <a:cubicBezTo>
                    <a:pt x="232" y="33"/>
                    <a:pt x="234" y="32"/>
                    <a:pt x="237" y="32"/>
                  </a:cubicBezTo>
                  <a:cubicBezTo>
                    <a:pt x="240" y="31"/>
                    <a:pt x="243" y="31"/>
                    <a:pt x="245" y="31"/>
                  </a:cubicBezTo>
                  <a:cubicBezTo>
                    <a:pt x="246" y="31"/>
                    <a:pt x="247" y="32"/>
                    <a:pt x="249" y="32"/>
                  </a:cubicBezTo>
                  <a:cubicBezTo>
                    <a:pt x="252" y="33"/>
                    <a:pt x="256" y="34"/>
                    <a:pt x="257" y="34"/>
                  </a:cubicBezTo>
                  <a:cubicBezTo>
                    <a:pt x="258" y="34"/>
                    <a:pt x="258" y="34"/>
                    <a:pt x="258" y="34"/>
                  </a:cubicBezTo>
                  <a:cubicBezTo>
                    <a:pt x="258" y="34"/>
                    <a:pt x="259" y="34"/>
                    <a:pt x="260" y="34"/>
                  </a:cubicBezTo>
                  <a:cubicBezTo>
                    <a:pt x="262" y="34"/>
                    <a:pt x="268" y="35"/>
                    <a:pt x="270" y="37"/>
                  </a:cubicBezTo>
                  <a:cubicBezTo>
                    <a:pt x="270" y="38"/>
                    <a:pt x="273" y="39"/>
                    <a:pt x="275" y="40"/>
                  </a:cubicBezTo>
                  <a:cubicBezTo>
                    <a:pt x="279" y="40"/>
                    <a:pt x="282" y="41"/>
                    <a:pt x="282" y="43"/>
                  </a:cubicBezTo>
                  <a:cubicBezTo>
                    <a:pt x="282" y="45"/>
                    <a:pt x="283" y="46"/>
                    <a:pt x="285" y="47"/>
                  </a:cubicBezTo>
                  <a:cubicBezTo>
                    <a:pt x="287" y="48"/>
                    <a:pt x="289" y="50"/>
                    <a:pt x="289" y="51"/>
                  </a:cubicBezTo>
                  <a:cubicBezTo>
                    <a:pt x="290" y="53"/>
                    <a:pt x="295" y="53"/>
                    <a:pt x="299" y="53"/>
                  </a:cubicBezTo>
                  <a:cubicBezTo>
                    <a:pt x="303" y="53"/>
                    <a:pt x="307" y="53"/>
                    <a:pt x="308" y="54"/>
                  </a:cubicBezTo>
                  <a:cubicBezTo>
                    <a:pt x="309" y="55"/>
                    <a:pt x="313" y="56"/>
                    <a:pt x="317" y="56"/>
                  </a:cubicBezTo>
                  <a:cubicBezTo>
                    <a:pt x="323" y="56"/>
                    <a:pt x="326" y="55"/>
                    <a:pt x="326" y="55"/>
                  </a:cubicBezTo>
                  <a:cubicBezTo>
                    <a:pt x="327" y="54"/>
                    <a:pt x="329" y="53"/>
                    <a:pt x="335" y="52"/>
                  </a:cubicBezTo>
                  <a:cubicBezTo>
                    <a:pt x="339" y="52"/>
                    <a:pt x="344" y="51"/>
                    <a:pt x="345" y="50"/>
                  </a:cubicBezTo>
                  <a:cubicBezTo>
                    <a:pt x="347" y="49"/>
                    <a:pt x="349" y="48"/>
                    <a:pt x="351" y="48"/>
                  </a:cubicBezTo>
                  <a:cubicBezTo>
                    <a:pt x="354" y="48"/>
                    <a:pt x="357" y="47"/>
                    <a:pt x="357" y="46"/>
                  </a:cubicBezTo>
                  <a:cubicBezTo>
                    <a:pt x="357" y="44"/>
                    <a:pt x="360" y="42"/>
                    <a:pt x="364" y="40"/>
                  </a:cubicBezTo>
                  <a:cubicBezTo>
                    <a:pt x="366" y="39"/>
                    <a:pt x="367" y="39"/>
                    <a:pt x="369" y="38"/>
                  </a:cubicBezTo>
                  <a:cubicBezTo>
                    <a:pt x="370" y="37"/>
                    <a:pt x="373" y="36"/>
                    <a:pt x="378" y="36"/>
                  </a:cubicBezTo>
                  <a:cubicBezTo>
                    <a:pt x="382" y="36"/>
                    <a:pt x="387" y="37"/>
                    <a:pt x="388" y="39"/>
                  </a:cubicBezTo>
                  <a:cubicBezTo>
                    <a:pt x="388" y="41"/>
                    <a:pt x="392" y="42"/>
                    <a:pt x="395" y="42"/>
                  </a:cubicBezTo>
                  <a:cubicBezTo>
                    <a:pt x="397" y="42"/>
                    <a:pt x="398" y="41"/>
                    <a:pt x="399" y="41"/>
                  </a:cubicBezTo>
                  <a:cubicBezTo>
                    <a:pt x="402" y="40"/>
                    <a:pt x="407" y="41"/>
                    <a:pt x="410" y="42"/>
                  </a:cubicBezTo>
                  <a:cubicBezTo>
                    <a:pt x="411" y="42"/>
                    <a:pt x="411" y="42"/>
                    <a:pt x="411" y="42"/>
                  </a:cubicBezTo>
                  <a:cubicBezTo>
                    <a:pt x="399" y="66"/>
                    <a:pt x="399" y="66"/>
                    <a:pt x="399" y="66"/>
                  </a:cubicBezTo>
                  <a:cubicBezTo>
                    <a:pt x="398" y="74"/>
                    <a:pt x="398" y="74"/>
                    <a:pt x="398" y="74"/>
                  </a:cubicBezTo>
                  <a:cubicBezTo>
                    <a:pt x="398" y="74"/>
                    <a:pt x="398" y="74"/>
                    <a:pt x="398" y="74"/>
                  </a:cubicBezTo>
                  <a:cubicBezTo>
                    <a:pt x="398" y="74"/>
                    <a:pt x="395" y="75"/>
                    <a:pt x="394" y="76"/>
                  </a:cubicBezTo>
                  <a:cubicBezTo>
                    <a:pt x="394" y="78"/>
                    <a:pt x="394" y="79"/>
                    <a:pt x="396" y="80"/>
                  </a:cubicBezTo>
                  <a:cubicBezTo>
                    <a:pt x="398" y="82"/>
                    <a:pt x="399" y="83"/>
                    <a:pt x="401" y="83"/>
                  </a:cubicBezTo>
                  <a:cubicBezTo>
                    <a:pt x="401" y="83"/>
                    <a:pt x="402" y="83"/>
                    <a:pt x="403" y="82"/>
                  </a:cubicBezTo>
                  <a:cubicBezTo>
                    <a:pt x="405" y="82"/>
                    <a:pt x="407" y="81"/>
                    <a:pt x="411" y="81"/>
                  </a:cubicBezTo>
                  <a:cubicBezTo>
                    <a:pt x="415" y="81"/>
                    <a:pt x="418" y="83"/>
                    <a:pt x="420" y="84"/>
                  </a:cubicBezTo>
                  <a:cubicBezTo>
                    <a:pt x="421" y="84"/>
                    <a:pt x="422" y="85"/>
                    <a:pt x="423" y="85"/>
                  </a:cubicBezTo>
                  <a:cubicBezTo>
                    <a:pt x="423" y="85"/>
                    <a:pt x="424" y="85"/>
                    <a:pt x="424" y="83"/>
                  </a:cubicBezTo>
                  <a:cubicBezTo>
                    <a:pt x="425" y="80"/>
                    <a:pt x="429" y="78"/>
                    <a:pt x="432" y="78"/>
                  </a:cubicBezTo>
                  <a:cubicBezTo>
                    <a:pt x="434" y="78"/>
                    <a:pt x="437" y="79"/>
                    <a:pt x="439" y="81"/>
                  </a:cubicBezTo>
                  <a:cubicBezTo>
                    <a:pt x="441" y="83"/>
                    <a:pt x="444" y="86"/>
                    <a:pt x="447" y="89"/>
                  </a:cubicBezTo>
                  <a:cubicBezTo>
                    <a:pt x="453" y="94"/>
                    <a:pt x="459" y="98"/>
                    <a:pt x="458" y="102"/>
                  </a:cubicBezTo>
                  <a:cubicBezTo>
                    <a:pt x="457" y="104"/>
                    <a:pt x="455" y="105"/>
                    <a:pt x="451" y="105"/>
                  </a:cubicBezTo>
                  <a:cubicBezTo>
                    <a:pt x="451" y="105"/>
                    <a:pt x="451" y="105"/>
                    <a:pt x="451" y="105"/>
                  </a:cubicBezTo>
                  <a:cubicBezTo>
                    <a:pt x="448" y="105"/>
                    <a:pt x="445" y="105"/>
                    <a:pt x="442" y="104"/>
                  </a:cubicBezTo>
                  <a:cubicBezTo>
                    <a:pt x="442" y="104"/>
                    <a:pt x="441" y="103"/>
                    <a:pt x="440" y="103"/>
                  </a:cubicBezTo>
                  <a:cubicBezTo>
                    <a:pt x="437" y="103"/>
                    <a:pt x="434" y="104"/>
                    <a:pt x="432" y="106"/>
                  </a:cubicBezTo>
                  <a:cubicBezTo>
                    <a:pt x="429" y="107"/>
                    <a:pt x="426" y="108"/>
                    <a:pt x="424" y="108"/>
                  </a:cubicBezTo>
                  <a:cubicBezTo>
                    <a:pt x="419" y="108"/>
                    <a:pt x="412" y="109"/>
                    <a:pt x="406" y="115"/>
                  </a:cubicBezTo>
                  <a:cubicBezTo>
                    <a:pt x="404" y="117"/>
                    <a:pt x="403" y="119"/>
                    <a:pt x="402" y="121"/>
                  </a:cubicBezTo>
                  <a:cubicBezTo>
                    <a:pt x="400" y="124"/>
                    <a:pt x="399" y="127"/>
                    <a:pt x="393" y="127"/>
                  </a:cubicBezTo>
                  <a:cubicBezTo>
                    <a:pt x="391" y="127"/>
                    <a:pt x="390" y="128"/>
                    <a:pt x="389" y="128"/>
                  </a:cubicBezTo>
                  <a:cubicBezTo>
                    <a:pt x="383" y="128"/>
                    <a:pt x="379" y="128"/>
                    <a:pt x="371" y="134"/>
                  </a:cubicBezTo>
                  <a:cubicBezTo>
                    <a:pt x="368" y="136"/>
                    <a:pt x="363" y="138"/>
                    <a:pt x="358" y="138"/>
                  </a:cubicBezTo>
                  <a:cubicBezTo>
                    <a:pt x="354" y="138"/>
                    <a:pt x="350" y="137"/>
                    <a:pt x="348" y="136"/>
                  </a:cubicBezTo>
                  <a:cubicBezTo>
                    <a:pt x="347" y="135"/>
                    <a:pt x="345" y="134"/>
                    <a:pt x="342" y="134"/>
                  </a:cubicBezTo>
                  <a:cubicBezTo>
                    <a:pt x="340" y="134"/>
                    <a:pt x="336" y="135"/>
                    <a:pt x="334" y="139"/>
                  </a:cubicBezTo>
                  <a:cubicBezTo>
                    <a:pt x="332" y="142"/>
                    <a:pt x="334" y="145"/>
                    <a:pt x="335" y="147"/>
                  </a:cubicBezTo>
                  <a:cubicBezTo>
                    <a:pt x="337" y="150"/>
                    <a:pt x="338" y="152"/>
                    <a:pt x="338" y="156"/>
                  </a:cubicBezTo>
                  <a:cubicBezTo>
                    <a:pt x="337" y="160"/>
                    <a:pt x="334" y="162"/>
                    <a:pt x="330" y="163"/>
                  </a:cubicBezTo>
                  <a:cubicBezTo>
                    <a:pt x="327" y="165"/>
                    <a:pt x="323" y="166"/>
                    <a:pt x="320" y="170"/>
                  </a:cubicBezTo>
                  <a:cubicBezTo>
                    <a:pt x="313" y="179"/>
                    <a:pt x="300" y="183"/>
                    <a:pt x="293" y="182"/>
                  </a:cubicBezTo>
                  <a:cubicBezTo>
                    <a:pt x="292" y="181"/>
                    <a:pt x="291" y="181"/>
                    <a:pt x="290" y="181"/>
                  </a:cubicBezTo>
                  <a:cubicBezTo>
                    <a:pt x="286" y="180"/>
                    <a:pt x="281" y="179"/>
                    <a:pt x="276" y="179"/>
                  </a:cubicBezTo>
                  <a:cubicBezTo>
                    <a:pt x="270" y="179"/>
                    <a:pt x="265" y="180"/>
                    <a:pt x="261" y="182"/>
                  </a:cubicBezTo>
                  <a:cubicBezTo>
                    <a:pt x="256" y="185"/>
                    <a:pt x="251" y="188"/>
                    <a:pt x="247" y="190"/>
                  </a:cubicBezTo>
                  <a:cubicBezTo>
                    <a:pt x="243" y="193"/>
                    <a:pt x="239" y="196"/>
                    <a:pt x="236" y="196"/>
                  </a:cubicBezTo>
                  <a:close/>
                  <a:moveTo>
                    <a:pt x="225" y="189"/>
                  </a:moveTo>
                  <a:cubicBezTo>
                    <a:pt x="229" y="189"/>
                    <a:pt x="230" y="190"/>
                    <a:pt x="231" y="192"/>
                  </a:cubicBezTo>
                  <a:cubicBezTo>
                    <a:pt x="233" y="193"/>
                    <a:pt x="234" y="194"/>
                    <a:pt x="235" y="195"/>
                  </a:cubicBezTo>
                  <a:cubicBezTo>
                    <a:pt x="238" y="195"/>
                    <a:pt x="242" y="193"/>
                    <a:pt x="247" y="189"/>
                  </a:cubicBezTo>
                  <a:cubicBezTo>
                    <a:pt x="251" y="187"/>
                    <a:pt x="255" y="184"/>
                    <a:pt x="260" y="182"/>
                  </a:cubicBezTo>
                  <a:cubicBezTo>
                    <a:pt x="265" y="180"/>
                    <a:pt x="270" y="178"/>
                    <a:pt x="276" y="178"/>
                  </a:cubicBezTo>
                  <a:cubicBezTo>
                    <a:pt x="281" y="178"/>
                    <a:pt x="287" y="179"/>
                    <a:pt x="290" y="180"/>
                  </a:cubicBezTo>
                  <a:cubicBezTo>
                    <a:pt x="292" y="180"/>
                    <a:pt x="293" y="180"/>
                    <a:pt x="294" y="181"/>
                  </a:cubicBezTo>
                  <a:cubicBezTo>
                    <a:pt x="294" y="181"/>
                    <a:pt x="295" y="181"/>
                    <a:pt x="296" y="181"/>
                  </a:cubicBezTo>
                  <a:cubicBezTo>
                    <a:pt x="302" y="181"/>
                    <a:pt x="313" y="177"/>
                    <a:pt x="319" y="170"/>
                  </a:cubicBezTo>
                  <a:cubicBezTo>
                    <a:pt x="323" y="166"/>
                    <a:pt x="327" y="164"/>
                    <a:pt x="330" y="162"/>
                  </a:cubicBezTo>
                  <a:cubicBezTo>
                    <a:pt x="334" y="161"/>
                    <a:pt x="337" y="159"/>
                    <a:pt x="337" y="156"/>
                  </a:cubicBezTo>
                  <a:cubicBezTo>
                    <a:pt x="337" y="152"/>
                    <a:pt x="336" y="150"/>
                    <a:pt x="335" y="148"/>
                  </a:cubicBezTo>
                  <a:cubicBezTo>
                    <a:pt x="333" y="145"/>
                    <a:pt x="331" y="142"/>
                    <a:pt x="333" y="139"/>
                  </a:cubicBezTo>
                  <a:cubicBezTo>
                    <a:pt x="336" y="134"/>
                    <a:pt x="340" y="133"/>
                    <a:pt x="342" y="133"/>
                  </a:cubicBezTo>
                  <a:cubicBezTo>
                    <a:pt x="344" y="133"/>
                    <a:pt x="346" y="134"/>
                    <a:pt x="348" y="135"/>
                  </a:cubicBezTo>
                  <a:cubicBezTo>
                    <a:pt x="350" y="136"/>
                    <a:pt x="354" y="137"/>
                    <a:pt x="358" y="137"/>
                  </a:cubicBezTo>
                  <a:cubicBezTo>
                    <a:pt x="363" y="137"/>
                    <a:pt x="367" y="136"/>
                    <a:pt x="371" y="133"/>
                  </a:cubicBezTo>
                  <a:cubicBezTo>
                    <a:pt x="379" y="127"/>
                    <a:pt x="383" y="127"/>
                    <a:pt x="389" y="127"/>
                  </a:cubicBezTo>
                  <a:cubicBezTo>
                    <a:pt x="390" y="127"/>
                    <a:pt x="391" y="126"/>
                    <a:pt x="393" y="126"/>
                  </a:cubicBezTo>
                  <a:cubicBezTo>
                    <a:pt x="398" y="126"/>
                    <a:pt x="399" y="123"/>
                    <a:pt x="401" y="120"/>
                  </a:cubicBezTo>
                  <a:cubicBezTo>
                    <a:pt x="402" y="118"/>
                    <a:pt x="404" y="116"/>
                    <a:pt x="406" y="114"/>
                  </a:cubicBezTo>
                  <a:cubicBezTo>
                    <a:pt x="412" y="108"/>
                    <a:pt x="419" y="107"/>
                    <a:pt x="424" y="107"/>
                  </a:cubicBezTo>
                  <a:cubicBezTo>
                    <a:pt x="426" y="107"/>
                    <a:pt x="429" y="106"/>
                    <a:pt x="431" y="105"/>
                  </a:cubicBezTo>
                  <a:cubicBezTo>
                    <a:pt x="434" y="104"/>
                    <a:pt x="437" y="102"/>
                    <a:pt x="440" y="102"/>
                  </a:cubicBezTo>
                  <a:cubicBezTo>
                    <a:pt x="441" y="102"/>
                    <a:pt x="442" y="103"/>
                    <a:pt x="443" y="103"/>
                  </a:cubicBezTo>
                  <a:cubicBezTo>
                    <a:pt x="445" y="104"/>
                    <a:pt x="449" y="104"/>
                    <a:pt x="451" y="104"/>
                  </a:cubicBezTo>
                  <a:cubicBezTo>
                    <a:pt x="451" y="104"/>
                    <a:pt x="451" y="104"/>
                    <a:pt x="451" y="104"/>
                  </a:cubicBezTo>
                  <a:cubicBezTo>
                    <a:pt x="453" y="104"/>
                    <a:pt x="456" y="104"/>
                    <a:pt x="457" y="101"/>
                  </a:cubicBezTo>
                  <a:cubicBezTo>
                    <a:pt x="457" y="99"/>
                    <a:pt x="451" y="94"/>
                    <a:pt x="446" y="89"/>
                  </a:cubicBezTo>
                  <a:cubicBezTo>
                    <a:pt x="443" y="87"/>
                    <a:pt x="440" y="84"/>
                    <a:pt x="438" y="82"/>
                  </a:cubicBezTo>
                  <a:cubicBezTo>
                    <a:pt x="436" y="80"/>
                    <a:pt x="434" y="79"/>
                    <a:pt x="432" y="79"/>
                  </a:cubicBezTo>
                  <a:cubicBezTo>
                    <a:pt x="429" y="79"/>
                    <a:pt x="426" y="81"/>
                    <a:pt x="425" y="84"/>
                  </a:cubicBezTo>
                  <a:cubicBezTo>
                    <a:pt x="425" y="85"/>
                    <a:pt x="424" y="86"/>
                    <a:pt x="423" y="86"/>
                  </a:cubicBezTo>
                  <a:cubicBezTo>
                    <a:pt x="422" y="86"/>
                    <a:pt x="421" y="85"/>
                    <a:pt x="419" y="85"/>
                  </a:cubicBezTo>
                  <a:cubicBezTo>
                    <a:pt x="417" y="84"/>
                    <a:pt x="414" y="82"/>
                    <a:pt x="411" y="82"/>
                  </a:cubicBezTo>
                  <a:cubicBezTo>
                    <a:pt x="407" y="82"/>
                    <a:pt x="405" y="83"/>
                    <a:pt x="404" y="83"/>
                  </a:cubicBezTo>
                  <a:cubicBezTo>
                    <a:pt x="403" y="84"/>
                    <a:pt x="402" y="84"/>
                    <a:pt x="401" y="84"/>
                  </a:cubicBezTo>
                  <a:cubicBezTo>
                    <a:pt x="399" y="84"/>
                    <a:pt x="397" y="83"/>
                    <a:pt x="395" y="81"/>
                  </a:cubicBezTo>
                  <a:cubicBezTo>
                    <a:pt x="393" y="79"/>
                    <a:pt x="393" y="78"/>
                    <a:pt x="393" y="76"/>
                  </a:cubicBezTo>
                  <a:cubicBezTo>
                    <a:pt x="394" y="74"/>
                    <a:pt x="396" y="73"/>
                    <a:pt x="397" y="73"/>
                  </a:cubicBezTo>
                  <a:cubicBezTo>
                    <a:pt x="398" y="66"/>
                    <a:pt x="398" y="66"/>
                    <a:pt x="398" y="66"/>
                  </a:cubicBezTo>
                  <a:cubicBezTo>
                    <a:pt x="409" y="43"/>
                    <a:pt x="409" y="43"/>
                    <a:pt x="409" y="43"/>
                  </a:cubicBezTo>
                  <a:cubicBezTo>
                    <a:pt x="407" y="42"/>
                    <a:pt x="405" y="42"/>
                    <a:pt x="403" y="42"/>
                  </a:cubicBezTo>
                  <a:cubicBezTo>
                    <a:pt x="401" y="42"/>
                    <a:pt x="400" y="42"/>
                    <a:pt x="400" y="42"/>
                  </a:cubicBezTo>
                  <a:cubicBezTo>
                    <a:pt x="396" y="43"/>
                    <a:pt x="388" y="43"/>
                    <a:pt x="387" y="39"/>
                  </a:cubicBezTo>
                  <a:cubicBezTo>
                    <a:pt x="386" y="38"/>
                    <a:pt x="382" y="37"/>
                    <a:pt x="378" y="37"/>
                  </a:cubicBezTo>
                  <a:cubicBezTo>
                    <a:pt x="374" y="37"/>
                    <a:pt x="371" y="38"/>
                    <a:pt x="369" y="38"/>
                  </a:cubicBezTo>
                  <a:cubicBezTo>
                    <a:pt x="368" y="39"/>
                    <a:pt x="366" y="40"/>
                    <a:pt x="364" y="41"/>
                  </a:cubicBezTo>
                  <a:cubicBezTo>
                    <a:pt x="361" y="43"/>
                    <a:pt x="358" y="44"/>
                    <a:pt x="358" y="46"/>
                  </a:cubicBezTo>
                  <a:cubicBezTo>
                    <a:pt x="358" y="48"/>
                    <a:pt x="355" y="48"/>
                    <a:pt x="352" y="49"/>
                  </a:cubicBezTo>
                  <a:cubicBezTo>
                    <a:pt x="349" y="49"/>
                    <a:pt x="347" y="50"/>
                    <a:pt x="346" y="51"/>
                  </a:cubicBezTo>
                  <a:cubicBezTo>
                    <a:pt x="344" y="52"/>
                    <a:pt x="340" y="52"/>
                    <a:pt x="335" y="53"/>
                  </a:cubicBezTo>
                  <a:cubicBezTo>
                    <a:pt x="332" y="54"/>
                    <a:pt x="328" y="54"/>
                    <a:pt x="327" y="55"/>
                  </a:cubicBezTo>
                  <a:cubicBezTo>
                    <a:pt x="327" y="57"/>
                    <a:pt x="319" y="57"/>
                    <a:pt x="317" y="57"/>
                  </a:cubicBezTo>
                  <a:cubicBezTo>
                    <a:pt x="315" y="57"/>
                    <a:pt x="309" y="57"/>
                    <a:pt x="307" y="55"/>
                  </a:cubicBezTo>
                  <a:cubicBezTo>
                    <a:pt x="306" y="54"/>
                    <a:pt x="303" y="54"/>
                    <a:pt x="299" y="54"/>
                  </a:cubicBezTo>
                  <a:cubicBezTo>
                    <a:pt x="295" y="54"/>
                    <a:pt x="290" y="54"/>
                    <a:pt x="289" y="52"/>
                  </a:cubicBezTo>
                  <a:cubicBezTo>
                    <a:pt x="288" y="50"/>
                    <a:pt x="286" y="49"/>
                    <a:pt x="285" y="48"/>
                  </a:cubicBezTo>
                  <a:cubicBezTo>
                    <a:pt x="283" y="46"/>
                    <a:pt x="281" y="45"/>
                    <a:pt x="281" y="43"/>
                  </a:cubicBezTo>
                  <a:cubicBezTo>
                    <a:pt x="281" y="42"/>
                    <a:pt x="278" y="41"/>
                    <a:pt x="275" y="41"/>
                  </a:cubicBezTo>
                  <a:cubicBezTo>
                    <a:pt x="272" y="40"/>
                    <a:pt x="269" y="39"/>
                    <a:pt x="269" y="38"/>
                  </a:cubicBezTo>
                  <a:cubicBezTo>
                    <a:pt x="268" y="36"/>
                    <a:pt x="263" y="35"/>
                    <a:pt x="260" y="35"/>
                  </a:cubicBezTo>
                  <a:cubicBezTo>
                    <a:pt x="259" y="35"/>
                    <a:pt x="258" y="35"/>
                    <a:pt x="258" y="35"/>
                  </a:cubicBezTo>
                  <a:cubicBezTo>
                    <a:pt x="258" y="35"/>
                    <a:pt x="258" y="35"/>
                    <a:pt x="257" y="35"/>
                  </a:cubicBezTo>
                  <a:cubicBezTo>
                    <a:pt x="256" y="35"/>
                    <a:pt x="252" y="34"/>
                    <a:pt x="249" y="33"/>
                  </a:cubicBezTo>
                  <a:cubicBezTo>
                    <a:pt x="247" y="33"/>
                    <a:pt x="245" y="32"/>
                    <a:pt x="245" y="32"/>
                  </a:cubicBezTo>
                  <a:cubicBezTo>
                    <a:pt x="243" y="32"/>
                    <a:pt x="240" y="33"/>
                    <a:pt x="237" y="33"/>
                  </a:cubicBezTo>
                  <a:cubicBezTo>
                    <a:pt x="235" y="33"/>
                    <a:pt x="232" y="34"/>
                    <a:pt x="231" y="34"/>
                  </a:cubicBezTo>
                  <a:cubicBezTo>
                    <a:pt x="230" y="34"/>
                    <a:pt x="228" y="35"/>
                    <a:pt x="226" y="36"/>
                  </a:cubicBezTo>
                  <a:cubicBezTo>
                    <a:pt x="225" y="38"/>
                    <a:pt x="223" y="39"/>
                    <a:pt x="221" y="39"/>
                  </a:cubicBezTo>
                  <a:cubicBezTo>
                    <a:pt x="219" y="39"/>
                    <a:pt x="217" y="38"/>
                    <a:pt x="214" y="37"/>
                  </a:cubicBezTo>
                  <a:cubicBezTo>
                    <a:pt x="212" y="36"/>
                    <a:pt x="210" y="35"/>
                    <a:pt x="209" y="35"/>
                  </a:cubicBezTo>
                  <a:cubicBezTo>
                    <a:pt x="208" y="35"/>
                    <a:pt x="208" y="35"/>
                    <a:pt x="208" y="35"/>
                  </a:cubicBezTo>
                  <a:cubicBezTo>
                    <a:pt x="208" y="35"/>
                    <a:pt x="208" y="35"/>
                    <a:pt x="207" y="35"/>
                  </a:cubicBezTo>
                  <a:cubicBezTo>
                    <a:pt x="205" y="35"/>
                    <a:pt x="200" y="29"/>
                    <a:pt x="199" y="28"/>
                  </a:cubicBezTo>
                  <a:cubicBezTo>
                    <a:pt x="197" y="27"/>
                    <a:pt x="197" y="24"/>
                    <a:pt x="198" y="21"/>
                  </a:cubicBezTo>
                  <a:cubicBezTo>
                    <a:pt x="198" y="19"/>
                    <a:pt x="198" y="17"/>
                    <a:pt x="197" y="16"/>
                  </a:cubicBezTo>
                  <a:cubicBezTo>
                    <a:pt x="196" y="14"/>
                    <a:pt x="192" y="14"/>
                    <a:pt x="189" y="13"/>
                  </a:cubicBezTo>
                  <a:cubicBezTo>
                    <a:pt x="187" y="13"/>
                    <a:pt x="184" y="12"/>
                    <a:pt x="183" y="11"/>
                  </a:cubicBezTo>
                  <a:cubicBezTo>
                    <a:pt x="179" y="9"/>
                    <a:pt x="175" y="7"/>
                    <a:pt x="172" y="7"/>
                  </a:cubicBezTo>
                  <a:cubicBezTo>
                    <a:pt x="169" y="7"/>
                    <a:pt x="164" y="6"/>
                    <a:pt x="163" y="5"/>
                  </a:cubicBezTo>
                  <a:cubicBezTo>
                    <a:pt x="162" y="4"/>
                    <a:pt x="156" y="2"/>
                    <a:pt x="152" y="1"/>
                  </a:cubicBezTo>
                  <a:cubicBezTo>
                    <a:pt x="151" y="0"/>
                    <a:pt x="150" y="2"/>
                    <a:pt x="149" y="3"/>
                  </a:cubicBezTo>
                  <a:cubicBezTo>
                    <a:pt x="149" y="4"/>
                    <a:pt x="148" y="5"/>
                    <a:pt x="148" y="5"/>
                  </a:cubicBezTo>
                  <a:cubicBezTo>
                    <a:pt x="147" y="6"/>
                    <a:pt x="146" y="7"/>
                    <a:pt x="145" y="7"/>
                  </a:cubicBezTo>
                  <a:cubicBezTo>
                    <a:pt x="143" y="8"/>
                    <a:pt x="141" y="9"/>
                    <a:pt x="140" y="10"/>
                  </a:cubicBezTo>
                  <a:cubicBezTo>
                    <a:pt x="140" y="12"/>
                    <a:pt x="138" y="13"/>
                    <a:pt x="137" y="14"/>
                  </a:cubicBezTo>
                  <a:cubicBezTo>
                    <a:pt x="135" y="15"/>
                    <a:pt x="134" y="16"/>
                    <a:pt x="134" y="17"/>
                  </a:cubicBezTo>
                  <a:cubicBezTo>
                    <a:pt x="135" y="22"/>
                    <a:pt x="137" y="28"/>
                    <a:pt x="139" y="29"/>
                  </a:cubicBezTo>
                  <a:cubicBezTo>
                    <a:pt x="142" y="31"/>
                    <a:pt x="140" y="37"/>
                    <a:pt x="139" y="38"/>
                  </a:cubicBezTo>
                  <a:cubicBezTo>
                    <a:pt x="138" y="39"/>
                    <a:pt x="136" y="40"/>
                    <a:pt x="134" y="41"/>
                  </a:cubicBezTo>
                  <a:cubicBezTo>
                    <a:pt x="131" y="42"/>
                    <a:pt x="128" y="43"/>
                    <a:pt x="127" y="44"/>
                  </a:cubicBezTo>
                  <a:cubicBezTo>
                    <a:pt x="126" y="45"/>
                    <a:pt x="125" y="46"/>
                    <a:pt x="124" y="46"/>
                  </a:cubicBezTo>
                  <a:cubicBezTo>
                    <a:pt x="123" y="46"/>
                    <a:pt x="120" y="44"/>
                    <a:pt x="118" y="43"/>
                  </a:cubicBezTo>
                  <a:cubicBezTo>
                    <a:pt x="117" y="42"/>
                    <a:pt x="116" y="42"/>
                    <a:pt x="116" y="42"/>
                  </a:cubicBezTo>
                  <a:cubicBezTo>
                    <a:pt x="114" y="41"/>
                    <a:pt x="113" y="40"/>
                    <a:pt x="111" y="40"/>
                  </a:cubicBezTo>
                  <a:cubicBezTo>
                    <a:pt x="109" y="40"/>
                    <a:pt x="106" y="41"/>
                    <a:pt x="105" y="42"/>
                  </a:cubicBezTo>
                  <a:cubicBezTo>
                    <a:pt x="104" y="43"/>
                    <a:pt x="104" y="43"/>
                    <a:pt x="103" y="43"/>
                  </a:cubicBezTo>
                  <a:cubicBezTo>
                    <a:pt x="101" y="43"/>
                    <a:pt x="99" y="41"/>
                    <a:pt x="96" y="40"/>
                  </a:cubicBezTo>
                  <a:cubicBezTo>
                    <a:pt x="94" y="39"/>
                    <a:pt x="93" y="38"/>
                    <a:pt x="92" y="38"/>
                  </a:cubicBezTo>
                  <a:cubicBezTo>
                    <a:pt x="91" y="37"/>
                    <a:pt x="90" y="35"/>
                    <a:pt x="90" y="33"/>
                  </a:cubicBezTo>
                  <a:cubicBezTo>
                    <a:pt x="89" y="32"/>
                    <a:pt x="88" y="30"/>
                    <a:pt x="88" y="30"/>
                  </a:cubicBezTo>
                  <a:cubicBezTo>
                    <a:pt x="87" y="30"/>
                    <a:pt x="87" y="30"/>
                    <a:pt x="87" y="30"/>
                  </a:cubicBezTo>
                  <a:cubicBezTo>
                    <a:pt x="84" y="30"/>
                    <a:pt x="70" y="27"/>
                    <a:pt x="67" y="26"/>
                  </a:cubicBezTo>
                  <a:cubicBezTo>
                    <a:pt x="66" y="26"/>
                    <a:pt x="65" y="26"/>
                    <a:pt x="64" y="26"/>
                  </a:cubicBezTo>
                  <a:cubicBezTo>
                    <a:pt x="61" y="26"/>
                    <a:pt x="58" y="26"/>
                    <a:pt x="58" y="28"/>
                  </a:cubicBezTo>
                  <a:cubicBezTo>
                    <a:pt x="57" y="29"/>
                    <a:pt x="55" y="29"/>
                    <a:pt x="53" y="30"/>
                  </a:cubicBezTo>
                  <a:cubicBezTo>
                    <a:pt x="51" y="30"/>
                    <a:pt x="48" y="31"/>
                    <a:pt x="48" y="32"/>
                  </a:cubicBezTo>
                  <a:cubicBezTo>
                    <a:pt x="47" y="33"/>
                    <a:pt x="45" y="34"/>
                    <a:pt x="43" y="35"/>
                  </a:cubicBezTo>
                  <a:cubicBezTo>
                    <a:pt x="41" y="36"/>
                    <a:pt x="39" y="37"/>
                    <a:pt x="38" y="38"/>
                  </a:cubicBezTo>
                  <a:cubicBezTo>
                    <a:pt x="37" y="40"/>
                    <a:pt x="35" y="40"/>
                    <a:pt x="33" y="41"/>
                  </a:cubicBezTo>
                  <a:cubicBezTo>
                    <a:pt x="31" y="42"/>
                    <a:pt x="28" y="43"/>
                    <a:pt x="27" y="45"/>
                  </a:cubicBezTo>
                  <a:cubicBezTo>
                    <a:pt x="25" y="49"/>
                    <a:pt x="17" y="50"/>
                    <a:pt x="13" y="51"/>
                  </a:cubicBezTo>
                  <a:cubicBezTo>
                    <a:pt x="5" y="52"/>
                    <a:pt x="4" y="54"/>
                    <a:pt x="4" y="55"/>
                  </a:cubicBezTo>
                  <a:cubicBezTo>
                    <a:pt x="4" y="55"/>
                    <a:pt x="3" y="56"/>
                    <a:pt x="1" y="56"/>
                  </a:cubicBezTo>
                  <a:cubicBezTo>
                    <a:pt x="2" y="56"/>
                    <a:pt x="2" y="57"/>
                    <a:pt x="2" y="57"/>
                  </a:cubicBezTo>
                  <a:cubicBezTo>
                    <a:pt x="3" y="64"/>
                    <a:pt x="5" y="66"/>
                    <a:pt x="9" y="68"/>
                  </a:cubicBezTo>
                  <a:cubicBezTo>
                    <a:pt x="10" y="68"/>
                    <a:pt x="11" y="69"/>
                    <a:pt x="12" y="70"/>
                  </a:cubicBezTo>
                  <a:cubicBezTo>
                    <a:pt x="16" y="74"/>
                    <a:pt x="20" y="77"/>
                    <a:pt x="25" y="77"/>
                  </a:cubicBezTo>
                  <a:cubicBezTo>
                    <a:pt x="30" y="77"/>
                    <a:pt x="37" y="83"/>
                    <a:pt x="38" y="88"/>
                  </a:cubicBezTo>
                  <a:cubicBezTo>
                    <a:pt x="38" y="92"/>
                    <a:pt x="43" y="96"/>
                    <a:pt x="45" y="98"/>
                  </a:cubicBezTo>
                  <a:cubicBezTo>
                    <a:pt x="47" y="100"/>
                    <a:pt x="46" y="103"/>
                    <a:pt x="46" y="107"/>
                  </a:cubicBezTo>
                  <a:cubicBezTo>
                    <a:pt x="45" y="109"/>
                    <a:pt x="45" y="111"/>
                    <a:pt x="45" y="113"/>
                  </a:cubicBezTo>
                  <a:cubicBezTo>
                    <a:pt x="45" y="116"/>
                    <a:pt x="43" y="117"/>
                    <a:pt x="42" y="119"/>
                  </a:cubicBezTo>
                  <a:cubicBezTo>
                    <a:pt x="41" y="121"/>
                    <a:pt x="40" y="122"/>
                    <a:pt x="41" y="125"/>
                  </a:cubicBezTo>
                  <a:cubicBezTo>
                    <a:pt x="44" y="130"/>
                    <a:pt x="67" y="133"/>
                    <a:pt x="74" y="133"/>
                  </a:cubicBezTo>
                  <a:cubicBezTo>
                    <a:pt x="78" y="133"/>
                    <a:pt x="81" y="136"/>
                    <a:pt x="83" y="138"/>
                  </a:cubicBezTo>
                  <a:cubicBezTo>
                    <a:pt x="83" y="139"/>
                    <a:pt x="84" y="139"/>
                    <a:pt x="85" y="139"/>
                  </a:cubicBezTo>
                  <a:cubicBezTo>
                    <a:pt x="87" y="140"/>
                    <a:pt x="88" y="141"/>
                    <a:pt x="89" y="143"/>
                  </a:cubicBezTo>
                  <a:cubicBezTo>
                    <a:pt x="91" y="144"/>
                    <a:pt x="92" y="145"/>
                    <a:pt x="94" y="146"/>
                  </a:cubicBezTo>
                  <a:cubicBezTo>
                    <a:pt x="100" y="147"/>
                    <a:pt x="104" y="151"/>
                    <a:pt x="106" y="158"/>
                  </a:cubicBezTo>
                  <a:cubicBezTo>
                    <a:pt x="107" y="163"/>
                    <a:pt x="109" y="166"/>
                    <a:pt x="111" y="169"/>
                  </a:cubicBezTo>
                  <a:cubicBezTo>
                    <a:pt x="112" y="170"/>
                    <a:pt x="114" y="172"/>
                    <a:pt x="114" y="173"/>
                  </a:cubicBezTo>
                  <a:cubicBezTo>
                    <a:pt x="114" y="175"/>
                    <a:pt x="116" y="175"/>
                    <a:pt x="119" y="175"/>
                  </a:cubicBezTo>
                  <a:cubicBezTo>
                    <a:pt x="120" y="175"/>
                    <a:pt x="122" y="175"/>
                    <a:pt x="123" y="175"/>
                  </a:cubicBezTo>
                  <a:cubicBezTo>
                    <a:pt x="125" y="175"/>
                    <a:pt x="127" y="175"/>
                    <a:pt x="128" y="175"/>
                  </a:cubicBezTo>
                  <a:cubicBezTo>
                    <a:pt x="130" y="175"/>
                    <a:pt x="131" y="175"/>
                    <a:pt x="132" y="175"/>
                  </a:cubicBezTo>
                  <a:cubicBezTo>
                    <a:pt x="136" y="175"/>
                    <a:pt x="143" y="175"/>
                    <a:pt x="150" y="175"/>
                  </a:cubicBezTo>
                  <a:cubicBezTo>
                    <a:pt x="157" y="175"/>
                    <a:pt x="164" y="175"/>
                    <a:pt x="167" y="176"/>
                  </a:cubicBezTo>
                  <a:cubicBezTo>
                    <a:pt x="168" y="176"/>
                    <a:pt x="170" y="176"/>
                    <a:pt x="172" y="176"/>
                  </a:cubicBezTo>
                  <a:cubicBezTo>
                    <a:pt x="179" y="177"/>
                    <a:pt x="188" y="177"/>
                    <a:pt x="193" y="182"/>
                  </a:cubicBezTo>
                  <a:cubicBezTo>
                    <a:pt x="197" y="184"/>
                    <a:pt x="199" y="184"/>
                    <a:pt x="201" y="184"/>
                  </a:cubicBezTo>
                  <a:cubicBezTo>
                    <a:pt x="202" y="184"/>
                    <a:pt x="203" y="184"/>
                    <a:pt x="203" y="184"/>
                  </a:cubicBezTo>
                  <a:cubicBezTo>
                    <a:pt x="204" y="184"/>
                    <a:pt x="205" y="184"/>
                    <a:pt x="205" y="184"/>
                  </a:cubicBezTo>
                  <a:cubicBezTo>
                    <a:pt x="206" y="184"/>
                    <a:pt x="208" y="184"/>
                    <a:pt x="209" y="185"/>
                  </a:cubicBezTo>
                  <a:cubicBezTo>
                    <a:pt x="213" y="188"/>
                    <a:pt x="216" y="189"/>
                    <a:pt x="221" y="189"/>
                  </a:cubicBezTo>
                  <a:cubicBezTo>
                    <a:pt x="222" y="189"/>
                    <a:pt x="223" y="189"/>
                    <a:pt x="224" y="189"/>
                  </a:cubicBezTo>
                  <a:cubicBezTo>
                    <a:pt x="225" y="189"/>
                    <a:pt x="225" y="189"/>
                    <a:pt x="225" y="18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5" name="Freeform 52"/>
            <p:cNvSpPr>
              <a:spLocks noEditPoints="1"/>
            </p:cNvSpPr>
            <p:nvPr/>
          </p:nvSpPr>
          <p:spPr>
            <a:xfrm>
              <a:off x="5632451" y="2967038"/>
              <a:ext cx="15875" cy="38100"/>
            </a:xfrm>
            <a:custGeom>
              <a:gdLst>
                <a:gd name="T0" fmla="*/ 7 w 9"/>
                <a:gd name="T1" fmla="*/ 22 h 22"/>
                <a:gd name="T2" fmla="*/ 6 w 9"/>
                <a:gd name="T3" fmla="*/ 21 h 22"/>
                <a:gd name="T4" fmla="*/ 0 w 9"/>
                <a:gd name="T5" fmla="*/ 12 h 22"/>
                <a:gd name="T6" fmla="*/ 4 w 9"/>
                <a:gd name="T7" fmla="*/ 1 h 22"/>
                <a:gd name="T8" fmla="*/ 8 w 9"/>
                <a:gd name="T9" fmla="*/ 1 h 22"/>
                <a:gd name="T10" fmla="*/ 9 w 9"/>
                <a:gd name="T11" fmla="*/ 1 h 22"/>
                <a:gd name="T12" fmla="*/ 9 w 9"/>
                <a:gd name="T13" fmla="*/ 1 h 22"/>
                <a:gd name="T14" fmla="*/ 8 w 9"/>
                <a:gd name="T15" fmla="*/ 4 h 22"/>
                <a:gd name="T16" fmla="*/ 8 w 9"/>
                <a:gd name="T17" fmla="*/ 11 h 22"/>
                <a:gd name="T18" fmla="*/ 7 w 9"/>
                <a:gd name="T19" fmla="*/ 21 h 22"/>
                <a:gd name="T20" fmla="*/ 7 w 9"/>
                <a:gd name="T21" fmla="*/ 22 h 22"/>
                <a:gd name="T22" fmla="*/ 6 w 9"/>
                <a:gd name="T23" fmla="*/ 2 h 22"/>
                <a:gd name="T24" fmla="*/ 4 w 9"/>
                <a:gd name="T25" fmla="*/ 2 h 22"/>
                <a:gd name="T26" fmla="*/ 1 w 9"/>
                <a:gd name="T27" fmla="*/ 12 h 22"/>
                <a:gd name="T28" fmla="*/ 6 w 9"/>
                <a:gd name="T29" fmla="*/ 20 h 22"/>
                <a:gd name="T30" fmla="*/ 7 w 9"/>
                <a:gd name="T31" fmla="*/ 11 h 22"/>
                <a:gd name="T32" fmla="*/ 7 w 9"/>
                <a:gd name="T33" fmla="*/ 4 h 22"/>
                <a:gd name="T34" fmla="*/ 8 w 9"/>
                <a:gd name="T35" fmla="*/ 2 h 22"/>
                <a:gd name="T36" fmla="*/ 6 w 9"/>
                <a:gd name="T37" fmla="*/ 2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2">
                  <a:moveTo>
                    <a:pt x="7" y="22"/>
                  </a:moveTo>
                  <a:cubicBezTo>
                    <a:pt x="6" y="21"/>
                    <a:pt x="6" y="21"/>
                    <a:pt x="6" y="21"/>
                  </a:cubicBezTo>
                  <a:cubicBezTo>
                    <a:pt x="2" y="17"/>
                    <a:pt x="0" y="13"/>
                    <a:pt x="0" y="12"/>
                  </a:cubicBezTo>
                  <a:cubicBezTo>
                    <a:pt x="0" y="12"/>
                    <a:pt x="1" y="2"/>
                    <a:pt x="4" y="1"/>
                  </a:cubicBezTo>
                  <a:cubicBezTo>
                    <a:pt x="4" y="0"/>
                    <a:pt x="6" y="0"/>
                    <a:pt x="8" y="1"/>
                  </a:cubicBezTo>
                  <a:cubicBezTo>
                    <a:pt x="9" y="1"/>
                    <a:pt x="9" y="1"/>
                    <a:pt x="9" y="1"/>
                  </a:cubicBezTo>
                  <a:cubicBezTo>
                    <a:pt x="9" y="1"/>
                    <a:pt x="9" y="1"/>
                    <a:pt x="9" y="1"/>
                  </a:cubicBezTo>
                  <a:cubicBezTo>
                    <a:pt x="9" y="3"/>
                    <a:pt x="8" y="4"/>
                    <a:pt x="8" y="4"/>
                  </a:cubicBezTo>
                  <a:cubicBezTo>
                    <a:pt x="8" y="5"/>
                    <a:pt x="8" y="8"/>
                    <a:pt x="8" y="11"/>
                  </a:cubicBezTo>
                  <a:cubicBezTo>
                    <a:pt x="7" y="14"/>
                    <a:pt x="7" y="18"/>
                    <a:pt x="7" y="21"/>
                  </a:cubicBezTo>
                  <a:lnTo>
                    <a:pt x="7" y="22"/>
                  </a:lnTo>
                  <a:close/>
                  <a:moveTo>
                    <a:pt x="6" y="2"/>
                  </a:moveTo>
                  <a:cubicBezTo>
                    <a:pt x="5" y="2"/>
                    <a:pt x="4" y="2"/>
                    <a:pt x="4" y="2"/>
                  </a:cubicBezTo>
                  <a:cubicBezTo>
                    <a:pt x="2" y="2"/>
                    <a:pt x="1" y="10"/>
                    <a:pt x="1" y="12"/>
                  </a:cubicBezTo>
                  <a:cubicBezTo>
                    <a:pt x="1" y="12"/>
                    <a:pt x="3" y="16"/>
                    <a:pt x="6" y="20"/>
                  </a:cubicBezTo>
                  <a:cubicBezTo>
                    <a:pt x="6" y="17"/>
                    <a:pt x="6" y="14"/>
                    <a:pt x="7" y="11"/>
                  </a:cubicBezTo>
                  <a:cubicBezTo>
                    <a:pt x="7" y="8"/>
                    <a:pt x="7" y="5"/>
                    <a:pt x="7" y="4"/>
                  </a:cubicBezTo>
                  <a:cubicBezTo>
                    <a:pt x="8" y="3"/>
                    <a:pt x="8" y="2"/>
                    <a:pt x="8" y="2"/>
                  </a:cubicBezTo>
                  <a:cubicBezTo>
                    <a:pt x="7" y="2"/>
                    <a:pt x="6" y="2"/>
                    <a:pt x="6"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6" name="Freeform 53"/>
            <p:cNvSpPr>
              <a:spLocks noEditPoints="1"/>
            </p:cNvSpPr>
            <p:nvPr/>
          </p:nvSpPr>
          <p:spPr>
            <a:xfrm>
              <a:off x="5611814" y="2946400"/>
              <a:ext cx="38100" cy="106363"/>
            </a:xfrm>
            <a:custGeom>
              <a:gdLst>
                <a:gd name="T0" fmla="*/ 12 w 22"/>
                <a:gd name="T1" fmla="*/ 62 h 62"/>
                <a:gd name="T2" fmla="*/ 12 w 22"/>
                <a:gd name="T3" fmla="*/ 62 h 62"/>
                <a:gd name="T4" fmla="*/ 10 w 22"/>
                <a:gd name="T5" fmla="*/ 61 h 62"/>
                <a:gd name="T6" fmla="*/ 10 w 22"/>
                <a:gd name="T7" fmla="*/ 61 h 62"/>
                <a:gd name="T8" fmla="*/ 10 w 22"/>
                <a:gd name="T9" fmla="*/ 59 h 62"/>
                <a:gd name="T10" fmla="*/ 0 w 22"/>
                <a:gd name="T11" fmla="*/ 33 h 62"/>
                <a:gd name="T12" fmla="*/ 0 w 22"/>
                <a:gd name="T13" fmla="*/ 33 h 62"/>
                <a:gd name="T14" fmla="*/ 11 w 22"/>
                <a:gd name="T15" fmla="*/ 7 h 62"/>
                <a:gd name="T16" fmla="*/ 14 w 22"/>
                <a:gd name="T17" fmla="*/ 0 h 62"/>
                <a:gd name="T18" fmla="*/ 14 w 22"/>
                <a:gd name="T19" fmla="*/ 0 h 62"/>
                <a:gd name="T20" fmla="*/ 22 w 22"/>
                <a:gd name="T21" fmla="*/ 3 h 62"/>
                <a:gd name="T22" fmla="*/ 22 w 22"/>
                <a:gd name="T23" fmla="*/ 3 h 62"/>
                <a:gd name="T24" fmla="*/ 21 w 22"/>
                <a:gd name="T25" fmla="*/ 13 h 62"/>
                <a:gd name="T26" fmla="*/ 21 w 22"/>
                <a:gd name="T27" fmla="*/ 14 h 62"/>
                <a:gd name="T28" fmla="*/ 20 w 22"/>
                <a:gd name="T29" fmla="*/ 14 h 62"/>
                <a:gd name="T30" fmla="*/ 18 w 22"/>
                <a:gd name="T31" fmla="*/ 14 h 62"/>
                <a:gd name="T32" fmla="*/ 16 w 22"/>
                <a:gd name="T33" fmla="*/ 14 h 62"/>
                <a:gd name="T34" fmla="*/ 13 w 22"/>
                <a:gd name="T35" fmla="*/ 24 h 62"/>
                <a:gd name="T36" fmla="*/ 19 w 22"/>
                <a:gd name="T37" fmla="*/ 33 h 62"/>
                <a:gd name="T38" fmla="*/ 19 w 22"/>
                <a:gd name="T39" fmla="*/ 33 h 62"/>
                <a:gd name="T40" fmla="*/ 19 w 22"/>
                <a:gd name="T41" fmla="*/ 33 h 62"/>
                <a:gd name="T42" fmla="*/ 17 w 22"/>
                <a:gd name="T43" fmla="*/ 40 h 62"/>
                <a:gd name="T44" fmla="*/ 12 w 22"/>
                <a:gd name="T45" fmla="*/ 61 h 62"/>
                <a:gd name="T46" fmla="*/ 12 w 22"/>
                <a:gd name="T47" fmla="*/ 62 h 62"/>
                <a:gd name="T48" fmla="*/ 11 w 22"/>
                <a:gd name="T49" fmla="*/ 60 h 62"/>
                <a:gd name="T50" fmla="*/ 11 w 22"/>
                <a:gd name="T51" fmla="*/ 60 h 62"/>
                <a:gd name="T52" fmla="*/ 16 w 22"/>
                <a:gd name="T53" fmla="*/ 40 h 62"/>
                <a:gd name="T54" fmla="*/ 18 w 22"/>
                <a:gd name="T55" fmla="*/ 33 h 62"/>
                <a:gd name="T56" fmla="*/ 12 w 22"/>
                <a:gd name="T57" fmla="*/ 24 h 62"/>
                <a:gd name="T58" fmla="*/ 16 w 22"/>
                <a:gd name="T59" fmla="*/ 13 h 62"/>
                <a:gd name="T60" fmla="*/ 20 w 22"/>
                <a:gd name="T61" fmla="*/ 13 h 62"/>
                <a:gd name="T62" fmla="*/ 21 w 22"/>
                <a:gd name="T63" fmla="*/ 4 h 62"/>
                <a:gd name="T64" fmla="*/ 14 w 22"/>
                <a:gd name="T65" fmla="*/ 1 h 62"/>
                <a:gd name="T66" fmla="*/ 12 w 22"/>
                <a:gd name="T67" fmla="*/ 7 h 62"/>
                <a:gd name="T68" fmla="*/ 1 w 22"/>
                <a:gd name="T69" fmla="*/ 33 h 62"/>
                <a:gd name="T70" fmla="*/ 11 w 22"/>
                <a:gd name="T71" fmla="*/ 59 h 62"/>
                <a:gd name="T72" fmla="*/ 11 w 22"/>
                <a:gd name="T73" fmla="*/ 60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62">
                  <a:moveTo>
                    <a:pt x="12" y="62"/>
                  </a:moveTo>
                  <a:cubicBezTo>
                    <a:pt x="12" y="62"/>
                    <a:pt x="12" y="62"/>
                    <a:pt x="12" y="62"/>
                  </a:cubicBezTo>
                  <a:cubicBezTo>
                    <a:pt x="11" y="61"/>
                    <a:pt x="10" y="61"/>
                    <a:pt x="10" y="61"/>
                  </a:cubicBezTo>
                  <a:cubicBezTo>
                    <a:pt x="10" y="61"/>
                    <a:pt x="10" y="61"/>
                    <a:pt x="10" y="61"/>
                  </a:cubicBezTo>
                  <a:cubicBezTo>
                    <a:pt x="10" y="59"/>
                    <a:pt x="10" y="59"/>
                    <a:pt x="10" y="59"/>
                  </a:cubicBezTo>
                  <a:cubicBezTo>
                    <a:pt x="0" y="33"/>
                    <a:pt x="0" y="33"/>
                    <a:pt x="0" y="33"/>
                  </a:cubicBezTo>
                  <a:cubicBezTo>
                    <a:pt x="0" y="33"/>
                    <a:pt x="0" y="33"/>
                    <a:pt x="0" y="33"/>
                  </a:cubicBezTo>
                  <a:cubicBezTo>
                    <a:pt x="3" y="28"/>
                    <a:pt x="10" y="15"/>
                    <a:pt x="11" y="7"/>
                  </a:cubicBezTo>
                  <a:cubicBezTo>
                    <a:pt x="12" y="5"/>
                    <a:pt x="12" y="3"/>
                    <a:pt x="14" y="0"/>
                  </a:cubicBezTo>
                  <a:cubicBezTo>
                    <a:pt x="14" y="0"/>
                    <a:pt x="14" y="0"/>
                    <a:pt x="14" y="0"/>
                  </a:cubicBezTo>
                  <a:cubicBezTo>
                    <a:pt x="22" y="3"/>
                    <a:pt x="22" y="3"/>
                    <a:pt x="22" y="3"/>
                  </a:cubicBezTo>
                  <a:cubicBezTo>
                    <a:pt x="22" y="3"/>
                    <a:pt x="22" y="3"/>
                    <a:pt x="22" y="3"/>
                  </a:cubicBezTo>
                  <a:cubicBezTo>
                    <a:pt x="22" y="6"/>
                    <a:pt x="21" y="10"/>
                    <a:pt x="21" y="13"/>
                  </a:cubicBezTo>
                  <a:cubicBezTo>
                    <a:pt x="21" y="14"/>
                    <a:pt x="21" y="14"/>
                    <a:pt x="21" y="14"/>
                  </a:cubicBezTo>
                  <a:cubicBezTo>
                    <a:pt x="20" y="14"/>
                    <a:pt x="20" y="14"/>
                    <a:pt x="20" y="14"/>
                  </a:cubicBezTo>
                  <a:cubicBezTo>
                    <a:pt x="19" y="14"/>
                    <a:pt x="19" y="14"/>
                    <a:pt x="18" y="14"/>
                  </a:cubicBezTo>
                  <a:cubicBezTo>
                    <a:pt x="17" y="14"/>
                    <a:pt x="16" y="14"/>
                    <a:pt x="16" y="14"/>
                  </a:cubicBezTo>
                  <a:cubicBezTo>
                    <a:pt x="14" y="14"/>
                    <a:pt x="13" y="22"/>
                    <a:pt x="13" y="24"/>
                  </a:cubicBezTo>
                  <a:cubicBezTo>
                    <a:pt x="13" y="24"/>
                    <a:pt x="15" y="29"/>
                    <a:pt x="19" y="33"/>
                  </a:cubicBezTo>
                  <a:cubicBezTo>
                    <a:pt x="19" y="33"/>
                    <a:pt x="19" y="33"/>
                    <a:pt x="19" y="33"/>
                  </a:cubicBezTo>
                  <a:cubicBezTo>
                    <a:pt x="19" y="33"/>
                    <a:pt x="19" y="33"/>
                    <a:pt x="19" y="33"/>
                  </a:cubicBezTo>
                  <a:cubicBezTo>
                    <a:pt x="18" y="37"/>
                    <a:pt x="18" y="39"/>
                    <a:pt x="17" y="40"/>
                  </a:cubicBezTo>
                  <a:cubicBezTo>
                    <a:pt x="16" y="42"/>
                    <a:pt x="14" y="50"/>
                    <a:pt x="12" y="61"/>
                  </a:cubicBezTo>
                  <a:lnTo>
                    <a:pt x="12" y="62"/>
                  </a:lnTo>
                  <a:close/>
                  <a:moveTo>
                    <a:pt x="11" y="60"/>
                  </a:moveTo>
                  <a:cubicBezTo>
                    <a:pt x="11" y="60"/>
                    <a:pt x="11" y="60"/>
                    <a:pt x="11" y="60"/>
                  </a:cubicBezTo>
                  <a:cubicBezTo>
                    <a:pt x="12" y="55"/>
                    <a:pt x="14" y="42"/>
                    <a:pt x="16" y="40"/>
                  </a:cubicBezTo>
                  <a:cubicBezTo>
                    <a:pt x="17" y="39"/>
                    <a:pt x="17" y="37"/>
                    <a:pt x="18" y="33"/>
                  </a:cubicBezTo>
                  <a:cubicBezTo>
                    <a:pt x="14" y="29"/>
                    <a:pt x="12" y="25"/>
                    <a:pt x="12" y="24"/>
                  </a:cubicBezTo>
                  <a:cubicBezTo>
                    <a:pt x="12" y="24"/>
                    <a:pt x="13" y="14"/>
                    <a:pt x="16" y="13"/>
                  </a:cubicBezTo>
                  <a:cubicBezTo>
                    <a:pt x="16" y="12"/>
                    <a:pt x="18" y="12"/>
                    <a:pt x="20" y="13"/>
                  </a:cubicBezTo>
                  <a:cubicBezTo>
                    <a:pt x="20" y="10"/>
                    <a:pt x="21" y="6"/>
                    <a:pt x="21" y="4"/>
                  </a:cubicBezTo>
                  <a:cubicBezTo>
                    <a:pt x="14" y="1"/>
                    <a:pt x="14" y="1"/>
                    <a:pt x="14" y="1"/>
                  </a:cubicBezTo>
                  <a:cubicBezTo>
                    <a:pt x="13" y="3"/>
                    <a:pt x="13" y="5"/>
                    <a:pt x="12" y="7"/>
                  </a:cubicBezTo>
                  <a:cubicBezTo>
                    <a:pt x="11" y="15"/>
                    <a:pt x="4" y="28"/>
                    <a:pt x="1" y="33"/>
                  </a:cubicBezTo>
                  <a:cubicBezTo>
                    <a:pt x="11" y="59"/>
                    <a:pt x="11" y="59"/>
                    <a:pt x="11" y="59"/>
                  </a:cubicBezTo>
                  <a:lnTo>
                    <a:pt x="11" y="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7" name="Freeform 54"/>
            <p:cNvSpPr>
              <a:spLocks noEditPoints="1"/>
            </p:cNvSpPr>
            <p:nvPr/>
          </p:nvSpPr>
          <p:spPr>
            <a:xfrm>
              <a:off x="5630864" y="2944813"/>
              <a:ext cx="106363" cy="115888"/>
            </a:xfrm>
            <a:custGeom>
              <a:gdLst>
                <a:gd name="T0" fmla="*/ 14 w 63"/>
                <a:gd name="T1" fmla="*/ 68 h 68"/>
                <a:gd name="T2" fmla="*/ 14 w 63"/>
                <a:gd name="T3" fmla="*/ 68 h 68"/>
                <a:gd name="T4" fmla="*/ 14 w 63"/>
                <a:gd name="T5" fmla="*/ 68 h 68"/>
                <a:gd name="T6" fmla="*/ 1 w 63"/>
                <a:gd name="T7" fmla="*/ 63 h 68"/>
                <a:gd name="T8" fmla="*/ 0 w 63"/>
                <a:gd name="T9" fmla="*/ 62 h 68"/>
                <a:gd name="T10" fmla="*/ 0 w 63"/>
                <a:gd name="T11" fmla="*/ 62 h 68"/>
                <a:gd name="T12" fmla="*/ 5 w 63"/>
                <a:gd name="T13" fmla="*/ 41 h 68"/>
                <a:gd name="T14" fmla="*/ 8 w 63"/>
                <a:gd name="T15" fmla="*/ 24 h 68"/>
                <a:gd name="T16" fmla="*/ 8 w 63"/>
                <a:gd name="T17" fmla="*/ 17 h 68"/>
                <a:gd name="T18" fmla="*/ 10 w 63"/>
                <a:gd name="T19" fmla="*/ 4 h 68"/>
                <a:gd name="T20" fmla="*/ 10 w 63"/>
                <a:gd name="T21" fmla="*/ 4 h 68"/>
                <a:gd name="T22" fmla="*/ 11 w 63"/>
                <a:gd name="T23" fmla="*/ 4 h 68"/>
                <a:gd name="T24" fmla="*/ 12 w 63"/>
                <a:gd name="T25" fmla="*/ 9 h 68"/>
                <a:gd name="T26" fmla="*/ 25 w 63"/>
                <a:gd name="T27" fmla="*/ 16 h 68"/>
                <a:gd name="T28" fmla="*/ 39 w 63"/>
                <a:gd name="T29" fmla="*/ 9 h 68"/>
                <a:gd name="T30" fmla="*/ 57 w 63"/>
                <a:gd name="T31" fmla="*/ 0 h 68"/>
                <a:gd name="T32" fmla="*/ 58 w 63"/>
                <a:gd name="T33" fmla="*/ 0 h 68"/>
                <a:gd name="T34" fmla="*/ 58 w 63"/>
                <a:gd name="T35" fmla="*/ 0 h 68"/>
                <a:gd name="T36" fmla="*/ 59 w 63"/>
                <a:gd name="T37" fmla="*/ 7 h 68"/>
                <a:gd name="T38" fmla="*/ 63 w 63"/>
                <a:gd name="T39" fmla="*/ 22 h 68"/>
                <a:gd name="T40" fmla="*/ 63 w 63"/>
                <a:gd name="T41" fmla="*/ 22 h 68"/>
                <a:gd name="T42" fmla="*/ 61 w 63"/>
                <a:gd name="T43" fmla="*/ 22 h 68"/>
                <a:gd name="T44" fmla="*/ 57 w 63"/>
                <a:gd name="T45" fmla="*/ 24 h 68"/>
                <a:gd name="T46" fmla="*/ 46 w 63"/>
                <a:gd name="T47" fmla="*/ 27 h 68"/>
                <a:gd name="T48" fmla="*/ 32 w 63"/>
                <a:gd name="T49" fmla="*/ 34 h 68"/>
                <a:gd name="T50" fmla="*/ 32 w 63"/>
                <a:gd name="T51" fmla="*/ 35 h 68"/>
                <a:gd name="T52" fmla="*/ 44 w 63"/>
                <a:gd name="T53" fmla="*/ 47 h 68"/>
                <a:gd name="T54" fmla="*/ 43 w 63"/>
                <a:gd name="T55" fmla="*/ 49 h 68"/>
                <a:gd name="T56" fmla="*/ 40 w 63"/>
                <a:gd name="T57" fmla="*/ 52 h 68"/>
                <a:gd name="T58" fmla="*/ 34 w 63"/>
                <a:gd name="T59" fmla="*/ 56 h 68"/>
                <a:gd name="T60" fmla="*/ 26 w 63"/>
                <a:gd name="T61" fmla="*/ 59 h 68"/>
                <a:gd name="T62" fmla="*/ 22 w 63"/>
                <a:gd name="T63" fmla="*/ 65 h 68"/>
                <a:gd name="T64" fmla="*/ 14 w 63"/>
                <a:gd name="T65" fmla="*/ 68 h 68"/>
                <a:gd name="T66" fmla="*/ 1 w 63"/>
                <a:gd name="T67" fmla="*/ 62 h 68"/>
                <a:gd name="T68" fmla="*/ 14 w 63"/>
                <a:gd name="T69" fmla="*/ 67 h 68"/>
                <a:gd name="T70" fmla="*/ 14 w 63"/>
                <a:gd name="T71" fmla="*/ 67 h 68"/>
                <a:gd name="T72" fmla="*/ 14 w 63"/>
                <a:gd name="T73" fmla="*/ 67 h 68"/>
                <a:gd name="T74" fmla="*/ 21 w 63"/>
                <a:gd name="T75" fmla="*/ 64 h 68"/>
                <a:gd name="T76" fmla="*/ 25 w 63"/>
                <a:gd name="T77" fmla="*/ 59 h 68"/>
                <a:gd name="T78" fmla="*/ 34 w 63"/>
                <a:gd name="T79" fmla="*/ 55 h 68"/>
                <a:gd name="T80" fmla="*/ 39 w 63"/>
                <a:gd name="T81" fmla="*/ 51 h 68"/>
                <a:gd name="T82" fmla="*/ 43 w 63"/>
                <a:gd name="T83" fmla="*/ 48 h 68"/>
                <a:gd name="T84" fmla="*/ 43 w 63"/>
                <a:gd name="T85" fmla="*/ 47 h 68"/>
                <a:gd name="T86" fmla="*/ 32 w 63"/>
                <a:gd name="T87" fmla="*/ 36 h 68"/>
                <a:gd name="T88" fmla="*/ 31 w 63"/>
                <a:gd name="T89" fmla="*/ 34 h 68"/>
                <a:gd name="T90" fmla="*/ 46 w 63"/>
                <a:gd name="T91" fmla="*/ 26 h 68"/>
                <a:gd name="T92" fmla="*/ 56 w 63"/>
                <a:gd name="T93" fmla="*/ 23 h 68"/>
                <a:gd name="T94" fmla="*/ 61 w 63"/>
                <a:gd name="T95" fmla="*/ 21 h 68"/>
                <a:gd name="T96" fmla="*/ 62 w 63"/>
                <a:gd name="T97" fmla="*/ 21 h 68"/>
                <a:gd name="T98" fmla="*/ 58 w 63"/>
                <a:gd name="T99" fmla="*/ 8 h 68"/>
                <a:gd name="T100" fmla="*/ 57 w 63"/>
                <a:gd name="T101" fmla="*/ 1 h 68"/>
                <a:gd name="T102" fmla="*/ 39 w 63"/>
                <a:gd name="T103" fmla="*/ 10 h 68"/>
                <a:gd name="T104" fmla="*/ 25 w 63"/>
                <a:gd name="T105" fmla="*/ 17 h 68"/>
                <a:gd name="T106" fmla="*/ 25 w 63"/>
                <a:gd name="T107" fmla="*/ 17 h 68"/>
                <a:gd name="T108" fmla="*/ 12 w 63"/>
                <a:gd name="T109" fmla="*/ 10 h 68"/>
                <a:gd name="T110" fmla="*/ 11 w 63"/>
                <a:gd name="T111" fmla="*/ 7 h 68"/>
                <a:gd name="T112" fmla="*/ 9 w 63"/>
                <a:gd name="T113" fmla="*/ 17 h 68"/>
                <a:gd name="T114" fmla="*/ 9 w 63"/>
                <a:gd name="T115" fmla="*/ 24 h 68"/>
                <a:gd name="T116" fmla="*/ 6 w 63"/>
                <a:gd name="T117" fmla="*/ 41 h 68"/>
                <a:gd name="T118" fmla="*/ 1 w 63"/>
                <a:gd name="T119" fmla="*/ 62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68">
                  <a:moveTo>
                    <a:pt x="14" y="68"/>
                  </a:moveTo>
                  <a:cubicBezTo>
                    <a:pt x="14" y="68"/>
                    <a:pt x="14" y="68"/>
                    <a:pt x="14" y="68"/>
                  </a:cubicBezTo>
                  <a:cubicBezTo>
                    <a:pt x="14" y="68"/>
                    <a:pt x="14" y="68"/>
                    <a:pt x="14" y="68"/>
                  </a:cubicBezTo>
                  <a:cubicBezTo>
                    <a:pt x="11" y="68"/>
                    <a:pt x="7" y="66"/>
                    <a:pt x="1" y="63"/>
                  </a:cubicBezTo>
                  <a:cubicBezTo>
                    <a:pt x="0" y="62"/>
                    <a:pt x="0" y="62"/>
                    <a:pt x="0" y="62"/>
                  </a:cubicBezTo>
                  <a:cubicBezTo>
                    <a:pt x="0" y="62"/>
                    <a:pt x="0" y="62"/>
                    <a:pt x="0" y="62"/>
                  </a:cubicBezTo>
                  <a:cubicBezTo>
                    <a:pt x="1" y="58"/>
                    <a:pt x="3" y="43"/>
                    <a:pt x="5" y="41"/>
                  </a:cubicBezTo>
                  <a:cubicBezTo>
                    <a:pt x="7" y="39"/>
                    <a:pt x="7" y="30"/>
                    <a:pt x="8" y="24"/>
                  </a:cubicBezTo>
                  <a:cubicBezTo>
                    <a:pt x="8" y="21"/>
                    <a:pt x="8" y="18"/>
                    <a:pt x="8" y="17"/>
                  </a:cubicBezTo>
                  <a:cubicBezTo>
                    <a:pt x="9" y="15"/>
                    <a:pt x="9" y="11"/>
                    <a:pt x="10" y="4"/>
                  </a:cubicBezTo>
                  <a:cubicBezTo>
                    <a:pt x="10" y="4"/>
                    <a:pt x="10" y="4"/>
                    <a:pt x="10" y="4"/>
                  </a:cubicBezTo>
                  <a:cubicBezTo>
                    <a:pt x="11" y="4"/>
                    <a:pt x="11" y="4"/>
                    <a:pt x="11" y="4"/>
                  </a:cubicBezTo>
                  <a:cubicBezTo>
                    <a:pt x="12" y="9"/>
                    <a:pt x="12" y="9"/>
                    <a:pt x="12" y="9"/>
                  </a:cubicBezTo>
                  <a:cubicBezTo>
                    <a:pt x="25" y="16"/>
                    <a:pt x="25" y="16"/>
                    <a:pt x="25" y="16"/>
                  </a:cubicBezTo>
                  <a:cubicBezTo>
                    <a:pt x="27" y="15"/>
                    <a:pt x="35" y="9"/>
                    <a:pt x="39" y="9"/>
                  </a:cubicBezTo>
                  <a:cubicBezTo>
                    <a:pt x="40" y="9"/>
                    <a:pt x="43" y="7"/>
                    <a:pt x="57" y="0"/>
                  </a:cubicBezTo>
                  <a:cubicBezTo>
                    <a:pt x="58" y="0"/>
                    <a:pt x="58" y="0"/>
                    <a:pt x="58" y="0"/>
                  </a:cubicBezTo>
                  <a:cubicBezTo>
                    <a:pt x="58" y="0"/>
                    <a:pt x="58" y="0"/>
                    <a:pt x="58" y="0"/>
                  </a:cubicBezTo>
                  <a:cubicBezTo>
                    <a:pt x="58" y="3"/>
                    <a:pt x="59" y="6"/>
                    <a:pt x="59" y="7"/>
                  </a:cubicBezTo>
                  <a:cubicBezTo>
                    <a:pt x="60" y="11"/>
                    <a:pt x="62" y="17"/>
                    <a:pt x="63" y="22"/>
                  </a:cubicBezTo>
                  <a:cubicBezTo>
                    <a:pt x="63" y="22"/>
                    <a:pt x="63" y="22"/>
                    <a:pt x="63" y="22"/>
                  </a:cubicBezTo>
                  <a:cubicBezTo>
                    <a:pt x="61" y="22"/>
                    <a:pt x="61" y="22"/>
                    <a:pt x="61" y="22"/>
                  </a:cubicBezTo>
                  <a:cubicBezTo>
                    <a:pt x="59" y="22"/>
                    <a:pt x="58" y="23"/>
                    <a:pt x="57" y="24"/>
                  </a:cubicBezTo>
                  <a:cubicBezTo>
                    <a:pt x="55" y="25"/>
                    <a:pt x="53" y="27"/>
                    <a:pt x="46" y="27"/>
                  </a:cubicBezTo>
                  <a:cubicBezTo>
                    <a:pt x="38" y="27"/>
                    <a:pt x="32" y="32"/>
                    <a:pt x="32" y="34"/>
                  </a:cubicBezTo>
                  <a:cubicBezTo>
                    <a:pt x="32" y="35"/>
                    <a:pt x="32" y="35"/>
                    <a:pt x="32" y="35"/>
                  </a:cubicBezTo>
                  <a:cubicBezTo>
                    <a:pt x="35" y="36"/>
                    <a:pt x="44" y="43"/>
                    <a:pt x="44" y="47"/>
                  </a:cubicBezTo>
                  <a:cubicBezTo>
                    <a:pt x="44" y="48"/>
                    <a:pt x="44" y="48"/>
                    <a:pt x="43" y="49"/>
                  </a:cubicBezTo>
                  <a:cubicBezTo>
                    <a:pt x="42" y="49"/>
                    <a:pt x="41" y="50"/>
                    <a:pt x="40" y="52"/>
                  </a:cubicBezTo>
                  <a:cubicBezTo>
                    <a:pt x="39" y="54"/>
                    <a:pt x="37" y="56"/>
                    <a:pt x="34" y="56"/>
                  </a:cubicBezTo>
                  <a:cubicBezTo>
                    <a:pt x="28" y="56"/>
                    <a:pt x="26" y="57"/>
                    <a:pt x="26" y="59"/>
                  </a:cubicBezTo>
                  <a:cubicBezTo>
                    <a:pt x="26" y="61"/>
                    <a:pt x="24" y="63"/>
                    <a:pt x="22" y="65"/>
                  </a:cubicBezTo>
                  <a:cubicBezTo>
                    <a:pt x="20" y="67"/>
                    <a:pt x="17" y="68"/>
                    <a:pt x="14" y="68"/>
                  </a:cubicBezTo>
                  <a:close/>
                  <a:moveTo>
                    <a:pt x="1" y="62"/>
                  </a:moveTo>
                  <a:cubicBezTo>
                    <a:pt x="7" y="65"/>
                    <a:pt x="12" y="67"/>
                    <a:pt x="14" y="67"/>
                  </a:cubicBezTo>
                  <a:cubicBezTo>
                    <a:pt x="14" y="67"/>
                    <a:pt x="14" y="67"/>
                    <a:pt x="14" y="67"/>
                  </a:cubicBezTo>
                  <a:cubicBezTo>
                    <a:pt x="14" y="67"/>
                    <a:pt x="14" y="67"/>
                    <a:pt x="14" y="67"/>
                  </a:cubicBezTo>
                  <a:cubicBezTo>
                    <a:pt x="17" y="67"/>
                    <a:pt x="19" y="66"/>
                    <a:pt x="21" y="64"/>
                  </a:cubicBezTo>
                  <a:cubicBezTo>
                    <a:pt x="23" y="63"/>
                    <a:pt x="25" y="61"/>
                    <a:pt x="25" y="59"/>
                  </a:cubicBezTo>
                  <a:cubicBezTo>
                    <a:pt x="25" y="55"/>
                    <a:pt x="30" y="55"/>
                    <a:pt x="34" y="55"/>
                  </a:cubicBezTo>
                  <a:cubicBezTo>
                    <a:pt x="37" y="55"/>
                    <a:pt x="38" y="53"/>
                    <a:pt x="39" y="51"/>
                  </a:cubicBezTo>
                  <a:cubicBezTo>
                    <a:pt x="40" y="50"/>
                    <a:pt x="41" y="48"/>
                    <a:pt x="43" y="48"/>
                  </a:cubicBezTo>
                  <a:cubicBezTo>
                    <a:pt x="43" y="47"/>
                    <a:pt x="43" y="47"/>
                    <a:pt x="43" y="47"/>
                  </a:cubicBezTo>
                  <a:cubicBezTo>
                    <a:pt x="43" y="44"/>
                    <a:pt x="35" y="37"/>
                    <a:pt x="32" y="36"/>
                  </a:cubicBezTo>
                  <a:cubicBezTo>
                    <a:pt x="31" y="36"/>
                    <a:pt x="31" y="35"/>
                    <a:pt x="31" y="34"/>
                  </a:cubicBezTo>
                  <a:cubicBezTo>
                    <a:pt x="31" y="31"/>
                    <a:pt x="37" y="26"/>
                    <a:pt x="46" y="26"/>
                  </a:cubicBezTo>
                  <a:cubicBezTo>
                    <a:pt x="53" y="26"/>
                    <a:pt x="55" y="24"/>
                    <a:pt x="56" y="23"/>
                  </a:cubicBezTo>
                  <a:cubicBezTo>
                    <a:pt x="57" y="22"/>
                    <a:pt x="58" y="21"/>
                    <a:pt x="61" y="21"/>
                  </a:cubicBezTo>
                  <a:cubicBezTo>
                    <a:pt x="62" y="21"/>
                    <a:pt x="62" y="21"/>
                    <a:pt x="62" y="21"/>
                  </a:cubicBezTo>
                  <a:cubicBezTo>
                    <a:pt x="61" y="17"/>
                    <a:pt x="59" y="11"/>
                    <a:pt x="58" y="8"/>
                  </a:cubicBezTo>
                  <a:cubicBezTo>
                    <a:pt x="58" y="6"/>
                    <a:pt x="57" y="4"/>
                    <a:pt x="57" y="1"/>
                  </a:cubicBezTo>
                  <a:cubicBezTo>
                    <a:pt x="47" y="7"/>
                    <a:pt x="40" y="9"/>
                    <a:pt x="39" y="10"/>
                  </a:cubicBezTo>
                  <a:cubicBezTo>
                    <a:pt x="35" y="10"/>
                    <a:pt x="26" y="17"/>
                    <a:pt x="25" y="17"/>
                  </a:cubicBezTo>
                  <a:cubicBezTo>
                    <a:pt x="25" y="17"/>
                    <a:pt x="25" y="17"/>
                    <a:pt x="25" y="17"/>
                  </a:cubicBezTo>
                  <a:cubicBezTo>
                    <a:pt x="12" y="10"/>
                    <a:pt x="12" y="10"/>
                    <a:pt x="12" y="10"/>
                  </a:cubicBezTo>
                  <a:cubicBezTo>
                    <a:pt x="11" y="7"/>
                    <a:pt x="11" y="7"/>
                    <a:pt x="11" y="7"/>
                  </a:cubicBezTo>
                  <a:cubicBezTo>
                    <a:pt x="10" y="11"/>
                    <a:pt x="10" y="15"/>
                    <a:pt x="9" y="17"/>
                  </a:cubicBezTo>
                  <a:cubicBezTo>
                    <a:pt x="9" y="18"/>
                    <a:pt x="9" y="21"/>
                    <a:pt x="9" y="24"/>
                  </a:cubicBezTo>
                  <a:cubicBezTo>
                    <a:pt x="8" y="31"/>
                    <a:pt x="8" y="39"/>
                    <a:pt x="6" y="41"/>
                  </a:cubicBezTo>
                  <a:cubicBezTo>
                    <a:pt x="5" y="43"/>
                    <a:pt x="3" y="51"/>
                    <a:pt x="1" y="6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8" name="Freeform 55"/>
            <p:cNvSpPr>
              <a:spLocks noEditPoints="1"/>
            </p:cNvSpPr>
            <p:nvPr/>
          </p:nvSpPr>
          <p:spPr>
            <a:xfrm>
              <a:off x="6494464" y="2665413"/>
              <a:ext cx="269875" cy="115888"/>
            </a:xfrm>
            <a:custGeom>
              <a:gdLst>
                <a:gd name="T0" fmla="*/ 44 w 159"/>
                <a:gd name="T1" fmla="*/ 67 h 68"/>
                <a:gd name="T2" fmla="*/ 34 w 159"/>
                <a:gd name="T3" fmla="*/ 65 h 68"/>
                <a:gd name="T4" fmla="*/ 24 w 159"/>
                <a:gd name="T5" fmla="*/ 65 h 68"/>
                <a:gd name="T6" fmla="*/ 8 w 159"/>
                <a:gd name="T7" fmla="*/ 63 h 68"/>
                <a:gd name="T8" fmla="*/ 2 w 159"/>
                <a:gd name="T9" fmla="*/ 58 h 68"/>
                <a:gd name="T10" fmla="*/ 32 w 159"/>
                <a:gd name="T11" fmla="*/ 50 h 68"/>
                <a:gd name="T12" fmla="*/ 41 w 159"/>
                <a:gd name="T13" fmla="*/ 50 h 68"/>
                <a:gd name="T14" fmla="*/ 54 w 159"/>
                <a:gd name="T15" fmla="*/ 44 h 68"/>
                <a:gd name="T16" fmla="*/ 32 w 159"/>
                <a:gd name="T17" fmla="*/ 32 h 68"/>
                <a:gd name="T18" fmla="*/ 20 w 159"/>
                <a:gd name="T19" fmla="*/ 32 h 68"/>
                <a:gd name="T20" fmla="*/ 15 w 159"/>
                <a:gd name="T21" fmla="*/ 27 h 68"/>
                <a:gd name="T22" fmla="*/ 36 w 159"/>
                <a:gd name="T23" fmla="*/ 6 h 68"/>
                <a:gd name="T24" fmla="*/ 73 w 159"/>
                <a:gd name="T25" fmla="*/ 0 h 68"/>
                <a:gd name="T26" fmla="*/ 93 w 159"/>
                <a:gd name="T27" fmla="*/ 6 h 68"/>
                <a:gd name="T28" fmla="*/ 133 w 159"/>
                <a:gd name="T29" fmla="*/ 8 h 68"/>
                <a:gd name="T30" fmla="*/ 152 w 159"/>
                <a:gd name="T31" fmla="*/ 15 h 68"/>
                <a:gd name="T32" fmla="*/ 159 w 159"/>
                <a:gd name="T33" fmla="*/ 17 h 68"/>
                <a:gd name="T34" fmla="*/ 157 w 159"/>
                <a:gd name="T35" fmla="*/ 21 h 68"/>
                <a:gd name="T36" fmla="*/ 134 w 159"/>
                <a:gd name="T37" fmla="*/ 33 h 68"/>
                <a:gd name="T38" fmla="*/ 122 w 159"/>
                <a:gd name="T39" fmla="*/ 40 h 68"/>
                <a:gd name="T40" fmla="*/ 109 w 159"/>
                <a:gd name="T41" fmla="*/ 44 h 68"/>
                <a:gd name="T42" fmla="*/ 98 w 159"/>
                <a:gd name="T43" fmla="*/ 51 h 68"/>
                <a:gd name="T44" fmla="*/ 86 w 159"/>
                <a:gd name="T45" fmla="*/ 48 h 68"/>
                <a:gd name="T46" fmla="*/ 74 w 159"/>
                <a:gd name="T47" fmla="*/ 55 h 68"/>
                <a:gd name="T48" fmla="*/ 66 w 159"/>
                <a:gd name="T49" fmla="*/ 66 h 68"/>
                <a:gd name="T50" fmla="*/ 49 w 159"/>
                <a:gd name="T51" fmla="*/ 68 h 68"/>
                <a:gd name="T52" fmla="*/ 49 w 159"/>
                <a:gd name="T53" fmla="*/ 67 h 68"/>
                <a:gd name="T54" fmla="*/ 71 w 159"/>
                <a:gd name="T55" fmla="*/ 54 h 68"/>
                <a:gd name="T56" fmla="*/ 82 w 159"/>
                <a:gd name="T57" fmla="*/ 49 h 68"/>
                <a:gd name="T58" fmla="*/ 91 w 159"/>
                <a:gd name="T59" fmla="*/ 46 h 68"/>
                <a:gd name="T60" fmla="*/ 100 w 159"/>
                <a:gd name="T61" fmla="*/ 49 h 68"/>
                <a:gd name="T62" fmla="*/ 116 w 159"/>
                <a:gd name="T63" fmla="*/ 39 h 68"/>
                <a:gd name="T64" fmla="*/ 124 w 159"/>
                <a:gd name="T65" fmla="*/ 39 h 68"/>
                <a:gd name="T66" fmla="*/ 144 w 159"/>
                <a:gd name="T67" fmla="*/ 26 h 68"/>
                <a:gd name="T68" fmla="*/ 158 w 159"/>
                <a:gd name="T69" fmla="*/ 17 h 68"/>
                <a:gd name="T70" fmla="*/ 146 w 159"/>
                <a:gd name="T71" fmla="*/ 13 h 68"/>
                <a:gd name="T72" fmla="*/ 103 w 159"/>
                <a:gd name="T73" fmla="*/ 6 h 68"/>
                <a:gd name="T74" fmla="*/ 77 w 159"/>
                <a:gd name="T75" fmla="*/ 2 h 68"/>
                <a:gd name="T76" fmla="*/ 57 w 159"/>
                <a:gd name="T77" fmla="*/ 12 h 68"/>
                <a:gd name="T78" fmla="*/ 29 w 159"/>
                <a:gd name="T79" fmla="*/ 9 h 68"/>
                <a:gd name="T80" fmla="*/ 20 w 159"/>
                <a:gd name="T81" fmla="*/ 31 h 68"/>
                <a:gd name="T82" fmla="*/ 31 w 159"/>
                <a:gd name="T83" fmla="*/ 32 h 68"/>
                <a:gd name="T84" fmla="*/ 55 w 159"/>
                <a:gd name="T85" fmla="*/ 44 h 68"/>
                <a:gd name="T86" fmla="*/ 41 w 159"/>
                <a:gd name="T87" fmla="*/ 51 h 68"/>
                <a:gd name="T88" fmla="*/ 14 w 159"/>
                <a:gd name="T89" fmla="*/ 54 h 68"/>
                <a:gd name="T90" fmla="*/ 1 w 159"/>
                <a:gd name="T91" fmla="*/ 62 h 68"/>
                <a:gd name="T92" fmla="*/ 14 w 159"/>
                <a:gd name="T93" fmla="*/ 62 h 68"/>
                <a:gd name="T94" fmla="*/ 28 w 159"/>
                <a:gd name="T95" fmla="*/ 63 h 68"/>
                <a:gd name="T96" fmla="*/ 40 w 159"/>
                <a:gd name="T97" fmla="*/ 66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9" h="68">
                  <a:moveTo>
                    <a:pt x="49" y="68"/>
                  </a:moveTo>
                  <a:cubicBezTo>
                    <a:pt x="48" y="68"/>
                    <a:pt x="47" y="67"/>
                    <a:pt x="46" y="67"/>
                  </a:cubicBezTo>
                  <a:cubicBezTo>
                    <a:pt x="46" y="67"/>
                    <a:pt x="45" y="67"/>
                    <a:pt x="44" y="67"/>
                  </a:cubicBezTo>
                  <a:cubicBezTo>
                    <a:pt x="44" y="67"/>
                    <a:pt x="43" y="67"/>
                    <a:pt x="42" y="67"/>
                  </a:cubicBezTo>
                  <a:cubicBezTo>
                    <a:pt x="41" y="67"/>
                    <a:pt x="41" y="67"/>
                    <a:pt x="40" y="67"/>
                  </a:cubicBezTo>
                  <a:cubicBezTo>
                    <a:pt x="38" y="67"/>
                    <a:pt x="35" y="67"/>
                    <a:pt x="34" y="65"/>
                  </a:cubicBezTo>
                  <a:cubicBezTo>
                    <a:pt x="33" y="64"/>
                    <a:pt x="33" y="64"/>
                    <a:pt x="32" y="64"/>
                  </a:cubicBezTo>
                  <a:cubicBezTo>
                    <a:pt x="31" y="64"/>
                    <a:pt x="30" y="64"/>
                    <a:pt x="29" y="64"/>
                  </a:cubicBezTo>
                  <a:cubicBezTo>
                    <a:pt x="27" y="65"/>
                    <a:pt x="26" y="65"/>
                    <a:pt x="24" y="65"/>
                  </a:cubicBezTo>
                  <a:cubicBezTo>
                    <a:pt x="23" y="65"/>
                    <a:pt x="22" y="65"/>
                    <a:pt x="21" y="64"/>
                  </a:cubicBezTo>
                  <a:cubicBezTo>
                    <a:pt x="19" y="63"/>
                    <a:pt x="17" y="63"/>
                    <a:pt x="14" y="63"/>
                  </a:cubicBezTo>
                  <a:cubicBezTo>
                    <a:pt x="12" y="63"/>
                    <a:pt x="10" y="63"/>
                    <a:pt x="8" y="63"/>
                  </a:cubicBezTo>
                  <a:cubicBezTo>
                    <a:pt x="6" y="63"/>
                    <a:pt x="5" y="64"/>
                    <a:pt x="3" y="64"/>
                  </a:cubicBezTo>
                  <a:cubicBezTo>
                    <a:pt x="2" y="64"/>
                    <a:pt x="0" y="63"/>
                    <a:pt x="0" y="62"/>
                  </a:cubicBezTo>
                  <a:cubicBezTo>
                    <a:pt x="0" y="61"/>
                    <a:pt x="0" y="60"/>
                    <a:pt x="2" y="58"/>
                  </a:cubicBezTo>
                  <a:cubicBezTo>
                    <a:pt x="4" y="55"/>
                    <a:pt x="8" y="53"/>
                    <a:pt x="11" y="53"/>
                  </a:cubicBezTo>
                  <a:cubicBezTo>
                    <a:pt x="11" y="53"/>
                    <a:pt x="12" y="53"/>
                    <a:pt x="14" y="53"/>
                  </a:cubicBezTo>
                  <a:cubicBezTo>
                    <a:pt x="20" y="53"/>
                    <a:pt x="30" y="52"/>
                    <a:pt x="32" y="50"/>
                  </a:cubicBezTo>
                  <a:cubicBezTo>
                    <a:pt x="32" y="50"/>
                    <a:pt x="33" y="50"/>
                    <a:pt x="34" y="50"/>
                  </a:cubicBezTo>
                  <a:cubicBezTo>
                    <a:pt x="35" y="50"/>
                    <a:pt x="36" y="50"/>
                    <a:pt x="37" y="50"/>
                  </a:cubicBezTo>
                  <a:cubicBezTo>
                    <a:pt x="38" y="50"/>
                    <a:pt x="40" y="50"/>
                    <a:pt x="41" y="50"/>
                  </a:cubicBezTo>
                  <a:cubicBezTo>
                    <a:pt x="43" y="50"/>
                    <a:pt x="44" y="50"/>
                    <a:pt x="45" y="48"/>
                  </a:cubicBezTo>
                  <a:cubicBezTo>
                    <a:pt x="47" y="45"/>
                    <a:pt x="50" y="45"/>
                    <a:pt x="52" y="44"/>
                  </a:cubicBezTo>
                  <a:cubicBezTo>
                    <a:pt x="53" y="44"/>
                    <a:pt x="54" y="44"/>
                    <a:pt x="54" y="44"/>
                  </a:cubicBezTo>
                  <a:cubicBezTo>
                    <a:pt x="54" y="44"/>
                    <a:pt x="54" y="43"/>
                    <a:pt x="52" y="41"/>
                  </a:cubicBezTo>
                  <a:cubicBezTo>
                    <a:pt x="46" y="37"/>
                    <a:pt x="37" y="31"/>
                    <a:pt x="34" y="31"/>
                  </a:cubicBezTo>
                  <a:cubicBezTo>
                    <a:pt x="33" y="31"/>
                    <a:pt x="32" y="32"/>
                    <a:pt x="32" y="32"/>
                  </a:cubicBezTo>
                  <a:cubicBezTo>
                    <a:pt x="32" y="34"/>
                    <a:pt x="29" y="35"/>
                    <a:pt x="26" y="35"/>
                  </a:cubicBezTo>
                  <a:cubicBezTo>
                    <a:pt x="24" y="35"/>
                    <a:pt x="21" y="34"/>
                    <a:pt x="20" y="33"/>
                  </a:cubicBezTo>
                  <a:cubicBezTo>
                    <a:pt x="20" y="32"/>
                    <a:pt x="20" y="32"/>
                    <a:pt x="20" y="32"/>
                  </a:cubicBezTo>
                  <a:cubicBezTo>
                    <a:pt x="18" y="30"/>
                    <a:pt x="17" y="29"/>
                    <a:pt x="15" y="28"/>
                  </a:cubicBezTo>
                  <a:cubicBezTo>
                    <a:pt x="14" y="28"/>
                    <a:pt x="14" y="28"/>
                    <a:pt x="14" y="28"/>
                  </a:cubicBezTo>
                  <a:cubicBezTo>
                    <a:pt x="15" y="27"/>
                    <a:pt x="15" y="27"/>
                    <a:pt x="15" y="27"/>
                  </a:cubicBezTo>
                  <a:cubicBezTo>
                    <a:pt x="17" y="20"/>
                    <a:pt x="19" y="19"/>
                    <a:pt x="19" y="19"/>
                  </a:cubicBezTo>
                  <a:cubicBezTo>
                    <a:pt x="22" y="18"/>
                    <a:pt x="28" y="13"/>
                    <a:pt x="28" y="9"/>
                  </a:cubicBezTo>
                  <a:cubicBezTo>
                    <a:pt x="28" y="7"/>
                    <a:pt x="31" y="6"/>
                    <a:pt x="36" y="6"/>
                  </a:cubicBezTo>
                  <a:cubicBezTo>
                    <a:pt x="40" y="6"/>
                    <a:pt x="45" y="7"/>
                    <a:pt x="48" y="9"/>
                  </a:cubicBezTo>
                  <a:cubicBezTo>
                    <a:pt x="56" y="13"/>
                    <a:pt x="60" y="12"/>
                    <a:pt x="61" y="7"/>
                  </a:cubicBezTo>
                  <a:cubicBezTo>
                    <a:pt x="61" y="2"/>
                    <a:pt x="68" y="0"/>
                    <a:pt x="73" y="0"/>
                  </a:cubicBezTo>
                  <a:cubicBezTo>
                    <a:pt x="74" y="0"/>
                    <a:pt x="76" y="0"/>
                    <a:pt x="76" y="0"/>
                  </a:cubicBezTo>
                  <a:cubicBezTo>
                    <a:pt x="77" y="1"/>
                    <a:pt x="77" y="1"/>
                    <a:pt x="78" y="1"/>
                  </a:cubicBezTo>
                  <a:cubicBezTo>
                    <a:pt x="81" y="3"/>
                    <a:pt x="88" y="6"/>
                    <a:pt x="93" y="6"/>
                  </a:cubicBezTo>
                  <a:cubicBezTo>
                    <a:pt x="94" y="6"/>
                    <a:pt x="95" y="6"/>
                    <a:pt x="95" y="6"/>
                  </a:cubicBezTo>
                  <a:cubicBezTo>
                    <a:pt x="97" y="5"/>
                    <a:pt x="99" y="5"/>
                    <a:pt x="103" y="5"/>
                  </a:cubicBezTo>
                  <a:cubicBezTo>
                    <a:pt x="113" y="5"/>
                    <a:pt x="128" y="7"/>
                    <a:pt x="133" y="8"/>
                  </a:cubicBezTo>
                  <a:cubicBezTo>
                    <a:pt x="135" y="9"/>
                    <a:pt x="137" y="9"/>
                    <a:pt x="139" y="8"/>
                  </a:cubicBezTo>
                  <a:cubicBezTo>
                    <a:pt x="141" y="8"/>
                    <a:pt x="143" y="8"/>
                    <a:pt x="147" y="12"/>
                  </a:cubicBezTo>
                  <a:cubicBezTo>
                    <a:pt x="149" y="15"/>
                    <a:pt x="151" y="15"/>
                    <a:pt x="152" y="15"/>
                  </a:cubicBezTo>
                  <a:cubicBezTo>
                    <a:pt x="154" y="15"/>
                    <a:pt x="154" y="15"/>
                    <a:pt x="154" y="15"/>
                  </a:cubicBezTo>
                  <a:cubicBezTo>
                    <a:pt x="155" y="15"/>
                    <a:pt x="157" y="15"/>
                    <a:pt x="159" y="17"/>
                  </a:cubicBezTo>
                  <a:cubicBezTo>
                    <a:pt x="159" y="17"/>
                    <a:pt x="159" y="17"/>
                    <a:pt x="159" y="17"/>
                  </a:cubicBezTo>
                  <a:cubicBezTo>
                    <a:pt x="159" y="17"/>
                    <a:pt x="159" y="17"/>
                    <a:pt x="159" y="17"/>
                  </a:cubicBezTo>
                  <a:cubicBezTo>
                    <a:pt x="159" y="19"/>
                    <a:pt x="159" y="20"/>
                    <a:pt x="158" y="21"/>
                  </a:cubicBezTo>
                  <a:cubicBezTo>
                    <a:pt x="157" y="21"/>
                    <a:pt x="157" y="21"/>
                    <a:pt x="157" y="21"/>
                  </a:cubicBezTo>
                  <a:cubicBezTo>
                    <a:pt x="154" y="22"/>
                    <a:pt x="148" y="25"/>
                    <a:pt x="145" y="27"/>
                  </a:cubicBezTo>
                  <a:cubicBezTo>
                    <a:pt x="144" y="28"/>
                    <a:pt x="142" y="29"/>
                    <a:pt x="140" y="29"/>
                  </a:cubicBezTo>
                  <a:cubicBezTo>
                    <a:pt x="137" y="30"/>
                    <a:pt x="135" y="31"/>
                    <a:pt x="134" y="33"/>
                  </a:cubicBezTo>
                  <a:cubicBezTo>
                    <a:pt x="132" y="37"/>
                    <a:pt x="130" y="40"/>
                    <a:pt x="124" y="40"/>
                  </a:cubicBezTo>
                  <a:cubicBezTo>
                    <a:pt x="124" y="40"/>
                    <a:pt x="124" y="40"/>
                    <a:pt x="124" y="40"/>
                  </a:cubicBezTo>
                  <a:cubicBezTo>
                    <a:pt x="123" y="40"/>
                    <a:pt x="122" y="40"/>
                    <a:pt x="122" y="40"/>
                  </a:cubicBezTo>
                  <a:cubicBezTo>
                    <a:pt x="121" y="40"/>
                    <a:pt x="121" y="40"/>
                    <a:pt x="120" y="40"/>
                  </a:cubicBezTo>
                  <a:cubicBezTo>
                    <a:pt x="119" y="40"/>
                    <a:pt x="118" y="40"/>
                    <a:pt x="116" y="40"/>
                  </a:cubicBezTo>
                  <a:cubicBezTo>
                    <a:pt x="114" y="40"/>
                    <a:pt x="112" y="40"/>
                    <a:pt x="109" y="44"/>
                  </a:cubicBezTo>
                  <a:cubicBezTo>
                    <a:pt x="106" y="47"/>
                    <a:pt x="105" y="48"/>
                    <a:pt x="103" y="48"/>
                  </a:cubicBezTo>
                  <a:cubicBezTo>
                    <a:pt x="102" y="49"/>
                    <a:pt x="101" y="49"/>
                    <a:pt x="100" y="50"/>
                  </a:cubicBezTo>
                  <a:cubicBezTo>
                    <a:pt x="99" y="50"/>
                    <a:pt x="99" y="51"/>
                    <a:pt x="98" y="51"/>
                  </a:cubicBezTo>
                  <a:cubicBezTo>
                    <a:pt x="96" y="51"/>
                    <a:pt x="94" y="49"/>
                    <a:pt x="93" y="48"/>
                  </a:cubicBezTo>
                  <a:cubicBezTo>
                    <a:pt x="92" y="48"/>
                    <a:pt x="91" y="47"/>
                    <a:pt x="91" y="47"/>
                  </a:cubicBezTo>
                  <a:cubicBezTo>
                    <a:pt x="89" y="46"/>
                    <a:pt x="88" y="47"/>
                    <a:pt x="86" y="48"/>
                  </a:cubicBezTo>
                  <a:cubicBezTo>
                    <a:pt x="85" y="49"/>
                    <a:pt x="83" y="50"/>
                    <a:pt x="82" y="50"/>
                  </a:cubicBezTo>
                  <a:cubicBezTo>
                    <a:pt x="81" y="50"/>
                    <a:pt x="80" y="51"/>
                    <a:pt x="79" y="52"/>
                  </a:cubicBezTo>
                  <a:cubicBezTo>
                    <a:pt x="77" y="53"/>
                    <a:pt x="76" y="54"/>
                    <a:pt x="74" y="55"/>
                  </a:cubicBezTo>
                  <a:cubicBezTo>
                    <a:pt x="73" y="55"/>
                    <a:pt x="72" y="55"/>
                    <a:pt x="72" y="55"/>
                  </a:cubicBezTo>
                  <a:cubicBezTo>
                    <a:pt x="69" y="56"/>
                    <a:pt x="68" y="56"/>
                    <a:pt x="68" y="58"/>
                  </a:cubicBezTo>
                  <a:cubicBezTo>
                    <a:pt x="68" y="60"/>
                    <a:pt x="68" y="63"/>
                    <a:pt x="66" y="66"/>
                  </a:cubicBezTo>
                  <a:cubicBezTo>
                    <a:pt x="66" y="66"/>
                    <a:pt x="66" y="66"/>
                    <a:pt x="66" y="66"/>
                  </a:cubicBezTo>
                  <a:cubicBezTo>
                    <a:pt x="65" y="66"/>
                    <a:pt x="65" y="66"/>
                    <a:pt x="65" y="66"/>
                  </a:cubicBezTo>
                  <a:cubicBezTo>
                    <a:pt x="65" y="66"/>
                    <a:pt x="55" y="68"/>
                    <a:pt x="49" y="68"/>
                  </a:cubicBezTo>
                  <a:close/>
                  <a:moveTo>
                    <a:pt x="44" y="66"/>
                  </a:moveTo>
                  <a:cubicBezTo>
                    <a:pt x="45" y="66"/>
                    <a:pt x="46" y="66"/>
                    <a:pt x="46" y="66"/>
                  </a:cubicBezTo>
                  <a:cubicBezTo>
                    <a:pt x="47" y="66"/>
                    <a:pt x="48" y="67"/>
                    <a:pt x="49" y="67"/>
                  </a:cubicBezTo>
                  <a:cubicBezTo>
                    <a:pt x="54" y="67"/>
                    <a:pt x="64" y="65"/>
                    <a:pt x="65" y="65"/>
                  </a:cubicBezTo>
                  <a:cubicBezTo>
                    <a:pt x="67" y="63"/>
                    <a:pt x="67" y="60"/>
                    <a:pt x="67" y="58"/>
                  </a:cubicBezTo>
                  <a:cubicBezTo>
                    <a:pt x="67" y="55"/>
                    <a:pt x="69" y="55"/>
                    <a:pt x="71" y="54"/>
                  </a:cubicBezTo>
                  <a:cubicBezTo>
                    <a:pt x="72" y="54"/>
                    <a:pt x="73" y="54"/>
                    <a:pt x="74" y="54"/>
                  </a:cubicBezTo>
                  <a:cubicBezTo>
                    <a:pt x="75" y="54"/>
                    <a:pt x="77" y="52"/>
                    <a:pt x="78" y="51"/>
                  </a:cubicBezTo>
                  <a:cubicBezTo>
                    <a:pt x="79" y="50"/>
                    <a:pt x="81" y="49"/>
                    <a:pt x="82" y="49"/>
                  </a:cubicBezTo>
                  <a:cubicBezTo>
                    <a:pt x="83" y="49"/>
                    <a:pt x="84" y="48"/>
                    <a:pt x="86" y="47"/>
                  </a:cubicBezTo>
                  <a:cubicBezTo>
                    <a:pt x="87" y="47"/>
                    <a:pt x="89" y="46"/>
                    <a:pt x="90" y="46"/>
                  </a:cubicBezTo>
                  <a:cubicBezTo>
                    <a:pt x="91" y="46"/>
                    <a:pt x="91" y="46"/>
                    <a:pt x="91" y="46"/>
                  </a:cubicBezTo>
                  <a:cubicBezTo>
                    <a:pt x="92" y="46"/>
                    <a:pt x="93" y="47"/>
                    <a:pt x="94" y="48"/>
                  </a:cubicBezTo>
                  <a:cubicBezTo>
                    <a:pt x="95" y="49"/>
                    <a:pt x="96" y="50"/>
                    <a:pt x="98" y="50"/>
                  </a:cubicBezTo>
                  <a:cubicBezTo>
                    <a:pt x="98" y="50"/>
                    <a:pt x="99" y="49"/>
                    <a:pt x="100" y="49"/>
                  </a:cubicBezTo>
                  <a:cubicBezTo>
                    <a:pt x="101" y="48"/>
                    <a:pt x="102" y="48"/>
                    <a:pt x="103" y="47"/>
                  </a:cubicBezTo>
                  <a:cubicBezTo>
                    <a:pt x="104" y="47"/>
                    <a:pt x="106" y="46"/>
                    <a:pt x="108" y="43"/>
                  </a:cubicBezTo>
                  <a:cubicBezTo>
                    <a:pt x="111" y="39"/>
                    <a:pt x="114" y="39"/>
                    <a:pt x="116" y="39"/>
                  </a:cubicBezTo>
                  <a:cubicBezTo>
                    <a:pt x="118" y="39"/>
                    <a:pt x="119" y="39"/>
                    <a:pt x="120" y="39"/>
                  </a:cubicBezTo>
                  <a:cubicBezTo>
                    <a:pt x="121" y="39"/>
                    <a:pt x="121" y="39"/>
                    <a:pt x="122" y="39"/>
                  </a:cubicBezTo>
                  <a:cubicBezTo>
                    <a:pt x="123" y="39"/>
                    <a:pt x="123" y="39"/>
                    <a:pt x="124" y="39"/>
                  </a:cubicBezTo>
                  <a:cubicBezTo>
                    <a:pt x="129" y="39"/>
                    <a:pt x="131" y="36"/>
                    <a:pt x="133" y="33"/>
                  </a:cubicBezTo>
                  <a:cubicBezTo>
                    <a:pt x="134" y="30"/>
                    <a:pt x="137" y="29"/>
                    <a:pt x="140" y="29"/>
                  </a:cubicBezTo>
                  <a:cubicBezTo>
                    <a:pt x="141" y="28"/>
                    <a:pt x="143" y="27"/>
                    <a:pt x="144" y="26"/>
                  </a:cubicBezTo>
                  <a:cubicBezTo>
                    <a:pt x="148" y="24"/>
                    <a:pt x="154" y="21"/>
                    <a:pt x="157" y="20"/>
                  </a:cubicBezTo>
                  <a:cubicBezTo>
                    <a:pt x="157" y="20"/>
                    <a:pt x="157" y="20"/>
                    <a:pt x="157" y="20"/>
                  </a:cubicBezTo>
                  <a:cubicBezTo>
                    <a:pt x="158" y="20"/>
                    <a:pt x="158" y="19"/>
                    <a:pt x="158" y="17"/>
                  </a:cubicBezTo>
                  <a:cubicBezTo>
                    <a:pt x="156" y="16"/>
                    <a:pt x="155" y="16"/>
                    <a:pt x="154" y="16"/>
                  </a:cubicBezTo>
                  <a:cubicBezTo>
                    <a:pt x="152" y="16"/>
                    <a:pt x="152" y="16"/>
                    <a:pt x="152" y="16"/>
                  </a:cubicBezTo>
                  <a:cubicBezTo>
                    <a:pt x="151" y="16"/>
                    <a:pt x="149" y="16"/>
                    <a:pt x="146" y="13"/>
                  </a:cubicBezTo>
                  <a:cubicBezTo>
                    <a:pt x="143" y="9"/>
                    <a:pt x="141" y="9"/>
                    <a:pt x="139" y="9"/>
                  </a:cubicBezTo>
                  <a:cubicBezTo>
                    <a:pt x="137" y="10"/>
                    <a:pt x="135" y="10"/>
                    <a:pt x="133" y="9"/>
                  </a:cubicBezTo>
                  <a:cubicBezTo>
                    <a:pt x="128" y="8"/>
                    <a:pt x="113" y="6"/>
                    <a:pt x="103" y="6"/>
                  </a:cubicBezTo>
                  <a:cubicBezTo>
                    <a:pt x="99" y="6"/>
                    <a:pt x="97" y="7"/>
                    <a:pt x="96" y="7"/>
                  </a:cubicBezTo>
                  <a:cubicBezTo>
                    <a:pt x="95" y="7"/>
                    <a:pt x="94" y="7"/>
                    <a:pt x="93" y="7"/>
                  </a:cubicBezTo>
                  <a:cubicBezTo>
                    <a:pt x="88" y="7"/>
                    <a:pt x="81" y="4"/>
                    <a:pt x="77" y="2"/>
                  </a:cubicBezTo>
                  <a:cubicBezTo>
                    <a:pt x="76" y="1"/>
                    <a:pt x="76" y="1"/>
                    <a:pt x="76" y="1"/>
                  </a:cubicBezTo>
                  <a:cubicBezTo>
                    <a:pt x="73" y="0"/>
                    <a:pt x="62" y="1"/>
                    <a:pt x="62" y="7"/>
                  </a:cubicBezTo>
                  <a:cubicBezTo>
                    <a:pt x="61" y="10"/>
                    <a:pt x="60" y="12"/>
                    <a:pt x="57" y="12"/>
                  </a:cubicBezTo>
                  <a:cubicBezTo>
                    <a:pt x="55" y="12"/>
                    <a:pt x="52" y="11"/>
                    <a:pt x="48" y="9"/>
                  </a:cubicBezTo>
                  <a:cubicBezTo>
                    <a:pt x="45" y="8"/>
                    <a:pt x="40" y="7"/>
                    <a:pt x="36" y="7"/>
                  </a:cubicBezTo>
                  <a:cubicBezTo>
                    <a:pt x="32" y="7"/>
                    <a:pt x="29" y="8"/>
                    <a:pt x="29" y="9"/>
                  </a:cubicBezTo>
                  <a:cubicBezTo>
                    <a:pt x="29" y="14"/>
                    <a:pt x="23" y="18"/>
                    <a:pt x="20" y="20"/>
                  </a:cubicBezTo>
                  <a:cubicBezTo>
                    <a:pt x="19" y="20"/>
                    <a:pt x="18" y="21"/>
                    <a:pt x="16" y="27"/>
                  </a:cubicBezTo>
                  <a:cubicBezTo>
                    <a:pt x="18" y="28"/>
                    <a:pt x="19" y="30"/>
                    <a:pt x="20" y="31"/>
                  </a:cubicBezTo>
                  <a:cubicBezTo>
                    <a:pt x="21" y="32"/>
                    <a:pt x="21" y="32"/>
                    <a:pt x="21" y="32"/>
                  </a:cubicBezTo>
                  <a:cubicBezTo>
                    <a:pt x="22" y="33"/>
                    <a:pt x="24" y="34"/>
                    <a:pt x="26" y="34"/>
                  </a:cubicBezTo>
                  <a:cubicBezTo>
                    <a:pt x="29" y="34"/>
                    <a:pt x="31" y="33"/>
                    <a:pt x="31" y="32"/>
                  </a:cubicBezTo>
                  <a:cubicBezTo>
                    <a:pt x="32" y="31"/>
                    <a:pt x="32" y="30"/>
                    <a:pt x="34" y="30"/>
                  </a:cubicBezTo>
                  <a:cubicBezTo>
                    <a:pt x="38" y="30"/>
                    <a:pt x="47" y="36"/>
                    <a:pt x="52" y="40"/>
                  </a:cubicBezTo>
                  <a:cubicBezTo>
                    <a:pt x="54" y="42"/>
                    <a:pt x="55" y="43"/>
                    <a:pt x="55" y="44"/>
                  </a:cubicBezTo>
                  <a:cubicBezTo>
                    <a:pt x="55" y="45"/>
                    <a:pt x="54" y="45"/>
                    <a:pt x="52" y="45"/>
                  </a:cubicBezTo>
                  <a:cubicBezTo>
                    <a:pt x="50" y="46"/>
                    <a:pt x="47" y="46"/>
                    <a:pt x="46" y="49"/>
                  </a:cubicBezTo>
                  <a:cubicBezTo>
                    <a:pt x="45" y="51"/>
                    <a:pt x="43" y="51"/>
                    <a:pt x="41" y="51"/>
                  </a:cubicBezTo>
                  <a:cubicBezTo>
                    <a:pt x="40" y="51"/>
                    <a:pt x="38" y="51"/>
                    <a:pt x="37" y="51"/>
                  </a:cubicBezTo>
                  <a:cubicBezTo>
                    <a:pt x="35" y="51"/>
                    <a:pt x="33" y="50"/>
                    <a:pt x="32" y="51"/>
                  </a:cubicBezTo>
                  <a:cubicBezTo>
                    <a:pt x="30" y="53"/>
                    <a:pt x="19" y="54"/>
                    <a:pt x="14" y="54"/>
                  </a:cubicBezTo>
                  <a:cubicBezTo>
                    <a:pt x="12" y="54"/>
                    <a:pt x="11" y="54"/>
                    <a:pt x="11" y="54"/>
                  </a:cubicBezTo>
                  <a:cubicBezTo>
                    <a:pt x="8" y="54"/>
                    <a:pt x="4" y="56"/>
                    <a:pt x="2" y="59"/>
                  </a:cubicBezTo>
                  <a:cubicBezTo>
                    <a:pt x="1" y="60"/>
                    <a:pt x="1" y="61"/>
                    <a:pt x="1" y="62"/>
                  </a:cubicBezTo>
                  <a:cubicBezTo>
                    <a:pt x="1" y="62"/>
                    <a:pt x="1" y="63"/>
                    <a:pt x="3" y="63"/>
                  </a:cubicBezTo>
                  <a:cubicBezTo>
                    <a:pt x="5" y="63"/>
                    <a:pt x="6" y="62"/>
                    <a:pt x="8" y="62"/>
                  </a:cubicBezTo>
                  <a:cubicBezTo>
                    <a:pt x="10" y="62"/>
                    <a:pt x="12" y="62"/>
                    <a:pt x="14" y="62"/>
                  </a:cubicBezTo>
                  <a:cubicBezTo>
                    <a:pt x="18" y="62"/>
                    <a:pt x="20" y="62"/>
                    <a:pt x="21" y="63"/>
                  </a:cubicBezTo>
                  <a:cubicBezTo>
                    <a:pt x="22" y="64"/>
                    <a:pt x="23" y="64"/>
                    <a:pt x="24" y="64"/>
                  </a:cubicBezTo>
                  <a:cubicBezTo>
                    <a:pt x="26" y="64"/>
                    <a:pt x="27" y="64"/>
                    <a:pt x="28" y="63"/>
                  </a:cubicBezTo>
                  <a:cubicBezTo>
                    <a:pt x="30" y="63"/>
                    <a:pt x="31" y="63"/>
                    <a:pt x="32" y="63"/>
                  </a:cubicBezTo>
                  <a:cubicBezTo>
                    <a:pt x="33" y="63"/>
                    <a:pt x="34" y="63"/>
                    <a:pt x="35" y="64"/>
                  </a:cubicBezTo>
                  <a:cubicBezTo>
                    <a:pt x="36" y="66"/>
                    <a:pt x="37" y="66"/>
                    <a:pt x="40" y="66"/>
                  </a:cubicBezTo>
                  <a:cubicBezTo>
                    <a:pt x="40" y="66"/>
                    <a:pt x="41" y="66"/>
                    <a:pt x="42" y="66"/>
                  </a:cubicBezTo>
                  <a:cubicBezTo>
                    <a:pt x="43" y="66"/>
                    <a:pt x="44" y="66"/>
                    <a:pt x="44" y="6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29" name="Freeform 56"/>
            <p:cNvSpPr>
              <a:spLocks noEditPoints="1"/>
            </p:cNvSpPr>
            <p:nvPr/>
          </p:nvSpPr>
          <p:spPr>
            <a:xfrm>
              <a:off x="5753101" y="2647950"/>
              <a:ext cx="171450" cy="77788"/>
            </a:xfrm>
            <a:custGeom>
              <a:gdLst>
                <a:gd name="T0" fmla="*/ 88 w 101"/>
                <a:gd name="T1" fmla="*/ 44 h 46"/>
                <a:gd name="T2" fmla="*/ 79 w 101"/>
                <a:gd name="T3" fmla="*/ 41 h 46"/>
                <a:gd name="T4" fmla="*/ 81 w 101"/>
                <a:gd name="T5" fmla="*/ 44 h 46"/>
                <a:gd name="T6" fmla="*/ 67 w 101"/>
                <a:gd name="T7" fmla="*/ 43 h 46"/>
                <a:gd name="T8" fmla="*/ 52 w 101"/>
                <a:gd name="T9" fmla="*/ 46 h 46"/>
                <a:gd name="T10" fmla="*/ 51 w 101"/>
                <a:gd name="T11" fmla="*/ 45 h 46"/>
                <a:gd name="T12" fmla="*/ 49 w 101"/>
                <a:gd name="T13" fmla="*/ 41 h 46"/>
                <a:gd name="T14" fmla="*/ 41 w 101"/>
                <a:gd name="T15" fmla="*/ 37 h 46"/>
                <a:gd name="T16" fmla="*/ 34 w 101"/>
                <a:gd name="T17" fmla="*/ 38 h 46"/>
                <a:gd name="T18" fmla="*/ 25 w 101"/>
                <a:gd name="T19" fmla="*/ 37 h 46"/>
                <a:gd name="T20" fmla="*/ 29 w 101"/>
                <a:gd name="T21" fmla="*/ 32 h 46"/>
                <a:gd name="T22" fmla="*/ 23 w 101"/>
                <a:gd name="T23" fmla="*/ 17 h 46"/>
                <a:gd name="T24" fmla="*/ 1 w 101"/>
                <a:gd name="T25" fmla="*/ 5 h 46"/>
                <a:gd name="T26" fmla="*/ 1 w 101"/>
                <a:gd name="T27" fmla="*/ 4 h 46"/>
                <a:gd name="T28" fmla="*/ 24 w 101"/>
                <a:gd name="T29" fmla="*/ 6 h 46"/>
                <a:gd name="T30" fmla="*/ 37 w 101"/>
                <a:gd name="T31" fmla="*/ 7 h 46"/>
                <a:gd name="T32" fmla="*/ 47 w 101"/>
                <a:gd name="T33" fmla="*/ 8 h 46"/>
                <a:gd name="T34" fmla="*/ 60 w 101"/>
                <a:gd name="T35" fmla="*/ 17 h 46"/>
                <a:gd name="T36" fmla="*/ 64 w 101"/>
                <a:gd name="T37" fmla="*/ 19 h 46"/>
                <a:gd name="T38" fmla="*/ 82 w 101"/>
                <a:gd name="T39" fmla="*/ 18 h 46"/>
                <a:gd name="T40" fmla="*/ 88 w 101"/>
                <a:gd name="T41" fmla="*/ 24 h 46"/>
                <a:gd name="T42" fmla="*/ 89 w 101"/>
                <a:gd name="T43" fmla="*/ 28 h 46"/>
                <a:gd name="T44" fmla="*/ 98 w 101"/>
                <a:gd name="T45" fmla="*/ 32 h 46"/>
                <a:gd name="T46" fmla="*/ 98 w 101"/>
                <a:gd name="T47" fmla="*/ 33 h 46"/>
                <a:gd name="T48" fmla="*/ 98 w 101"/>
                <a:gd name="T49" fmla="*/ 40 h 46"/>
                <a:gd name="T50" fmla="*/ 100 w 101"/>
                <a:gd name="T51" fmla="*/ 45 h 46"/>
                <a:gd name="T52" fmla="*/ 81 w 101"/>
                <a:gd name="T53" fmla="*/ 39 h 46"/>
                <a:gd name="T54" fmla="*/ 96 w 101"/>
                <a:gd name="T55" fmla="*/ 45 h 46"/>
                <a:gd name="T56" fmla="*/ 100 w 101"/>
                <a:gd name="T57" fmla="*/ 43 h 46"/>
                <a:gd name="T58" fmla="*/ 95 w 101"/>
                <a:gd name="T59" fmla="*/ 38 h 46"/>
                <a:gd name="T60" fmla="*/ 94 w 101"/>
                <a:gd name="T61" fmla="*/ 31 h 46"/>
                <a:gd name="T62" fmla="*/ 89 w 101"/>
                <a:gd name="T63" fmla="*/ 29 h 46"/>
                <a:gd name="T64" fmla="*/ 87 w 101"/>
                <a:gd name="T65" fmla="*/ 24 h 46"/>
                <a:gd name="T66" fmla="*/ 82 w 101"/>
                <a:gd name="T67" fmla="*/ 18 h 46"/>
                <a:gd name="T68" fmla="*/ 65 w 101"/>
                <a:gd name="T69" fmla="*/ 19 h 46"/>
                <a:gd name="T70" fmla="*/ 60 w 101"/>
                <a:gd name="T71" fmla="*/ 17 h 46"/>
                <a:gd name="T72" fmla="*/ 46 w 101"/>
                <a:gd name="T73" fmla="*/ 9 h 46"/>
                <a:gd name="T74" fmla="*/ 37 w 101"/>
                <a:gd name="T75" fmla="*/ 8 h 46"/>
                <a:gd name="T76" fmla="*/ 24 w 101"/>
                <a:gd name="T77" fmla="*/ 7 h 46"/>
                <a:gd name="T78" fmla="*/ 7 w 101"/>
                <a:gd name="T79" fmla="*/ 2 h 46"/>
                <a:gd name="T80" fmla="*/ 11 w 101"/>
                <a:gd name="T81" fmla="*/ 7 h 46"/>
                <a:gd name="T82" fmla="*/ 28 w 101"/>
                <a:gd name="T83" fmla="*/ 24 h 46"/>
                <a:gd name="T84" fmla="*/ 27 w 101"/>
                <a:gd name="T85" fmla="*/ 36 h 46"/>
                <a:gd name="T86" fmla="*/ 34 w 101"/>
                <a:gd name="T87" fmla="*/ 37 h 46"/>
                <a:gd name="T88" fmla="*/ 43 w 101"/>
                <a:gd name="T89" fmla="*/ 35 h 46"/>
                <a:gd name="T90" fmla="*/ 52 w 101"/>
                <a:gd name="T91" fmla="*/ 44 h 46"/>
                <a:gd name="T92" fmla="*/ 59 w 101"/>
                <a:gd name="T93" fmla="*/ 43 h 46"/>
                <a:gd name="T94" fmla="*/ 79 w 101"/>
                <a:gd name="T95" fmla="*/ 43 h 46"/>
                <a:gd name="T96" fmla="*/ 81 w 101"/>
                <a:gd name="T97" fmla="*/ 39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46">
                  <a:moveTo>
                    <a:pt x="96" y="46"/>
                  </a:moveTo>
                  <a:cubicBezTo>
                    <a:pt x="93" y="46"/>
                    <a:pt x="90" y="45"/>
                    <a:pt x="88" y="44"/>
                  </a:cubicBezTo>
                  <a:cubicBezTo>
                    <a:pt x="87" y="42"/>
                    <a:pt x="83" y="40"/>
                    <a:pt x="81" y="40"/>
                  </a:cubicBezTo>
                  <a:cubicBezTo>
                    <a:pt x="80" y="40"/>
                    <a:pt x="79" y="41"/>
                    <a:pt x="79" y="41"/>
                  </a:cubicBezTo>
                  <a:cubicBezTo>
                    <a:pt x="79" y="41"/>
                    <a:pt x="79" y="43"/>
                    <a:pt x="80" y="43"/>
                  </a:cubicBezTo>
                  <a:cubicBezTo>
                    <a:pt x="81" y="44"/>
                    <a:pt x="81" y="44"/>
                    <a:pt x="81" y="44"/>
                  </a:cubicBezTo>
                  <a:cubicBezTo>
                    <a:pt x="79" y="44"/>
                    <a:pt x="79" y="44"/>
                    <a:pt x="79" y="44"/>
                  </a:cubicBezTo>
                  <a:cubicBezTo>
                    <a:pt x="74" y="43"/>
                    <a:pt x="70" y="43"/>
                    <a:pt x="67" y="43"/>
                  </a:cubicBezTo>
                  <a:cubicBezTo>
                    <a:pt x="64" y="43"/>
                    <a:pt x="61" y="44"/>
                    <a:pt x="59" y="44"/>
                  </a:cubicBezTo>
                  <a:cubicBezTo>
                    <a:pt x="57" y="45"/>
                    <a:pt x="54" y="45"/>
                    <a:pt x="52" y="46"/>
                  </a:cubicBezTo>
                  <a:cubicBezTo>
                    <a:pt x="52" y="46"/>
                    <a:pt x="52" y="46"/>
                    <a:pt x="52" y="46"/>
                  </a:cubicBezTo>
                  <a:cubicBezTo>
                    <a:pt x="51" y="45"/>
                    <a:pt x="51" y="45"/>
                    <a:pt x="51" y="45"/>
                  </a:cubicBezTo>
                  <a:cubicBezTo>
                    <a:pt x="51" y="45"/>
                    <a:pt x="51" y="45"/>
                    <a:pt x="51" y="45"/>
                  </a:cubicBezTo>
                  <a:cubicBezTo>
                    <a:pt x="50" y="44"/>
                    <a:pt x="49" y="42"/>
                    <a:pt x="49" y="41"/>
                  </a:cubicBezTo>
                  <a:cubicBezTo>
                    <a:pt x="47" y="39"/>
                    <a:pt x="45" y="36"/>
                    <a:pt x="43" y="36"/>
                  </a:cubicBezTo>
                  <a:cubicBezTo>
                    <a:pt x="42" y="36"/>
                    <a:pt x="42" y="36"/>
                    <a:pt x="41" y="37"/>
                  </a:cubicBezTo>
                  <a:cubicBezTo>
                    <a:pt x="40" y="37"/>
                    <a:pt x="37" y="38"/>
                    <a:pt x="34" y="38"/>
                  </a:cubicBezTo>
                  <a:cubicBezTo>
                    <a:pt x="34" y="38"/>
                    <a:pt x="34" y="38"/>
                    <a:pt x="34" y="38"/>
                  </a:cubicBezTo>
                  <a:cubicBezTo>
                    <a:pt x="31" y="38"/>
                    <a:pt x="29" y="37"/>
                    <a:pt x="26" y="37"/>
                  </a:cubicBezTo>
                  <a:cubicBezTo>
                    <a:pt x="25" y="37"/>
                    <a:pt x="25" y="37"/>
                    <a:pt x="25" y="37"/>
                  </a:cubicBezTo>
                  <a:cubicBezTo>
                    <a:pt x="25" y="36"/>
                    <a:pt x="25" y="36"/>
                    <a:pt x="25" y="36"/>
                  </a:cubicBezTo>
                  <a:cubicBezTo>
                    <a:pt x="27" y="35"/>
                    <a:pt x="28" y="33"/>
                    <a:pt x="29" y="32"/>
                  </a:cubicBezTo>
                  <a:cubicBezTo>
                    <a:pt x="30" y="27"/>
                    <a:pt x="29" y="26"/>
                    <a:pt x="27" y="25"/>
                  </a:cubicBezTo>
                  <a:cubicBezTo>
                    <a:pt x="26" y="24"/>
                    <a:pt x="24" y="22"/>
                    <a:pt x="23" y="17"/>
                  </a:cubicBezTo>
                  <a:cubicBezTo>
                    <a:pt x="22" y="11"/>
                    <a:pt x="17" y="10"/>
                    <a:pt x="11" y="8"/>
                  </a:cubicBezTo>
                  <a:cubicBezTo>
                    <a:pt x="7" y="7"/>
                    <a:pt x="4" y="6"/>
                    <a:pt x="1" y="5"/>
                  </a:cubicBezTo>
                  <a:cubicBezTo>
                    <a:pt x="0" y="4"/>
                    <a:pt x="0" y="4"/>
                    <a:pt x="0" y="4"/>
                  </a:cubicBezTo>
                  <a:cubicBezTo>
                    <a:pt x="1" y="4"/>
                    <a:pt x="1" y="4"/>
                    <a:pt x="1" y="4"/>
                  </a:cubicBezTo>
                  <a:cubicBezTo>
                    <a:pt x="3" y="2"/>
                    <a:pt x="5" y="1"/>
                    <a:pt x="6" y="1"/>
                  </a:cubicBezTo>
                  <a:cubicBezTo>
                    <a:pt x="11" y="0"/>
                    <a:pt x="20" y="3"/>
                    <a:pt x="24" y="6"/>
                  </a:cubicBezTo>
                  <a:cubicBezTo>
                    <a:pt x="25" y="7"/>
                    <a:pt x="28" y="8"/>
                    <a:pt x="31" y="8"/>
                  </a:cubicBezTo>
                  <a:cubicBezTo>
                    <a:pt x="33" y="8"/>
                    <a:pt x="35" y="8"/>
                    <a:pt x="37" y="7"/>
                  </a:cubicBezTo>
                  <a:cubicBezTo>
                    <a:pt x="39" y="7"/>
                    <a:pt x="41" y="7"/>
                    <a:pt x="42" y="7"/>
                  </a:cubicBezTo>
                  <a:cubicBezTo>
                    <a:pt x="45" y="7"/>
                    <a:pt x="46" y="8"/>
                    <a:pt x="47" y="8"/>
                  </a:cubicBezTo>
                  <a:cubicBezTo>
                    <a:pt x="49" y="11"/>
                    <a:pt x="53" y="14"/>
                    <a:pt x="56" y="14"/>
                  </a:cubicBezTo>
                  <a:cubicBezTo>
                    <a:pt x="57" y="14"/>
                    <a:pt x="59" y="15"/>
                    <a:pt x="60" y="17"/>
                  </a:cubicBezTo>
                  <a:cubicBezTo>
                    <a:pt x="61" y="18"/>
                    <a:pt x="63" y="19"/>
                    <a:pt x="64" y="19"/>
                  </a:cubicBezTo>
                  <a:cubicBezTo>
                    <a:pt x="64" y="19"/>
                    <a:pt x="64" y="19"/>
                    <a:pt x="64" y="19"/>
                  </a:cubicBezTo>
                  <a:cubicBezTo>
                    <a:pt x="66" y="17"/>
                    <a:pt x="71" y="17"/>
                    <a:pt x="79" y="17"/>
                  </a:cubicBezTo>
                  <a:cubicBezTo>
                    <a:pt x="81" y="17"/>
                    <a:pt x="82" y="17"/>
                    <a:pt x="82" y="18"/>
                  </a:cubicBezTo>
                  <a:cubicBezTo>
                    <a:pt x="83" y="18"/>
                    <a:pt x="83" y="19"/>
                    <a:pt x="85" y="19"/>
                  </a:cubicBezTo>
                  <a:cubicBezTo>
                    <a:pt x="86" y="19"/>
                    <a:pt x="87" y="21"/>
                    <a:pt x="88" y="24"/>
                  </a:cubicBezTo>
                  <a:cubicBezTo>
                    <a:pt x="88" y="25"/>
                    <a:pt x="89" y="28"/>
                    <a:pt x="89" y="28"/>
                  </a:cubicBezTo>
                  <a:cubicBezTo>
                    <a:pt x="89" y="28"/>
                    <a:pt x="89" y="28"/>
                    <a:pt x="89" y="28"/>
                  </a:cubicBezTo>
                  <a:cubicBezTo>
                    <a:pt x="91" y="28"/>
                    <a:pt x="93" y="29"/>
                    <a:pt x="95" y="30"/>
                  </a:cubicBezTo>
                  <a:cubicBezTo>
                    <a:pt x="96" y="31"/>
                    <a:pt x="97" y="32"/>
                    <a:pt x="98" y="32"/>
                  </a:cubicBezTo>
                  <a:cubicBezTo>
                    <a:pt x="99" y="33"/>
                    <a:pt x="99" y="33"/>
                    <a:pt x="99" y="33"/>
                  </a:cubicBezTo>
                  <a:cubicBezTo>
                    <a:pt x="98" y="33"/>
                    <a:pt x="98" y="33"/>
                    <a:pt x="98" y="33"/>
                  </a:cubicBezTo>
                  <a:cubicBezTo>
                    <a:pt x="95" y="36"/>
                    <a:pt x="95" y="37"/>
                    <a:pt x="96" y="38"/>
                  </a:cubicBezTo>
                  <a:cubicBezTo>
                    <a:pt x="96" y="38"/>
                    <a:pt x="97" y="39"/>
                    <a:pt x="98" y="40"/>
                  </a:cubicBezTo>
                  <a:cubicBezTo>
                    <a:pt x="99" y="41"/>
                    <a:pt x="101" y="42"/>
                    <a:pt x="101" y="43"/>
                  </a:cubicBezTo>
                  <a:cubicBezTo>
                    <a:pt x="101" y="44"/>
                    <a:pt x="101" y="44"/>
                    <a:pt x="100" y="45"/>
                  </a:cubicBezTo>
                  <a:cubicBezTo>
                    <a:pt x="99" y="46"/>
                    <a:pt x="98" y="46"/>
                    <a:pt x="96" y="46"/>
                  </a:cubicBezTo>
                  <a:close/>
                  <a:moveTo>
                    <a:pt x="81" y="39"/>
                  </a:moveTo>
                  <a:cubicBezTo>
                    <a:pt x="83" y="39"/>
                    <a:pt x="87" y="42"/>
                    <a:pt x="89" y="43"/>
                  </a:cubicBezTo>
                  <a:cubicBezTo>
                    <a:pt x="90" y="44"/>
                    <a:pt x="93" y="45"/>
                    <a:pt x="96" y="45"/>
                  </a:cubicBezTo>
                  <a:cubicBezTo>
                    <a:pt x="97" y="45"/>
                    <a:pt x="99" y="45"/>
                    <a:pt x="100" y="44"/>
                  </a:cubicBezTo>
                  <a:cubicBezTo>
                    <a:pt x="100" y="43"/>
                    <a:pt x="100" y="43"/>
                    <a:pt x="100" y="43"/>
                  </a:cubicBezTo>
                  <a:cubicBezTo>
                    <a:pt x="100" y="43"/>
                    <a:pt x="98" y="42"/>
                    <a:pt x="97" y="41"/>
                  </a:cubicBezTo>
                  <a:cubicBezTo>
                    <a:pt x="96" y="40"/>
                    <a:pt x="95" y="39"/>
                    <a:pt x="95" y="38"/>
                  </a:cubicBezTo>
                  <a:cubicBezTo>
                    <a:pt x="94" y="37"/>
                    <a:pt x="95" y="35"/>
                    <a:pt x="97" y="33"/>
                  </a:cubicBezTo>
                  <a:cubicBezTo>
                    <a:pt x="96" y="32"/>
                    <a:pt x="95" y="32"/>
                    <a:pt x="94" y="31"/>
                  </a:cubicBezTo>
                  <a:cubicBezTo>
                    <a:pt x="92" y="30"/>
                    <a:pt x="90" y="29"/>
                    <a:pt x="89" y="29"/>
                  </a:cubicBezTo>
                  <a:cubicBezTo>
                    <a:pt x="89" y="29"/>
                    <a:pt x="89" y="29"/>
                    <a:pt x="89" y="29"/>
                  </a:cubicBezTo>
                  <a:cubicBezTo>
                    <a:pt x="89" y="29"/>
                    <a:pt x="89" y="29"/>
                    <a:pt x="89" y="29"/>
                  </a:cubicBezTo>
                  <a:cubicBezTo>
                    <a:pt x="88" y="29"/>
                    <a:pt x="87" y="27"/>
                    <a:pt x="87" y="24"/>
                  </a:cubicBezTo>
                  <a:cubicBezTo>
                    <a:pt x="86" y="22"/>
                    <a:pt x="86" y="20"/>
                    <a:pt x="85" y="20"/>
                  </a:cubicBezTo>
                  <a:cubicBezTo>
                    <a:pt x="83" y="20"/>
                    <a:pt x="82" y="19"/>
                    <a:pt x="82" y="18"/>
                  </a:cubicBezTo>
                  <a:cubicBezTo>
                    <a:pt x="81" y="18"/>
                    <a:pt x="81" y="18"/>
                    <a:pt x="79" y="18"/>
                  </a:cubicBezTo>
                  <a:cubicBezTo>
                    <a:pt x="69" y="18"/>
                    <a:pt x="66" y="19"/>
                    <a:pt x="65" y="19"/>
                  </a:cubicBezTo>
                  <a:cubicBezTo>
                    <a:pt x="64" y="20"/>
                    <a:pt x="64" y="20"/>
                    <a:pt x="64" y="20"/>
                  </a:cubicBezTo>
                  <a:cubicBezTo>
                    <a:pt x="62" y="20"/>
                    <a:pt x="61" y="19"/>
                    <a:pt x="60" y="17"/>
                  </a:cubicBezTo>
                  <a:cubicBezTo>
                    <a:pt x="58" y="16"/>
                    <a:pt x="57" y="15"/>
                    <a:pt x="56" y="15"/>
                  </a:cubicBezTo>
                  <a:cubicBezTo>
                    <a:pt x="52" y="15"/>
                    <a:pt x="48" y="11"/>
                    <a:pt x="46" y="9"/>
                  </a:cubicBezTo>
                  <a:cubicBezTo>
                    <a:pt x="46" y="8"/>
                    <a:pt x="44" y="8"/>
                    <a:pt x="42" y="8"/>
                  </a:cubicBezTo>
                  <a:cubicBezTo>
                    <a:pt x="41" y="8"/>
                    <a:pt x="39" y="8"/>
                    <a:pt x="37" y="8"/>
                  </a:cubicBezTo>
                  <a:cubicBezTo>
                    <a:pt x="35" y="9"/>
                    <a:pt x="33" y="9"/>
                    <a:pt x="31" y="9"/>
                  </a:cubicBezTo>
                  <a:cubicBezTo>
                    <a:pt x="28" y="9"/>
                    <a:pt x="25" y="8"/>
                    <a:pt x="24" y="7"/>
                  </a:cubicBezTo>
                  <a:cubicBezTo>
                    <a:pt x="20" y="4"/>
                    <a:pt x="13" y="2"/>
                    <a:pt x="8" y="2"/>
                  </a:cubicBezTo>
                  <a:cubicBezTo>
                    <a:pt x="7" y="2"/>
                    <a:pt x="7" y="2"/>
                    <a:pt x="7" y="2"/>
                  </a:cubicBezTo>
                  <a:cubicBezTo>
                    <a:pt x="6" y="2"/>
                    <a:pt x="5" y="3"/>
                    <a:pt x="2" y="4"/>
                  </a:cubicBezTo>
                  <a:cubicBezTo>
                    <a:pt x="5" y="6"/>
                    <a:pt x="8" y="6"/>
                    <a:pt x="11" y="7"/>
                  </a:cubicBezTo>
                  <a:cubicBezTo>
                    <a:pt x="17" y="9"/>
                    <a:pt x="23" y="11"/>
                    <a:pt x="24" y="17"/>
                  </a:cubicBezTo>
                  <a:cubicBezTo>
                    <a:pt x="25" y="21"/>
                    <a:pt x="27" y="23"/>
                    <a:pt x="28" y="24"/>
                  </a:cubicBezTo>
                  <a:cubicBezTo>
                    <a:pt x="30" y="26"/>
                    <a:pt x="31" y="27"/>
                    <a:pt x="30" y="32"/>
                  </a:cubicBezTo>
                  <a:cubicBezTo>
                    <a:pt x="29" y="33"/>
                    <a:pt x="28" y="35"/>
                    <a:pt x="27" y="36"/>
                  </a:cubicBezTo>
                  <a:cubicBezTo>
                    <a:pt x="29" y="36"/>
                    <a:pt x="32" y="37"/>
                    <a:pt x="34" y="37"/>
                  </a:cubicBezTo>
                  <a:cubicBezTo>
                    <a:pt x="34" y="37"/>
                    <a:pt x="34" y="37"/>
                    <a:pt x="34" y="37"/>
                  </a:cubicBezTo>
                  <a:cubicBezTo>
                    <a:pt x="38" y="37"/>
                    <a:pt x="40" y="36"/>
                    <a:pt x="41" y="36"/>
                  </a:cubicBezTo>
                  <a:cubicBezTo>
                    <a:pt x="42" y="35"/>
                    <a:pt x="42" y="35"/>
                    <a:pt x="43" y="35"/>
                  </a:cubicBezTo>
                  <a:cubicBezTo>
                    <a:pt x="46" y="35"/>
                    <a:pt x="47" y="38"/>
                    <a:pt x="49" y="41"/>
                  </a:cubicBezTo>
                  <a:cubicBezTo>
                    <a:pt x="50" y="42"/>
                    <a:pt x="51" y="43"/>
                    <a:pt x="52" y="44"/>
                  </a:cubicBezTo>
                  <a:cubicBezTo>
                    <a:pt x="52" y="45"/>
                    <a:pt x="52" y="45"/>
                    <a:pt x="52" y="45"/>
                  </a:cubicBezTo>
                  <a:cubicBezTo>
                    <a:pt x="54" y="44"/>
                    <a:pt x="57" y="44"/>
                    <a:pt x="59" y="43"/>
                  </a:cubicBezTo>
                  <a:cubicBezTo>
                    <a:pt x="61" y="43"/>
                    <a:pt x="64" y="42"/>
                    <a:pt x="67" y="42"/>
                  </a:cubicBezTo>
                  <a:cubicBezTo>
                    <a:pt x="70" y="42"/>
                    <a:pt x="74" y="42"/>
                    <a:pt x="79" y="43"/>
                  </a:cubicBezTo>
                  <a:cubicBezTo>
                    <a:pt x="78" y="42"/>
                    <a:pt x="78" y="41"/>
                    <a:pt x="78" y="40"/>
                  </a:cubicBezTo>
                  <a:cubicBezTo>
                    <a:pt x="79" y="40"/>
                    <a:pt x="79" y="39"/>
                    <a:pt x="81"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0" name="Freeform 57"/>
            <p:cNvSpPr>
              <a:spLocks noEditPoints="1"/>
            </p:cNvSpPr>
            <p:nvPr/>
          </p:nvSpPr>
          <p:spPr>
            <a:xfrm>
              <a:off x="5414964" y="2693988"/>
              <a:ext cx="463550" cy="184150"/>
            </a:xfrm>
            <a:custGeom>
              <a:gdLst>
                <a:gd name="T0" fmla="*/ 146 w 273"/>
                <a:gd name="T1" fmla="*/ 92 h 108"/>
                <a:gd name="T2" fmla="*/ 128 w 273"/>
                <a:gd name="T3" fmla="*/ 93 h 108"/>
                <a:gd name="T4" fmla="*/ 95 w 273"/>
                <a:gd name="T5" fmla="*/ 103 h 108"/>
                <a:gd name="T6" fmla="*/ 44 w 273"/>
                <a:gd name="T7" fmla="*/ 100 h 108"/>
                <a:gd name="T8" fmla="*/ 23 w 273"/>
                <a:gd name="T9" fmla="*/ 85 h 108"/>
                <a:gd name="T10" fmla="*/ 14 w 273"/>
                <a:gd name="T11" fmla="*/ 72 h 108"/>
                <a:gd name="T12" fmla="*/ 9 w 273"/>
                <a:gd name="T13" fmla="*/ 46 h 108"/>
                <a:gd name="T14" fmla="*/ 7 w 273"/>
                <a:gd name="T15" fmla="*/ 31 h 108"/>
                <a:gd name="T16" fmla="*/ 44 w 273"/>
                <a:gd name="T17" fmla="*/ 17 h 108"/>
                <a:gd name="T18" fmla="*/ 114 w 273"/>
                <a:gd name="T19" fmla="*/ 1 h 108"/>
                <a:gd name="T20" fmla="*/ 155 w 273"/>
                <a:gd name="T21" fmla="*/ 13 h 108"/>
                <a:gd name="T22" fmla="*/ 198 w 273"/>
                <a:gd name="T23" fmla="*/ 18 h 108"/>
                <a:gd name="T24" fmla="*/ 233 w 273"/>
                <a:gd name="T25" fmla="*/ 10 h 108"/>
                <a:gd name="T26" fmla="*/ 253 w 273"/>
                <a:gd name="T27" fmla="*/ 24 h 108"/>
                <a:gd name="T28" fmla="*/ 268 w 273"/>
                <a:gd name="T29" fmla="*/ 40 h 108"/>
                <a:gd name="T30" fmla="*/ 263 w 273"/>
                <a:gd name="T31" fmla="*/ 48 h 108"/>
                <a:gd name="T32" fmla="*/ 272 w 273"/>
                <a:gd name="T33" fmla="*/ 87 h 108"/>
                <a:gd name="T34" fmla="*/ 255 w 273"/>
                <a:gd name="T35" fmla="*/ 85 h 108"/>
                <a:gd name="T36" fmla="*/ 237 w 273"/>
                <a:gd name="T37" fmla="*/ 87 h 108"/>
                <a:gd name="T38" fmla="*/ 196 w 273"/>
                <a:gd name="T39" fmla="*/ 93 h 108"/>
                <a:gd name="T40" fmla="*/ 174 w 273"/>
                <a:gd name="T41" fmla="*/ 92 h 108"/>
                <a:gd name="T42" fmla="*/ 151 w 273"/>
                <a:gd name="T43" fmla="*/ 99 h 108"/>
                <a:gd name="T44" fmla="*/ 145 w 273"/>
                <a:gd name="T45" fmla="*/ 96 h 108"/>
                <a:gd name="T46" fmla="*/ 155 w 273"/>
                <a:gd name="T47" fmla="*/ 93 h 108"/>
                <a:gd name="T48" fmla="*/ 180 w 273"/>
                <a:gd name="T49" fmla="*/ 92 h 108"/>
                <a:gd name="T50" fmla="*/ 215 w 273"/>
                <a:gd name="T51" fmla="*/ 87 h 108"/>
                <a:gd name="T52" fmla="*/ 243 w 273"/>
                <a:gd name="T53" fmla="*/ 81 h 108"/>
                <a:gd name="T54" fmla="*/ 269 w 273"/>
                <a:gd name="T55" fmla="*/ 89 h 108"/>
                <a:gd name="T56" fmla="*/ 264 w 273"/>
                <a:gd name="T57" fmla="*/ 67 h 108"/>
                <a:gd name="T58" fmla="*/ 267 w 273"/>
                <a:gd name="T59" fmla="*/ 40 h 108"/>
                <a:gd name="T60" fmla="*/ 252 w 273"/>
                <a:gd name="T61" fmla="*/ 24 h 108"/>
                <a:gd name="T62" fmla="*/ 233 w 273"/>
                <a:gd name="T63" fmla="*/ 11 h 108"/>
                <a:gd name="T64" fmla="*/ 182 w 273"/>
                <a:gd name="T65" fmla="*/ 19 h 108"/>
                <a:gd name="T66" fmla="*/ 148 w 273"/>
                <a:gd name="T67" fmla="*/ 11 h 108"/>
                <a:gd name="T68" fmla="*/ 77 w 273"/>
                <a:gd name="T69" fmla="*/ 16 h 108"/>
                <a:gd name="T70" fmla="*/ 44 w 273"/>
                <a:gd name="T71" fmla="*/ 20 h 108"/>
                <a:gd name="T72" fmla="*/ 7 w 273"/>
                <a:gd name="T73" fmla="*/ 32 h 108"/>
                <a:gd name="T74" fmla="*/ 10 w 273"/>
                <a:gd name="T75" fmla="*/ 46 h 108"/>
                <a:gd name="T76" fmla="*/ 15 w 273"/>
                <a:gd name="T77" fmla="*/ 73 h 108"/>
                <a:gd name="T78" fmla="*/ 23 w 273"/>
                <a:gd name="T79" fmla="*/ 84 h 108"/>
                <a:gd name="T80" fmla="*/ 43 w 273"/>
                <a:gd name="T81" fmla="*/ 96 h 108"/>
                <a:gd name="T82" fmla="*/ 90 w 273"/>
                <a:gd name="T83" fmla="*/ 98 h 108"/>
                <a:gd name="T84" fmla="*/ 123 w 273"/>
                <a:gd name="T85" fmla="*/ 91 h 108"/>
                <a:gd name="T86" fmla="*/ 144 w 273"/>
                <a:gd name="T87" fmla="*/ 90 h 108"/>
                <a:gd name="T88" fmla="*/ 1 w 273"/>
                <a:gd name="T89" fmla="*/ 22 h 108"/>
                <a:gd name="T90" fmla="*/ 7 w 273"/>
                <a:gd name="T91" fmla="*/ 2 h 108"/>
                <a:gd name="T92" fmla="*/ 28 w 273"/>
                <a:gd name="T93" fmla="*/ 2 h 108"/>
                <a:gd name="T94" fmla="*/ 35 w 273"/>
                <a:gd name="T95" fmla="*/ 19 h 108"/>
                <a:gd name="T96" fmla="*/ 9 w 273"/>
                <a:gd name="T97" fmla="*/ 28 h 108"/>
                <a:gd name="T98" fmla="*/ 29 w 273"/>
                <a:gd name="T99" fmla="*/ 18 h 108"/>
                <a:gd name="T100" fmla="*/ 36 w 273"/>
                <a:gd name="T101" fmla="*/ 12 h 108"/>
                <a:gd name="T102" fmla="*/ 15 w 273"/>
                <a:gd name="T103" fmla="*/ 2 h 108"/>
                <a:gd name="T104" fmla="*/ 4 w 273"/>
                <a:gd name="T105" fmla="*/ 19 h 1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108">
                  <a:moveTo>
                    <a:pt x="142" y="108"/>
                  </a:moveTo>
                  <a:cubicBezTo>
                    <a:pt x="142" y="107"/>
                    <a:pt x="142" y="107"/>
                    <a:pt x="142" y="107"/>
                  </a:cubicBezTo>
                  <a:cubicBezTo>
                    <a:pt x="142" y="106"/>
                    <a:pt x="142" y="104"/>
                    <a:pt x="142" y="103"/>
                  </a:cubicBezTo>
                  <a:cubicBezTo>
                    <a:pt x="140" y="101"/>
                    <a:pt x="142" y="98"/>
                    <a:pt x="144" y="95"/>
                  </a:cubicBezTo>
                  <a:cubicBezTo>
                    <a:pt x="145" y="94"/>
                    <a:pt x="146" y="92"/>
                    <a:pt x="146" y="92"/>
                  </a:cubicBezTo>
                  <a:cubicBezTo>
                    <a:pt x="146" y="91"/>
                    <a:pt x="146" y="91"/>
                    <a:pt x="146" y="91"/>
                  </a:cubicBezTo>
                  <a:cubicBezTo>
                    <a:pt x="145" y="91"/>
                    <a:pt x="145" y="91"/>
                    <a:pt x="144" y="91"/>
                  </a:cubicBezTo>
                  <a:cubicBezTo>
                    <a:pt x="142" y="91"/>
                    <a:pt x="138" y="93"/>
                    <a:pt x="135" y="94"/>
                  </a:cubicBezTo>
                  <a:cubicBezTo>
                    <a:pt x="134" y="95"/>
                    <a:pt x="134" y="95"/>
                    <a:pt x="133" y="95"/>
                  </a:cubicBezTo>
                  <a:cubicBezTo>
                    <a:pt x="131" y="95"/>
                    <a:pt x="129" y="94"/>
                    <a:pt x="128" y="93"/>
                  </a:cubicBezTo>
                  <a:cubicBezTo>
                    <a:pt x="126" y="92"/>
                    <a:pt x="125" y="91"/>
                    <a:pt x="124" y="92"/>
                  </a:cubicBezTo>
                  <a:cubicBezTo>
                    <a:pt x="123" y="92"/>
                    <a:pt x="122" y="93"/>
                    <a:pt x="121" y="94"/>
                  </a:cubicBezTo>
                  <a:cubicBezTo>
                    <a:pt x="118" y="97"/>
                    <a:pt x="113" y="100"/>
                    <a:pt x="110" y="100"/>
                  </a:cubicBezTo>
                  <a:cubicBezTo>
                    <a:pt x="108" y="100"/>
                    <a:pt x="106" y="101"/>
                    <a:pt x="103" y="102"/>
                  </a:cubicBezTo>
                  <a:cubicBezTo>
                    <a:pt x="100" y="103"/>
                    <a:pt x="97" y="104"/>
                    <a:pt x="95" y="103"/>
                  </a:cubicBezTo>
                  <a:cubicBezTo>
                    <a:pt x="94" y="102"/>
                    <a:pt x="92" y="101"/>
                    <a:pt x="89" y="99"/>
                  </a:cubicBezTo>
                  <a:cubicBezTo>
                    <a:pt x="85" y="96"/>
                    <a:pt x="80" y="92"/>
                    <a:pt x="75" y="91"/>
                  </a:cubicBezTo>
                  <a:cubicBezTo>
                    <a:pt x="68" y="91"/>
                    <a:pt x="64" y="92"/>
                    <a:pt x="64" y="96"/>
                  </a:cubicBezTo>
                  <a:cubicBezTo>
                    <a:pt x="64" y="100"/>
                    <a:pt x="56" y="102"/>
                    <a:pt x="51" y="102"/>
                  </a:cubicBezTo>
                  <a:cubicBezTo>
                    <a:pt x="48" y="102"/>
                    <a:pt x="45" y="101"/>
                    <a:pt x="44" y="100"/>
                  </a:cubicBezTo>
                  <a:cubicBezTo>
                    <a:pt x="44" y="99"/>
                    <a:pt x="43" y="98"/>
                    <a:pt x="42" y="97"/>
                  </a:cubicBezTo>
                  <a:cubicBezTo>
                    <a:pt x="41" y="94"/>
                    <a:pt x="39" y="91"/>
                    <a:pt x="37" y="91"/>
                  </a:cubicBezTo>
                  <a:cubicBezTo>
                    <a:pt x="36" y="91"/>
                    <a:pt x="36" y="91"/>
                    <a:pt x="36" y="91"/>
                  </a:cubicBezTo>
                  <a:cubicBezTo>
                    <a:pt x="31" y="92"/>
                    <a:pt x="28" y="91"/>
                    <a:pt x="28" y="88"/>
                  </a:cubicBezTo>
                  <a:cubicBezTo>
                    <a:pt x="28" y="87"/>
                    <a:pt x="25" y="86"/>
                    <a:pt x="23" y="85"/>
                  </a:cubicBezTo>
                  <a:cubicBezTo>
                    <a:pt x="21" y="85"/>
                    <a:pt x="18" y="84"/>
                    <a:pt x="18" y="82"/>
                  </a:cubicBezTo>
                  <a:cubicBezTo>
                    <a:pt x="18" y="82"/>
                    <a:pt x="16" y="80"/>
                    <a:pt x="14" y="79"/>
                  </a:cubicBezTo>
                  <a:cubicBezTo>
                    <a:pt x="11" y="77"/>
                    <a:pt x="10" y="76"/>
                    <a:pt x="10" y="75"/>
                  </a:cubicBezTo>
                  <a:cubicBezTo>
                    <a:pt x="11" y="74"/>
                    <a:pt x="11" y="74"/>
                    <a:pt x="11" y="74"/>
                  </a:cubicBezTo>
                  <a:cubicBezTo>
                    <a:pt x="13" y="74"/>
                    <a:pt x="14" y="73"/>
                    <a:pt x="14" y="72"/>
                  </a:cubicBezTo>
                  <a:cubicBezTo>
                    <a:pt x="14" y="71"/>
                    <a:pt x="13" y="69"/>
                    <a:pt x="11" y="67"/>
                  </a:cubicBezTo>
                  <a:cubicBezTo>
                    <a:pt x="10" y="66"/>
                    <a:pt x="9" y="64"/>
                    <a:pt x="9" y="62"/>
                  </a:cubicBezTo>
                  <a:cubicBezTo>
                    <a:pt x="8" y="60"/>
                    <a:pt x="9" y="58"/>
                    <a:pt x="11" y="56"/>
                  </a:cubicBezTo>
                  <a:cubicBezTo>
                    <a:pt x="12" y="55"/>
                    <a:pt x="11" y="53"/>
                    <a:pt x="10" y="51"/>
                  </a:cubicBezTo>
                  <a:cubicBezTo>
                    <a:pt x="9" y="49"/>
                    <a:pt x="9" y="47"/>
                    <a:pt x="9" y="46"/>
                  </a:cubicBezTo>
                  <a:cubicBezTo>
                    <a:pt x="10" y="45"/>
                    <a:pt x="10" y="45"/>
                    <a:pt x="10" y="44"/>
                  </a:cubicBezTo>
                  <a:cubicBezTo>
                    <a:pt x="9" y="43"/>
                    <a:pt x="8" y="42"/>
                    <a:pt x="5" y="42"/>
                  </a:cubicBezTo>
                  <a:cubicBezTo>
                    <a:pt x="4" y="42"/>
                    <a:pt x="4" y="42"/>
                    <a:pt x="4" y="42"/>
                  </a:cubicBezTo>
                  <a:cubicBezTo>
                    <a:pt x="2" y="43"/>
                    <a:pt x="1" y="42"/>
                    <a:pt x="1" y="40"/>
                  </a:cubicBezTo>
                  <a:cubicBezTo>
                    <a:pt x="0" y="37"/>
                    <a:pt x="3" y="33"/>
                    <a:pt x="7" y="31"/>
                  </a:cubicBezTo>
                  <a:cubicBezTo>
                    <a:pt x="9" y="30"/>
                    <a:pt x="13" y="29"/>
                    <a:pt x="17" y="29"/>
                  </a:cubicBezTo>
                  <a:cubicBezTo>
                    <a:pt x="18" y="29"/>
                    <a:pt x="20" y="30"/>
                    <a:pt x="21" y="30"/>
                  </a:cubicBezTo>
                  <a:cubicBezTo>
                    <a:pt x="27" y="30"/>
                    <a:pt x="33" y="30"/>
                    <a:pt x="37" y="28"/>
                  </a:cubicBezTo>
                  <a:cubicBezTo>
                    <a:pt x="42" y="26"/>
                    <a:pt x="43" y="23"/>
                    <a:pt x="43" y="20"/>
                  </a:cubicBezTo>
                  <a:cubicBezTo>
                    <a:pt x="43" y="19"/>
                    <a:pt x="43" y="18"/>
                    <a:pt x="44" y="17"/>
                  </a:cubicBezTo>
                  <a:cubicBezTo>
                    <a:pt x="45" y="17"/>
                    <a:pt x="45" y="17"/>
                    <a:pt x="47" y="17"/>
                  </a:cubicBezTo>
                  <a:cubicBezTo>
                    <a:pt x="48" y="17"/>
                    <a:pt x="50" y="17"/>
                    <a:pt x="53" y="17"/>
                  </a:cubicBezTo>
                  <a:cubicBezTo>
                    <a:pt x="56" y="17"/>
                    <a:pt x="61" y="18"/>
                    <a:pt x="65" y="18"/>
                  </a:cubicBezTo>
                  <a:cubicBezTo>
                    <a:pt x="71" y="18"/>
                    <a:pt x="74" y="17"/>
                    <a:pt x="76" y="15"/>
                  </a:cubicBezTo>
                  <a:cubicBezTo>
                    <a:pt x="82" y="10"/>
                    <a:pt x="97" y="1"/>
                    <a:pt x="114" y="1"/>
                  </a:cubicBezTo>
                  <a:cubicBezTo>
                    <a:pt x="116" y="1"/>
                    <a:pt x="119" y="1"/>
                    <a:pt x="121" y="2"/>
                  </a:cubicBezTo>
                  <a:cubicBezTo>
                    <a:pt x="133" y="3"/>
                    <a:pt x="136" y="5"/>
                    <a:pt x="138" y="6"/>
                  </a:cubicBezTo>
                  <a:cubicBezTo>
                    <a:pt x="139" y="7"/>
                    <a:pt x="140" y="7"/>
                    <a:pt x="142" y="7"/>
                  </a:cubicBezTo>
                  <a:cubicBezTo>
                    <a:pt x="146" y="7"/>
                    <a:pt x="147" y="9"/>
                    <a:pt x="149" y="11"/>
                  </a:cubicBezTo>
                  <a:cubicBezTo>
                    <a:pt x="151" y="12"/>
                    <a:pt x="152" y="13"/>
                    <a:pt x="155" y="13"/>
                  </a:cubicBezTo>
                  <a:cubicBezTo>
                    <a:pt x="158" y="13"/>
                    <a:pt x="161" y="14"/>
                    <a:pt x="163" y="16"/>
                  </a:cubicBezTo>
                  <a:cubicBezTo>
                    <a:pt x="166" y="17"/>
                    <a:pt x="168" y="19"/>
                    <a:pt x="172" y="19"/>
                  </a:cubicBezTo>
                  <a:cubicBezTo>
                    <a:pt x="175" y="19"/>
                    <a:pt x="179" y="18"/>
                    <a:pt x="182" y="18"/>
                  </a:cubicBezTo>
                  <a:cubicBezTo>
                    <a:pt x="186" y="18"/>
                    <a:pt x="189" y="17"/>
                    <a:pt x="192" y="17"/>
                  </a:cubicBezTo>
                  <a:cubicBezTo>
                    <a:pt x="194" y="17"/>
                    <a:pt x="196" y="18"/>
                    <a:pt x="198" y="18"/>
                  </a:cubicBezTo>
                  <a:cubicBezTo>
                    <a:pt x="199" y="18"/>
                    <a:pt x="199" y="19"/>
                    <a:pt x="201" y="19"/>
                  </a:cubicBezTo>
                  <a:cubicBezTo>
                    <a:pt x="207" y="19"/>
                    <a:pt x="219" y="15"/>
                    <a:pt x="224" y="9"/>
                  </a:cubicBezTo>
                  <a:cubicBezTo>
                    <a:pt x="225" y="9"/>
                    <a:pt x="225" y="9"/>
                    <a:pt x="225" y="9"/>
                  </a:cubicBezTo>
                  <a:cubicBezTo>
                    <a:pt x="225" y="9"/>
                    <a:pt x="225" y="9"/>
                    <a:pt x="225" y="9"/>
                  </a:cubicBezTo>
                  <a:cubicBezTo>
                    <a:pt x="228" y="9"/>
                    <a:pt x="230" y="10"/>
                    <a:pt x="233" y="10"/>
                  </a:cubicBezTo>
                  <a:cubicBezTo>
                    <a:pt x="237" y="10"/>
                    <a:pt x="239" y="9"/>
                    <a:pt x="240" y="9"/>
                  </a:cubicBezTo>
                  <a:cubicBezTo>
                    <a:pt x="241" y="8"/>
                    <a:pt x="241" y="8"/>
                    <a:pt x="242" y="8"/>
                  </a:cubicBezTo>
                  <a:cubicBezTo>
                    <a:pt x="245" y="8"/>
                    <a:pt x="246" y="11"/>
                    <a:pt x="248" y="14"/>
                  </a:cubicBezTo>
                  <a:cubicBezTo>
                    <a:pt x="249" y="15"/>
                    <a:pt x="250" y="16"/>
                    <a:pt x="251" y="17"/>
                  </a:cubicBezTo>
                  <a:cubicBezTo>
                    <a:pt x="253" y="20"/>
                    <a:pt x="253" y="22"/>
                    <a:pt x="253" y="24"/>
                  </a:cubicBezTo>
                  <a:cubicBezTo>
                    <a:pt x="253" y="25"/>
                    <a:pt x="254" y="27"/>
                    <a:pt x="255" y="30"/>
                  </a:cubicBezTo>
                  <a:cubicBezTo>
                    <a:pt x="256" y="33"/>
                    <a:pt x="259" y="34"/>
                    <a:pt x="261" y="34"/>
                  </a:cubicBezTo>
                  <a:cubicBezTo>
                    <a:pt x="263" y="34"/>
                    <a:pt x="263" y="34"/>
                    <a:pt x="263" y="34"/>
                  </a:cubicBezTo>
                  <a:cubicBezTo>
                    <a:pt x="264" y="34"/>
                    <a:pt x="265" y="34"/>
                    <a:pt x="266" y="34"/>
                  </a:cubicBezTo>
                  <a:cubicBezTo>
                    <a:pt x="266" y="35"/>
                    <a:pt x="267" y="37"/>
                    <a:pt x="268" y="40"/>
                  </a:cubicBezTo>
                  <a:cubicBezTo>
                    <a:pt x="269" y="40"/>
                    <a:pt x="269" y="40"/>
                    <a:pt x="269" y="40"/>
                  </a:cubicBezTo>
                  <a:cubicBezTo>
                    <a:pt x="268" y="40"/>
                    <a:pt x="268" y="40"/>
                    <a:pt x="268" y="40"/>
                  </a:cubicBezTo>
                  <a:cubicBezTo>
                    <a:pt x="266" y="41"/>
                    <a:pt x="266" y="42"/>
                    <a:pt x="266" y="44"/>
                  </a:cubicBezTo>
                  <a:cubicBezTo>
                    <a:pt x="266" y="46"/>
                    <a:pt x="266" y="48"/>
                    <a:pt x="264" y="48"/>
                  </a:cubicBezTo>
                  <a:cubicBezTo>
                    <a:pt x="264" y="48"/>
                    <a:pt x="264" y="48"/>
                    <a:pt x="263" y="48"/>
                  </a:cubicBezTo>
                  <a:cubicBezTo>
                    <a:pt x="262" y="50"/>
                    <a:pt x="264" y="57"/>
                    <a:pt x="265" y="59"/>
                  </a:cubicBezTo>
                  <a:cubicBezTo>
                    <a:pt x="266" y="60"/>
                    <a:pt x="265" y="63"/>
                    <a:pt x="265" y="67"/>
                  </a:cubicBezTo>
                  <a:cubicBezTo>
                    <a:pt x="265" y="69"/>
                    <a:pt x="264" y="74"/>
                    <a:pt x="265" y="74"/>
                  </a:cubicBezTo>
                  <a:cubicBezTo>
                    <a:pt x="267" y="75"/>
                    <a:pt x="270" y="80"/>
                    <a:pt x="270" y="81"/>
                  </a:cubicBezTo>
                  <a:cubicBezTo>
                    <a:pt x="271" y="82"/>
                    <a:pt x="273" y="85"/>
                    <a:pt x="272" y="87"/>
                  </a:cubicBezTo>
                  <a:cubicBezTo>
                    <a:pt x="272" y="89"/>
                    <a:pt x="270" y="90"/>
                    <a:pt x="269" y="90"/>
                  </a:cubicBezTo>
                  <a:cubicBezTo>
                    <a:pt x="269" y="90"/>
                    <a:pt x="269" y="90"/>
                    <a:pt x="269" y="90"/>
                  </a:cubicBezTo>
                  <a:cubicBezTo>
                    <a:pt x="268" y="90"/>
                    <a:pt x="265" y="88"/>
                    <a:pt x="263" y="87"/>
                  </a:cubicBezTo>
                  <a:cubicBezTo>
                    <a:pt x="260" y="85"/>
                    <a:pt x="258" y="84"/>
                    <a:pt x="257" y="85"/>
                  </a:cubicBezTo>
                  <a:cubicBezTo>
                    <a:pt x="256" y="85"/>
                    <a:pt x="255" y="85"/>
                    <a:pt x="255" y="85"/>
                  </a:cubicBezTo>
                  <a:cubicBezTo>
                    <a:pt x="254" y="85"/>
                    <a:pt x="253" y="84"/>
                    <a:pt x="251" y="84"/>
                  </a:cubicBezTo>
                  <a:cubicBezTo>
                    <a:pt x="250" y="83"/>
                    <a:pt x="248" y="82"/>
                    <a:pt x="245" y="82"/>
                  </a:cubicBezTo>
                  <a:cubicBezTo>
                    <a:pt x="244" y="82"/>
                    <a:pt x="244" y="82"/>
                    <a:pt x="243" y="82"/>
                  </a:cubicBezTo>
                  <a:cubicBezTo>
                    <a:pt x="241" y="82"/>
                    <a:pt x="240" y="83"/>
                    <a:pt x="239" y="85"/>
                  </a:cubicBezTo>
                  <a:cubicBezTo>
                    <a:pt x="238" y="85"/>
                    <a:pt x="238" y="86"/>
                    <a:pt x="237" y="87"/>
                  </a:cubicBezTo>
                  <a:cubicBezTo>
                    <a:pt x="237" y="87"/>
                    <a:pt x="237" y="87"/>
                    <a:pt x="237" y="87"/>
                  </a:cubicBezTo>
                  <a:cubicBezTo>
                    <a:pt x="231" y="85"/>
                    <a:pt x="231" y="85"/>
                    <a:pt x="231" y="85"/>
                  </a:cubicBezTo>
                  <a:cubicBezTo>
                    <a:pt x="230" y="86"/>
                    <a:pt x="223" y="88"/>
                    <a:pt x="215" y="88"/>
                  </a:cubicBezTo>
                  <a:cubicBezTo>
                    <a:pt x="211" y="87"/>
                    <a:pt x="209" y="89"/>
                    <a:pt x="206" y="90"/>
                  </a:cubicBezTo>
                  <a:cubicBezTo>
                    <a:pt x="203" y="92"/>
                    <a:pt x="201" y="93"/>
                    <a:pt x="196" y="93"/>
                  </a:cubicBezTo>
                  <a:cubicBezTo>
                    <a:pt x="193" y="93"/>
                    <a:pt x="190" y="94"/>
                    <a:pt x="187" y="94"/>
                  </a:cubicBezTo>
                  <a:cubicBezTo>
                    <a:pt x="186" y="94"/>
                    <a:pt x="184" y="94"/>
                    <a:pt x="183" y="94"/>
                  </a:cubicBezTo>
                  <a:cubicBezTo>
                    <a:pt x="181" y="94"/>
                    <a:pt x="180" y="94"/>
                    <a:pt x="179" y="93"/>
                  </a:cubicBezTo>
                  <a:cubicBezTo>
                    <a:pt x="178" y="91"/>
                    <a:pt x="177" y="91"/>
                    <a:pt x="177" y="91"/>
                  </a:cubicBezTo>
                  <a:cubicBezTo>
                    <a:pt x="176" y="91"/>
                    <a:pt x="175" y="92"/>
                    <a:pt x="174" y="92"/>
                  </a:cubicBezTo>
                  <a:cubicBezTo>
                    <a:pt x="173" y="93"/>
                    <a:pt x="172" y="94"/>
                    <a:pt x="170" y="94"/>
                  </a:cubicBezTo>
                  <a:cubicBezTo>
                    <a:pt x="164" y="97"/>
                    <a:pt x="160" y="97"/>
                    <a:pt x="156" y="94"/>
                  </a:cubicBezTo>
                  <a:cubicBezTo>
                    <a:pt x="155" y="94"/>
                    <a:pt x="155" y="94"/>
                    <a:pt x="155" y="94"/>
                  </a:cubicBezTo>
                  <a:cubicBezTo>
                    <a:pt x="153" y="94"/>
                    <a:pt x="152" y="96"/>
                    <a:pt x="152" y="97"/>
                  </a:cubicBezTo>
                  <a:cubicBezTo>
                    <a:pt x="151" y="98"/>
                    <a:pt x="151" y="98"/>
                    <a:pt x="151" y="99"/>
                  </a:cubicBezTo>
                  <a:cubicBezTo>
                    <a:pt x="151" y="102"/>
                    <a:pt x="151" y="107"/>
                    <a:pt x="142" y="108"/>
                  </a:cubicBezTo>
                  <a:close/>
                  <a:moveTo>
                    <a:pt x="144" y="90"/>
                  </a:moveTo>
                  <a:cubicBezTo>
                    <a:pt x="145" y="90"/>
                    <a:pt x="146" y="90"/>
                    <a:pt x="146" y="91"/>
                  </a:cubicBezTo>
                  <a:cubicBezTo>
                    <a:pt x="147" y="91"/>
                    <a:pt x="147" y="91"/>
                    <a:pt x="147" y="91"/>
                  </a:cubicBezTo>
                  <a:cubicBezTo>
                    <a:pt x="147" y="93"/>
                    <a:pt x="146" y="94"/>
                    <a:pt x="145" y="96"/>
                  </a:cubicBezTo>
                  <a:cubicBezTo>
                    <a:pt x="143" y="98"/>
                    <a:pt x="141" y="101"/>
                    <a:pt x="143" y="102"/>
                  </a:cubicBezTo>
                  <a:cubicBezTo>
                    <a:pt x="143" y="104"/>
                    <a:pt x="143" y="105"/>
                    <a:pt x="143" y="107"/>
                  </a:cubicBezTo>
                  <a:cubicBezTo>
                    <a:pt x="150" y="106"/>
                    <a:pt x="150" y="102"/>
                    <a:pt x="150" y="99"/>
                  </a:cubicBezTo>
                  <a:cubicBezTo>
                    <a:pt x="150" y="98"/>
                    <a:pt x="150" y="98"/>
                    <a:pt x="151" y="97"/>
                  </a:cubicBezTo>
                  <a:cubicBezTo>
                    <a:pt x="151" y="95"/>
                    <a:pt x="152" y="93"/>
                    <a:pt x="155" y="93"/>
                  </a:cubicBezTo>
                  <a:cubicBezTo>
                    <a:pt x="156" y="93"/>
                    <a:pt x="156" y="93"/>
                    <a:pt x="157" y="94"/>
                  </a:cubicBezTo>
                  <a:cubicBezTo>
                    <a:pt x="160" y="96"/>
                    <a:pt x="164" y="96"/>
                    <a:pt x="170" y="93"/>
                  </a:cubicBezTo>
                  <a:cubicBezTo>
                    <a:pt x="171" y="93"/>
                    <a:pt x="173" y="92"/>
                    <a:pt x="174" y="92"/>
                  </a:cubicBezTo>
                  <a:cubicBezTo>
                    <a:pt x="175" y="91"/>
                    <a:pt x="176" y="90"/>
                    <a:pt x="177" y="90"/>
                  </a:cubicBezTo>
                  <a:cubicBezTo>
                    <a:pt x="178" y="90"/>
                    <a:pt x="179" y="91"/>
                    <a:pt x="180" y="92"/>
                  </a:cubicBezTo>
                  <a:cubicBezTo>
                    <a:pt x="180" y="93"/>
                    <a:pt x="181" y="93"/>
                    <a:pt x="183" y="93"/>
                  </a:cubicBezTo>
                  <a:cubicBezTo>
                    <a:pt x="184" y="93"/>
                    <a:pt x="186" y="93"/>
                    <a:pt x="187" y="93"/>
                  </a:cubicBezTo>
                  <a:cubicBezTo>
                    <a:pt x="190" y="93"/>
                    <a:pt x="193" y="92"/>
                    <a:pt x="196" y="92"/>
                  </a:cubicBezTo>
                  <a:cubicBezTo>
                    <a:pt x="200" y="92"/>
                    <a:pt x="203" y="91"/>
                    <a:pt x="205" y="89"/>
                  </a:cubicBezTo>
                  <a:cubicBezTo>
                    <a:pt x="208" y="88"/>
                    <a:pt x="211" y="86"/>
                    <a:pt x="215" y="87"/>
                  </a:cubicBezTo>
                  <a:cubicBezTo>
                    <a:pt x="224" y="87"/>
                    <a:pt x="231" y="84"/>
                    <a:pt x="231" y="84"/>
                  </a:cubicBezTo>
                  <a:cubicBezTo>
                    <a:pt x="231" y="84"/>
                    <a:pt x="231" y="84"/>
                    <a:pt x="231" y="84"/>
                  </a:cubicBezTo>
                  <a:cubicBezTo>
                    <a:pt x="237" y="86"/>
                    <a:pt x="237" y="86"/>
                    <a:pt x="237" y="86"/>
                  </a:cubicBezTo>
                  <a:cubicBezTo>
                    <a:pt x="237" y="85"/>
                    <a:pt x="238" y="85"/>
                    <a:pt x="238" y="84"/>
                  </a:cubicBezTo>
                  <a:cubicBezTo>
                    <a:pt x="239" y="83"/>
                    <a:pt x="240" y="81"/>
                    <a:pt x="243" y="81"/>
                  </a:cubicBezTo>
                  <a:cubicBezTo>
                    <a:pt x="244" y="81"/>
                    <a:pt x="244" y="81"/>
                    <a:pt x="245" y="81"/>
                  </a:cubicBezTo>
                  <a:cubicBezTo>
                    <a:pt x="248" y="81"/>
                    <a:pt x="250" y="82"/>
                    <a:pt x="252" y="83"/>
                  </a:cubicBezTo>
                  <a:cubicBezTo>
                    <a:pt x="253" y="84"/>
                    <a:pt x="255" y="84"/>
                    <a:pt x="256" y="84"/>
                  </a:cubicBezTo>
                  <a:cubicBezTo>
                    <a:pt x="258" y="83"/>
                    <a:pt x="260" y="84"/>
                    <a:pt x="263" y="86"/>
                  </a:cubicBezTo>
                  <a:cubicBezTo>
                    <a:pt x="265" y="87"/>
                    <a:pt x="268" y="89"/>
                    <a:pt x="269" y="89"/>
                  </a:cubicBezTo>
                  <a:cubicBezTo>
                    <a:pt x="269" y="89"/>
                    <a:pt x="269" y="89"/>
                    <a:pt x="269" y="89"/>
                  </a:cubicBezTo>
                  <a:cubicBezTo>
                    <a:pt x="270" y="89"/>
                    <a:pt x="271" y="88"/>
                    <a:pt x="271" y="86"/>
                  </a:cubicBezTo>
                  <a:cubicBezTo>
                    <a:pt x="271" y="86"/>
                    <a:pt x="271" y="84"/>
                    <a:pt x="269" y="81"/>
                  </a:cubicBezTo>
                  <a:cubicBezTo>
                    <a:pt x="268" y="78"/>
                    <a:pt x="266" y="76"/>
                    <a:pt x="265" y="75"/>
                  </a:cubicBezTo>
                  <a:cubicBezTo>
                    <a:pt x="263" y="75"/>
                    <a:pt x="263" y="72"/>
                    <a:pt x="264" y="67"/>
                  </a:cubicBezTo>
                  <a:cubicBezTo>
                    <a:pt x="264" y="64"/>
                    <a:pt x="265" y="61"/>
                    <a:pt x="264" y="60"/>
                  </a:cubicBezTo>
                  <a:cubicBezTo>
                    <a:pt x="263" y="58"/>
                    <a:pt x="261" y="50"/>
                    <a:pt x="263" y="48"/>
                  </a:cubicBezTo>
                  <a:cubicBezTo>
                    <a:pt x="263" y="47"/>
                    <a:pt x="263" y="47"/>
                    <a:pt x="264" y="47"/>
                  </a:cubicBezTo>
                  <a:cubicBezTo>
                    <a:pt x="265" y="47"/>
                    <a:pt x="265" y="46"/>
                    <a:pt x="265" y="44"/>
                  </a:cubicBezTo>
                  <a:cubicBezTo>
                    <a:pt x="265" y="42"/>
                    <a:pt x="265" y="40"/>
                    <a:pt x="267" y="40"/>
                  </a:cubicBezTo>
                  <a:cubicBezTo>
                    <a:pt x="266" y="36"/>
                    <a:pt x="265" y="35"/>
                    <a:pt x="265" y="35"/>
                  </a:cubicBezTo>
                  <a:cubicBezTo>
                    <a:pt x="265" y="35"/>
                    <a:pt x="264" y="35"/>
                    <a:pt x="263" y="35"/>
                  </a:cubicBezTo>
                  <a:cubicBezTo>
                    <a:pt x="261" y="35"/>
                    <a:pt x="261" y="35"/>
                    <a:pt x="261" y="35"/>
                  </a:cubicBezTo>
                  <a:cubicBezTo>
                    <a:pt x="258" y="35"/>
                    <a:pt x="255" y="34"/>
                    <a:pt x="254" y="30"/>
                  </a:cubicBezTo>
                  <a:cubicBezTo>
                    <a:pt x="253" y="27"/>
                    <a:pt x="252" y="25"/>
                    <a:pt x="252" y="24"/>
                  </a:cubicBezTo>
                  <a:cubicBezTo>
                    <a:pt x="252" y="22"/>
                    <a:pt x="252" y="20"/>
                    <a:pt x="250" y="18"/>
                  </a:cubicBezTo>
                  <a:cubicBezTo>
                    <a:pt x="249" y="17"/>
                    <a:pt x="248" y="15"/>
                    <a:pt x="248" y="14"/>
                  </a:cubicBezTo>
                  <a:cubicBezTo>
                    <a:pt x="246" y="12"/>
                    <a:pt x="244" y="9"/>
                    <a:pt x="242" y="9"/>
                  </a:cubicBezTo>
                  <a:cubicBezTo>
                    <a:pt x="241" y="9"/>
                    <a:pt x="241" y="9"/>
                    <a:pt x="240" y="10"/>
                  </a:cubicBezTo>
                  <a:cubicBezTo>
                    <a:pt x="239" y="10"/>
                    <a:pt x="236" y="11"/>
                    <a:pt x="233" y="11"/>
                  </a:cubicBezTo>
                  <a:cubicBezTo>
                    <a:pt x="231" y="11"/>
                    <a:pt x="228" y="10"/>
                    <a:pt x="225" y="10"/>
                  </a:cubicBezTo>
                  <a:cubicBezTo>
                    <a:pt x="219" y="15"/>
                    <a:pt x="207" y="20"/>
                    <a:pt x="201" y="20"/>
                  </a:cubicBezTo>
                  <a:cubicBezTo>
                    <a:pt x="199" y="20"/>
                    <a:pt x="198" y="19"/>
                    <a:pt x="198" y="19"/>
                  </a:cubicBezTo>
                  <a:cubicBezTo>
                    <a:pt x="196" y="19"/>
                    <a:pt x="194" y="18"/>
                    <a:pt x="192" y="18"/>
                  </a:cubicBezTo>
                  <a:cubicBezTo>
                    <a:pt x="189" y="18"/>
                    <a:pt x="186" y="19"/>
                    <a:pt x="182" y="19"/>
                  </a:cubicBezTo>
                  <a:cubicBezTo>
                    <a:pt x="179" y="19"/>
                    <a:pt x="175" y="20"/>
                    <a:pt x="172" y="20"/>
                  </a:cubicBezTo>
                  <a:cubicBezTo>
                    <a:pt x="168" y="20"/>
                    <a:pt x="165" y="18"/>
                    <a:pt x="163" y="17"/>
                  </a:cubicBezTo>
                  <a:cubicBezTo>
                    <a:pt x="160" y="15"/>
                    <a:pt x="158" y="14"/>
                    <a:pt x="155" y="14"/>
                  </a:cubicBezTo>
                  <a:cubicBezTo>
                    <a:pt x="155" y="14"/>
                    <a:pt x="155" y="14"/>
                    <a:pt x="155" y="14"/>
                  </a:cubicBezTo>
                  <a:cubicBezTo>
                    <a:pt x="152" y="14"/>
                    <a:pt x="150" y="13"/>
                    <a:pt x="148" y="11"/>
                  </a:cubicBezTo>
                  <a:cubicBezTo>
                    <a:pt x="147" y="10"/>
                    <a:pt x="145" y="8"/>
                    <a:pt x="142" y="8"/>
                  </a:cubicBezTo>
                  <a:cubicBezTo>
                    <a:pt x="140" y="8"/>
                    <a:pt x="139" y="8"/>
                    <a:pt x="138" y="7"/>
                  </a:cubicBezTo>
                  <a:cubicBezTo>
                    <a:pt x="136" y="6"/>
                    <a:pt x="133" y="4"/>
                    <a:pt x="121" y="3"/>
                  </a:cubicBezTo>
                  <a:cubicBezTo>
                    <a:pt x="118" y="2"/>
                    <a:pt x="116" y="2"/>
                    <a:pt x="114" y="2"/>
                  </a:cubicBezTo>
                  <a:cubicBezTo>
                    <a:pt x="97" y="2"/>
                    <a:pt x="83" y="11"/>
                    <a:pt x="77" y="16"/>
                  </a:cubicBezTo>
                  <a:cubicBezTo>
                    <a:pt x="75" y="18"/>
                    <a:pt x="71" y="19"/>
                    <a:pt x="65" y="19"/>
                  </a:cubicBezTo>
                  <a:cubicBezTo>
                    <a:pt x="61" y="19"/>
                    <a:pt x="56" y="18"/>
                    <a:pt x="53" y="18"/>
                  </a:cubicBezTo>
                  <a:cubicBezTo>
                    <a:pt x="50" y="18"/>
                    <a:pt x="48" y="18"/>
                    <a:pt x="47" y="18"/>
                  </a:cubicBezTo>
                  <a:cubicBezTo>
                    <a:pt x="45" y="18"/>
                    <a:pt x="45" y="18"/>
                    <a:pt x="45" y="18"/>
                  </a:cubicBezTo>
                  <a:cubicBezTo>
                    <a:pt x="44" y="18"/>
                    <a:pt x="44" y="19"/>
                    <a:pt x="44" y="20"/>
                  </a:cubicBezTo>
                  <a:cubicBezTo>
                    <a:pt x="44" y="23"/>
                    <a:pt x="43" y="27"/>
                    <a:pt x="38" y="29"/>
                  </a:cubicBezTo>
                  <a:cubicBezTo>
                    <a:pt x="34" y="30"/>
                    <a:pt x="29" y="31"/>
                    <a:pt x="24" y="31"/>
                  </a:cubicBezTo>
                  <a:cubicBezTo>
                    <a:pt x="23" y="31"/>
                    <a:pt x="22" y="31"/>
                    <a:pt x="21" y="31"/>
                  </a:cubicBezTo>
                  <a:cubicBezTo>
                    <a:pt x="20" y="31"/>
                    <a:pt x="18" y="30"/>
                    <a:pt x="17" y="30"/>
                  </a:cubicBezTo>
                  <a:cubicBezTo>
                    <a:pt x="13" y="30"/>
                    <a:pt x="9" y="31"/>
                    <a:pt x="7" y="32"/>
                  </a:cubicBezTo>
                  <a:cubicBezTo>
                    <a:pt x="3" y="33"/>
                    <a:pt x="1" y="38"/>
                    <a:pt x="2" y="40"/>
                  </a:cubicBezTo>
                  <a:cubicBezTo>
                    <a:pt x="2" y="41"/>
                    <a:pt x="3" y="42"/>
                    <a:pt x="4" y="41"/>
                  </a:cubicBezTo>
                  <a:cubicBezTo>
                    <a:pt x="5" y="41"/>
                    <a:pt x="5" y="41"/>
                    <a:pt x="5" y="41"/>
                  </a:cubicBezTo>
                  <a:cubicBezTo>
                    <a:pt x="8" y="41"/>
                    <a:pt x="10" y="42"/>
                    <a:pt x="10" y="44"/>
                  </a:cubicBezTo>
                  <a:cubicBezTo>
                    <a:pt x="11" y="45"/>
                    <a:pt x="11" y="45"/>
                    <a:pt x="10" y="46"/>
                  </a:cubicBezTo>
                  <a:cubicBezTo>
                    <a:pt x="10" y="47"/>
                    <a:pt x="10" y="49"/>
                    <a:pt x="11" y="50"/>
                  </a:cubicBezTo>
                  <a:cubicBezTo>
                    <a:pt x="12" y="53"/>
                    <a:pt x="13" y="55"/>
                    <a:pt x="11" y="57"/>
                  </a:cubicBezTo>
                  <a:cubicBezTo>
                    <a:pt x="10" y="58"/>
                    <a:pt x="9" y="60"/>
                    <a:pt x="10" y="62"/>
                  </a:cubicBezTo>
                  <a:cubicBezTo>
                    <a:pt x="10" y="64"/>
                    <a:pt x="10" y="65"/>
                    <a:pt x="12" y="66"/>
                  </a:cubicBezTo>
                  <a:cubicBezTo>
                    <a:pt x="14" y="68"/>
                    <a:pt x="15" y="71"/>
                    <a:pt x="15" y="73"/>
                  </a:cubicBezTo>
                  <a:cubicBezTo>
                    <a:pt x="14" y="74"/>
                    <a:pt x="13" y="75"/>
                    <a:pt x="12" y="75"/>
                  </a:cubicBezTo>
                  <a:cubicBezTo>
                    <a:pt x="11" y="75"/>
                    <a:pt x="11" y="75"/>
                    <a:pt x="11" y="75"/>
                  </a:cubicBezTo>
                  <a:cubicBezTo>
                    <a:pt x="11" y="76"/>
                    <a:pt x="13" y="77"/>
                    <a:pt x="15" y="78"/>
                  </a:cubicBezTo>
                  <a:cubicBezTo>
                    <a:pt x="18" y="80"/>
                    <a:pt x="19" y="81"/>
                    <a:pt x="19" y="82"/>
                  </a:cubicBezTo>
                  <a:cubicBezTo>
                    <a:pt x="19" y="83"/>
                    <a:pt x="22" y="84"/>
                    <a:pt x="23" y="84"/>
                  </a:cubicBezTo>
                  <a:cubicBezTo>
                    <a:pt x="26" y="85"/>
                    <a:pt x="29" y="86"/>
                    <a:pt x="29" y="88"/>
                  </a:cubicBezTo>
                  <a:cubicBezTo>
                    <a:pt x="29" y="90"/>
                    <a:pt x="31" y="90"/>
                    <a:pt x="32" y="90"/>
                  </a:cubicBezTo>
                  <a:cubicBezTo>
                    <a:pt x="33" y="90"/>
                    <a:pt x="34" y="90"/>
                    <a:pt x="36" y="90"/>
                  </a:cubicBezTo>
                  <a:cubicBezTo>
                    <a:pt x="36" y="90"/>
                    <a:pt x="36" y="90"/>
                    <a:pt x="37" y="90"/>
                  </a:cubicBezTo>
                  <a:cubicBezTo>
                    <a:pt x="40" y="90"/>
                    <a:pt x="41" y="93"/>
                    <a:pt x="43" y="96"/>
                  </a:cubicBezTo>
                  <a:cubicBezTo>
                    <a:pt x="44" y="97"/>
                    <a:pt x="44" y="98"/>
                    <a:pt x="45" y="99"/>
                  </a:cubicBezTo>
                  <a:cubicBezTo>
                    <a:pt x="46" y="100"/>
                    <a:pt x="48" y="101"/>
                    <a:pt x="51" y="101"/>
                  </a:cubicBezTo>
                  <a:cubicBezTo>
                    <a:pt x="56" y="101"/>
                    <a:pt x="63" y="99"/>
                    <a:pt x="63" y="96"/>
                  </a:cubicBezTo>
                  <a:cubicBezTo>
                    <a:pt x="63" y="91"/>
                    <a:pt x="67" y="89"/>
                    <a:pt x="75" y="90"/>
                  </a:cubicBezTo>
                  <a:cubicBezTo>
                    <a:pt x="80" y="91"/>
                    <a:pt x="86" y="95"/>
                    <a:pt x="90" y="98"/>
                  </a:cubicBezTo>
                  <a:cubicBezTo>
                    <a:pt x="92" y="100"/>
                    <a:pt x="94" y="101"/>
                    <a:pt x="95" y="102"/>
                  </a:cubicBezTo>
                  <a:cubicBezTo>
                    <a:pt x="97" y="102"/>
                    <a:pt x="100" y="102"/>
                    <a:pt x="103" y="101"/>
                  </a:cubicBezTo>
                  <a:cubicBezTo>
                    <a:pt x="106" y="100"/>
                    <a:pt x="108" y="99"/>
                    <a:pt x="110" y="99"/>
                  </a:cubicBezTo>
                  <a:cubicBezTo>
                    <a:pt x="113" y="99"/>
                    <a:pt x="117" y="96"/>
                    <a:pt x="120" y="93"/>
                  </a:cubicBezTo>
                  <a:cubicBezTo>
                    <a:pt x="121" y="92"/>
                    <a:pt x="123" y="91"/>
                    <a:pt x="123" y="91"/>
                  </a:cubicBezTo>
                  <a:cubicBezTo>
                    <a:pt x="124" y="91"/>
                    <a:pt x="124" y="90"/>
                    <a:pt x="124" y="90"/>
                  </a:cubicBezTo>
                  <a:cubicBezTo>
                    <a:pt x="126" y="90"/>
                    <a:pt x="127" y="91"/>
                    <a:pt x="128" y="92"/>
                  </a:cubicBezTo>
                  <a:cubicBezTo>
                    <a:pt x="130" y="93"/>
                    <a:pt x="131" y="94"/>
                    <a:pt x="133" y="94"/>
                  </a:cubicBezTo>
                  <a:cubicBezTo>
                    <a:pt x="134" y="94"/>
                    <a:pt x="134" y="94"/>
                    <a:pt x="135" y="94"/>
                  </a:cubicBezTo>
                  <a:cubicBezTo>
                    <a:pt x="138" y="92"/>
                    <a:pt x="141" y="90"/>
                    <a:pt x="144" y="90"/>
                  </a:cubicBezTo>
                  <a:close/>
                  <a:moveTo>
                    <a:pt x="9" y="28"/>
                  </a:moveTo>
                  <a:cubicBezTo>
                    <a:pt x="6" y="28"/>
                    <a:pt x="3" y="26"/>
                    <a:pt x="0" y="24"/>
                  </a:cubicBezTo>
                  <a:cubicBezTo>
                    <a:pt x="0" y="24"/>
                    <a:pt x="0" y="24"/>
                    <a:pt x="0" y="24"/>
                  </a:cubicBezTo>
                  <a:cubicBezTo>
                    <a:pt x="0" y="23"/>
                    <a:pt x="0" y="23"/>
                    <a:pt x="0" y="23"/>
                  </a:cubicBezTo>
                  <a:cubicBezTo>
                    <a:pt x="1" y="23"/>
                    <a:pt x="1" y="23"/>
                    <a:pt x="1" y="22"/>
                  </a:cubicBezTo>
                  <a:cubicBezTo>
                    <a:pt x="2" y="21"/>
                    <a:pt x="3" y="20"/>
                    <a:pt x="3" y="19"/>
                  </a:cubicBezTo>
                  <a:cubicBezTo>
                    <a:pt x="3" y="18"/>
                    <a:pt x="4" y="17"/>
                    <a:pt x="5" y="16"/>
                  </a:cubicBezTo>
                  <a:cubicBezTo>
                    <a:pt x="6" y="15"/>
                    <a:pt x="8" y="14"/>
                    <a:pt x="8" y="12"/>
                  </a:cubicBezTo>
                  <a:cubicBezTo>
                    <a:pt x="8" y="11"/>
                    <a:pt x="7" y="9"/>
                    <a:pt x="7" y="7"/>
                  </a:cubicBezTo>
                  <a:cubicBezTo>
                    <a:pt x="6" y="4"/>
                    <a:pt x="5" y="2"/>
                    <a:pt x="7" y="2"/>
                  </a:cubicBezTo>
                  <a:cubicBezTo>
                    <a:pt x="8" y="1"/>
                    <a:pt x="12" y="1"/>
                    <a:pt x="15" y="1"/>
                  </a:cubicBezTo>
                  <a:cubicBezTo>
                    <a:pt x="18" y="1"/>
                    <a:pt x="20" y="1"/>
                    <a:pt x="22" y="2"/>
                  </a:cubicBezTo>
                  <a:cubicBezTo>
                    <a:pt x="23" y="3"/>
                    <a:pt x="25" y="2"/>
                    <a:pt x="27" y="1"/>
                  </a:cubicBezTo>
                  <a:cubicBezTo>
                    <a:pt x="28" y="0"/>
                    <a:pt x="28" y="0"/>
                    <a:pt x="28" y="0"/>
                  </a:cubicBezTo>
                  <a:cubicBezTo>
                    <a:pt x="28" y="2"/>
                    <a:pt x="28" y="2"/>
                    <a:pt x="28" y="2"/>
                  </a:cubicBezTo>
                  <a:cubicBezTo>
                    <a:pt x="29" y="4"/>
                    <a:pt x="30" y="7"/>
                    <a:pt x="31" y="8"/>
                  </a:cubicBezTo>
                  <a:cubicBezTo>
                    <a:pt x="33" y="9"/>
                    <a:pt x="35" y="10"/>
                    <a:pt x="37" y="11"/>
                  </a:cubicBezTo>
                  <a:cubicBezTo>
                    <a:pt x="40" y="13"/>
                    <a:pt x="43" y="15"/>
                    <a:pt x="43" y="16"/>
                  </a:cubicBezTo>
                  <a:cubicBezTo>
                    <a:pt x="43" y="17"/>
                    <a:pt x="43" y="17"/>
                    <a:pt x="42" y="18"/>
                  </a:cubicBezTo>
                  <a:cubicBezTo>
                    <a:pt x="41" y="19"/>
                    <a:pt x="38" y="19"/>
                    <a:pt x="35" y="19"/>
                  </a:cubicBezTo>
                  <a:cubicBezTo>
                    <a:pt x="34" y="19"/>
                    <a:pt x="33" y="19"/>
                    <a:pt x="32" y="19"/>
                  </a:cubicBezTo>
                  <a:cubicBezTo>
                    <a:pt x="31" y="19"/>
                    <a:pt x="30" y="19"/>
                    <a:pt x="29" y="19"/>
                  </a:cubicBezTo>
                  <a:cubicBezTo>
                    <a:pt x="27" y="19"/>
                    <a:pt x="24" y="19"/>
                    <a:pt x="23" y="20"/>
                  </a:cubicBezTo>
                  <a:cubicBezTo>
                    <a:pt x="21" y="21"/>
                    <a:pt x="19" y="22"/>
                    <a:pt x="17" y="24"/>
                  </a:cubicBezTo>
                  <a:cubicBezTo>
                    <a:pt x="15" y="26"/>
                    <a:pt x="13" y="28"/>
                    <a:pt x="9" y="28"/>
                  </a:cubicBezTo>
                  <a:close/>
                  <a:moveTo>
                    <a:pt x="1" y="24"/>
                  </a:moveTo>
                  <a:cubicBezTo>
                    <a:pt x="4" y="26"/>
                    <a:pt x="6" y="27"/>
                    <a:pt x="9" y="27"/>
                  </a:cubicBezTo>
                  <a:cubicBezTo>
                    <a:pt x="12" y="27"/>
                    <a:pt x="14" y="25"/>
                    <a:pt x="17" y="23"/>
                  </a:cubicBezTo>
                  <a:cubicBezTo>
                    <a:pt x="18" y="22"/>
                    <a:pt x="20" y="20"/>
                    <a:pt x="22" y="19"/>
                  </a:cubicBezTo>
                  <a:cubicBezTo>
                    <a:pt x="24" y="18"/>
                    <a:pt x="27" y="18"/>
                    <a:pt x="29" y="18"/>
                  </a:cubicBezTo>
                  <a:cubicBezTo>
                    <a:pt x="30" y="18"/>
                    <a:pt x="31" y="18"/>
                    <a:pt x="32" y="18"/>
                  </a:cubicBezTo>
                  <a:cubicBezTo>
                    <a:pt x="33" y="18"/>
                    <a:pt x="35" y="18"/>
                    <a:pt x="35" y="18"/>
                  </a:cubicBezTo>
                  <a:cubicBezTo>
                    <a:pt x="38" y="18"/>
                    <a:pt x="41" y="18"/>
                    <a:pt x="42" y="17"/>
                  </a:cubicBezTo>
                  <a:cubicBezTo>
                    <a:pt x="42" y="17"/>
                    <a:pt x="42" y="17"/>
                    <a:pt x="42" y="17"/>
                  </a:cubicBezTo>
                  <a:cubicBezTo>
                    <a:pt x="42" y="15"/>
                    <a:pt x="39" y="14"/>
                    <a:pt x="36" y="12"/>
                  </a:cubicBezTo>
                  <a:cubicBezTo>
                    <a:pt x="34" y="11"/>
                    <a:pt x="32" y="10"/>
                    <a:pt x="31" y="9"/>
                  </a:cubicBezTo>
                  <a:cubicBezTo>
                    <a:pt x="29" y="7"/>
                    <a:pt x="28" y="4"/>
                    <a:pt x="27" y="2"/>
                  </a:cubicBezTo>
                  <a:cubicBezTo>
                    <a:pt x="27" y="2"/>
                    <a:pt x="27" y="2"/>
                    <a:pt x="27" y="2"/>
                  </a:cubicBezTo>
                  <a:cubicBezTo>
                    <a:pt x="25" y="3"/>
                    <a:pt x="23" y="4"/>
                    <a:pt x="21" y="3"/>
                  </a:cubicBezTo>
                  <a:cubicBezTo>
                    <a:pt x="20" y="2"/>
                    <a:pt x="18" y="2"/>
                    <a:pt x="15" y="2"/>
                  </a:cubicBezTo>
                  <a:cubicBezTo>
                    <a:pt x="12" y="2"/>
                    <a:pt x="8" y="2"/>
                    <a:pt x="7" y="3"/>
                  </a:cubicBezTo>
                  <a:cubicBezTo>
                    <a:pt x="6" y="3"/>
                    <a:pt x="7" y="5"/>
                    <a:pt x="8" y="7"/>
                  </a:cubicBezTo>
                  <a:cubicBezTo>
                    <a:pt x="8" y="8"/>
                    <a:pt x="9" y="10"/>
                    <a:pt x="9" y="12"/>
                  </a:cubicBezTo>
                  <a:cubicBezTo>
                    <a:pt x="9" y="14"/>
                    <a:pt x="7" y="16"/>
                    <a:pt x="6" y="17"/>
                  </a:cubicBezTo>
                  <a:cubicBezTo>
                    <a:pt x="5" y="17"/>
                    <a:pt x="4" y="18"/>
                    <a:pt x="4" y="19"/>
                  </a:cubicBezTo>
                  <a:cubicBezTo>
                    <a:pt x="4" y="20"/>
                    <a:pt x="3" y="22"/>
                    <a:pt x="2" y="23"/>
                  </a:cubicBezTo>
                  <a:cubicBezTo>
                    <a:pt x="2" y="23"/>
                    <a:pt x="1" y="23"/>
                    <a:pt x="1"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1" name="Freeform 58"/>
            <p:cNvSpPr>
              <a:spLocks noEditPoints="1"/>
            </p:cNvSpPr>
            <p:nvPr/>
          </p:nvSpPr>
          <p:spPr>
            <a:xfrm>
              <a:off x="6705601" y="2878138"/>
              <a:ext cx="60325" cy="57150"/>
            </a:xfrm>
            <a:custGeom>
              <a:gdLst>
                <a:gd name="T0" fmla="*/ 13 w 35"/>
                <a:gd name="T1" fmla="*/ 34 h 34"/>
                <a:gd name="T2" fmla="*/ 13 w 35"/>
                <a:gd name="T3" fmla="*/ 33 h 34"/>
                <a:gd name="T4" fmla="*/ 12 w 35"/>
                <a:gd name="T5" fmla="*/ 25 h 34"/>
                <a:gd name="T6" fmla="*/ 3 w 35"/>
                <a:gd name="T7" fmla="*/ 15 h 34"/>
                <a:gd name="T8" fmla="*/ 1 w 35"/>
                <a:gd name="T9" fmla="*/ 11 h 34"/>
                <a:gd name="T10" fmla="*/ 0 w 35"/>
                <a:gd name="T11" fmla="*/ 11 h 34"/>
                <a:gd name="T12" fmla="*/ 1 w 35"/>
                <a:gd name="T13" fmla="*/ 10 h 34"/>
                <a:gd name="T14" fmla="*/ 17 w 35"/>
                <a:gd name="T15" fmla="*/ 1 h 34"/>
                <a:gd name="T16" fmla="*/ 34 w 35"/>
                <a:gd name="T17" fmla="*/ 12 h 34"/>
                <a:gd name="T18" fmla="*/ 35 w 35"/>
                <a:gd name="T19" fmla="*/ 15 h 34"/>
                <a:gd name="T20" fmla="*/ 20 w 35"/>
                <a:gd name="T21" fmla="*/ 33 h 34"/>
                <a:gd name="T22" fmla="*/ 14 w 35"/>
                <a:gd name="T23" fmla="*/ 34 h 34"/>
                <a:gd name="T24" fmla="*/ 13 w 35"/>
                <a:gd name="T25" fmla="*/ 34 h 34"/>
                <a:gd name="T26" fmla="*/ 2 w 35"/>
                <a:gd name="T27" fmla="*/ 10 h 34"/>
                <a:gd name="T28" fmla="*/ 4 w 35"/>
                <a:gd name="T29" fmla="*/ 15 h 34"/>
                <a:gd name="T30" fmla="*/ 12 w 35"/>
                <a:gd name="T31" fmla="*/ 24 h 34"/>
                <a:gd name="T32" fmla="*/ 14 w 35"/>
                <a:gd name="T33" fmla="*/ 33 h 34"/>
                <a:gd name="T34" fmla="*/ 20 w 35"/>
                <a:gd name="T35" fmla="*/ 32 h 34"/>
                <a:gd name="T36" fmla="*/ 34 w 35"/>
                <a:gd name="T37" fmla="*/ 15 h 34"/>
                <a:gd name="T38" fmla="*/ 33 w 35"/>
                <a:gd name="T39" fmla="*/ 12 h 34"/>
                <a:gd name="T40" fmla="*/ 17 w 35"/>
                <a:gd name="T41" fmla="*/ 2 h 34"/>
                <a:gd name="T42" fmla="*/ 2 w 35"/>
                <a:gd name="T43" fmla="*/ 10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13" y="34"/>
                  </a:moveTo>
                  <a:cubicBezTo>
                    <a:pt x="13" y="33"/>
                    <a:pt x="13" y="33"/>
                    <a:pt x="13" y="33"/>
                  </a:cubicBezTo>
                  <a:cubicBezTo>
                    <a:pt x="14" y="30"/>
                    <a:pt x="14" y="26"/>
                    <a:pt x="12" y="25"/>
                  </a:cubicBezTo>
                  <a:cubicBezTo>
                    <a:pt x="7" y="22"/>
                    <a:pt x="4" y="19"/>
                    <a:pt x="3" y="15"/>
                  </a:cubicBezTo>
                  <a:cubicBezTo>
                    <a:pt x="3" y="14"/>
                    <a:pt x="2" y="12"/>
                    <a:pt x="1" y="11"/>
                  </a:cubicBezTo>
                  <a:cubicBezTo>
                    <a:pt x="0" y="11"/>
                    <a:pt x="0" y="11"/>
                    <a:pt x="0" y="11"/>
                  </a:cubicBezTo>
                  <a:cubicBezTo>
                    <a:pt x="1" y="10"/>
                    <a:pt x="1" y="10"/>
                    <a:pt x="1" y="10"/>
                  </a:cubicBezTo>
                  <a:cubicBezTo>
                    <a:pt x="2" y="6"/>
                    <a:pt x="12" y="0"/>
                    <a:pt x="17" y="1"/>
                  </a:cubicBezTo>
                  <a:cubicBezTo>
                    <a:pt x="22" y="1"/>
                    <a:pt x="31" y="7"/>
                    <a:pt x="34" y="12"/>
                  </a:cubicBezTo>
                  <a:cubicBezTo>
                    <a:pt x="35" y="13"/>
                    <a:pt x="35" y="14"/>
                    <a:pt x="35" y="15"/>
                  </a:cubicBezTo>
                  <a:cubicBezTo>
                    <a:pt x="34" y="18"/>
                    <a:pt x="24" y="32"/>
                    <a:pt x="20" y="33"/>
                  </a:cubicBezTo>
                  <a:cubicBezTo>
                    <a:pt x="18" y="33"/>
                    <a:pt x="16" y="33"/>
                    <a:pt x="14" y="34"/>
                  </a:cubicBezTo>
                  <a:lnTo>
                    <a:pt x="13" y="34"/>
                  </a:lnTo>
                  <a:close/>
                  <a:moveTo>
                    <a:pt x="2" y="10"/>
                  </a:moveTo>
                  <a:cubicBezTo>
                    <a:pt x="3" y="12"/>
                    <a:pt x="4" y="13"/>
                    <a:pt x="4" y="15"/>
                  </a:cubicBezTo>
                  <a:cubicBezTo>
                    <a:pt x="5" y="18"/>
                    <a:pt x="8" y="22"/>
                    <a:pt x="12" y="24"/>
                  </a:cubicBezTo>
                  <a:cubicBezTo>
                    <a:pt x="15" y="25"/>
                    <a:pt x="15" y="29"/>
                    <a:pt x="14" y="33"/>
                  </a:cubicBezTo>
                  <a:cubicBezTo>
                    <a:pt x="17" y="32"/>
                    <a:pt x="18" y="32"/>
                    <a:pt x="20" y="32"/>
                  </a:cubicBezTo>
                  <a:cubicBezTo>
                    <a:pt x="24" y="31"/>
                    <a:pt x="32" y="18"/>
                    <a:pt x="34" y="15"/>
                  </a:cubicBezTo>
                  <a:cubicBezTo>
                    <a:pt x="34" y="14"/>
                    <a:pt x="34" y="13"/>
                    <a:pt x="33" y="12"/>
                  </a:cubicBezTo>
                  <a:cubicBezTo>
                    <a:pt x="30" y="8"/>
                    <a:pt x="22" y="2"/>
                    <a:pt x="17" y="2"/>
                  </a:cubicBezTo>
                  <a:cubicBezTo>
                    <a:pt x="13" y="1"/>
                    <a:pt x="3" y="6"/>
                    <a:pt x="2" y="1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2" name="Freeform 59"/>
            <p:cNvSpPr>
              <a:spLocks noEditPoints="1"/>
            </p:cNvSpPr>
            <p:nvPr/>
          </p:nvSpPr>
          <p:spPr>
            <a:xfrm>
              <a:off x="7820026" y="2671763"/>
              <a:ext cx="173038" cy="160338"/>
            </a:xfrm>
            <a:custGeom>
              <a:gdLst>
                <a:gd name="T0" fmla="*/ 11 w 102"/>
                <a:gd name="T1" fmla="*/ 89 h 94"/>
                <a:gd name="T2" fmla="*/ 8 w 102"/>
                <a:gd name="T3" fmla="*/ 80 h 94"/>
                <a:gd name="T4" fmla="*/ 17 w 102"/>
                <a:gd name="T5" fmla="*/ 64 h 94"/>
                <a:gd name="T6" fmla="*/ 0 w 102"/>
                <a:gd name="T7" fmla="*/ 56 h 94"/>
                <a:gd name="T8" fmla="*/ 5 w 102"/>
                <a:gd name="T9" fmla="*/ 49 h 94"/>
                <a:gd name="T10" fmla="*/ 32 w 102"/>
                <a:gd name="T11" fmla="*/ 34 h 94"/>
                <a:gd name="T12" fmla="*/ 42 w 102"/>
                <a:gd name="T13" fmla="*/ 24 h 94"/>
                <a:gd name="T14" fmla="*/ 51 w 102"/>
                <a:gd name="T15" fmla="*/ 28 h 94"/>
                <a:gd name="T16" fmla="*/ 58 w 102"/>
                <a:gd name="T17" fmla="*/ 28 h 94"/>
                <a:gd name="T18" fmla="*/ 60 w 102"/>
                <a:gd name="T19" fmla="*/ 25 h 94"/>
                <a:gd name="T20" fmla="*/ 65 w 102"/>
                <a:gd name="T21" fmla="*/ 19 h 94"/>
                <a:gd name="T22" fmla="*/ 72 w 102"/>
                <a:gd name="T23" fmla="*/ 15 h 94"/>
                <a:gd name="T24" fmla="*/ 80 w 102"/>
                <a:gd name="T25" fmla="*/ 6 h 94"/>
                <a:gd name="T26" fmla="*/ 90 w 102"/>
                <a:gd name="T27" fmla="*/ 3 h 94"/>
                <a:gd name="T28" fmla="*/ 97 w 102"/>
                <a:gd name="T29" fmla="*/ 5 h 94"/>
                <a:gd name="T30" fmla="*/ 102 w 102"/>
                <a:gd name="T31" fmla="*/ 6 h 94"/>
                <a:gd name="T32" fmla="*/ 85 w 102"/>
                <a:gd name="T33" fmla="*/ 22 h 94"/>
                <a:gd name="T34" fmla="*/ 80 w 102"/>
                <a:gd name="T35" fmla="*/ 40 h 94"/>
                <a:gd name="T36" fmla="*/ 54 w 102"/>
                <a:gd name="T37" fmla="*/ 55 h 94"/>
                <a:gd name="T38" fmla="*/ 50 w 102"/>
                <a:gd name="T39" fmla="*/ 67 h 94"/>
                <a:gd name="T40" fmla="*/ 64 w 102"/>
                <a:gd name="T41" fmla="*/ 80 h 94"/>
                <a:gd name="T42" fmla="*/ 55 w 102"/>
                <a:gd name="T43" fmla="*/ 83 h 94"/>
                <a:gd name="T44" fmla="*/ 39 w 102"/>
                <a:gd name="T45" fmla="*/ 89 h 94"/>
                <a:gd name="T46" fmla="*/ 33 w 102"/>
                <a:gd name="T47" fmla="*/ 93 h 94"/>
                <a:gd name="T48" fmla="*/ 30 w 102"/>
                <a:gd name="T49" fmla="*/ 91 h 94"/>
                <a:gd name="T50" fmla="*/ 19 w 102"/>
                <a:gd name="T51" fmla="*/ 93 h 94"/>
                <a:gd name="T52" fmla="*/ 2 w 102"/>
                <a:gd name="T53" fmla="*/ 56 h 94"/>
                <a:gd name="T54" fmla="*/ 13 w 102"/>
                <a:gd name="T55" fmla="*/ 77 h 94"/>
                <a:gd name="T56" fmla="*/ 10 w 102"/>
                <a:gd name="T57" fmla="*/ 85 h 94"/>
                <a:gd name="T58" fmla="*/ 16 w 102"/>
                <a:gd name="T59" fmla="*/ 93 h 94"/>
                <a:gd name="T60" fmla="*/ 24 w 102"/>
                <a:gd name="T61" fmla="*/ 89 h 94"/>
                <a:gd name="T62" fmla="*/ 30 w 102"/>
                <a:gd name="T63" fmla="*/ 90 h 94"/>
                <a:gd name="T64" fmla="*/ 38 w 102"/>
                <a:gd name="T65" fmla="*/ 88 h 94"/>
                <a:gd name="T66" fmla="*/ 55 w 102"/>
                <a:gd name="T67" fmla="*/ 82 h 94"/>
                <a:gd name="T68" fmla="*/ 50 w 102"/>
                <a:gd name="T69" fmla="*/ 68 h 94"/>
                <a:gd name="T70" fmla="*/ 54 w 102"/>
                <a:gd name="T71" fmla="*/ 54 h 94"/>
                <a:gd name="T72" fmla="*/ 79 w 102"/>
                <a:gd name="T73" fmla="*/ 39 h 94"/>
                <a:gd name="T74" fmla="*/ 84 w 102"/>
                <a:gd name="T75" fmla="*/ 22 h 94"/>
                <a:gd name="T76" fmla="*/ 97 w 102"/>
                <a:gd name="T77" fmla="*/ 6 h 94"/>
                <a:gd name="T78" fmla="*/ 89 w 102"/>
                <a:gd name="T79" fmla="*/ 4 h 94"/>
                <a:gd name="T80" fmla="*/ 81 w 102"/>
                <a:gd name="T81" fmla="*/ 7 h 94"/>
                <a:gd name="T82" fmla="*/ 72 w 102"/>
                <a:gd name="T83" fmla="*/ 15 h 94"/>
                <a:gd name="T84" fmla="*/ 65 w 102"/>
                <a:gd name="T85" fmla="*/ 20 h 94"/>
                <a:gd name="T86" fmla="*/ 61 w 102"/>
                <a:gd name="T87" fmla="*/ 25 h 94"/>
                <a:gd name="T88" fmla="*/ 58 w 102"/>
                <a:gd name="T89" fmla="*/ 29 h 94"/>
                <a:gd name="T90" fmla="*/ 51 w 102"/>
                <a:gd name="T91" fmla="*/ 29 h 94"/>
                <a:gd name="T92" fmla="*/ 42 w 102"/>
                <a:gd name="T93" fmla="*/ 25 h 94"/>
                <a:gd name="T94" fmla="*/ 33 w 102"/>
                <a:gd name="T95" fmla="*/ 35 h 94"/>
                <a:gd name="T96" fmla="*/ 5 w 102"/>
                <a:gd name="T97" fmla="*/ 50 h 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 h="94">
                  <a:moveTo>
                    <a:pt x="16" y="94"/>
                  </a:moveTo>
                  <a:cubicBezTo>
                    <a:pt x="14" y="94"/>
                    <a:pt x="11" y="92"/>
                    <a:pt x="11" y="89"/>
                  </a:cubicBezTo>
                  <a:cubicBezTo>
                    <a:pt x="11" y="87"/>
                    <a:pt x="10" y="87"/>
                    <a:pt x="9" y="86"/>
                  </a:cubicBezTo>
                  <a:cubicBezTo>
                    <a:pt x="8" y="84"/>
                    <a:pt x="6" y="83"/>
                    <a:pt x="8" y="80"/>
                  </a:cubicBezTo>
                  <a:cubicBezTo>
                    <a:pt x="9" y="78"/>
                    <a:pt x="11" y="77"/>
                    <a:pt x="12" y="76"/>
                  </a:cubicBezTo>
                  <a:cubicBezTo>
                    <a:pt x="16" y="72"/>
                    <a:pt x="20" y="68"/>
                    <a:pt x="17" y="64"/>
                  </a:cubicBezTo>
                  <a:cubicBezTo>
                    <a:pt x="14" y="61"/>
                    <a:pt x="8" y="57"/>
                    <a:pt x="1" y="56"/>
                  </a:cubicBezTo>
                  <a:cubicBezTo>
                    <a:pt x="0" y="56"/>
                    <a:pt x="0" y="56"/>
                    <a:pt x="0" y="56"/>
                  </a:cubicBezTo>
                  <a:cubicBezTo>
                    <a:pt x="0" y="56"/>
                    <a:pt x="0" y="56"/>
                    <a:pt x="0" y="56"/>
                  </a:cubicBezTo>
                  <a:cubicBezTo>
                    <a:pt x="2" y="52"/>
                    <a:pt x="3" y="50"/>
                    <a:pt x="5" y="49"/>
                  </a:cubicBezTo>
                  <a:cubicBezTo>
                    <a:pt x="6" y="49"/>
                    <a:pt x="7" y="48"/>
                    <a:pt x="9" y="47"/>
                  </a:cubicBezTo>
                  <a:cubicBezTo>
                    <a:pt x="16" y="44"/>
                    <a:pt x="30" y="37"/>
                    <a:pt x="32" y="34"/>
                  </a:cubicBezTo>
                  <a:cubicBezTo>
                    <a:pt x="32" y="33"/>
                    <a:pt x="33" y="32"/>
                    <a:pt x="34" y="31"/>
                  </a:cubicBezTo>
                  <a:cubicBezTo>
                    <a:pt x="36" y="27"/>
                    <a:pt x="38" y="24"/>
                    <a:pt x="42" y="24"/>
                  </a:cubicBezTo>
                  <a:cubicBezTo>
                    <a:pt x="43" y="24"/>
                    <a:pt x="44" y="25"/>
                    <a:pt x="45" y="25"/>
                  </a:cubicBezTo>
                  <a:cubicBezTo>
                    <a:pt x="47" y="26"/>
                    <a:pt x="48" y="28"/>
                    <a:pt x="51" y="28"/>
                  </a:cubicBezTo>
                  <a:cubicBezTo>
                    <a:pt x="52" y="28"/>
                    <a:pt x="54" y="28"/>
                    <a:pt x="55" y="28"/>
                  </a:cubicBezTo>
                  <a:cubicBezTo>
                    <a:pt x="56" y="28"/>
                    <a:pt x="57" y="28"/>
                    <a:pt x="58" y="28"/>
                  </a:cubicBezTo>
                  <a:cubicBezTo>
                    <a:pt x="59" y="28"/>
                    <a:pt x="60" y="28"/>
                    <a:pt x="60" y="27"/>
                  </a:cubicBezTo>
                  <a:cubicBezTo>
                    <a:pt x="61" y="27"/>
                    <a:pt x="60" y="26"/>
                    <a:pt x="60" y="25"/>
                  </a:cubicBezTo>
                  <a:cubicBezTo>
                    <a:pt x="59" y="24"/>
                    <a:pt x="58" y="22"/>
                    <a:pt x="59" y="21"/>
                  </a:cubicBezTo>
                  <a:cubicBezTo>
                    <a:pt x="59" y="20"/>
                    <a:pt x="61" y="20"/>
                    <a:pt x="65" y="19"/>
                  </a:cubicBezTo>
                  <a:cubicBezTo>
                    <a:pt x="66" y="19"/>
                    <a:pt x="66" y="19"/>
                    <a:pt x="66" y="19"/>
                  </a:cubicBezTo>
                  <a:cubicBezTo>
                    <a:pt x="69" y="19"/>
                    <a:pt x="70" y="17"/>
                    <a:pt x="72" y="15"/>
                  </a:cubicBezTo>
                  <a:cubicBezTo>
                    <a:pt x="73" y="13"/>
                    <a:pt x="74" y="12"/>
                    <a:pt x="76" y="12"/>
                  </a:cubicBezTo>
                  <a:cubicBezTo>
                    <a:pt x="78" y="12"/>
                    <a:pt x="79" y="9"/>
                    <a:pt x="80" y="6"/>
                  </a:cubicBezTo>
                  <a:cubicBezTo>
                    <a:pt x="81" y="3"/>
                    <a:pt x="82" y="0"/>
                    <a:pt x="85" y="0"/>
                  </a:cubicBezTo>
                  <a:cubicBezTo>
                    <a:pt x="87" y="0"/>
                    <a:pt x="88" y="2"/>
                    <a:pt x="90" y="3"/>
                  </a:cubicBezTo>
                  <a:cubicBezTo>
                    <a:pt x="91" y="4"/>
                    <a:pt x="93" y="5"/>
                    <a:pt x="95" y="5"/>
                  </a:cubicBezTo>
                  <a:cubicBezTo>
                    <a:pt x="95" y="5"/>
                    <a:pt x="96" y="5"/>
                    <a:pt x="97" y="5"/>
                  </a:cubicBezTo>
                  <a:cubicBezTo>
                    <a:pt x="98" y="5"/>
                    <a:pt x="99" y="5"/>
                    <a:pt x="101" y="6"/>
                  </a:cubicBezTo>
                  <a:cubicBezTo>
                    <a:pt x="102" y="6"/>
                    <a:pt x="102" y="6"/>
                    <a:pt x="102" y="6"/>
                  </a:cubicBezTo>
                  <a:cubicBezTo>
                    <a:pt x="101" y="6"/>
                    <a:pt x="101" y="6"/>
                    <a:pt x="101" y="6"/>
                  </a:cubicBezTo>
                  <a:cubicBezTo>
                    <a:pt x="93" y="13"/>
                    <a:pt x="87" y="19"/>
                    <a:pt x="85" y="22"/>
                  </a:cubicBezTo>
                  <a:cubicBezTo>
                    <a:pt x="83" y="25"/>
                    <a:pt x="83" y="28"/>
                    <a:pt x="83" y="31"/>
                  </a:cubicBezTo>
                  <a:cubicBezTo>
                    <a:pt x="83" y="35"/>
                    <a:pt x="82" y="38"/>
                    <a:pt x="80" y="40"/>
                  </a:cubicBezTo>
                  <a:cubicBezTo>
                    <a:pt x="78" y="41"/>
                    <a:pt x="76" y="42"/>
                    <a:pt x="73" y="44"/>
                  </a:cubicBezTo>
                  <a:cubicBezTo>
                    <a:pt x="67" y="48"/>
                    <a:pt x="58" y="54"/>
                    <a:pt x="54" y="55"/>
                  </a:cubicBezTo>
                  <a:cubicBezTo>
                    <a:pt x="51" y="56"/>
                    <a:pt x="48" y="59"/>
                    <a:pt x="48" y="62"/>
                  </a:cubicBezTo>
                  <a:cubicBezTo>
                    <a:pt x="48" y="64"/>
                    <a:pt x="49" y="66"/>
                    <a:pt x="50" y="67"/>
                  </a:cubicBezTo>
                  <a:cubicBezTo>
                    <a:pt x="52" y="69"/>
                    <a:pt x="57" y="73"/>
                    <a:pt x="63" y="80"/>
                  </a:cubicBezTo>
                  <a:cubicBezTo>
                    <a:pt x="64" y="80"/>
                    <a:pt x="64" y="80"/>
                    <a:pt x="64" y="80"/>
                  </a:cubicBezTo>
                  <a:cubicBezTo>
                    <a:pt x="63" y="80"/>
                    <a:pt x="63" y="80"/>
                    <a:pt x="63" y="80"/>
                  </a:cubicBezTo>
                  <a:cubicBezTo>
                    <a:pt x="61" y="82"/>
                    <a:pt x="59" y="83"/>
                    <a:pt x="55" y="83"/>
                  </a:cubicBezTo>
                  <a:cubicBezTo>
                    <a:pt x="49" y="83"/>
                    <a:pt x="44" y="84"/>
                    <a:pt x="42" y="86"/>
                  </a:cubicBezTo>
                  <a:cubicBezTo>
                    <a:pt x="42" y="87"/>
                    <a:pt x="40" y="88"/>
                    <a:pt x="39" y="89"/>
                  </a:cubicBezTo>
                  <a:cubicBezTo>
                    <a:pt x="37" y="90"/>
                    <a:pt x="35" y="91"/>
                    <a:pt x="34" y="93"/>
                  </a:cubicBezTo>
                  <a:cubicBezTo>
                    <a:pt x="33" y="93"/>
                    <a:pt x="33" y="93"/>
                    <a:pt x="33" y="93"/>
                  </a:cubicBezTo>
                  <a:cubicBezTo>
                    <a:pt x="33" y="92"/>
                    <a:pt x="33" y="92"/>
                    <a:pt x="33" y="92"/>
                  </a:cubicBezTo>
                  <a:cubicBezTo>
                    <a:pt x="32" y="91"/>
                    <a:pt x="31" y="91"/>
                    <a:pt x="30" y="91"/>
                  </a:cubicBezTo>
                  <a:cubicBezTo>
                    <a:pt x="29" y="91"/>
                    <a:pt x="27" y="91"/>
                    <a:pt x="26" y="91"/>
                  </a:cubicBezTo>
                  <a:cubicBezTo>
                    <a:pt x="23" y="90"/>
                    <a:pt x="21" y="90"/>
                    <a:pt x="19" y="93"/>
                  </a:cubicBezTo>
                  <a:cubicBezTo>
                    <a:pt x="19" y="94"/>
                    <a:pt x="18" y="94"/>
                    <a:pt x="16" y="94"/>
                  </a:cubicBezTo>
                  <a:close/>
                  <a:moveTo>
                    <a:pt x="2" y="56"/>
                  </a:moveTo>
                  <a:cubicBezTo>
                    <a:pt x="9" y="56"/>
                    <a:pt x="15" y="60"/>
                    <a:pt x="18" y="64"/>
                  </a:cubicBezTo>
                  <a:cubicBezTo>
                    <a:pt x="21" y="68"/>
                    <a:pt x="17" y="73"/>
                    <a:pt x="13" y="77"/>
                  </a:cubicBezTo>
                  <a:cubicBezTo>
                    <a:pt x="11" y="78"/>
                    <a:pt x="10" y="79"/>
                    <a:pt x="9" y="80"/>
                  </a:cubicBezTo>
                  <a:cubicBezTo>
                    <a:pt x="7" y="83"/>
                    <a:pt x="8" y="84"/>
                    <a:pt x="10" y="85"/>
                  </a:cubicBezTo>
                  <a:cubicBezTo>
                    <a:pt x="11" y="86"/>
                    <a:pt x="12" y="87"/>
                    <a:pt x="12" y="89"/>
                  </a:cubicBezTo>
                  <a:cubicBezTo>
                    <a:pt x="12" y="91"/>
                    <a:pt x="15" y="93"/>
                    <a:pt x="16" y="93"/>
                  </a:cubicBezTo>
                  <a:cubicBezTo>
                    <a:pt x="17" y="93"/>
                    <a:pt x="18" y="93"/>
                    <a:pt x="18" y="92"/>
                  </a:cubicBezTo>
                  <a:cubicBezTo>
                    <a:pt x="20" y="90"/>
                    <a:pt x="21" y="89"/>
                    <a:pt x="24" y="89"/>
                  </a:cubicBezTo>
                  <a:cubicBezTo>
                    <a:pt x="24" y="89"/>
                    <a:pt x="25" y="89"/>
                    <a:pt x="26" y="90"/>
                  </a:cubicBezTo>
                  <a:cubicBezTo>
                    <a:pt x="27" y="90"/>
                    <a:pt x="29" y="90"/>
                    <a:pt x="30" y="90"/>
                  </a:cubicBezTo>
                  <a:cubicBezTo>
                    <a:pt x="31" y="90"/>
                    <a:pt x="33" y="90"/>
                    <a:pt x="34" y="91"/>
                  </a:cubicBezTo>
                  <a:cubicBezTo>
                    <a:pt x="35" y="90"/>
                    <a:pt x="37" y="89"/>
                    <a:pt x="38" y="88"/>
                  </a:cubicBezTo>
                  <a:cubicBezTo>
                    <a:pt x="40" y="87"/>
                    <a:pt x="41" y="86"/>
                    <a:pt x="42" y="85"/>
                  </a:cubicBezTo>
                  <a:cubicBezTo>
                    <a:pt x="44" y="83"/>
                    <a:pt x="48" y="82"/>
                    <a:pt x="55" y="82"/>
                  </a:cubicBezTo>
                  <a:cubicBezTo>
                    <a:pt x="58" y="82"/>
                    <a:pt x="60" y="81"/>
                    <a:pt x="62" y="80"/>
                  </a:cubicBezTo>
                  <a:cubicBezTo>
                    <a:pt x="57" y="74"/>
                    <a:pt x="52" y="69"/>
                    <a:pt x="50" y="68"/>
                  </a:cubicBezTo>
                  <a:cubicBezTo>
                    <a:pt x="48" y="67"/>
                    <a:pt x="47" y="65"/>
                    <a:pt x="47" y="62"/>
                  </a:cubicBezTo>
                  <a:cubicBezTo>
                    <a:pt x="48" y="58"/>
                    <a:pt x="50" y="55"/>
                    <a:pt x="54" y="54"/>
                  </a:cubicBezTo>
                  <a:cubicBezTo>
                    <a:pt x="58" y="53"/>
                    <a:pt x="66" y="48"/>
                    <a:pt x="73" y="43"/>
                  </a:cubicBezTo>
                  <a:cubicBezTo>
                    <a:pt x="75" y="41"/>
                    <a:pt x="78" y="40"/>
                    <a:pt x="79" y="39"/>
                  </a:cubicBezTo>
                  <a:cubicBezTo>
                    <a:pt x="81" y="38"/>
                    <a:pt x="82" y="35"/>
                    <a:pt x="82" y="31"/>
                  </a:cubicBezTo>
                  <a:cubicBezTo>
                    <a:pt x="82" y="28"/>
                    <a:pt x="82" y="25"/>
                    <a:pt x="84" y="22"/>
                  </a:cubicBezTo>
                  <a:cubicBezTo>
                    <a:pt x="86" y="18"/>
                    <a:pt x="93" y="11"/>
                    <a:pt x="100" y="6"/>
                  </a:cubicBezTo>
                  <a:cubicBezTo>
                    <a:pt x="99" y="6"/>
                    <a:pt x="98" y="6"/>
                    <a:pt x="97" y="6"/>
                  </a:cubicBezTo>
                  <a:cubicBezTo>
                    <a:pt x="96" y="6"/>
                    <a:pt x="96" y="6"/>
                    <a:pt x="95" y="6"/>
                  </a:cubicBezTo>
                  <a:cubicBezTo>
                    <a:pt x="93" y="6"/>
                    <a:pt x="91" y="5"/>
                    <a:pt x="89" y="4"/>
                  </a:cubicBezTo>
                  <a:cubicBezTo>
                    <a:pt x="88" y="2"/>
                    <a:pt x="86" y="1"/>
                    <a:pt x="85" y="1"/>
                  </a:cubicBezTo>
                  <a:cubicBezTo>
                    <a:pt x="83" y="1"/>
                    <a:pt x="82" y="4"/>
                    <a:pt x="81" y="7"/>
                  </a:cubicBezTo>
                  <a:cubicBezTo>
                    <a:pt x="80" y="10"/>
                    <a:pt x="79" y="13"/>
                    <a:pt x="76" y="13"/>
                  </a:cubicBezTo>
                  <a:cubicBezTo>
                    <a:pt x="74" y="13"/>
                    <a:pt x="73" y="14"/>
                    <a:pt x="72" y="15"/>
                  </a:cubicBezTo>
                  <a:cubicBezTo>
                    <a:pt x="71" y="17"/>
                    <a:pt x="70" y="20"/>
                    <a:pt x="66" y="20"/>
                  </a:cubicBezTo>
                  <a:cubicBezTo>
                    <a:pt x="65" y="20"/>
                    <a:pt x="65" y="20"/>
                    <a:pt x="65" y="20"/>
                  </a:cubicBezTo>
                  <a:cubicBezTo>
                    <a:pt x="62" y="21"/>
                    <a:pt x="60" y="21"/>
                    <a:pt x="60" y="22"/>
                  </a:cubicBezTo>
                  <a:cubicBezTo>
                    <a:pt x="59" y="22"/>
                    <a:pt x="60" y="23"/>
                    <a:pt x="61" y="25"/>
                  </a:cubicBezTo>
                  <a:cubicBezTo>
                    <a:pt x="61" y="26"/>
                    <a:pt x="62" y="27"/>
                    <a:pt x="61" y="28"/>
                  </a:cubicBezTo>
                  <a:cubicBezTo>
                    <a:pt x="61" y="29"/>
                    <a:pt x="59" y="29"/>
                    <a:pt x="58" y="29"/>
                  </a:cubicBezTo>
                  <a:cubicBezTo>
                    <a:pt x="57" y="29"/>
                    <a:pt x="56" y="29"/>
                    <a:pt x="55" y="29"/>
                  </a:cubicBezTo>
                  <a:cubicBezTo>
                    <a:pt x="54" y="29"/>
                    <a:pt x="52" y="29"/>
                    <a:pt x="51" y="29"/>
                  </a:cubicBezTo>
                  <a:cubicBezTo>
                    <a:pt x="48" y="29"/>
                    <a:pt x="46" y="27"/>
                    <a:pt x="45" y="26"/>
                  </a:cubicBezTo>
                  <a:cubicBezTo>
                    <a:pt x="44" y="25"/>
                    <a:pt x="43" y="25"/>
                    <a:pt x="42" y="25"/>
                  </a:cubicBezTo>
                  <a:cubicBezTo>
                    <a:pt x="39" y="25"/>
                    <a:pt x="37" y="28"/>
                    <a:pt x="35" y="32"/>
                  </a:cubicBezTo>
                  <a:cubicBezTo>
                    <a:pt x="34" y="33"/>
                    <a:pt x="33" y="34"/>
                    <a:pt x="33" y="35"/>
                  </a:cubicBezTo>
                  <a:cubicBezTo>
                    <a:pt x="30" y="38"/>
                    <a:pt x="17" y="44"/>
                    <a:pt x="9" y="48"/>
                  </a:cubicBezTo>
                  <a:cubicBezTo>
                    <a:pt x="8" y="49"/>
                    <a:pt x="6" y="50"/>
                    <a:pt x="5" y="50"/>
                  </a:cubicBezTo>
                  <a:cubicBezTo>
                    <a:pt x="4" y="51"/>
                    <a:pt x="3" y="52"/>
                    <a:pt x="2"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3" name="Freeform 60"/>
            <p:cNvSpPr>
              <a:spLocks noEditPoints="1"/>
            </p:cNvSpPr>
            <p:nvPr/>
          </p:nvSpPr>
          <p:spPr>
            <a:xfrm>
              <a:off x="6757989" y="3033713"/>
              <a:ext cx="188913" cy="107950"/>
            </a:xfrm>
            <a:custGeom>
              <a:gdLst>
                <a:gd name="T0" fmla="*/ 91 w 111"/>
                <a:gd name="T1" fmla="*/ 64 h 64"/>
                <a:gd name="T2" fmla="*/ 74 w 111"/>
                <a:gd name="T3" fmla="*/ 59 h 64"/>
                <a:gd name="T4" fmla="*/ 56 w 111"/>
                <a:gd name="T5" fmla="*/ 47 h 64"/>
                <a:gd name="T6" fmla="*/ 44 w 111"/>
                <a:gd name="T7" fmla="*/ 49 h 64"/>
                <a:gd name="T8" fmla="*/ 41 w 111"/>
                <a:gd name="T9" fmla="*/ 48 h 64"/>
                <a:gd name="T10" fmla="*/ 19 w 111"/>
                <a:gd name="T11" fmla="*/ 36 h 64"/>
                <a:gd name="T12" fmla="*/ 8 w 111"/>
                <a:gd name="T13" fmla="*/ 30 h 64"/>
                <a:gd name="T14" fmla="*/ 0 w 111"/>
                <a:gd name="T15" fmla="*/ 24 h 64"/>
                <a:gd name="T16" fmla="*/ 2 w 111"/>
                <a:gd name="T17" fmla="*/ 13 h 64"/>
                <a:gd name="T18" fmla="*/ 9 w 111"/>
                <a:gd name="T19" fmla="*/ 5 h 64"/>
                <a:gd name="T20" fmla="*/ 10 w 111"/>
                <a:gd name="T21" fmla="*/ 5 h 64"/>
                <a:gd name="T22" fmla="*/ 22 w 111"/>
                <a:gd name="T23" fmla="*/ 0 h 64"/>
                <a:gd name="T24" fmla="*/ 47 w 111"/>
                <a:gd name="T25" fmla="*/ 16 h 64"/>
                <a:gd name="T26" fmla="*/ 87 w 111"/>
                <a:gd name="T27" fmla="*/ 37 h 64"/>
                <a:gd name="T28" fmla="*/ 96 w 111"/>
                <a:gd name="T29" fmla="*/ 39 h 64"/>
                <a:gd name="T30" fmla="*/ 110 w 111"/>
                <a:gd name="T31" fmla="*/ 41 h 64"/>
                <a:gd name="T32" fmla="*/ 110 w 111"/>
                <a:gd name="T33" fmla="*/ 41 h 64"/>
                <a:gd name="T34" fmla="*/ 110 w 111"/>
                <a:gd name="T35" fmla="*/ 49 h 64"/>
                <a:gd name="T36" fmla="*/ 91 w 111"/>
                <a:gd name="T37" fmla="*/ 64 h 64"/>
                <a:gd name="T38" fmla="*/ 65 w 111"/>
                <a:gd name="T39" fmla="*/ 54 h 64"/>
                <a:gd name="T40" fmla="*/ 84 w 111"/>
                <a:gd name="T41" fmla="*/ 61 h 64"/>
                <a:gd name="T42" fmla="*/ 91 w 111"/>
                <a:gd name="T43" fmla="*/ 63 h 64"/>
                <a:gd name="T44" fmla="*/ 109 w 111"/>
                <a:gd name="T45" fmla="*/ 50 h 64"/>
                <a:gd name="T46" fmla="*/ 109 w 111"/>
                <a:gd name="T47" fmla="*/ 42 h 64"/>
                <a:gd name="T48" fmla="*/ 95 w 111"/>
                <a:gd name="T49" fmla="*/ 39 h 64"/>
                <a:gd name="T50" fmla="*/ 87 w 111"/>
                <a:gd name="T51" fmla="*/ 38 h 64"/>
                <a:gd name="T52" fmla="*/ 46 w 111"/>
                <a:gd name="T53" fmla="*/ 17 h 64"/>
                <a:gd name="T54" fmla="*/ 22 w 111"/>
                <a:gd name="T55" fmla="*/ 1 h 64"/>
                <a:gd name="T56" fmla="*/ 11 w 111"/>
                <a:gd name="T57" fmla="*/ 5 h 64"/>
                <a:gd name="T58" fmla="*/ 7 w 111"/>
                <a:gd name="T59" fmla="*/ 8 h 64"/>
                <a:gd name="T60" fmla="*/ 2 w 111"/>
                <a:gd name="T61" fmla="*/ 19 h 64"/>
                <a:gd name="T62" fmla="*/ 5 w 111"/>
                <a:gd name="T63" fmla="*/ 27 h 64"/>
                <a:gd name="T64" fmla="*/ 14 w 111"/>
                <a:gd name="T65" fmla="*/ 32 h 64"/>
                <a:gd name="T66" fmla="*/ 31 w 111"/>
                <a:gd name="T67" fmla="*/ 41 h 64"/>
                <a:gd name="T68" fmla="*/ 43 w 111"/>
                <a:gd name="T69" fmla="*/ 48 h 64"/>
                <a:gd name="T70" fmla="*/ 51 w 111"/>
                <a:gd name="T71" fmla="*/ 47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64">
                  <a:moveTo>
                    <a:pt x="91" y="64"/>
                  </a:moveTo>
                  <a:cubicBezTo>
                    <a:pt x="91" y="64"/>
                    <a:pt x="91" y="64"/>
                    <a:pt x="91" y="64"/>
                  </a:cubicBezTo>
                  <a:cubicBezTo>
                    <a:pt x="88" y="64"/>
                    <a:pt x="85" y="63"/>
                    <a:pt x="83" y="62"/>
                  </a:cubicBezTo>
                  <a:cubicBezTo>
                    <a:pt x="81" y="61"/>
                    <a:pt x="78" y="60"/>
                    <a:pt x="74" y="59"/>
                  </a:cubicBezTo>
                  <a:cubicBezTo>
                    <a:pt x="68" y="57"/>
                    <a:pt x="64" y="56"/>
                    <a:pt x="64" y="54"/>
                  </a:cubicBezTo>
                  <a:cubicBezTo>
                    <a:pt x="63" y="52"/>
                    <a:pt x="59" y="47"/>
                    <a:pt x="56" y="47"/>
                  </a:cubicBezTo>
                  <a:cubicBezTo>
                    <a:pt x="55" y="47"/>
                    <a:pt x="53" y="47"/>
                    <a:pt x="51" y="48"/>
                  </a:cubicBezTo>
                  <a:cubicBezTo>
                    <a:pt x="49" y="49"/>
                    <a:pt x="46" y="49"/>
                    <a:pt x="44" y="49"/>
                  </a:cubicBezTo>
                  <a:cubicBezTo>
                    <a:pt x="43" y="49"/>
                    <a:pt x="43" y="49"/>
                    <a:pt x="42" y="49"/>
                  </a:cubicBezTo>
                  <a:cubicBezTo>
                    <a:pt x="41" y="48"/>
                    <a:pt x="41" y="48"/>
                    <a:pt x="41" y="48"/>
                  </a:cubicBezTo>
                  <a:cubicBezTo>
                    <a:pt x="39" y="46"/>
                    <a:pt x="34" y="43"/>
                    <a:pt x="30" y="42"/>
                  </a:cubicBezTo>
                  <a:cubicBezTo>
                    <a:pt x="26" y="41"/>
                    <a:pt x="20" y="39"/>
                    <a:pt x="19" y="36"/>
                  </a:cubicBezTo>
                  <a:cubicBezTo>
                    <a:pt x="19" y="35"/>
                    <a:pt x="16" y="34"/>
                    <a:pt x="14" y="33"/>
                  </a:cubicBezTo>
                  <a:cubicBezTo>
                    <a:pt x="11" y="32"/>
                    <a:pt x="9" y="32"/>
                    <a:pt x="8" y="30"/>
                  </a:cubicBezTo>
                  <a:cubicBezTo>
                    <a:pt x="7" y="30"/>
                    <a:pt x="6" y="29"/>
                    <a:pt x="4" y="28"/>
                  </a:cubicBezTo>
                  <a:cubicBezTo>
                    <a:pt x="2" y="27"/>
                    <a:pt x="0" y="26"/>
                    <a:pt x="0" y="24"/>
                  </a:cubicBezTo>
                  <a:cubicBezTo>
                    <a:pt x="0" y="23"/>
                    <a:pt x="1" y="21"/>
                    <a:pt x="1" y="19"/>
                  </a:cubicBezTo>
                  <a:cubicBezTo>
                    <a:pt x="2" y="17"/>
                    <a:pt x="2" y="15"/>
                    <a:pt x="2" y="13"/>
                  </a:cubicBezTo>
                  <a:cubicBezTo>
                    <a:pt x="2" y="11"/>
                    <a:pt x="5" y="9"/>
                    <a:pt x="7" y="8"/>
                  </a:cubicBezTo>
                  <a:cubicBezTo>
                    <a:pt x="8" y="7"/>
                    <a:pt x="9" y="6"/>
                    <a:pt x="9" y="5"/>
                  </a:cubicBezTo>
                  <a:cubicBezTo>
                    <a:pt x="9" y="5"/>
                    <a:pt x="9" y="5"/>
                    <a:pt x="9" y="5"/>
                  </a:cubicBezTo>
                  <a:cubicBezTo>
                    <a:pt x="10" y="5"/>
                    <a:pt x="10" y="5"/>
                    <a:pt x="10" y="5"/>
                  </a:cubicBezTo>
                  <a:cubicBezTo>
                    <a:pt x="15" y="4"/>
                    <a:pt x="17" y="4"/>
                    <a:pt x="18" y="2"/>
                  </a:cubicBezTo>
                  <a:cubicBezTo>
                    <a:pt x="18" y="1"/>
                    <a:pt x="20" y="0"/>
                    <a:pt x="22" y="0"/>
                  </a:cubicBezTo>
                  <a:cubicBezTo>
                    <a:pt x="24" y="0"/>
                    <a:pt x="28" y="1"/>
                    <a:pt x="30" y="4"/>
                  </a:cubicBezTo>
                  <a:cubicBezTo>
                    <a:pt x="33" y="7"/>
                    <a:pt x="40" y="12"/>
                    <a:pt x="47" y="16"/>
                  </a:cubicBezTo>
                  <a:cubicBezTo>
                    <a:pt x="52" y="20"/>
                    <a:pt x="57" y="23"/>
                    <a:pt x="60" y="26"/>
                  </a:cubicBezTo>
                  <a:cubicBezTo>
                    <a:pt x="67" y="31"/>
                    <a:pt x="82" y="37"/>
                    <a:pt x="87" y="37"/>
                  </a:cubicBezTo>
                  <a:cubicBezTo>
                    <a:pt x="88" y="37"/>
                    <a:pt x="88" y="37"/>
                    <a:pt x="88" y="37"/>
                  </a:cubicBezTo>
                  <a:cubicBezTo>
                    <a:pt x="90" y="37"/>
                    <a:pt x="93" y="38"/>
                    <a:pt x="96" y="39"/>
                  </a:cubicBezTo>
                  <a:cubicBezTo>
                    <a:pt x="99" y="40"/>
                    <a:pt x="102" y="41"/>
                    <a:pt x="107" y="41"/>
                  </a:cubicBezTo>
                  <a:cubicBezTo>
                    <a:pt x="108" y="41"/>
                    <a:pt x="109" y="41"/>
                    <a:pt x="110" y="41"/>
                  </a:cubicBezTo>
                  <a:cubicBezTo>
                    <a:pt x="111" y="41"/>
                    <a:pt x="111" y="41"/>
                    <a:pt x="111" y="41"/>
                  </a:cubicBezTo>
                  <a:cubicBezTo>
                    <a:pt x="110" y="41"/>
                    <a:pt x="110" y="41"/>
                    <a:pt x="110" y="41"/>
                  </a:cubicBezTo>
                  <a:cubicBezTo>
                    <a:pt x="110" y="42"/>
                    <a:pt x="110" y="43"/>
                    <a:pt x="110" y="44"/>
                  </a:cubicBezTo>
                  <a:cubicBezTo>
                    <a:pt x="110" y="46"/>
                    <a:pt x="110" y="48"/>
                    <a:pt x="110" y="49"/>
                  </a:cubicBezTo>
                  <a:cubicBezTo>
                    <a:pt x="111" y="53"/>
                    <a:pt x="111" y="57"/>
                    <a:pt x="109" y="60"/>
                  </a:cubicBezTo>
                  <a:cubicBezTo>
                    <a:pt x="107" y="62"/>
                    <a:pt x="98" y="64"/>
                    <a:pt x="91" y="64"/>
                  </a:cubicBezTo>
                  <a:close/>
                  <a:moveTo>
                    <a:pt x="56" y="46"/>
                  </a:moveTo>
                  <a:cubicBezTo>
                    <a:pt x="60" y="46"/>
                    <a:pt x="64" y="51"/>
                    <a:pt x="65" y="54"/>
                  </a:cubicBezTo>
                  <a:cubicBezTo>
                    <a:pt x="65" y="55"/>
                    <a:pt x="70" y="57"/>
                    <a:pt x="74" y="58"/>
                  </a:cubicBezTo>
                  <a:cubicBezTo>
                    <a:pt x="78" y="59"/>
                    <a:pt x="82" y="60"/>
                    <a:pt x="84" y="61"/>
                  </a:cubicBezTo>
                  <a:cubicBezTo>
                    <a:pt x="85" y="62"/>
                    <a:pt x="87" y="63"/>
                    <a:pt x="91" y="63"/>
                  </a:cubicBezTo>
                  <a:cubicBezTo>
                    <a:pt x="91" y="63"/>
                    <a:pt x="91" y="63"/>
                    <a:pt x="91" y="63"/>
                  </a:cubicBezTo>
                  <a:cubicBezTo>
                    <a:pt x="98" y="63"/>
                    <a:pt x="106" y="61"/>
                    <a:pt x="108" y="59"/>
                  </a:cubicBezTo>
                  <a:cubicBezTo>
                    <a:pt x="110" y="57"/>
                    <a:pt x="110" y="53"/>
                    <a:pt x="109" y="50"/>
                  </a:cubicBezTo>
                  <a:cubicBezTo>
                    <a:pt x="109" y="48"/>
                    <a:pt x="109" y="46"/>
                    <a:pt x="109" y="44"/>
                  </a:cubicBezTo>
                  <a:cubicBezTo>
                    <a:pt x="109" y="43"/>
                    <a:pt x="109" y="42"/>
                    <a:pt x="109" y="42"/>
                  </a:cubicBezTo>
                  <a:cubicBezTo>
                    <a:pt x="108" y="42"/>
                    <a:pt x="108" y="42"/>
                    <a:pt x="107" y="42"/>
                  </a:cubicBezTo>
                  <a:cubicBezTo>
                    <a:pt x="102" y="42"/>
                    <a:pt x="98" y="41"/>
                    <a:pt x="95" y="39"/>
                  </a:cubicBezTo>
                  <a:cubicBezTo>
                    <a:pt x="93" y="39"/>
                    <a:pt x="90" y="38"/>
                    <a:pt x="88" y="38"/>
                  </a:cubicBezTo>
                  <a:cubicBezTo>
                    <a:pt x="87" y="38"/>
                    <a:pt x="87" y="38"/>
                    <a:pt x="87" y="38"/>
                  </a:cubicBezTo>
                  <a:cubicBezTo>
                    <a:pt x="82" y="38"/>
                    <a:pt x="66" y="32"/>
                    <a:pt x="59" y="27"/>
                  </a:cubicBezTo>
                  <a:cubicBezTo>
                    <a:pt x="56" y="24"/>
                    <a:pt x="51" y="21"/>
                    <a:pt x="46" y="17"/>
                  </a:cubicBezTo>
                  <a:cubicBezTo>
                    <a:pt x="39" y="12"/>
                    <a:pt x="32" y="8"/>
                    <a:pt x="30" y="5"/>
                  </a:cubicBezTo>
                  <a:cubicBezTo>
                    <a:pt x="27" y="2"/>
                    <a:pt x="24" y="1"/>
                    <a:pt x="22" y="1"/>
                  </a:cubicBezTo>
                  <a:cubicBezTo>
                    <a:pt x="20" y="1"/>
                    <a:pt x="19" y="2"/>
                    <a:pt x="19" y="2"/>
                  </a:cubicBezTo>
                  <a:cubicBezTo>
                    <a:pt x="18" y="5"/>
                    <a:pt x="15" y="5"/>
                    <a:pt x="11" y="5"/>
                  </a:cubicBezTo>
                  <a:cubicBezTo>
                    <a:pt x="10" y="6"/>
                    <a:pt x="10" y="6"/>
                    <a:pt x="10" y="6"/>
                  </a:cubicBezTo>
                  <a:cubicBezTo>
                    <a:pt x="9" y="6"/>
                    <a:pt x="8" y="7"/>
                    <a:pt x="7" y="8"/>
                  </a:cubicBezTo>
                  <a:cubicBezTo>
                    <a:pt x="5" y="10"/>
                    <a:pt x="3" y="12"/>
                    <a:pt x="3" y="13"/>
                  </a:cubicBezTo>
                  <a:cubicBezTo>
                    <a:pt x="3" y="15"/>
                    <a:pt x="3" y="17"/>
                    <a:pt x="2" y="19"/>
                  </a:cubicBezTo>
                  <a:cubicBezTo>
                    <a:pt x="2" y="21"/>
                    <a:pt x="1" y="23"/>
                    <a:pt x="1" y="24"/>
                  </a:cubicBezTo>
                  <a:cubicBezTo>
                    <a:pt x="1" y="26"/>
                    <a:pt x="3" y="26"/>
                    <a:pt x="5" y="27"/>
                  </a:cubicBezTo>
                  <a:cubicBezTo>
                    <a:pt x="6" y="28"/>
                    <a:pt x="8" y="29"/>
                    <a:pt x="8" y="30"/>
                  </a:cubicBezTo>
                  <a:cubicBezTo>
                    <a:pt x="9" y="31"/>
                    <a:pt x="12" y="32"/>
                    <a:pt x="14" y="32"/>
                  </a:cubicBezTo>
                  <a:cubicBezTo>
                    <a:pt x="17" y="33"/>
                    <a:pt x="20" y="34"/>
                    <a:pt x="20" y="36"/>
                  </a:cubicBezTo>
                  <a:cubicBezTo>
                    <a:pt x="21" y="38"/>
                    <a:pt x="27" y="40"/>
                    <a:pt x="31" y="41"/>
                  </a:cubicBezTo>
                  <a:cubicBezTo>
                    <a:pt x="34" y="42"/>
                    <a:pt x="39" y="45"/>
                    <a:pt x="42" y="48"/>
                  </a:cubicBezTo>
                  <a:cubicBezTo>
                    <a:pt x="43" y="48"/>
                    <a:pt x="43" y="48"/>
                    <a:pt x="43" y="48"/>
                  </a:cubicBezTo>
                  <a:cubicBezTo>
                    <a:pt x="44" y="48"/>
                    <a:pt x="44" y="48"/>
                    <a:pt x="44" y="48"/>
                  </a:cubicBezTo>
                  <a:cubicBezTo>
                    <a:pt x="46" y="48"/>
                    <a:pt x="49" y="48"/>
                    <a:pt x="51" y="47"/>
                  </a:cubicBezTo>
                  <a:cubicBezTo>
                    <a:pt x="53" y="46"/>
                    <a:pt x="55" y="46"/>
                    <a:pt x="56"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4" name="Freeform 61"/>
            <p:cNvSpPr>
              <a:spLocks noEditPoints="1"/>
            </p:cNvSpPr>
            <p:nvPr/>
          </p:nvSpPr>
          <p:spPr>
            <a:xfrm>
              <a:off x="7032626" y="3086100"/>
              <a:ext cx="214313" cy="463550"/>
            </a:xfrm>
            <a:custGeom>
              <a:gdLst>
                <a:gd name="T0" fmla="*/ 88 w 126"/>
                <a:gd name="T1" fmla="*/ 273 h 273"/>
                <a:gd name="T2" fmla="*/ 87 w 126"/>
                <a:gd name="T3" fmla="*/ 251 h 273"/>
                <a:gd name="T4" fmla="*/ 68 w 126"/>
                <a:gd name="T5" fmla="*/ 181 h 273"/>
                <a:gd name="T6" fmla="*/ 54 w 126"/>
                <a:gd name="T7" fmla="*/ 184 h 273"/>
                <a:gd name="T8" fmla="*/ 27 w 126"/>
                <a:gd name="T9" fmla="*/ 187 h 273"/>
                <a:gd name="T10" fmla="*/ 0 w 126"/>
                <a:gd name="T11" fmla="*/ 116 h 273"/>
                <a:gd name="T12" fmla="*/ 12 w 126"/>
                <a:gd name="T13" fmla="*/ 100 h 273"/>
                <a:gd name="T14" fmla="*/ 19 w 126"/>
                <a:gd name="T15" fmla="*/ 70 h 273"/>
                <a:gd name="T16" fmla="*/ 30 w 126"/>
                <a:gd name="T17" fmla="*/ 72 h 273"/>
                <a:gd name="T18" fmla="*/ 39 w 126"/>
                <a:gd name="T19" fmla="*/ 36 h 273"/>
                <a:gd name="T20" fmla="*/ 62 w 126"/>
                <a:gd name="T21" fmla="*/ 19 h 273"/>
                <a:gd name="T22" fmla="*/ 65 w 126"/>
                <a:gd name="T23" fmla="*/ 11 h 273"/>
                <a:gd name="T24" fmla="*/ 70 w 126"/>
                <a:gd name="T25" fmla="*/ 2 h 273"/>
                <a:gd name="T26" fmla="*/ 85 w 126"/>
                <a:gd name="T27" fmla="*/ 13 h 273"/>
                <a:gd name="T28" fmla="*/ 76 w 126"/>
                <a:gd name="T29" fmla="*/ 62 h 273"/>
                <a:gd name="T30" fmla="*/ 83 w 126"/>
                <a:gd name="T31" fmla="*/ 68 h 273"/>
                <a:gd name="T32" fmla="*/ 96 w 126"/>
                <a:gd name="T33" fmla="*/ 83 h 273"/>
                <a:gd name="T34" fmla="*/ 100 w 126"/>
                <a:gd name="T35" fmla="*/ 99 h 273"/>
                <a:gd name="T36" fmla="*/ 111 w 126"/>
                <a:gd name="T37" fmla="*/ 107 h 273"/>
                <a:gd name="T38" fmla="*/ 125 w 126"/>
                <a:gd name="T39" fmla="*/ 107 h 273"/>
                <a:gd name="T40" fmla="*/ 118 w 126"/>
                <a:gd name="T41" fmla="*/ 119 h 273"/>
                <a:gd name="T42" fmla="*/ 97 w 126"/>
                <a:gd name="T43" fmla="*/ 133 h 273"/>
                <a:gd name="T44" fmla="*/ 78 w 126"/>
                <a:gd name="T45" fmla="*/ 141 h 273"/>
                <a:gd name="T46" fmla="*/ 87 w 126"/>
                <a:gd name="T47" fmla="*/ 182 h 273"/>
                <a:gd name="T48" fmla="*/ 88 w 126"/>
                <a:gd name="T49" fmla="*/ 194 h 273"/>
                <a:gd name="T50" fmla="*/ 91 w 126"/>
                <a:gd name="T51" fmla="*/ 219 h 273"/>
                <a:gd name="T52" fmla="*/ 102 w 126"/>
                <a:gd name="T53" fmla="*/ 248 h 273"/>
                <a:gd name="T54" fmla="*/ 69 w 126"/>
                <a:gd name="T55" fmla="*/ 180 h 273"/>
                <a:gd name="T56" fmla="*/ 88 w 126"/>
                <a:gd name="T57" fmla="*/ 251 h 273"/>
                <a:gd name="T58" fmla="*/ 101 w 126"/>
                <a:gd name="T59" fmla="*/ 248 h 273"/>
                <a:gd name="T60" fmla="*/ 84 w 126"/>
                <a:gd name="T61" fmla="*/ 208 h 273"/>
                <a:gd name="T62" fmla="*/ 88 w 126"/>
                <a:gd name="T63" fmla="*/ 193 h 273"/>
                <a:gd name="T64" fmla="*/ 86 w 126"/>
                <a:gd name="T65" fmla="*/ 181 h 273"/>
                <a:gd name="T66" fmla="*/ 77 w 126"/>
                <a:gd name="T67" fmla="*/ 141 h 273"/>
                <a:gd name="T68" fmla="*/ 96 w 126"/>
                <a:gd name="T69" fmla="*/ 133 h 273"/>
                <a:gd name="T70" fmla="*/ 117 w 126"/>
                <a:gd name="T71" fmla="*/ 119 h 273"/>
                <a:gd name="T72" fmla="*/ 110 w 126"/>
                <a:gd name="T73" fmla="*/ 108 h 273"/>
                <a:gd name="T74" fmla="*/ 99 w 126"/>
                <a:gd name="T75" fmla="*/ 99 h 273"/>
                <a:gd name="T76" fmla="*/ 96 w 126"/>
                <a:gd name="T77" fmla="*/ 84 h 273"/>
                <a:gd name="T78" fmla="*/ 83 w 126"/>
                <a:gd name="T79" fmla="*/ 69 h 273"/>
                <a:gd name="T80" fmla="*/ 75 w 126"/>
                <a:gd name="T81" fmla="*/ 62 h 273"/>
                <a:gd name="T82" fmla="*/ 85 w 126"/>
                <a:gd name="T83" fmla="*/ 14 h 273"/>
                <a:gd name="T84" fmla="*/ 71 w 126"/>
                <a:gd name="T85" fmla="*/ 3 h 273"/>
                <a:gd name="T86" fmla="*/ 69 w 126"/>
                <a:gd name="T87" fmla="*/ 22 h 273"/>
                <a:gd name="T88" fmla="*/ 50 w 126"/>
                <a:gd name="T89" fmla="*/ 25 h 273"/>
                <a:gd name="T90" fmla="*/ 36 w 126"/>
                <a:gd name="T91" fmla="*/ 54 h 273"/>
                <a:gd name="T92" fmla="*/ 29 w 126"/>
                <a:gd name="T93" fmla="*/ 73 h 273"/>
                <a:gd name="T94" fmla="*/ 16 w 126"/>
                <a:gd name="T95" fmla="*/ 85 h 273"/>
                <a:gd name="T96" fmla="*/ 6 w 126"/>
                <a:gd name="T97" fmla="*/ 112 h 273"/>
                <a:gd name="T98" fmla="*/ 31 w 126"/>
                <a:gd name="T99" fmla="*/ 160 h 273"/>
                <a:gd name="T100" fmla="*/ 35 w 126"/>
                <a:gd name="T101" fmla="*/ 191 h 273"/>
                <a:gd name="T102" fmla="*/ 62 w 126"/>
                <a:gd name="T103" fmla="*/ 172 h 2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73">
                  <a:moveTo>
                    <a:pt x="89" y="273"/>
                  </a:moveTo>
                  <a:cubicBezTo>
                    <a:pt x="89" y="273"/>
                    <a:pt x="89" y="273"/>
                    <a:pt x="89" y="273"/>
                  </a:cubicBezTo>
                  <a:cubicBezTo>
                    <a:pt x="89" y="273"/>
                    <a:pt x="89" y="273"/>
                    <a:pt x="88" y="273"/>
                  </a:cubicBezTo>
                  <a:cubicBezTo>
                    <a:pt x="88" y="273"/>
                    <a:pt x="88" y="273"/>
                    <a:pt x="88" y="273"/>
                  </a:cubicBezTo>
                  <a:cubicBezTo>
                    <a:pt x="88" y="272"/>
                    <a:pt x="88" y="272"/>
                    <a:pt x="88" y="272"/>
                  </a:cubicBezTo>
                  <a:cubicBezTo>
                    <a:pt x="88" y="270"/>
                    <a:pt x="89" y="269"/>
                    <a:pt x="89" y="268"/>
                  </a:cubicBezTo>
                  <a:cubicBezTo>
                    <a:pt x="90" y="266"/>
                    <a:pt x="89" y="263"/>
                    <a:pt x="88" y="260"/>
                  </a:cubicBezTo>
                  <a:cubicBezTo>
                    <a:pt x="87" y="257"/>
                    <a:pt x="86" y="253"/>
                    <a:pt x="87" y="251"/>
                  </a:cubicBezTo>
                  <a:cubicBezTo>
                    <a:pt x="89" y="247"/>
                    <a:pt x="88" y="234"/>
                    <a:pt x="82" y="229"/>
                  </a:cubicBezTo>
                  <a:cubicBezTo>
                    <a:pt x="76" y="223"/>
                    <a:pt x="75" y="208"/>
                    <a:pt x="74" y="200"/>
                  </a:cubicBezTo>
                  <a:cubicBezTo>
                    <a:pt x="74" y="199"/>
                    <a:pt x="74" y="198"/>
                    <a:pt x="74" y="197"/>
                  </a:cubicBezTo>
                  <a:cubicBezTo>
                    <a:pt x="73" y="190"/>
                    <a:pt x="71" y="184"/>
                    <a:pt x="68" y="181"/>
                  </a:cubicBezTo>
                  <a:cubicBezTo>
                    <a:pt x="67" y="180"/>
                    <a:pt x="66" y="178"/>
                    <a:pt x="65" y="177"/>
                  </a:cubicBezTo>
                  <a:cubicBezTo>
                    <a:pt x="64" y="175"/>
                    <a:pt x="63" y="173"/>
                    <a:pt x="62" y="173"/>
                  </a:cubicBezTo>
                  <a:cubicBezTo>
                    <a:pt x="62" y="173"/>
                    <a:pt x="62" y="174"/>
                    <a:pt x="62" y="175"/>
                  </a:cubicBezTo>
                  <a:cubicBezTo>
                    <a:pt x="61" y="179"/>
                    <a:pt x="58" y="182"/>
                    <a:pt x="54" y="184"/>
                  </a:cubicBezTo>
                  <a:cubicBezTo>
                    <a:pt x="53" y="186"/>
                    <a:pt x="51" y="188"/>
                    <a:pt x="49" y="190"/>
                  </a:cubicBezTo>
                  <a:cubicBezTo>
                    <a:pt x="46" y="194"/>
                    <a:pt x="41" y="195"/>
                    <a:pt x="34" y="192"/>
                  </a:cubicBezTo>
                  <a:cubicBezTo>
                    <a:pt x="33" y="191"/>
                    <a:pt x="32" y="191"/>
                    <a:pt x="32" y="190"/>
                  </a:cubicBezTo>
                  <a:cubicBezTo>
                    <a:pt x="29" y="189"/>
                    <a:pt x="28" y="189"/>
                    <a:pt x="27" y="187"/>
                  </a:cubicBezTo>
                  <a:cubicBezTo>
                    <a:pt x="27" y="186"/>
                    <a:pt x="27" y="185"/>
                    <a:pt x="28" y="183"/>
                  </a:cubicBezTo>
                  <a:cubicBezTo>
                    <a:pt x="31" y="178"/>
                    <a:pt x="33" y="169"/>
                    <a:pt x="30" y="160"/>
                  </a:cubicBezTo>
                  <a:cubicBezTo>
                    <a:pt x="24" y="139"/>
                    <a:pt x="18" y="132"/>
                    <a:pt x="14" y="131"/>
                  </a:cubicBezTo>
                  <a:cubicBezTo>
                    <a:pt x="8" y="128"/>
                    <a:pt x="3" y="121"/>
                    <a:pt x="0" y="116"/>
                  </a:cubicBezTo>
                  <a:cubicBezTo>
                    <a:pt x="0" y="116"/>
                    <a:pt x="0" y="116"/>
                    <a:pt x="0" y="116"/>
                  </a:cubicBezTo>
                  <a:cubicBezTo>
                    <a:pt x="0" y="116"/>
                    <a:pt x="0" y="116"/>
                    <a:pt x="0" y="116"/>
                  </a:cubicBezTo>
                  <a:cubicBezTo>
                    <a:pt x="2" y="113"/>
                    <a:pt x="5" y="112"/>
                    <a:pt x="5" y="111"/>
                  </a:cubicBezTo>
                  <a:cubicBezTo>
                    <a:pt x="6" y="110"/>
                    <a:pt x="8" y="100"/>
                    <a:pt x="12" y="100"/>
                  </a:cubicBezTo>
                  <a:cubicBezTo>
                    <a:pt x="14" y="100"/>
                    <a:pt x="14" y="96"/>
                    <a:pt x="14" y="93"/>
                  </a:cubicBezTo>
                  <a:cubicBezTo>
                    <a:pt x="14" y="90"/>
                    <a:pt x="15" y="87"/>
                    <a:pt x="16" y="85"/>
                  </a:cubicBezTo>
                  <a:cubicBezTo>
                    <a:pt x="17" y="83"/>
                    <a:pt x="17" y="79"/>
                    <a:pt x="17" y="76"/>
                  </a:cubicBezTo>
                  <a:cubicBezTo>
                    <a:pt x="17" y="73"/>
                    <a:pt x="18" y="70"/>
                    <a:pt x="19" y="70"/>
                  </a:cubicBezTo>
                  <a:cubicBezTo>
                    <a:pt x="19" y="70"/>
                    <a:pt x="21" y="71"/>
                    <a:pt x="22" y="71"/>
                  </a:cubicBezTo>
                  <a:cubicBezTo>
                    <a:pt x="24" y="71"/>
                    <a:pt x="27" y="72"/>
                    <a:pt x="29" y="72"/>
                  </a:cubicBezTo>
                  <a:cubicBezTo>
                    <a:pt x="30" y="72"/>
                    <a:pt x="30" y="72"/>
                    <a:pt x="30" y="72"/>
                  </a:cubicBezTo>
                  <a:cubicBezTo>
                    <a:pt x="30" y="72"/>
                    <a:pt x="30" y="72"/>
                    <a:pt x="30" y="72"/>
                  </a:cubicBezTo>
                  <a:cubicBezTo>
                    <a:pt x="30" y="70"/>
                    <a:pt x="31" y="68"/>
                    <a:pt x="32" y="65"/>
                  </a:cubicBezTo>
                  <a:cubicBezTo>
                    <a:pt x="34" y="61"/>
                    <a:pt x="36" y="57"/>
                    <a:pt x="35" y="54"/>
                  </a:cubicBezTo>
                  <a:cubicBezTo>
                    <a:pt x="34" y="51"/>
                    <a:pt x="36" y="48"/>
                    <a:pt x="37" y="44"/>
                  </a:cubicBezTo>
                  <a:cubicBezTo>
                    <a:pt x="38" y="42"/>
                    <a:pt x="39" y="39"/>
                    <a:pt x="39" y="36"/>
                  </a:cubicBezTo>
                  <a:cubicBezTo>
                    <a:pt x="39" y="31"/>
                    <a:pt x="43" y="29"/>
                    <a:pt x="46" y="26"/>
                  </a:cubicBezTo>
                  <a:cubicBezTo>
                    <a:pt x="47" y="26"/>
                    <a:pt x="48" y="25"/>
                    <a:pt x="49" y="24"/>
                  </a:cubicBezTo>
                  <a:cubicBezTo>
                    <a:pt x="52" y="22"/>
                    <a:pt x="57" y="18"/>
                    <a:pt x="60" y="18"/>
                  </a:cubicBezTo>
                  <a:cubicBezTo>
                    <a:pt x="61" y="18"/>
                    <a:pt x="62" y="18"/>
                    <a:pt x="62" y="19"/>
                  </a:cubicBezTo>
                  <a:cubicBezTo>
                    <a:pt x="62" y="20"/>
                    <a:pt x="65" y="22"/>
                    <a:pt x="67" y="22"/>
                  </a:cubicBezTo>
                  <a:cubicBezTo>
                    <a:pt x="68" y="22"/>
                    <a:pt x="68" y="22"/>
                    <a:pt x="68" y="21"/>
                  </a:cubicBezTo>
                  <a:cubicBezTo>
                    <a:pt x="68" y="21"/>
                    <a:pt x="68" y="21"/>
                    <a:pt x="67" y="19"/>
                  </a:cubicBezTo>
                  <a:cubicBezTo>
                    <a:pt x="65" y="16"/>
                    <a:pt x="64" y="13"/>
                    <a:pt x="65" y="11"/>
                  </a:cubicBezTo>
                  <a:cubicBezTo>
                    <a:pt x="65" y="10"/>
                    <a:pt x="65" y="9"/>
                    <a:pt x="66" y="9"/>
                  </a:cubicBezTo>
                  <a:cubicBezTo>
                    <a:pt x="68" y="8"/>
                    <a:pt x="69" y="5"/>
                    <a:pt x="69" y="3"/>
                  </a:cubicBezTo>
                  <a:cubicBezTo>
                    <a:pt x="68" y="3"/>
                    <a:pt x="68" y="3"/>
                    <a:pt x="68" y="3"/>
                  </a:cubicBezTo>
                  <a:cubicBezTo>
                    <a:pt x="70" y="2"/>
                    <a:pt x="70" y="2"/>
                    <a:pt x="70" y="2"/>
                  </a:cubicBezTo>
                  <a:cubicBezTo>
                    <a:pt x="71" y="1"/>
                    <a:pt x="71" y="1"/>
                    <a:pt x="72" y="1"/>
                  </a:cubicBezTo>
                  <a:cubicBezTo>
                    <a:pt x="73" y="0"/>
                    <a:pt x="74" y="0"/>
                    <a:pt x="75" y="0"/>
                  </a:cubicBezTo>
                  <a:cubicBezTo>
                    <a:pt x="79" y="0"/>
                    <a:pt x="82" y="2"/>
                    <a:pt x="82" y="5"/>
                  </a:cubicBezTo>
                  <a:cubicBezTo>
                    <a:pt x="82" y="9"/>
                    <a:pt x="83" y="13"/>
                    <a:pt x="85" y="13"/>
                  </a:cubicBezTo>
                  <a:cubicBezTo>
                    <a:pt x="88" y="13"/>
                    <a:pt x="91" y="13"/>
                    <a:pt x="91" y="20"/>
                  </a:cubicBezTo>
                  <a:cubicBezTo>
                    <a:pt x="91" y="22"/>
                    <a:pt x="92" y="24"/>
                    <a:pt x="92" y="25"/>
                  </a:cubicBezTo>
                  <a:cubicBezTo>
                    <a:pt x="92" y="31"/>
                    <a:pt x="93" y="37"/>
                    <a:pt x="88" y="42"/>
                  </a:cubicBezTo>
                  <a:cubicBezTo>
                    <a:pt x="82" y="48"/>
                    <a:pt x="75" y="59"/>
                    <a:pt x="76" y="62"/>
                  </a:cubicBezTo>
                  <a:cubicBezTo>
                    <a:pt x="76" y="63"/>
                    <a:pt x="76" y="65"/>
                    <a:pt x="76" y="66"/>
                  </a:cubicBezTo>
                  <a:cubicBezTo>
                    <a:pt x="76" y="67"/>
                    <a:pt x="76" y="69"/>
                    <a:pt x="76" y="69"/>
                  </a:cubicBezTo>
                  <a:cubicBezTo>
                    <a:pt x="76" y="69"/>
                    <a:pt x="76" y="69"/>
                    <a:pt x="78" y="69"/>
                  </a:cubicBezTo>
                  <a:cubicBezTo>
                    <a:pt x="79" y="68"/>
                    <a:pt x="82" y="68"/>
                    <a:pt x="83" y="68"/>
                  </a:cubicBezTo>
                  <a:cubicBezTo>
                    <a:pt x="87" y="68"/>
                    <a:pt x="91" y="69"/>
                    <a:pt x="92" y="70"/>
                  </a:cubicBezTo>
                  <a:cubicBezTo>
                    <a:pt x="92" y="71"/>
                    <a:pt x="92" y="71"/>
                    <a:pt x="92" y="72"/>
                  </a:cubicBezTo>
                  <a:cubicBezTo>
                    <a:pt x="91" y="73"/>
                    <a:pt x="91" y="77"/>
                    <a:pt x="93" y="80"/>
                  </a:cubicBezTo>
                  <a:cubicBezTo>
                    <a:pt x="93" y="81"/>
                    <a:pt x="94" y="83"/>
                    <a:pt x="96" y="83"/>
                  </a:cubicBezTo>
                  <a:cubicBezTo>
                    <a:pt x="98" y="83"/>
                    <a:pt x="100" y="84"/>
                    <a:pt x="101" y="86"/>
                  </a:cubicBezTo>
                  <a:cubicBezTo>
                    <a:pt x="102" y="87"/>
                    <a:pt x="102" y="88"/>
                    <a:pt x="102" y="90"/>
                  </a:cubicBezTo>
                  <a:cubicBezTo>
                    <a:pt x="101" y="91"/>
                    <a:pt x="101" y="91"/>
                    <a:pt x="101" y="91"/>
                  </a:cubicBezTo>
                  <a:cubicBezTo>
                    <a:pt x="101" y="94"/>
                    <a:pt x="99" y="98"/>
                    <a:pt x="100" y="99"/>
                  </a:cubicBezTo>
                  <a:cubicBezTo>
                    <a:pt x="101" y="99"/>
                    <a:pt x="101" y="99"/>
                    <a:pt x="101" y="99"/>
                  </a:cubicBezTo>
                  <a:cubicBezTo>
                    <a:pt x="104" y="99"/>
                    <a:pt x="108" y="99"/>
                    <a:pt x="109" y="101"/>
                  </a:cubicBezTo>
                  <a:cubicBezTo>
                    <a:pt x="110" y="102"/>
                    <a:pt x="110" y="103"/>
                    <a:pt x="110" y="104"/>
                  </a:cubicBezTo>
                  <a:cubicBezTo>
                    <a:pt x="110" y="105"/>
                    <a:pt x="110" y="106"/>
                    <a:pt x="111" y="107"/>
                  </a:cubicBezTo>
                  <a:cubicBezTo>
                    <a:pt x="112" y="109"/>
                    <a:pt x="115" y="109"/>
                    <a:pt x="118" y="108"/>
                  </a:cubicBezTo>
                  <a:cubicBezTo>
                    <a:pt x="119" y="108"/>
                    <a:pt x="120" y="107"/>
                    <a:pt x="120" y="107"/>
                  </a:cubicBezTo>
                  <a:cubicBezTo>
                    <a:pt x="122" y="106"/>
                    <a:pt x="123" y="106"/>
                    <a:pt x="124" y="106"/>
                  </a:cubicBezTo>
                  <a:cubicBezTo>
                    <a:pt x="124" y="106"/>
                    <a:pt x="125" y="106"/>
                    <a:pt x="125" y="107"/>
                  </a:cubicBezTo>
                  <a:cubicBezTo>
                    <a:pt x="126" y="108"/>
                    <a:pt x="126" y="108"/>
                    <a:pt x="126" y="108"/>
                  </a:cubicBezTo>
                  <a:cubicBezTo>
                    <a:pt x="125" y="108"/>
                    <a:pt x="125" y="108"/>
                    <a:pt x="125" y="108"/>
                  </a:cubicBezTo>
                  <a:cubicBezTo>
                    <a:pt x="125" y="108"/>
                    <a:pt x="125" y="108"/>
                    <a:pt x="125" y="108"/>
                  </a:cubicBezTo>
                  <a:cubicBezTo>
                    <a:pt x="123" y="110"/>
                    <a:pt x="118" y="117"/>
                    <a:pt x="118" y="119"/>
                  </a:cubicBezTo>
                  <a:cubicBezTo>
                    <a:pt x="118" y="121"/>
                    <a:pt x="115" y="122"/>
                    <a:pt x="114" y="123"/>
                  </a:cubicBezTo>
                  <a:cubicBezTo>
                    <a:pt x="112" y="124"/>
                    <a:pt x="111" y="125"/>
                    <a:pt x="110" y="126"/>
                  </a:cubicBezTo>
                  <a:cubicBezTo>
                    <a:pt x="110" y="127"/>
                    <a:pt x="107" y="128"/>
                    <a:pt x="104" y="129"/>
                  </a:cubicBezTo>
                  <a:cubicBezTo>
                    <a:pt x="101" y="130"/>
                    <a:pt x="98" y="131"/>
                    <a:pt x="97" y="133"/>
                  </a:cubicBezTo>
                  <a:cubicBezTo>
                    <a:pt x="95" y="136"/>
                    <a:pt x="92" y="137"/>
                    <a:pt x="87" y="137"/>
                  </a:cubicBezTo>
                  <a:cubicBezTo>
                    <a:pt x="86" y="137"/>
                    <a:pt x="86" y="137"/>
                    <a:pt x="86" y="137"/>
                  </a:cubicBezTo>
                  <a:cubicBezTo>
                    <a:pt x="86" y="137"/>
                    <a:pt x="86" y="137"/>
                    <a:pt x="86" y="137"/>
                  </a:cubicBezTo>
                  <a:cubicBezTo>
                    <a:pt x="85" y="137"/>
                    <a:pt x="79" y="137"/>
                    <a:pt x="78" y="141"/>
                  </a:cubicBezTo>
                  <a:cubicBezTo>
                    <a:pt x="78" y="142"/>
                    <a:pt x="78" y="142"/>
                    <a:pt x="78" y="142"/>
                  </a:cubicBezTo>
                  <a:cubicBezTo>
                    <a:pt x="77" y="147"/>
                    <a:pt x="75" y="161"/>
                    <a:pt x="75" y="164"/>
                  </a:cubicBezTo>
                  <a:cubicBezTo>
                    <a:pt x="75" y="167"/>
                    <a:pt x="83" y="176"/>
                    <a:pt x="86" y="177"/>
                  </a:cubicBezTo>
                  <a:cubicBezTo>
                    <a:pt x="87" y="177"/>
                    <a:pt x="87" y="179"/>
                    <a:pt x="87" y="182"/>
                  </a:cubicBezTo>
                  <a:cubicBezTo>
                    <a:pt x="87" y="184"/>
                    <a:pt x="87" y="186"/>
                    <a:pt x="89" y="186"/>
                  </a:cubicBezTo>
                  <a:cubicBezTo>
                    <a:pt x="91" y="187"/>
                    <a:pt x="91" y="190"/>
                    <a:pt x="91" y="191"/>
                  </a:cubicBezTo>
                  <a:cubicBezTo>
                    <a:pt x="90" y="193"/>
                    <a:pt x="89" y="194"/>
                    <a:pt x="88" y="194"/>
                  </a:cubicBezTo>
                  <a:cubicBezTo>
                    <a:pt x="88" y="194"/>
                    <a:pt x="88" y="194"/>
                    <a:pt x="88" y="194"/>
                  </a:cubicBezTo>
                  <a:cubicBezTo>
                    <a:pt x="88" y="195"/>
                    <a:pt x="88" y="196"/>
                    <a:pt x="88" y="196"/>
                  </a:cubicBezTo>
                  <a:cubicBezTo>
                    <a:pt x="88" y="199"/>
                    <a:pt x="88" y="203"/>
                    <a:pt x="86" y="204"/>
                  </a:cubicBezTo>
                  <a:cubicBezTo>
                    <a:pt x="85" y="205"/>
                    <a:pt x="85" y="206"/>
                    <a:pt x="85" y="208"/>
                  </a:cubicBezTo>
                  <a:cubicBezTo>
                    <a:pt x="84" y="211"/>
                    <a:pt x="87" y="216"/>
                    <a:pt x="91" y="219"/>
                  </a:cubicBezTo>
                  <a:cubicBezTo>
                    <a:pt x="97" y="225"/>
                    <a:pt x="97" y="233"/>
                    <a:pt x="97" y="237"/>
                  </a:cubicBezTo>
                  <a:cubicBezTo>
                    <a:pt x="97" y="239"/>
                    <a:pt x="98" y="241"/>
                    <a:pt x="99" y="242"/>
                  </a:cubicBezTo>
                  <a:cubicBezTo>
                    <a:pt x="100" y="243"/>
                    <a:pt x="102" y="245"/>
                    <a:pt x="102" y="248"/>
                  </a:cubicBezTo>
                  <a:cubicBezTo>
                    <a:pt x="102" y="248"/>
                    <a:pt x="102" y="248"/>
                    <a:pt x="102" y="248"/>
                  </a:cubicBezTo>
                  <a:cubicBezTo>
                    <a:pt x="101" y="251"/>
                    <a:pt x="95" y="273"/>
                    <a:pt x="89" y="273"/>
                  </a:cubicBezTo>
                  <a:close/>
                  <a:moveTo>
                    <a:pt x="62" y="172"/>
                  </a:moveTo>
                  <a:cubicBezTo>
                    <a:pt x="63" y="172"/>
                    <a:pt x="64" y="174"/>
                    <a:pt x="66" y="176"/>
                  </a:cubicBezTo>
                  <a:cubicBezTo>
                    <a:pt x="67" y="178"/>
                    <a:pt x="68" y="179"/>
                    <a:pt x="69" y="180"/>
                  </a:cubicBezTo>
                  <a:cubicBezTo>
                    <a:pt x="72" y="183"/>
                    <a:pt x="74" y="189"/>
                    <a:pt x="75" y="197"/>
                  </a:cubicBezTo>
                  <a:cubicBezTo>
                    <a:pt x="75" y="198"/>
                    <a:pt x="75" y="198"/>
                    <a:pt x="75" y="200"/>
                  </a:cubicBezTo>
                  <a:cubicBezTo>
                    <a:pt x="76" y="208"/>
                    <a:pt x="77" y="223"/>
                    <a:pt x="82" y="228"/>
                  </a:cubicBezTo>
                  <a:cubicBezTo>
                    <a:pt x="89" y="234"/>
                    <a:pt x="90" y="247"/>
                    <a:pt x="88" y="251"/>
                  </a:cubicBezTo>
                  <a:cubicBezTo>
                    <a:pt x="87" y="253"/>
                    <a:pt x="88" y="257"/>
                    <a:pt x="89" y="260"/>
                  </a:cubicBezTo>
                  <a:cubicBezTo>
                    <a:pt x="90" y="263"/>
                    <a:pt x="91" y="266"/>
                    <a:pt x="90" y="268"/>
                  </a:cubicBezTo>
                  <a:cubicBezTo>
                    <a:pt x="90" y="269"/>
                    <a:pt x="89" y="270"/>
                    <a:pt x="89" y="272"/>
                  </a:cubicBezTo>
                  <a:cubicBezTo>
                    <a:pt x="93" y="271"/>
                    <a:pt x="99" y="255"/>
                    <a:pt x="101" y="248"/>
                  </a:cubicBezTo>
                  <a:cubicBezTo>
                    <a:pt x="101" y="245"/>
                    <a:pt x="99" y="244"/>
                    <a:pt x="98" y="243"/>
                  </a:cubicBezTo>
                  <a:cubicBezTo>
                    <a:pt x="97" y="241"/>
                    <a:pt x="96" y="240"/>
                    <a:pt x="96" y="237"/>
                  </a:cubicBezTo>
                  <a:cubicBezTo>
                    <a:pt x="96" y="233"/>
                    <a:pt x="96" y="225"/>
                    <a:pt x="90" y="220"/>
                  </a:cubicBezTo>
                  <a:cubicBezTo>
                    <a:pt x="86" y="216"/>
                    <a:pt x="83" y="211"/>
                    <a:pt x="84" y="208"/>
                  </a:cubicBezTo>
                  <a:cubicBezTo>
                    <a:pt x="84" y="206"/>
                    <a:pt x="84" y="205"/>
                    <a:pt x="85" y="204"/>
                  </a:cubicBezTo>
                  <a:cubicBezTo>
                    <a:pt x="87" y="202"/>
                    <a:pt x="87" y="199"/>
                    <a:pt x="87" y="196"/>
                  </a:cubicBezTo>
                  <a:cubicBezTo>
                    <a:pt x="87" y="195"/>
                    <a:pt x="87" y="194"/>
                    <a:pt x="87" y="193"/>
                  </a:cubicBezTo>
                  <a:cubicBezTo>
                    <a:pt x="88" y="193"/>
                    <a:pt x="88" y="193"/>
                    <a:pt x="88" y="193"/>
                  </a:cubicBezTo>
                  <a:cubicBezTo>
                    <a:pt x="88" y="193"/>
                    <a:pt x="88" y="193"/>
                    <a:pt x="88" y="193"/>
                  </a:cubicBezTo>
                  <a:cubicBezTo>
                    <a:pt x="89" y="193"/>
                    <a:pt x="89" y="192"/>
                    <a:pt x="90" y="191"/>
                  </a:cubicBezTo>
                  <a:cubicBezTo>
                    <a:pt x="90" y="190"/>
                    <a:pt x="90" y="188"/>
                    <a:pt x="88" y="187"/>
                  </a:cubicBezTo>
                  <a:cubicBezTo>
                    <a:pt x="86" y="186"/>
                    <a:pt x="86" y="184"/>
                    <a:pt x="86" y="181"/>
                  </a:cubicBezTo>
                  <a:cubicBezTo>
                    <a:pt x="86" y="180"/>
                    <a:pt x="86" y="178"/>
                    <a:pt x="85" y="178"/>
                  </a:cubicBezTo>
                  <a:cubicBezTo>
                    <a:pt x="82" y="176"/>
                    <a:pt x="74" y="167"/>
                    <a:pt x="74" y="164"/>
                  </a:cubicBezTo>
                  <a:cubicBezTo>
                    <a:pt x="74" y="161"/>
                    <a:pt x="76" y="150"/>
                    <a:pt x="77" y="142"/>
                  </a:cubicBezTo>
                  <a:cubicBezTo>
                    <a:pt x="77" y="141"/>
                    <a:pt x="77" y="141"/>
                    <a:pt x="77" y="141"/>
                  </a:cubicBezTo>
                  <a:cubicBezTo>
                    <a:pt x="78" y="136"/>
                    <a:pt x="85" y="136"/>
                    <a:pt x="86" y="136"/>
                  </a:cubicBezTo>
                  <a:cubicBezTo>
                    <a:pt x="86" y="136"/>
                    <a:pt x="86" y="136"/>
                    <a:pt x="86" y="136"/>
                  </a:cubicBezTo>
                  <a:cubicBezTo>
                    <a:pt x="87" y="136"/>
                    <a:pt x="87" y="136"/>
                    <a:pt x="87" y="136"/>
                  </a:cubicBezTo>
                  <a:cubicBezTo>
                    <a:pt x="92" y="136"/>
                    <a:pt x="95" y="135"/>
                    <a:pt x="96" y="133"/>
                  </a:cubicBezTo>
                  <a:cubicBezTo>
                    <a:pt x="97" y="130"/>
                    <a:pt x="101" y="129"/>
                    <a:pt x="104" y="128"/>
                  </a:cubicBezTo>
                  <a:cubicBezTo>
                    <a:pt x="106" y="127"/>
                    <a:pt x="109" y="126"/>
                    <a:pt x="109" y="125"/>
                  </a:cubicBezTo>
                  <a:cubicBezTo>
                    <a:pt x="110" y="124"/>
                    <a:pt x="111" y="123"/>
                    <a:pt x="113" y="122"/>
                  </a:cubicBezTo>
                  <a:cubicBezTo>
                    <a:pt x="115" y="121"/>
                    <a:pt x="117" y="121"/>
                    <a:pt x="117" y="119"/>
                  </a:cubicBezTo>
                  <a:cubicBezTo>
                    <a:pt x="117" y="116"/>
                    <a:pt x="123" y="108"/>
                    <a:pt x="124" y="107"/>
                  </a:cubicBezTo>
                  <a:cubicBezTo>
                    <a:pt x="123" y="107"/>
                    <a:pt x="122" y="107"/>
                    <a:pt x="121" y="108"/>
                  </a:cubicBezTo>
                  <a:cubicBezTo>
                    <a:pt x="120" y="108"/>
                    <a:pt x="119" y="109"/>
                    <a:pt x="119" y="109"/>
                  </a:cubicBezTo>
                  <a:cubicBezTo>
                    <a:pt x="115" y="110"/>
                    <a:pt x="112" y="110"/>
                    <a:pt x="110" y="108"/>
                  </a:cubicBezTo>
                  <a:cubicBezTo>
                    <a:pt x="109" y="107"/>
                    <a:pt x="109" y="105"/>
                    <a:pt x="109" y="104"/>
                  </a:cubicBezTo>
                  <a:cubicBezTo>
                    <a:pt x="109" y="103"/>
                    <a:pt x="109" y="102"/>
                    <a:pt x="108" y="102"/>
                  </a:cubicBezTo>
                  <a:cubicBezTo>
                    <a:pt x="107" y="100"/>
                    <a:pt x="104" y="100"/>
                    <a:pt x="101" y="100"/>
                  </a:cubicBezTo>
                  <a:cubicBezTo>
                    <a:pt x="100" y="100"/>
                    <a:pt x="100" y="100"/>
                    <a:pt x="99" y="99"/>
                  </a:cubicBezTo>
                  <a:cubicBezTo>
                    <a:pt x="98" y="98"/>
                    <a:pt x="99" y="94"/>
                    <a:pt x="100" y="91"/>
                  </a:cubicBezTo>
                  <a:cubicBezTo>
                    <a:pt x="101" y="90"/>
                    <a:pt x="101" y="90"/>
                    <a:pt x="101" y="90"/>
                  </a:cubicBezTo>
                  <a:cubicBezTo>
                    <a:pt x="101" y="88"/>
                    <a:pt x="101" y="87"/>
                    <a:pt x="101" y="86"/>
                  </a:cubicBezTo>
                  <a:cubicBezTo>
                    <a:pt x="100" y="85"/>
                    <a:pt x="98" y="84"/>
                    <a:pt x="96" y="84"/>
                  </a:cubicBezTo>
                  <a:cubicBezTo>
                    <a:pt x="94" y="84"/>
                    <a:pt x="93" y="83"/>
                    <a:pt x="92" y="81"/>
                  </a:cubicBezTo>
                  <a:cubicBezTo>
                    <a:pt x="90" y="78"/>
                    <a:pt x="90" y="73"/>
                    <a:pt x="91" y="71"/>
                  </a:cubicBezTo>
                  <a:cubicBezTo>
                    <a:pt x="91" y="71"/>
                    <a:pt x="91" y="71"/>
                    <a:pt x="91" y="71"/>
                  </a:cubicBezTo>
                  <a:cubicBezTo>
                    <a:pt x="90" y="70"/>
                    <a:pt x="87" y="69"/>
                    <a:pt x="83" y="69"/>
                  </a:cubicBezTo>
                  <a:cubicBezTo>
                    <a:pt x="81" y="69"/>
                    <a:pt x="79" y="69"/>
                    <a:pt x="78" y="70"/>
                  </a:cubicBezTo>
                  <a:cubicBezTo>
                    <a:pt x="77" y="70"/>
                    <a:pt x="76" y="70"/>
                    <a:pt x="75" y="70"/>
                  </a:cubicBezTo>
                  <a:cubicBezTo>
                    <a:pt x="75" y="69"/>
                    <a:pt x="75" y="68"/>
                    <a:pt x="75" y="66"/>
                  </a:cubicBezTo>
                  <a:cubicBezTo>
                    <a:pt x="75" y="65"/>
                    <a:pt x="75" y="63"/>
                    <a:pt x="75" y="62"/>
                  </a:cubicBezTo>
                  <a:cubicBezTo>
                    <a:pt x="74" y="59"/>
                    <a:pt x="81" y="47"/>
                    <a:pt x="87" y="41"/>
                  </a:cubicBezTo>
                  <a:cubicBezTo>
                    <a:pt x="92" y="37"/>
                    <a:pt x="91" y="31"/>
                    <a:pt x="91" y="25"/>
                  </a:cubicBezTo>
                  <a:cubicBezTo>
                    <a:pt x="91" y="24"/>
                    <a:pt x="90" y="22"/>
                    <a:pt x="90" y="20"/>
                  </a:cubicBezTo>
                  <a:cubicBezTo>
                    <a:pt x="90" y="14"/>
                    <a:pt x="88" y="14"/>
                    <a:pt x="85" y="14"/>
                  </a:cubicBezTo>
                  <a:cubicBezTo>
                    <a:pt x="81" y="14"/>
                    <a:pt x="81" y="8"/>
                    <a:pt x="81" y="5"/>
                  </a:cubicBezTo>
                  <a:cubicBezTo>
                    <a:pt x="81" y="3"/>
                    <a:pt x="78" y="1"/>
                    <a:pt x="75" y="1"/>
                  </a:cubicBezTo>
                  <a:cubicBezTo>
                    <a:pt x="74" y="1"/>
                    <a:pt x="73" y="1"/>
                    <a:pt x="73" y="1"/>
                  </a:cubicBezTo>
                  <a:cubicBezTo>
                    <a:pt x="72" y="2"/>
                    <a:pt x="71" y="2"/>
                    <a:pt x="71" y="3"/>
                  </a:cubicBezTo>
                  <a:cubicBezTo>
                    <a:pt x="70" y="3"/>
                    <a:pt x="69" y="9"/>
                    <a:pt x="67" y="10"/>
                  </a:cubicBezTo>
                  <a:cubicBezTo>
                    <a:pt x="66" y="10"/>
                    <a:pt x="66" y="11"/>
                    <a:pt x="66" y="11"/>
                  </a:cubicBezTo>
                  <a:cubicBezTo>
                    <a:pt x="65" y="13"/>
                    <a:pt x="66" y="16"/>
                    <a:pt x="68" y="19"/>
                  </a:cubicBezTo>
                  <a:cubicBezTo>
                    <a:pt x="69" y="20"/>
                    <a:pt x="69" y="21"/>
                    <a:pt x="69" y="22"/>
                  </a:cubicBezTo>
                  <a:cubicBezTo>
                    <a:pt x="69" y="22"/>
                    <a:pt x="68" y="23"/>
                    <a:pt x="67" y="23"/>
                  </a:cubicBezTo>
                  <a:cubicBezTo>
                    <a:pt x="65" y="23"/>
                    <a:pt x="62" y="21"/>
                    <a:pt x="61" y="19"/>
                  </a:cubicBezTo>
                  <a:cubicBezTo>
                    <a:pt x="61" y="19"/>
                    <a:pt x="61" y="19"/>
                    <a:pt x="60" y="19"/>
                  </a:cubicBezTo>
                  <a:cubicBezTo>
                    <a:pt x="58" y="19"/>
                    <a:pt x="53" y="22"/>
                    <a:pt x="50" y="25"/>
                  </a:cubicBezTo>
                  <a:cubicBezTo>
                    <a:pt x="49" y="26"/>
                    <a:pt x="47" y="26"/>
                    <a:pt x="46" y="27"/>
                  </a:cubicBezTo>
                  <a:cubicBezTo>
                    <a:pt x="43" y="29"/>
                    <a:pt x="40" y="31"/>
                    <a:pt x="40" y="36"/>
                  </a:cubicBezTo>
                  <a:cubicBezTo>
                    <a:pt x="40" y="39"/>
                    <a:pt x="39" y="42"/>
                    <a:pt x="38" y="45"/>
                  </a:cubicBezTo>
                  <a:cubicBezTo>
                    <a:pt x="37" y="48"/>
                    <a:pt x="35" y="51"/>
                    <a:pt x="36" y="54"/>
                  </a:cubicBezTo>
                  <a:cubicBezTo>
                    <a:pt x="37" y="57"/>
                    <a:pt x="35" y="61"/>
                    <a:pt x="33" y="65"/>
                  </a:cubicBezTo>
                  <a:cubicBezTo>
                    <a:pt x="32" y="68"/>
                    <a:pt x="31" y="70"/>
                    <a:pt x="31" y="71"/>
                  </a:cubicBezTo>
                  <a:cubicBezTo>
                    <a:pt x="31" y="72"/>
                    <a:pt x="31" y="72"/>
                    <a:pt x="31" y="72"/>
                  </a:cubicBezTo>
                  <a:cubicBezTo>
                    <a:pt x="30" y="73"/>
                    <a:pt x="30" y="73"/>
                    <a:pt x="29" y="73"/>
                  </a:cubicBezTo>
                  <a:cubicBezTo>
                    <a:pt x="27" y="73"/>
                    <a:pt x="24" y="72"/>
                    <a:pt x="22" y="72"/>
                  </a:cubicBezTo>
                  <a:cubicBezTo>
                    <a:pt x="21" y="72"/>
                    <a:pt x="19" y="71"/>
                    <a:pt x="19" y="71"/>
                  </a:cubicBezTo>
                  <a:cubicBezTo>
                    <a:pt x="19" y="72"/>
                    <a:pt x="18" y="74"/>
                    <a:pt x="18" y="76"/>
                  </a:cubicBezTo>
                  <a:cubicBezTo>
                    <a:pt x="18" y="80"/>
                    <a:pt x="18" y="84"/>
                    <a:pt x="16" y="85"/>
                  </a:cubicBezTo>
                  <a:cubicBezTo>
                    <a:pt x="16" y="87"/>
                    <a:pt x="15" y="90"/>
                    <a:pt x="15" y="93"/>
                  </a:cubicBezTo>
                  <a:cubicBezTo>
                    <a:pt x="15" y="97"/>
                    <a:pt x="14" y="101"/>
                    <a:pt x="12" y="101"/>
                  </a:cubicBezTo>
                  <a:cubicBezTo>
                    <a:pt x="10" y="101"/>
                    <a:pt x="7" y="108"/>
                    <a:pt x="6" y="112"/>
                  </a:cubicBezTo>
                  <a:cubicBezTo>
                    <a:pt x="6" y="112"/>
                    <a:pt x="6" y="112"/>
                    <a:pt x="6" y="112"/>
                  </a:cubicBezTo>
                  <a:cubicBezTo>
                    <a:pt x="6" y="112"/>
                    <a:pt x="6" y="112"/>
                    <a:pt x="6" y="112"/>
                  </a:cubicBezTo>
                  <a:cubicBezTo>
                    <a:pt x="6" y="112"/>
                    <a:pt x="3" y="114"/>
                    <a:pt x="1" y="116"/>
                  </a:cubicBezTo>
                  <a:cubicBezTo>
                    <a:pt x="4" y="121"/>
                    <a:pt x="8" y="127"/>
                    <a:pt x="14" y="130"/>
                  </a:cubicBezTo>
                  <a:cubicBezTo>
                    <a:pt x="21" y="132"/>
                    <a:pt x="26" y="142"/>
                    <a:pt x="31" y="160"/>
                  </a:cubicBezTo>
                  <a:cubicBezTo>
                    <a:pt x="34" y="169"/>
                    <a:pt x="32" y="178"/>
                    <a:pt x="29" y="183"/>
                  </a:cubicBezTo>
                  <a:cubicBezTo>
                    <a:pt x="28" y="185"/>
                    <a:pt x="28" y="186"/>
                    <a:pt x="28" y="187"/>
                  </a:cubicBezTo>
                  <a:cubicBezTo>
                    <a:pt x="28" y="188"/>
                    <a:pt x="30" y="189"/>
                    <a:pt x="32" y="189"/>
                  </a:cubicBezTo>
                  <a:cubicBezTo>
                    <a:pt x="33" y="190"/>
                    <a:pt x="34" y="190"/>
                    <a:pt x="35" y="191"/>
                  </a:cubicBezTo>
                  <a:cubicBezTo>
                    <a:pt x="41" y="194"/>
                    <a:pt x="45" y="193"/>
                    <a:pt x="48" y="189"/>
                  </a:cubicBezTo>
                  <a:cubicBezTo>
                    <a:pt x="50" y="187"/>
                    <a:pt x="52" y="185"/>
                    <a:pt x="54" y="184"/>
                  </a:cubicBezTo>
                  <a:cubicBezTo>
                    <a:pt x="57" y="181"/>
                    <a:pt x="60" y="178"/>
                    <a:pt x="61" y="175"/>
                  </a:cubicBezTo>
                  <a:cubicBezTo>
                    <a:pt x="61" y="174"/>
                    <a:pt x="61" y="172"/>
                    <a:pt x="62" y="17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5" name="Freeform 62"/>
            <p:cNvSpPr>
              <a:spLocks noEditPoints="1"/>
            </p:cNvSpPr>
            <p:nvPr/>
          </p:nvSpPr>
          <p:spPr>
            <a:xfrm>
              <a:off x="6962776" y="3089275"/>
              <a:ext cx="76200" cy="44450"/>
            </a:xfrm>
            <a:custGeom>
              <a:gdLst>
                <a:gd name="T0" fmla="*/ 24 w 45"/>
                <a:gd name="T1" fmla="*/ 26 h 26"/>
                <a:gd name="T2" fmla="*/ 19 w 45"/>
                <a:gd name="T3" fmla="*/ 25 h 26"/>
                <a:gd name="T4" fmla="*/ 14 w 45"/>
                <a:gd name="T5" fmla="*/ 25 h 26"/>
                <a:gd name="T6" fmla="*/ 12 w 45"/>
                <a:gd name="T7" fmla="*/ 25 h 26"/>
                <a:gd name="T8" fmla="*/ 7 w 45"/>
                <a:gd name="T9" fmla="*/ 23 h 26"/>
                <a:gd name="T10" fmla="*/ 4 w 45"/>
                <a:gd name="T11" fmla="*/ 22 h 26"/>
                <a:gd name="T12" fmla="*/ 4 w 45"/>
                <a:gd name="T13" fmla="*/ 22 h 26"/>
                <a:gd name="T14" fmla="*/ 0 w 45"/>
                <a:gd name="T15" fmla="*/ 19 h 26"/>
                <a:gd name="T16" fmla="*/ 0 w 45"/>
                <a:gd name="T17" fmla="*/ 18 h 26"/>
                <a:gd name="T18" fmla="*/ 0 w 45"/>
                <a:gd name="T19" fmla="*/ 18 h 26"/>
                <a:gd name="T20" fmla="*/ 3 w 45"/>
                <a:gd name="T21" fmla="*/ 12 h 26"/>
                <a:gd name="T22" fmla="*/ 11 w 45"/>
                <a:gd name="T23" fmla="*/ 4 h 26"/>
                <a:gd name="T24" fmla="*/ 14 w 45"/>
                <a:gd name="T25" fmla="*/ 3 h 26"/>
                <a:gd name="T26" fmla="*/ 26 w 45"/>
                <a:gd name="T27" fmla="*/ 5 h 26"/>
                <a:gd name="T28" fmla="*/ 29 w 45"/>
                <a:gd name="T29" fmla="*/ 6 h 26"/>
                <a:gd name="T30" fmla="*/ 32 w 45"/>
                <a:gd name="T31" fmla="*/ 5 h 26"/>
                <a:gd name="T32" fmla="*/ 34 w 45"/>
                <a:gd name="T33" fmla="*/ 5 h 26"/>
                <a:gd name="T34" fmla="*/ 43 w 45"/>
                <a:gd name="T35" fmla="*/ 9 h 26"/>
                <a:gd name="T36" fmla="*/ 44 w 45"/>
                <a:gd name="T37" fmla="*/ 10 h 26"/>
                <a:gd name="T38" fmla="*/ 43 w 45"/>
                <a:gd name="T39" fmla="*/ 10 h 26"/>
                <a:gd name="T40" fmla="*/ 41 w 45"/>
                <a:gd name="T41" fmla="*/ 11 h 26"/>
                <a:gd name="T42" fmla="*/ 42 w 45"/>
                <a:gd name="T43" fmla="*/ 24 h 26"/>
                <a:gd name="T44" fmla="*/ 38 w 45"/>
                <a:gd name="T45" fmla="*/ 26 h 26"/>
                <a:gd name="T46" fmla="*/ 38 w 45"/>
                <a:gd name="T47" fmla="*/ 26 h 26"/>
                <a:gd name="T48" fmla="*/ 35 w 45"/>
                <a:gd name="T49" fmla="*/ 26 h 26"/>
                <a:gd name="T50" fmla="*/ 31 w 45"/>
                <a:gd name="T51" fmla="*/ 25 h 26"/>
                <a:gd name="T52" fmla="*/ 28 w 45"/>
                <a:gd name="T53" fmla="*/ 26 h 26"/>
                <a:gd name="T54" fmla="*/ 24 w 45"/>
                <a:gd name="T55" fmla="*/ 26 h 26"/>
                <a:gd name="T56" fmla="*/ 16 w 45"/>
                <a:gd name="T57" fmla="*/ 23 h 26"/>
                <a:gd name="T58" fmla="*/ 20 w 45"/>
                <a:gd name="T59" fmla="*/ 24 h 26"/>
                <a:gd name="T60" fmla="*/ 24 w 45"/>
                <a:gd name="T61" fmla="*/ 25 h 26"/>
                <a:gd name="T62" fmla="*/ 27 w 45"/>
                <a:gd name="T63" fmla="*/ 25 h 26"/>
                <a:gd name="T64" fmla="*/ 31 w 45"/>
                <a:gd name="T65" fmla="*/ 24 h 26"/>
                <a:gd name="T66" fmla="*/ 35 w 45"/>
                <a:gd name="T67" fmla="*/ 25 h 26"/>
                <a:gd name="T68" fmla="*/ 38 w 45"/>
                <a:gd name="T69" fmla="*/ 25 h 26"/>
                <a:gd name="T70" fmla="*/ 42 w 45"/>
                <a:gd name="T71" fmla="*/ 23 h 26"/>
                <a:gd name="T72" fmla="*/ 40 w 45"/>
                <a:gd name="T73" fmla="*/ 11 h 26"/>
                <a:gd name="T74" fmla="*/ 40 w 45"/>
                <a:gd name="T75" fmla="*/ 11 h 26"/>
                <a:gd name="T76" fmla="*/ 40 w 45"/>
                <a:gd name="T77" fmla="*/ 10 h 26"/>
                <a:gd name="T78" fmla="*/ 42 w 45"/>
                <a:gd name="T79" fmla="*/ 10 h 26"/>
                <a:gd name="T80" fmla="*/ 34 w 45"/>
                <a:gd name="T81" fmla="*/ 6 h 26"/>
                <a:gd name="T82" fmla="*/ 32 w 45"/>
                <a:gd name="T83" fmla="*/ 6 h 26"/>
                <a:gd name="T84" fmla="*/ 29 w 45"/>
                <a:gd name="T85" fmla="*/ 7 h 26"/>
                <a:gd name="T86" fmla="*/ 26 w 45"/>
                <a:gd name="T87" fmla="*/ 6 h 26"/>
                <a:gd name="T88" fmla="*/ 17 w 45"/>
                <a:gd name="T89" fmla="*/ 2 h 26"/>
                <a:gd name="T90" fmla="*/ 14 w 45"/>
                <a:gd name="T91" fmla="*/ 4 h 26"/>
                <a:gd name="T92" fmla="*/ 11 w 45"/>
                <a:gd name="T93" fmla="*/ 5 h 26"/>
                <a:gd name="T94" fmla="*/ 4 w 45"/>
                <a:gd name="T95" fmla="*/ 12 h 26"/>
                <a:gd name="T96" fmla="*/ 1 w 45"/>
                <a:gd name="T97" fmla="*/ 18 h 26"/>
                <a:gd name="T98" fmla="*/ 4 w 45"/>
                <a:gd name="T99" fmla="*/ 21 h 26"/>
                <a:gd name="T100" fmla="*/ 8 w 45"/>
                <a:gd name="T101" fmla="*/ 22 h 26"/>
                <a:gd name="T102" fmla="*/ 12 w 45"/>
                <a:gd name="T103" fmla="*/ 24 h 26"/>
                <a:gd name="T104" fmla="*/ 14 w 45"/>
                <a:gd name="T105" fmla="*/ 24 h 26"/>
                <a:gd name="T106" fmla="*/ 16 w 45"/>
                <a:gd name="T107" fmla="*/ 23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26">
                  <a:moveTo>
                    <a:pt x="24" y="26"/>
                  </a:moveTo>
                  <a:cubicBezTo>
                    <a:pt x="23" y="26"/>
                    <a:pt x="21" y="26"/>
                    <a:pt x="19" y="25"/>
                  </a:cubicBezTo>
                  <a:cubicBezTo>
                    <a:pt x="18" y="25"/>
                    <a:pt x="16" y="24"/>
                    <a:pt x="14" y="25"/>
                  </a:cubicBezTo>
                  <a:cubicBezTo>
                    <a:pt x="13" y="25"/>
                    <a:pt x="13" y="25"/>
                    <a:pt x="12" y="25"/>
                  </a:cubicBezTo>
                  <a:cubicBezTo>
                    <a:pt x="10" y="25"/>
                    <a:pt x="8" y="24"/>
                    <a:pt x="7" y="23"/>
                  </a:cubicBezTo>
                  <a:cubicBezTo>
                    <a:pt x="6" y="23"/>
                    <a:pt x="5" y="22"/>
                    <a:pt x="4" y="22"/>
                  </a:cubicBezTo>
                  <a:cubicBezTo>
                    <a:pt x="4" y="22"/>
                    <a:pt x="4" y="22"/>
                    <a:pt x="4" y="22"/>
                  </a:cubicBezTo>
                  <a:cubicBezTo>
                    <a:pt x="2" y="22"/>
                    <a:pt x="1" y="20"/>
                    <a:pt x="0" y="19"/>
                  </a:cubicBezTo>
                  <a:cubicBezTo>
                    <a:pt x="0" y="18"/>
                    <a:pt x="0" y="18"/>
                    <a:pt x="0" y="18"/>
                  </a:cubicBezTo>
                  <a:cubicBezTo>
                    <a:pt x="0" y="18"/>
                    <a:pt x="0" y="18"/>
                    <a:pt x="0" y="18"/>
                  </a:cubicBezTo>
                  <a:cubicBezTo>
                    <a:pt x="1" y="16"/>
                    <a:pt x="2" y="14"/>
                    <a:pt x="3" y="12"/>
                  </a:cubicBezTo>
                  <a:cubicBezTo>
                    <a:pt x="5" y="7"/>
                    <a:pt x="8" y="5"/>
                    <a:pt x="11" y="4"/>
                  </a:cubicBezTo>
                  <a:cubicBezTo>
                    <a:pt x="12" y="4"/>
                    <a:pt x="13" y="3"/>
                    <a:pt x="14" y="3"/>
                  </a:cubicBezTo>
                  <a:cubicBezTo>
                    <a:pt x="17" y="0"/>
                    <a:pt x="20" y="1"/>
                    <a:pt x="26" y="5"/>
                  </a:cubicBezTo>
                  <a:cubicBezTo>
                    <a:pt x="27" y="5"/>
                    <a:pt x="28" y="6"/>
                    <a:pt x="29" y="6"/>
                  </a:cubicBezTo>
                  <a:cubicBezTo>
                    <a:pt x="30" y="6"/>
                    <a:pt x="31" y="5"/>
                    <a:pt x="32" y="5"/>
                  </a:cubicBezTo>
                  <a:cubicBezTo>
                    <a:pt x="32" y="5"/>
                    <a:pt x="33" y="5"/>
                    <a:pt x="34" y="5"/>
                  </a:cubicBezTo>
                  <a:cubicBezTo>
                    <a:pt x="36" y="5"/>
                    <a:pt x="39" y="6"/>
                    <a:pt x="43" y="9"/>
                  </a:cubicBezTo>
                  <a:cubicBezTo>
                    <a:pt x="44" y="10"/>
                    <a:pt x="44" y="10"/>
                    <a:pt x="44" y="10"/>
                  </a:cubicBezTo>
                  <a:cubicBezTo>
                    <a:pt x="43" y="10"/>
                    <a:pt x="43" y="10"/>
                    <a:pt x="43" y="10"/>
                  </a:cubicBezTo>
                  <a:cubicBezTo>
                    <a:pt x="42" y="11"/>
                    <a:pt x="41" y="11"/>
                    <a:pt x="41" y="11"/>
                  </a:cubicBezTo>
                  <a:cubicBezTo>
                    <a:pt x="42" y="13"/>
                    <a:pt x="45" y="20"/>
                    <a:pt x="42" y="24"/>
                  </a:cubicBezTo>
                  <a:cubicBezTo>
                    <a:pt x="41" y="26"/>
                    <a:pt x="40" y="26"/>
                    <a:pt x="38" y="26"/>
                  </a:cubicBezTo>
                  <a:cubicBezTo>
                    <a:pt x="38" y="26"/>
                    <a:pt x="38" y="26"/>
                    <a:pt x="38" y="26"/>
                  </a:cubicBezTo>
                  <a:cubicBezTo>
                    <a:pt x="37" y="26"/>
                    <a:pt x="36" y="26"/>
                    <a:pt x="35" y="26"/>
                  </a:cubicBezTo>
                  <a:cubicBezTo>
                    <a:pt x="34" y="25"/>
                    <a:pt x="33" y="25"/>
                    <a:pt x="31" y="25"/>
                  </a:cubicBezTo>
                  <a:cubicBezTo>
                    <a:pt x="30" y="25"/>
                    <a:pt x="29" y="25"/>
                    <a:pt x="28" y="26"/>
                  </a:cubicBezTo>
                  <a:cubicBezTo>
                    <a:pt x="27" y="26"/>
                    <a:pt x="26" y="26"/>
                    <a:pt x="24" y="26"/>
                  </a:cubicBezTo>
                  <a:close/>
                  <a:moveTo>
                    <a:pt x="16" y="23"/>
                  </a:moveTo>
                  <a:cubicBezTo>
                    <a:pt x="17" y="23"/>
                    <a:pt x="18" y="24"/>
                    <a:pt x="20" y="24"/>
                  </a:cubicBezTo>
                  <a:cubicBezTo>
                    <a:pt x="21" y="25"/>
                    <a:pt x="23" y="25"/>
                    <a:pt x="24" y="25"/>
                  </a:cubicBezTo>
                  <a:cubicBezTo>
                    <a:pt x="25" y="25"/>
                    <a:pt x="26" y="25"/>
                    <a:pt x="27" y="25"/>
                  </a:cubicBezTo>
                  <a:cubicBezTo>
                    <a:pt x="29" y="24"/>
                    <a:pt x="30" y="24"/>
                    <a:pt x="31" y="24"/>
                  </a:cubicBezTo>
                  <a:cubicBezTo>
                    <a:pt x="33" y="24"/>
                    <a:pt x="34" y="24"/>
                    <a:pt x="35" y="25"/>
                  </a:cubicBezTo>
                  <a:cubicBezTo>
                    <a:pt x="36" y="25"/>
                    <a:pt x="37" y="25"/>
                    <a:pt x="38" y="25"/>
                  </a:cubicBezTo>
                  <a:cubicBezTo>
                    <a:pt x="40" y="25"/>
                    <a:pt x="41" y="24"/>
                    <a:pt x="42" y="23"/>
                  </a:cubicBezTo>
                  <a:cubicBezTo>
                    <a:pt x="44" y="19"/>
                    <a:pt x="40" y="11"/>
                    <a:pt x="40" y="11"/>
                  </a:cubicBezTo>
                  <a:cubicBezTo>
                    <a:pt x="40" y="11"/>
                    <a:pt x="40" y="11"/>
                    <a:pt x="40" y="11"/>
                  </a:cubicBezTo>
                  <a:cubicBezTo>
                    <a:pt x="40" y="10"/>
                    <a:pt x="40" y="10"/>
                    <a:pt x="40" y="10"/>
                  </a:cubicBezTo>
                  <a:cubicBezTo>
                    <a:pt x="40" y="10"/>
                    <a:pt x="41" y="10"/>
                    <a:pt x="42" y="10"/>
                  </a:cubicBezTo>
                  <a:cubicBezTo>
                    <a:pt x="38" y="6"/>
                    <a:pt x="36" y="6"/>
                    <a:pt x="34" y="6"/>
                  </a:cubicBezTo>
                  <a:cubicBezTo>
                    <a:pt x="33" y="6"/>
                    <a:pt x="33" y="6"/>
                    <a:pt x="32" y="6"/>
                  </a:cubicBezTo>
                  <a:cubicBezTo>
                    <a:pt x="31" y="6"/>
                    <a:pt x="30" y="7"/>
                    <a:pt x="29" y="7"/>
                  </a:cubicBezTo>
                  <a:cubicBezTo>
                    <a:pt x="28" y="7"/>
                    <a:pt x="27" y="6"/>
                    <a:pt x="26" y="6"/>
                  </a:cubicBezTo>
                  <a:cubicBezTo>
                    <a:pt x="22" y="4"/>
                    <a:pt x="19" y="2"/>
                    <a:pt x="17" y="2"/>
                  </a:cubicBezTo>
                  <a:cubicBezTo>
                    <a:pt x="16" y="2"/>
                    <a:pt x="15" y="3"/>
                    <a:pt x="14" y="4"/>
                  </a:cubicBezTo>
                  <a:cubicBezTo>
                    <a:pt x="13" y="4"/>
                    <a:pt x="12" y="5"/>
                    <a:pt x="11" y="5"/>
                  </a:cubicBezTo>
                  <a:cubicBezTo>
                    <a:pt x="9" y="6"/>
                    <a:pt x="6" y="8"/>
                    <a:pt x="4" y="12"/>
                  </a:cubicBezTo>
                  <a:cubicBezTo>
                    <a:pt x="3" y="15"/>
                    <a:pt x="2" y="17"/>
                    <a:pt x="1" y="18"/>
                  </a:cubicBezTo>
                  <a:cubicBezTo>
                    <a:pt x="2" y="20"/>
                    <a:pt x="3" y="21"/>
                    <a:pt x="4" y="21"/>
                  </a:cubicBezTo>
                  <a:cubicBezTo>
                    <a:pt x="5" y="21"/>
                    <a:pt x="6" y="22"/>
                    <a:pt x="8" y="22"/>
                  </a:cubicBezTo>
                  <a:cubicBezTo>
                    <a:pt x="9" y="23"/>
                    <a:pt x="10" y="24"/>
                    <a:pt x="12" y="24"/>
                  </a:cubicBezTo>
                  <a:cubicBezTo>
                    <a:pt x="13" y="24"/>
                    <a:pt x="13" y="24"/>
                    <a:pt x="14" y="24"/>
                  </a:cubicBezTo>
                  <a:cubicBezTo>
                    <a:pt x="14" y="23"/>
                    <a:pt x="15" y="23"/>
                    <a:pt x="16"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6" name="Freeform 63"/>
            <p:cNvSpPr>
              <a:spLocks noEditPoints="1"/>
            </p:cNvSpPr>
            <p:nvPr/>
          </p:nvSpPr>
          <p:spPr>
            <a:xfrm>
              <a:off x="7270751" y="3222625"/>
              <a:ext cx="182563" cy="376238"/>
            </a:xfrm>
            <a:custGeom>
              <a:gdLst>
                <a:gd name="T0" fmla="*/ 42 w 108"/>
                <a:gd name="T1" fmla="*/ 203 h 222"/>
                <a:gd name="T2" fmla="*/ 34 w 108"/>
                <a:gd name="T3" fmla="*/ 197 h 222"/>
                <a:gd name="T4" fmla="*/ 51 w 108"/>
                <a:gd name="T5" fmla="*/ 189 h 222"/>
                <a:gd name="T6" fmla="*/ 56 w 108"/>
                <a:gd name="T7" fmla="*/ 177 h 222"/>
                <a:gd name="T8" fmla="*/ 73 w 108"/>
                <a:gd name="T9" fmla="*/ 168 h 222"/>
                <a:gd name="T10" fmla="*/ 76 w 108"/>
                <a:gd name="T11" fmla="*/ 114 h 222"/>
                <a:gd name="T12" fmla="*/ 52 w 108"/>
                <a:gd name="T13" fmla="*/ 87 h 222"/>
                <a:gd name="T14" fmla="*/ 29 w 108"/>
                <a:gd name="T15" fmla="*/ 60 h 222"/>
                <a:gd name="T16" fmla="*/ 35 w 108"/>
                <a:gd name="T17" fmla="*/ 43 h 222"/>
                <a:gd name="T18" fmla="*/ 13 w 108"/>
                <a:gd name="T19" fmla="*/ 33 h 222"/>
                <a:gd name="T20" fmla="*/ 0 w 108"/>
                <a:gd name="T21" fmla="*/ 14 h 222"/>
                <a:gd name="T22" fmla="*/ 10 w 108"/>
                <a:gd name="T23" fmla="*/ 11 h 222"/>
                <a:gd name="T24" fmla="*/ 21 w 108"/>
                <a:gd name="T25" fmla="*/ 10 h 222"/>
                <a:gd name="T26" fmla="*/ 34 w 108"/>
                <a:gd name="T27" fmla="*/ 9 h 222"/>
                <a:gd name="T28" fmla="*/ 50 w 108"/>
                <a:gd name="T29" fmla="*/ 1 h 222"/>
                <a:gd name="T30" fmla="*/ 67 w 108"/>
                <a:gd name="T31" fmla="*/ 14 h 222"/>
                <a:gd name="T32" fmla="*/ 84 w 108"/>
                <a:gd name="T33" fmla="*/ 30 h 222"/>
                <a:gd name="T34" fmla="*/ 67 w 108"/>
                <a:gd name="T35" fmla="*/ 40 h 222"/>
                <a:gd name="T36" fmla="*/ 58 w 108"/>
                <a:gd name="T37" fmla="*/ 79 h 222"/>
                <a:gd name="T38" fmla="*/ 88 w 108"/>
                <a:gd name="T39" fmla="*/ 110 h 222"/>
                <a:gd name="T40" fmla="*/ 106 w 108"/>
                <a:gd name="T41" fmla="*/ 167 h 222"/>
                <a:gd name="T42" fmla="*/ 74 w 108"/>
                <a:gd name="T43" fmla="*/ 196 h 222"/>
                <a:gd name="T44" fmla="*/ 64 w 108"/>
                <a:gd name="T45" fmla="*/ 201 h 222"/>
                <a:gd name="T46" fmla="*/ 60 w 108"/>
                <a:gd name="T47" fmla="*/ 207 h 222"/>
                <a:gd name="T48" fmla="*/ 36 w 108"/>
                <a:gd name="T49" fmla="*/ 197 h 222"/>
                <a:gd name="T50" fmla="*/ 41 w 108"/>
                <a:gd name="T51" fmla="*/ 207 h 222"/>
                <a:gd name="T52" fmla="*/ 57 w 108"/>
                <a:gd name="T53" fmla="*/ 210 h 222"/>
                <a:gd name="T54" fmla="*/ 61 w 108"/>
                <a:gd name="T55" fmla="*/ 204 h 222"/>
                <a:gd name="T56" fmla="*/ 71 w 108"/>
                <a:gd name="T57" fmla="*/ 195 h 222"/>
                <a:gd name="T58" fmla="*/ 93 w 108"/>
                <a:gd name="T59" fmla="*/ 186 h 222"/>
                <a:gd name="T60" fmla="*/ 88 w 108"/>
                <a:gd name="T61" fmla="*/ 111 h 222"/>
                <a:gd name="T62" fmla="*/ 61 w 108"/>
                <a:gd name="T63" fmla="*/ 86 h 222"/>
                <a:gd name="T64" fmla="*/ 64 w 108"/>
                <a:gd name="T65" fmla="*/ 47 h 222"/>
                <a:gd name="T66" fmla="*/ 82 w 108"/>
                <a:gd name="T67" fmla="*/ 29 h 222"/>
                <a:gd name="T68" fmla="*/ 66 w 108"/>
                <a:gd name="T69" fmla="*/ 10 h 222"/>
                <a:gd name="T70" fmla="*/ 49 w 108"/>
                <a:gd name="T71" fmla="*/ 1 h 222"/>
                <a:gd name="T72" fmla="*/ 32 w 108"/>
                <a:gd name="T73" fmla="*/ 10 h 222"/>
                <a:gd name="T74" fmla="*/ 18 w 108"/>
                <a:gd name="T75" fmla="*/ 10 h 222"/>
                <a:gd name="T76" fmla="*/ 7 w 108"/>
                <a:gd name="T77" fmla="*/ 11 h 222"/>
                <a:gd name="T78" fmla="*/ 6 w 108"/>
                <a:gd name="T79" fmla="*/ 22 h 222"/>
                <a:gd name="T80" fmla="*/ 25 w 108"/>
                <a:gd name="T81" fmla="*/ 39 h 222"/>
                <a:gd name="T82" fmla="*/ 41 w 108"/>
                <a:gd name="T83" fmla="*/ 54 h 222"/>
                <a:gd name="T84" fmla="*/ 45 w 108"/>
                <a:gd name="T85" fmla="*/ 74 h 222"/>
                <a:gd name="T86" fmla="*/ 65 w 108"/>
                <a:gd name="T87" fmla="*/ 102 h 222"/>
                <a:gd name="T88" fmla="*/ 84 w 108"/>
                <a:gd name="T89" fmla="*/ 152 h 222"/>
                <a:gd name="T90" fmla="*/ 65 w 108"/>
                <a:gd name="T91" fmla="*/ 178 h 222"/>
                <a:gd name="T92" fmla="*/ 61 w 108"/>
                <a:gd name="T93" fmla="*/ 190 h 222"/>
                <a:gd name="T94" fmla="*/ 44 w 108"/>
                <a:gd name="T95" fmla="*/ 190 h 2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222">
                  <a:moveTo>
                    <a:pt x="42" y="222"/>
                  </a:moveTo>
                  <a:cubicBezTo>
                    <a:pt x="40" y="222"/>
                    <a:pt x="37" y="220"/>
                    <a:pt x="37" y="215"/>
                  </a:cubicBezTo>
                  <a:cubicBezTo>
                    <a:pt x="37" y="211"/>
                    <a:pt x="39" y="208"/>
                    <a:pt x="40" y="206"/>
                  </a:cubicBezTo>
                  <a:cubicBezTo>
                    <a:pt x="41" y="205"/>
                    <a:pt x="42" y="204"/>
                    <a:pt x="42" y="203"/>
                  </a:cubicBezTo>
                  <a:cubicBezTo>
                    <a:pt x="42" y="203"/>
                    <a:pt x="41" y="203"/>
                    <a:pt x="41" y="202"/>
                  </a:cubicBezTo>
                  <a:cubicBezTo>
                    <a:pt x="40" y="202"/>
                    <a:pt x="40" y="202"/>
                    <a:pt x="40" y="202"/>
                  </a:cubicBezTo>
                  <a:cubicBezTo>
                    <a:pt x="38" y="200"/>
                    <a:pt x="36" y="199"/>
                    <a:pt x="34" y="197"/>
                  </a:cubicBezTo>
                  <a:cubicBezTo>
                    <a:pt x="34" y="197"/>
                    <a:pt x="34" y="197"/>
                    <a:pt x="34" y="197"/>
                  </a:cubicBezTo>
                  <a:cubicBezTo>
                    <a:pt x="35" y="197"/>
                    <a:pt x="35" y="197"/>
                    <a:pt x="35" y="197"/>
                  </a:cubicBezTo>
                  <a:cubicBezTo>
                    <a:pt x="42" y="193"/>
                    <a:pt x="43" y="191"/>
                    <a:pt x="43" y="190"/>
                  </a:cubicBezTo>
                  <a:cubicBezTo>
                    <a:pt x="43" y="189"/>
                    <a:pt x="44" y="188"/>
                    <a:pt x="45" y="188"/>
                  </a:cubicBezTo>
                  <a:cubicBezTo>
                    <a:pt x="47" y="188"/>
                    <a:pt x="49" y="189"/>
                    <a:pt x="51" y="189"/>
                  </a:cubicBezTo>
                  <a:cubicBezTo>
                    <a:pt x="54" y="190"/>
                    <a:pt x="56" y="191"/>
                    <a:pt x="58" y="191"/>
                  </a:cubicBezTo>
                  <a:cubicBezTo>
                    <a:pt x="59" y="191"/>
                    <a:pt x="60" y="190"/>
                    <a:pt x="60" y="190"/>
                  </a:cubicBezTo>
                  <a:cubicBezTo>
                    <a:pt x="61" y="189"/>
                    <a:pt x="59" y="186"/>
                    <a:pt x="58" y="183"/>
                  </a:cubicBezTo>
                  <a:cubicBezTo>
                    <a:pt x="56" y="181"/>
                    <a:pt x="55" y="178"/>
                    <a:pt x="56" y="177"/>
                  </a:cubicBezTo>
                  <a:cubicBezTo>
                    <a:pt x="56" y="176"/>
                    <a:pt x="58" y="176"/>
                    <a:pt x="60" y="177"/>
                  </a:cubicBezTo>
                  <a:cubicBezTo>
                    <a:pt x="62" y="177"/>
                    <a:pt x="64" y="177"/>
                    <a:pt x="65" y="177"/>
                  </a:cubicBezTo>
                  <a:cubicBezTo>
                    <a:pt x="69" y="177"/>
                    <a:pt x="70" y="175"/>
                    <a:pt x="71" y="173"/>
                  </a:cubicBezTo>
                  <a:cubicBezTo>
                    <a:pt x="71" y="171"/>
                    <a:pt x="72" y="170"/>
                    <a:pt x="73" y="168"/>
                  </a:cubicBezTo>
                  <a:cubicBezTo>
                    <a:pt x="74" y="167"/>
                    <a:pt x="76" y="166"/>
                    <a:pt x="78" y="165"/>
                  </a:cubicBezTo>
                  <a:cubicBezTo>
                    <a:pt x="82" y="161"/>
                    <a:pt x="87" y="158"/>
                    <a:pt x="83" y="153"/>
                  </a:cubicBezTo>
                  <a:cubicBezTo>
                    <a:pt x="77" y="143"/>
                    <a:pt x="78" y="131"/>
                    <a:pt x="78" y="128"/>
                  </a:cubicBezTo>
                  <a:cubicBezTo>
                    <a:pt x="79" y="122"/>
                    <a:pt x="78" y="116"/>
                    <a:pt x="76" y="114"/>
                  </a:cubicBezTo>
                  <a:cubicBezTo>
                    <a:pt x="75" y="113"/>
                    <a:pt x="73" y="112"/>
                    <a:pt x="72" y="111"/>
                  </a:cubicBezTo>
                  <a:cubicBezTo>
                    <a:pt x="69" y="109"/>
                    <a:pt x="65" y="107"/>
                    <a:pt x="64" y="103"/>
                  </a:cubicBezTo>
                  <a:cubicBezTo>
                    <a:pt x="63" y="100"/>
                    <a:pt x="60" y="97"/>
                    <a:pt x="57" y="94"/>
                  </a:cubicBezTo>
                  <a:cubicBezTo>
                    <a:pt x="55" y="92"/>
                    <a:pt x="52" y="89"/>
                    <a:pt x="52" y="87"/>
                  </a:cubicBezTo>
                  <a:cubicBezTo>
                    <a:pt x="51" y="85"/>
                    <a:pt x="49" y="83"/>
                    <a:pt x="48" y="81"/>
                  </a:cubicBezTo>
                  <a:cubicBezTo>
                    <a:pt x="46" y="79"/>
                    <a:pt x="44" y="76"/>
                    <a:pt x="44" y="74"/>
                  </a:cubicBezTo>
                  <a:cubicBezTo>
                    <a:pt x="44" y="73"/>
                    <a:pt x="41" y="70"/>
                    <a:pt x="37" y="69"/>
                  </a:cubicBezTo>
                  <a:cubicBezTo>
                    <a:pt x="32" y="66"/>
                    <a:pt x="27" y="63"/>
                    <a:pt x="29" y="60"/>
                  </a:cubicBezTo>
                  <a:cubicBezTo>
                    <a:pt x="30" y="57"/>
                    <a:pt x="32" y="57"/>
                    <a:pt x="35" y="56"/>
                  </a:cubicBezTo>
                  <a:cubicBezTo>
                    <a:pt x="38" y="56"/>
                    <a:pt x="40" y="55"/>
                    <a:pt x="40" y="54"/>
                  </a:cubicBezTo>
                  <a:cubicBezTo>
                    <a:pt x="40" y="52"/>
                    <a:pt x="39" y="51"/>
                    <a:pt x="38" y="49"/>
                  </a:cubicBezTo>
                  <a:cubicBezTo>
                    <a:pt x="37" y="48"/>
                    <a:pt x="35" y="46"/>
                    <a:pt x="35" y="43"/>
                  </a:cubicBezTo>
                  <a:cubicBezTo>
                    <a:pt x="35" y="40"/>
                    <a:pt x="33" y="39"/>
                    <a:pt x="31" y="39"/>
                  </a:cubicBezTo>
                  <a:cubicBezTo>
                    <a:pt x="29" y="39"/>
                    <a:pt x="27" y="39"/>
                    <a:pt x="26" y="40"/>
                  </a:cubicBezTo>
                  <a:cubicBezTo>
                    <a:pt x="25" y="41"/>
                    <a:pt x="24" y="41"/>
                    <a:pt x="23" y="41"/>
                  </a:cubicBezTo>
                  <a:cubicBezTo>
                    <a:pt x="19" y="41"/>
                    <a:pt x="13" y="37"/>
                    <a:pt x="13" y="33"/>
                  </a:cubicBezTo>
                  <a:cubicBezTo>
                    <a:pt x="13" y="31"/>
                    <a:pt x="11" y="29"/>
                    <a:pt x="9" y="28"/>
                  </a:cubicBezTo>
                  <a:cubicBezTo>
                    <a:pt x="7" y="26"/>
                    <a:pt x="5" y="24"/>
                    <a:pt x="5" y="22"/>
                  </a:cubicBezTo>
                  <a:cubicBezTo>
                    <a:pt x="5" y="21"/>
                    <a:pt x="3" y="18"/>
                    <a:pt x="1" y="16"/>
                  </a:cubicBezTo>
                  <a:cubicBezTo>
                    <a:pt x="0" y="14"/>
                    <a:pt x="0" y="14"/>
                    <a:pt x="0" y="14"/>
                  </a:cubicBezTo>
                  <a:cubicBezTo>
                    <a:pt x="1" y="14"/>
                    <a:pt x="1" y="14"/>
                    <a:pt x="1" y="14"/>
                  </a:cubicBezTo>
                  <a:cubicBezTo>
                    <a:pt x="2" y="13"/>
                    <a:pt x="3" y="12"/>
                    <a:pt x="4" y="11"/>
                  </a:cubicBezTo>
                  <a:cubicBezTo>
                    <a:pt x="5" y="10"/>
                    <a:pt x="6" y="10"/>
                    <a:pt x="7" y="10"/>
                  </a:cubicBezTo>
                  <a:cubicBezTo>
                    <a:pt x="8" y="10"/>
                    <a:pt x="9" y="10"/>
                    <a:pt x="10" y="11"/>
                  </a:cubicBezTo>
                  <a:cubicBezTo>
                    <a:pt x="11" y="11"/>
                    <a:pt x="12" y="11"/>
                    <a:pt x="13" y="11"/>
                  </a:cubicBezTo>
                  <a:cubicBezTo>
                    <a:pt x="14" y="11"/>
                    <a:pt x="15" y="11"/>
                    <a:pt x="15" y="10"/>
                  </a:cubicBezTo>
                  <a:cubicBezTo>
                    <a:pt x="16" y="9"/>
                    <a:pt x="17" y="9"/>
                    <a:pt x="18" y="9"/>
                  </a:cubicBezTo>
                  <a:cubicBezTo>
                    <a:pt x="19" y="9"/>
                    <a:pt x="20" y="9"/>
                    <a:pt x="21" y="10"/>
                  </a:cubicBezTo>
                  <a:cubicBezTo>
                    <a:pt x="22" y="10"/>
                    <a:pt x="24" y="11"/>
                    <a:pt x="25" y="11"/>
                  </a:cubicBezTo>
                  <a:cubicBezTo>
                    <a:pt x="26" y="11"/>
                    <a:pt x="27" y="10"/>
                    <a:pt x="28" y="10"/>
                  </a:cubicBezTo>
                  <a:cubicBezTo>
                    <a:pt x="29" y="9"/>
                    <a:pt x="30" y="9"/>
                    <a:pt x="32" y="9"/>
                  </a:cubicBezTo>
                  <a:cubicBezTo>
                    <a:pt x="33" y="9"/>
                    <a:pt x="33" y="9"/>
                    <a:pt x="34" y="9"/>
                  </a:cubicBezTo>
                  <a:cubicBezTo>
                    <a:pt x="35" y="10"/>
                    <a:pt x="35" y="10"/>
                    <a:pt x="36" y="10"/>
                  </a:cubicBezTo>
                  <a:cubicBezTo>
                    <a:pt x="36" y="10"/>
                    <a:pt x="37" y="10"/>
                    <a:pt x="38" y="8"/>
                  </a:cubicBezTo>
                  <a:cubicBezTo>
                    <a:pt x="40" y="5"/>
                    <a:pt x="46" y="0"/>
                    <a:pt x="49" y="0"/>
                  </a:cubicBezTo>
                  <a:cubicBezTo>
                    <a:pt x="50" y="1"/>
                    <a:pt x="50" y="1"/>
                    <a:pt x="50" y="1"/>
                  </a:cubicBezTo>
                  <a:cubicBezTo>
                    <a:pt x="50" y="1"/>
                    <a:pt x="50" y="1"/>
                    <a:pt x="51" y="2"/>
                  </a:cubicBezTo>
                  <a:cubicBezTo>
                    <a:pt x="52" y="4"/>
                    <a:pt x="54" y="6"/>
                    <a:pt x="62" y="7"/>
                  </a:cubicBezTo>
                  <a:cubicBezTo>
                    <a:pt x="65" y="7"/>
                    <a:pt x="66" y="8"/>
                    <a:pt x="67" y="9"/>
                  </a:cubicBezTo>
                  <a:cubicBezTo>
                    <a:pt x="68" y="11"/>
                    <a:pt x="67" y="12"/>
                    <a:pt x="67" y="14"/>
                  </a:cubicBezTo>
                  <a:cubicBezTo>
                    <a:pt x="66" y="15"/>
                    <a:pt x="66" y="15"/>
                    <a:pt x="66" y="16"/>
                  </a:cubicBezTo>
                  <a:cubicBezTo>
                    <a:pt x="66" y="19"/>
                    <a:pt x="76" y="26"/>
                    <a:pt x="80" y="27"/>
                  </a:cubicBezTo>
                  <a:cubicBezTo>
                    <a:pt x="81" y="27"/>
                    <a:pt x="82" y="28"/>
                    <a:pt x="83" y="29"/>
                  </a:cubicBezTo>
                  <a:cubicBezTo>
                    <a:pt x="84" y="30"/>
                    <a:pt x="84" y="30"/>
                    <a:pt x="84" y="30"/>
                  </a:cubicBezTo>
                  <a:cubicBezTo>
                    <a:pt x="83" y="30"/>
                    <a:pt x="83" y="30"/>
                    <a:pt x="83" y="30"/>
                  </a:cubicBezTo>
                  <a:cubicBezTo>
                    <a:pt x="83" y="30"/>
                    <a:pt x="82" y="30"/>
                    <a:pt x="82" y="31"/>
                  </a:cubicBezTo>
                  <a:cubicBezTo>
                    <a:pt x="80" y="34"/>
                    <a:pt x="75" y="38"/>
                    <a:pt x="70" y="39"/>
                  </a:cubicBezTo>
                  <a:cubicBezTo>
                    <a:pt x="69" y="39"/>
                    <a:pt x="68" y="39"/>
                    <a:pt x="67" y="40"/>
                  </a:cubicBezTo>
                  <a:cubicBezTo>
                    <a:pt x="66" y="41"/>
                    <a:pt x="65" y="43"/>
                    <a:pt x="65" y="47"/>
                  </a:cubicBezTo>
                  <a:cubicBezTo>
                    <a:pt x="65" y="49"/>
                    <a:pt x="63" y="51"/>
                    <a:pt x="61" y="52"/>
                  </a:cubicBezTo>
                  <a:cubicBezTo>
                    <a:pt x="58" y="54"/>
                    <a:pt x="55" y="56"/>
                    <a:pt x="55" y="59"/>
                  </a:cubicBezTo>
                  <a:cubicBezTo>
                    <a:pt x="54" y="66"/>
                    <a:pt x="54" y="75"/>
                    <a:pt x="58" y="79"/>
                  </a:cubicBezTo>
                  <a:cubicBezTo>
                    <a:pt x="61" y="81"/>
                    <a:pt x="62" y="83"/>
                    <a:pt x="62" y="85"/>
                  </a:cubicBezTo>
                  <a:cubicBezTo>
                    <a:pt x="63" y="87"/>
                    <a:pt x="64" y="89"/>
                    <a:pt x="65" y="90"/>
                  </a:cubicBezTo>
                  <a:cubicBezTo>
                    <a:pt x="65" y="90"/>
                    <a:pt x="66" y="91"/>
                    <a:pt x="68" y="93"/>
                  </a:cubicBezTo>
                  <a:cubicBezTo>
                    <a:pt x="73" y="98"/>
                    <a:pt x="85" y="110"/>
                    <a:pt x="88" y="110"/>
                  </a:cubicBezTo>
                  <a:cubicBezTo>
                    <a:pt x="88" y="110"/>
                    <a:pt x="88" y="110"/>
                    <a:pt x="88" y="110"/>
                  </a:cubicBezTo>
                  <a:cubicBezTo>
                    <a:pt x="92" y="110"/>
                    <a:pt x="102" y="129"/>
                    <a:pt x="102" y="133"/>
                  </a:cubicBezTo>
                  <a:cubicBezTo>
                    <a:pt x="102" y="134"/>
                    <a:pt x="103" y="136"/>
                    <a:pt x="103" y="138"/>
                  </a:cubicBezTo>
                  <a:cubicBezTo>
                    <a:pt x="105" y="145"/>
                    <a:pt x="108" y="157"/>
                    <a:pt x="106" y="167"/>
                  </a:cubicBezTo>
                  <a:cubicBezTo>
                    <a:pt x="103" y="180"/>
                    <a:pt x="101" y="182"/>
                    <a:pt x="94" y="186"/>
                  </a:cubicBezTo>
                  <a:cubicBezTo>
                    <a:pt x="93" y="187"/>
                    <a:pt x="93" y="187"/>
                    <a:pt x="93" y="187"/>
                  </a:cubicBezTo>
                  <a:cubicBezTo>
                    <a:pt x="86" y="192"/>
                    <a:pt x="79" y="196"/>
                    <a:pt x="74" y="196"/>
                  </a:cubicBezTo>
                  <a:cubicBezTo>
                    <a:pt x="74" y="196"/>
                    <a:pt x="74" y="196"/>
                    <a:pt x="74" y="196"/>
                  </a:cubicBezTo>
                  <a:cubicBezTo>
                    <a:pt x="73" y="196"/>
                    <a:pt x="72" y="196"/>
                    <a:pt x="71" y="196"/>
                  </a:cubicBezTo>
                  <a:cubicBezTo>
                    <a:pt x="70" y="196"/>
                    <a:pt x="69" y="196"/>
                    <a:pt x="68" y="196"/>
                  </a:cubicBezTo>
                  <a:cubicBezTo>
                    <a:pt x="67" y="196"/>
                    <a:pt x="66" y="196"/>
                    <a:pt x="65" y="197"/>
                  </a:cubicBezTo>
                  <a:cubicBezTo>
                    <a:pt x="65" y="198"/>
                    <a:pt x="65" y="199"/>
                    <a:pt x="64" y="201"/>
                  </a:cubicBezTo>
                  <a:cubicBezTo>
                    <a:pt x="64" y="203"/>
                    <a:pt x="64" y="205"/>
                    <a:pt x="61" y="205"/>
                  </a:cubicBezTo>
                  <a:cubicBezTo>
                    <a:pt x="61" y="205"/>
                    <a:pt x="61" y="205"/>
                    <a:pt x="61" y="205"/>
                  </a:cubicBezTo>
                  <a:cubicBezTo>
                    <a:pt x="61" y="205"/>
                    <a:pt x="61" y="205"/>
                    <a:pt x="61" y="205"/>
                  </a:cubicBezTo>
                  <a:cubicBezTo>
                    <a:pt x="60" y="205"/>
                    <a:pt x="60" y="206"/>
                    <a:pt x="60" y="207"/>
                  </a:cubicBezTo>
                  <a:cubicBezTo>
                    <a:pt x="60" y="208"/>
                    <a:pt x="60" y="210"/>
                    <a:pt x="58" y="211"/>
                  </a:cubicBezTo>
                  <a:cubicBezTo>
                    <a:pt x="55" y="212"/>
                    <a:pt x="47" y="218"/>
                    <a:pt x="45" y="221"/>
                  </a:cubicBezTo>
                  <a:cubicBezTo>
                    <a:pt x="44" y="222"/>
                    <a:pt x="43" y="222"/>
                    <a:pt x="42" y="222"/>
                  </a:cubicBezTo>
                  <a:close/>
                  <a:moveTo>
                    <a:pt x="36" y="197"/>
                  </a:moveTo>
                  <a:cubicBezTo>
                    <a:pt x="37" y="199"/>
                    <a:pt x="38" y="200"/>
                    <a:pt x="40" y="201"/>
                  </a:cubicBezTo>
                  <a:cubicBezTo>
                    <a:pt x="41" y="201"/>
                    <a:pt x="41" y="201"/>
                    <a:pt x="42" y="201"/>
                  </a:cubicBezTo>
                  <a:cubicBezTo>
                    <a:pt x="42" y="202"/>
                    <a:pt x="43" y="202"/>
                    <a:pt x="43" y="203"/>
                  </a:cubicBezTo>
                  <a:cubicBezTo>
                    <a:pt x="43" y="204"/>
                    <a:pt x="42" y="205"/>
                    <a:pt x="41" y="207"/>
                  </a:cubicBezTo>
                  <a:cubicBezTo>
                    <a:pt x="39" y="209"/>
                    <a:pt x="38" y="211"/>
                    <a:pt x="38" y="215"/>
                  </a:cubicBezTo>
                  <a:cubicBezTo>
                    <a:pt x="38" y="219"/>
                    <a:pt x="40" y="221"/>
                    <a:pt x="42" y="221"/>
                  </a:cubicBezTo>
                  <a:cubicBezTo>
                    <a:pt x="43" y="221"/>
                    <a:pt x="44" y="221"/>
                    <a:pt x="44" y="220"/>
                  </a:cubicBezTo>
                  <a:cubicBezTo>
                    <a:pt x="46" y="217"/>
                    <a:pt x="54" y="211"/>
                    <a:pt x="57" y="210"/>
                  </a:cubicBezTo>
                  <a:cubicBezTo>
                    <a:pt x="59" y="209"/>
                    <a:pt x="59" y="209"/>
                    <a:pt x="59" y="207"/>
                  </a:cubicBezTo>
                  <a:cubicBezTo>
                    <a:pt x="59" y="206"/>
                    <a:pt x="59" y="204"/>
                    <a:pt x="61" y="204"/>
                  </a:cubicBezTo>
                  <a:cubicBezTo>
                    <a:pt x="61" y="204"/>
                    <a:pt x="61" y="204"/>
                    <a:pt x="61" y="204"/>
                  </a:cubicBezTo>
                  <a:cubicBezTo>
                    <a:pt x="61" y="204"/>
                    <a:pt x="61" y="204"/>
                    <a:pt x="61" y="204"/>
                  </a:cubicBezTo>
                  <a:cubicBezTo>
                    <a:pt x="63" y="204"/>
                    <a:pt x="63" y="203"/>
                    <a:pt x="63" y="200"/>
                  </a:cubicBezTo>
                  <a:cubicBezTo>
                    <a:pt x="64" y="199"/>
                    <a:pt x="64" y="198"/>
                    <a:pt x="64" y="197"/>
                  </a:cubicBezTo>
                  <a:cubicBezTo>
                    <a:pt x="66" y="195"/>
                    <a:pt x="67" y="195"/>
                    <a:pt x="68" y="195"/>
                  </a:cubicBezTo>
                  <a:cubicBezTo>
                    <a:pt x="69" y="195"/>
                    <a:pt x="70" y="195"/>
                    <a:pt x="71" y="195"/>
                  </a:cubicBezTo>
                  <a:cubicBezTo>
                    <a:pt x="72" y="195"/>
                    <a:pt x="73" y="195"/>
                    <a:pt x="74" y="195"/>
                  </a:cubicBezTo>
                  <a:cubicBezTo>
                    <a:pt x="74" y="195"/>
                    <a:pt x="74" y="195"/>
                    <a:pt x="74" y="195"/>
                  </a:cubicBezTo>
                  <a:cubicBezTo>
                    <a:pt x="79" y="195"/>
                    <a:pt x="86" y="191"/>
                    <a:pt x="92" y="186"/>
                  </a:cubicBezTo>
                  <a:cubicBezTo>
                    <a:pt x="93" y="186"/>
                    <a:pt x="93" y="186"/>
                    <a:pt x="93" y="186"/>
                  </a:cubicBezTo>
                  <a:cubicBezTo>
                    <a:pt x="101" y="181"/>
                    <a:pt x="102" y="180"/>
                    <a:pt x="105" y="167"/>
                  </a:cubicBezTo>
                  <a:cubicBezTo>
                    <a:pt x="107" y="157"/>
                    <a:pt x="104" y="145"/>
                    <a:pt x="102" y="138"/>
                  </a:cubicBezTo>
                  <a:cubicBezTo>
                    <a:pt x="102" y="136"/>
                    <a:pt x="101" y="134"/>
                    <a:pt x="101" y="133"/>
                  </a:cubicBezTo>
                  <a:cubicBezTo>
                    <a:pt x="101" y="128"/>
                    <a:pt x="91" y="111"/>
                    <a:pt x="88" y="111"/>
                  </a:cubicBezTo>
                  <a:cubicBezTo>
                    <a:pt x="88" y="111"/>
                    <a:pt x="88" y="111"/>
                    <a:pt x="88" y="111"/>
                  </a:cubicBezTo>
                  <a:cubicBezTo>
                    <a:pt x="85" y="111"/>
                    <a:pt x="76" y="102"/>
                    <a:pt x="67" y="93"/>
                  </a:cubicBezTo>
                  <a:cubicBezTo>
                    <a:pt x="66" y="92"/>
                    <a:pt x="65" y="91"/>
                    <a:pt x="64" y="91"/>
                  </a:cubicBezTo>
                  <a:cubicBezTo>
                    <a:pt x="63" y="89"/>
                    <a:pt x="62" y="88"/>
                    <a:pt x="61" y="86"/>
                  </a:cubicBezTo>
                  <a:cubicBezTo>
                    <a:pt x="61" y="84"/>
                    <a:pt x="60" y="81"/>
                    <a:pt x="58" y="79"/>
                  </a:cubicBezTo>
                  <a:cubicBezTo>
                    <a:pt x="53" y="75"/>
                    <a:pt x="53" y="65"/>
                    <a:pt x="54" y="59"/>
                  </a:cubicBezTo>
                  <a:cubicBezTo>
                    <a:pt x="54" y="56"/>
                    <a:pt x="58" y="53"/>
                    <a:pt x="60" y="51"/>
                  </a:cubicBezTo>
                  <a:cubicBezTo>
                    <a:pt x="62" y="50"/>
                    <a:pt x="64" y="49"/>
                    <a:pt x="64" y="47"/>
                  </a:cubicBezTo>
                  <a:cubicBezTo>
                    <a:pt x="64" y="43"/>
                    <a:pt x="65" y="41"/>
                    <a:pt x="66" y="39"/>
                  </a:cubicBezTo>
                  <a:cubicBezTo>
                    <a:pt x="67" y="38"/>
                    <a:pt x="68" y="38"/>
                    <a:pt x="70" y="38"/>
                  </a:cubicBezTo>
                  <a:cubicBezTo>
                    <a:pt x="75" y="37"/>
                    <a:pt x="79" y="34"/>
                    <a:pt x="81" y="30"/>
                  </a:cubicBezTo>
                  <a:cubicBezTo>
                    <a:pt x="81" y="30"/>
                    <a:pt x="82" y="30"/>
                    <a:pt x="82" y="29"/>
                  </a:cubicBezTo>
                  <a:cubicBezTo>
                    <a:pt x="81" y="28"/>
                    <a:pt x="80" y="28"/>
                    <a:pt x="80" y="28"/>
                  </a:cubicBezTo>
                  <a:cubicBezTo>
                    <a:pt x="76" y="27"/>
                    <a:pt x="65" y="20"/>
                    <a:pt x="65" y="16"/>
                  </a:cubicBezTo>
                  <a:cubicBezTo>
                    <a:pt x="65" y="15"/>
                    <a:pt x="65" y="14"/>
                    <a:pt x="66" y="13"/>
                  </a:cubicBezTo>
                  <a:cubicBezTo>
                    <a:pt x="66" y="12"/>
                    <a:pt x="67" y="11"/>
                    <a:pt x="66" y="10"/>
                  </a:cubicBezTo>
                  <a:cubicBezTo>
                    <a:pt x="66" y="9"/>
                    <a:pt x="64" y="8"/>
                    <a:pt x="62" y="8"/>
                  </a:cubicBezTo>
                  <a:cubicBezTo>
                    <a:pt x="54" y="7"/>
                    <a:pt x="52" y="4"/>
                    <a:pt x="50" y="2"/>
                  </a:cubicBezTo>
                  <a:cubicBezTo>
                    <a:pt x="49" y="2"/>
                    <a:pt x="49" y="2"/>
                    <a:pt x="49" y="2"/>
                  </a:cubicBezTo>
                  <a:cubicBezTo>
                    <a:pt x="49" y="1"/>
                    <a:pt x="49" y="1"/>
                    <a:pt x="49" y="1"/>
                  </a:cubicBezTo>
                  <a:cubicBezTo>
                    <a:pt x="46" y="1"/>
                    <a:pt x="40" y="6"/>
                    <a:pt x="38" y="9"/>
                  </a:cubicBezTo>
                  <a:cubicBezTo>
                    <a:pt x="38" y="10"/>
                    <a:pt x="37" y="11"/>
                    <a:pt x="36" y="11"/>
                  </a:cubicBezTo>
                  <a:cubicBezTo>
                    <a:pt x="35" y="11"/>
                    <a:pt x="35" y="11"/>
                    <a:pt x="34" y="10"/>
                  </a:cubicBezTo>
                  <a:cubicBezTo>
                    <a:pt x="33" y="10"/>
                    <a:pt x="32" y="10"/>
                    <a:pt x="32" y="10"/>
                  </a:cubicBezTo>
                  <a:cubicBezTo>
                    <a:pt x="31" y="10"/>
                    <a:pt x="30" y="10"/>
                    <a:pt x="28" y="11"/>
                  </a:cubicBezTo>
                  <a:cubicBezTo>
                    <a:pt x="28" y="11"/>
                    <a:pt x="27" y="12"/>
                    <a:pt x="25" y="12"/>
                  </a:cubicBezTo>
                  <a:cubicBezTo>
                    <a:pt x="24" y="12"/>
                    <a:pt x="22" y="11"/>
                    <a:pt x="21" y="10"/>
                  </a:cubicBezTo>
                  <a:cubicBezTo>
                    <a:pt x="20" y="10"/>
                    <a:pt x="19" y="10"/>
                    <a:pt x="18" y="10"/>
                  </a:cubicBezTo>
                  <a:cubicBezTo>
                    <a:pt x="17" y="10"/>
                    <a:pt x="16" y="10"/>
                    <a:pt x="16" y="11"/>
                  </a:cubicBezTo>
                  <a:cubicBezTo>
                    <a:pt x="15" y="12"/>
                    <a:pt x="15" y="12"/>
                    <a:pt x="13" y="12"/>
                  </a:cubicBezTo>
                  <a:cubicBezTo>
                    <a:pt x="12" y="12"/>
                    <a:pt x="11" y="12"/>
                    <a:pt x="10" y="12"/>
                  </a:cubicBezTo>
                  <a:cubicBezTo>
                    <a:pt x="9" y="11"/>
                    <a:pt x="8" y="11"/>
                    <a:pt x="7" y="11"/>
                  </a:cubicBezTo>
                  <a:cubicBezTo>
                    <a:pt x="6" y="11"/>
                    <a:pt x="6" y="11"/>
                    <a:pt x="5" y="12"/>
                  </a:cubicBezTo>
                  <a:cubicBezTo>
                    <a:pt x="4" y="13"/>
                    <a:pt x="3" y="14"/>
                    <a:pt x="2" y="15"/>
                  </a:cubicBezTo>
                  <a:cubicBezTo>
                    <a:pt x="2" y="15"/>
                    <a:pt x="2" y="15"/>
                    <a:pt x="2" y="15"/>
                  </a:cubicBezTo>
                  <a:cubicBezTo>
                    <a:pt x="4" y="18"/>
                    <a:pt x="6" y="20"/>
                    <a:pt x="6" y="22"/>
                  </a:cubicBezTo>
                  <a:cubicBezTo>
                    <a:pt x="6" y="24"/>
                    <a:pt x="8" y="25"/>
                    <a:pt x="10" y="27"/>
                  </a:cubicBezTo>
                  <a:cubicBezTo>
                    <a:pt x="12" y="29"/>
                    <a:pt x="14" y="31"/>
                    <a:pt x="14" y="33"/>
                  </a:cubicBezTo>
                  <a:cubicBezTo>
                    <a:pt x="14" y="37"/>
                    <a:pt x="20" y="40"/>
                    <a:pt x="23" y="40"/>
                  </a:cubicBezTo>
                  <a:cubicBezTo>
                    <a:pt x="24" y="40"/>
                    <a:pt x="25" y="40"/>
                    <a:pt x="25" y="39"/>
                  </a:cubicBezTo>
                  <a:cubicBezTo>
                    <a:pt x="26" y="39"/>
                    <a:pt x="29" y="38"/>
                    <a:pt x="31" y="38"/>
                  </a:cubicBezTo>
                  <a:cubicBezTo>
                    <a:pt x="34" y="38"/>
                    <a:pt x="36" y="39"/>
                    <a:pt x="36" y="43"/>
                  </a:cubicBezTo>
                  <a:cubicBezTo>
                    <a:pt x="36" y="46"/>
                    <a:pt x="38" y="47"/>
                    <a:pt x="39" y="49"/>
                  </a:cubicBezTo>
                  <a:cubicBezTo>
                    <a:pt x="40" y="50"/>
                    <a:pt x="41" y="51"/>
                    <a:pt x="41" y="54"/>
                  </a:cubicBezTo>
                  <a:cubicBezTo>
                    <a:pt x="41" y="56"/>
                    <a:pt x="38" y="57"/>
                    <a:pt x="35" y="57"/>
                  </a:cubicBezTo>
                  <a:cubicBezTo>
                    <a:pt x="33" y="58"/>
                    <a:pt x="30" y="58"/>
                    <a:pt x="29" y="60"/>
                  </a:cubicBezTo>
                  <a:cubicBezTo>
                    <a:pt x="29" y="62"/>
                    <a:pt x="34" y="65"/>
                    <a:pt x="38" y="68"/>
                  </a:cubicBezTo>
                  <a:cubicBezTo>
                    <a:pt x="42" y="70"/>
                    <a:pt x="45" y="72"/>
                    <a:pt x="45" y="74"/>
                  </a:cubicBezTo>
                  <a:cubicBezTo>
                    <a:pt x="45" y="76"/>
                    <a:pt x="47" y="78"/>
                    <a:pt x="49" y="81"/>
                  </a:cubicBezTo>
                  <a:cubicBezTo>
                    <a:pt x="50" y="83"/>
                    <a:pt x="52" y="85"/>
                    <a:pt x="53" y="87"/>
                  </a:cubicBezTo>
                  <a:cubicBezTo>
                    <a:pt x="53" y="89"/>
                    <a:pt x="56" y="91"/>
                    <a:pt x="58" y="93"/>
                  </a:cubicBezTo>
                  <a:cubicBezTo>
                    <a:pt x="61" y="96"/>
                    <a:pt x="63" y="99"/>
                    <a:pt x="65" y="102"/>
                  </a:cubicBezTo>
                  <a:cubicBezTo>
                    <a:pt x="66" y="106"/>
                    <a:pt x="70" y="108"/>
                    <a:pt x="73" y="110"/>
                  </a:cubicBezTo>
                  <a:cubicBezTo>
                    <a:pt x="74" y="111"/>
                    <a:pt x="75" y="112"/>
                    <a:pt x="76" y="113"/>
                  </a:cubicBezTo>
                  <a:cubicBezTo>
                    <a:pt x="79" y="116"/>
                    <a:pt x="80" y="123"/>
                    <a:pt x="79" y="128"/>
                  </a:cubicBezTo>
                  <a:cubicBezTo>
                    <a:pt x="78" y="135"/>
                    <a:pt x="79" y="144"/>
                    <a:pt x="84" y="152"/>
                  </a:cubicBezTo>
                  <a:cubicBezTo>
                    <a:pt x="88" y="158"/>
                    <a:pt x="83" y="162"/>
                    <a:pt x="78" y="165"/>
                  </a:cubicBezTo>
                  <a:cubicBezTo>
                    <a:pt x="76" y="167"/>
                    <a:pt x="75" y="168"/>
                    <a:pt x="74" y="169"/>
                  </a:cubicBezTo>
                  <a:cubicBezTo>
                    <a:pt x="73" y="170"/>
                    <a:pt x="72" y="172"/>
                    <a:pt x="72" y="173"/>
                  </a:cubicBezTo>
                  <a:cubicBezTo>
                    <a:pt x="70" y="176"/>
                    <a:pt x="69" y="178"/>
                    <a:pt x="65" y="178"/>
                  </a:cubicBezTo>
                  <a:cubicBezTo>
                    <a:pt x="64" y="178"/>
                    <a:pt x="62" y="178"/>
                    <a:pt x="60" y="178"/>
                  </a:cubicBezTo>
                  <a:cubicBezTo>
                    <a:pt x="58" y="177"/>
                    <a:pt x="57" y="177"/>
                    <a:pt x="56" y="178"/>
                  </a:cubicBezTo>
                  <a:cubicBezTo>
                    <a:pt x="56" y="178"/>
                    <a:pt x="57" y="181"/>
                    <a:pt x="59" y="183"/>
                  </a:cubicBezTo>
                  <a:cubicBezTo>
                    <a:pt x="60" y="186"/>
                    <a:pt x="62" y="189"/>
                    <a:pt x="61" y="190"/>
                  </a:cubicBezTo>
                  <a:cubicBezTo>
                    <a:pt x="60" y="191"/>
                    <a:pt x="59" y="192"/>
                    <a:pt x="58" y="192"/>
                  </a:cubicBezTo>
                  <a:cubicBezTo>
                    <a:pt x="56" y="192"/>
                    <a:pt x="53" y="191"/>
                    <a:pt x="51" y="190"/>
                  </a:cubicBezTo>
                  <a:cubicBezTo>
                    <a:pt x="49" y="190"/>
                    <a:pt x="47" y="189"/>
                    <a:pt x="45" y="189"/>
                  </a:cubicBezTo>
                  <a:cubicBezTo>
                    <a:pt x="44" y="189"/>
                    <a:pt x="44" y="190"/>
                    <a:pt x="44" y="190"/>
                  </a:cubicBezTo>
                  <a:cubicBezTo>
                    <a:pt x="44" y="192"/>
                    <a:pt x="41" y="194"/>
                    <a:pt x="36" y="19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7" name="Freeform 64"/>
            <p:cNvSpPr>
              <a:spLocks noEditPoints="1"/>
            </p:cNvSpPr>
            <p:nvPr/>
          </p:nvSpPr>
          <p:spPr>
            <a:xfrm>
              <a:off x="7273926" y="3448050"/>
              <a:ext cx="146050" cy="109538"/>
            </a:xfrm>
            <a:custGeom>
              <a:gdLst>
                <a:gd name="T0" fmla="*/ 32 w 86"/>
                <a:gd name="T1" fmla="*/ 64 h 65"/>
                <a:gd name="T2" fmla="*/ 29 w 86"/>
                <a:gd name="T3" fmla="*/ 61 h 65"/>
                <a:gd name="T4" fmla="*/ 22 w 86"/>
                <a:gd name="T5" fmla="*/ 62 h 65"/>
                <a:gd name="T6" fmla="*/ 19 w 86"/>
                <a:gd name="T7" fmla="*/ 55 h 65"/>
                <a:gd name="T8" fmla="*/ 19 w 86"/>
                <a:gd name="T9" fmla="*/ 53 h 65"/>
                <a:gd name="T10" fmla="*/ 17 w 86"/>
                <a:gd name="T11" fmla="*/ 54 h 65"/>
                <a:gd name="T12" fmla="*/ 10 w 86"/>
                <a:gd name="T13" fmla="*/ 52 h 65"/>
                <a:gd name="T14" fmla="*/ 6 w 86"/>
                <a:gd name="T15" fmla="*/ 39 h 65"/>
                <a:gd name="T16" fmla="*/ 6 w 86"/>
                <a:gd name="T17" fmla="*/ 38 h 65"/>
                <a:gd name="T18" fmla="*/ 6 w 86"/>
                <a:gd name="T19" fmla="*/ 33 h 65"/>
                <a:gd name="T20" fmla="*/ 2 w 86"/>
                <a:gd name="T21" fmla="*/ 22 h 65"/>
                <a:gd name="T22" fmla="*/ 21 w 86"/>
                <a:gd name="T23" fmla="*/ 3 h 65"/>
                <a:gd name="T24" fmla="*/ 27 w 86"/>
                <a:gd name="T25" fmla="*/ 4 h 65"/>
                <a:gd name="T26" fmla="*/ 39 w 86"/>
                <a:gd name="T27" fmla="*/ 2 h 65"/>
                <a:gd name="T28" fmla="*/ 49 w 86"/>
                <a:gd name="T29" fmla="*/ 7 h 65"/>
                <a:gd name="T30" fmla="*/ 52 w 86"/>
                <a:gd name="T31" fmla="*/ 11 h 65"/>
                <a:gd name="T32" fmla="*/ 56 w 86"/>
                <a:gd name="T33" fmla="*/ 6 h 65"/>
                <a:gd name="T34" fmla="*/ 66 w 86"/>
                <a:gd name="T35" fmla="*/ 3 h 65"/>
                <a:gd name="T36" fmla="*/ 76 w 86"/>
                <a:gd name="T37" fmla="*/ 1 h 65"/>
                <a:gd name="T38" fmla="*/ 77 w 86"/>
                <a:gd name="T39" fmla="*/ 1 h 65"/>
                <a:gd name="T40" fmla="*/ 76 w 86"/>
                <a:gd name="T41" fmla="*/ 32 h 65"/>
                <a:gd name="T42" fmla="*/ 70 w 86"/>
                <a:gd name="T43" fmla="*/ 40 h 65"/>
                <a:gd name="T44" fmla="*/ 58 w 86"/>
                <a:gd name="T45" fmla="*/ 45 h 65"/>
                <a:gd name="T46" fmla="*/ 57 w 86"/>
                <a:gd name="T47" fmla="*/ 50 h 65"/>
                <a:gd name="T48" fmla="*/ 56 w 86"/>
                <a:gd name="T49" fmla="*/ 59 h 65"/>
                <a:gd name="T50" fmla="*/ 43 w 86"/>
                <a:gd name="T51" fmla="*/ 56 h 65"/>
                <a:gd name="T52" fmla="*/ 33 w 86"/>
                <a:gd name="T53" fmla="*/ 64 h 65"/>
                <a:gd name="T54" fmla="*/ 29 w 86"/>
                <a:gd name="T55" fmla="*/ 60 h 65"/>
                <a:gd name="T56" fmla="*/ 33 w 86"/>
                <a:gd name="T57" fmla="*/ 63 h 65"/>
                <a:gd name="T58" fmla="*/ 43 w 86"/>
                <a:gd name="T59" fmla="*/ 55 h 65"/>
                <a:gd name="T60" fmla="*/ 56 w 86"/>
                <a:gd name="T61" fmla="*/ 58 h 65"/>
                <a:gd name="T62" fmla="*/ 56 w 86"/>
                <a:gd name="T63" fmla="*/ 50 h 65"/>
                <a:gd name="T64" fmla="*/ 58 w 86"/>
                <a:gd name="T65" fmla="*/ 44 h 65"/>
                <a:gd name="T66" fmla="*/ 69 w 86"/>
                <a:gd name="T67" fmla="*/ 40 h 65"/>
                <a:gd name="T68" fmla="*/ 76 w 86"/>
                <a:gd name="T69" fmla="*/ 32 h 65"/>
                <a:gd name="T70" fmla="*/ 76 w 86"/>
                <a:gd name="T71" fmla="*/ 2 h 65"/>
                <a:gd name="T72" fmla="*/ 66 w 86"/>
                <a:gd name="T73" fmla="*/ 4 h 65"/>
                <a:gd name="T74" fmla="*/ 57 w 86"/>
                <a:gd name="T75" fmla="*/ 6 h 65"/>
                <a:gd name="T76" fmla="*/ 51 w 86"/>
                <a:gd name="T77" fmla="*/ 11 h 65"/>
                <a:gd name="T78" fmla="*/ 49 w 86"/>
                <a:gd name="T79" fmla="*/ 8 h 65"/>
                <a:gd name="T80" fmla="*/ 39 w 86"/>
                <a:gd name="T81" fmla="*/ 3 h 65"/>
                <a:gd name="T82" fmla="*/ 27 w 86"/>
                <a:gd name="T83" fmla="*/ 5 h 65"/>
                <a:gd name="T84" fmla="*/ 21 w 86"/>
                <a:gd name="T85" fmla="*/ 4 h 65"/>
                <a:gd name="T86" fmla="*/ 3 w 86"/>
                <a:gd name="T87" fmla="*/ 21 h 65"/>
                <a:gd name="T88" fmla="*/ 6 w 86"/>
                <a:gd name="T89" fmla="*/ 32 h 65"/>
                <a:gd name="T90" fmla="*/ 7 w 86"/>
                <a:gd name="T91" fmla="*/ 38 h 65"/>
                <a:gd name="T92" fmla="*/ 11 w 86"/>
                <a:gd name="T93" fmla="*/ 51 h 65"/>
                <a:gd name="T94" fmla="*/ 17 w 86"/>
                <a:gd name="T95" fmla="*/ 53 h 65"/>
                <a:gd name="T96" fmla="*/ 21 w 86"/>
                <a:gd name="T97" fmla="*/ 53 h 65"/>
                <a:gd name="T98" fmla="*/ 20 w 86"/>
                <a:gd name="T99" fmla="*/ 60 h 65"/>
                <a:gd name="T100" fmla="*/ 26 w 86"/>
                <a:gd name="T101" fmla="*/ 61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65">
                  <a:moveTo>
                    <a:pt x="33" y="65"/>
                  </a:moveTo>
                  <a:cubicBezTo>
                    <a:pt x="32" y="64"/>
                    <a:pt x="32" y="64"/>
                    <a:pt x="32" y="64"/>
                  </a:cubicBezTo>
                  <a:cubicBezTo>
                    <a:pt x="32" y="64"/>
                    <a:pt x="31" y="63"/>
                    <a:pt x="31" y="62"/>
                  </a:cubicBezTo>
                  <a:cubicBezTo>
                    <a:pt x="31" y="61"/>
                    <a:pt x="30" y="61"/>
                    <a:pt x="29" y="61"/>
                  </a:cubicBezTo>
                  <a:cubicBezTo>
                    <a:pt x="28" y="61"/>
                    <a:pt x="27" y="61"/>
                    <a:pt x="26" y="62"/>
                  </a:cubicBezTo>
                  <a:cubicBezTo>
                    <a:pt x="25" y="62"/>
                    <a:pt x="23" y="62"/>
                    <a:pt x="22" y="62"/>
                  </a:cubicBezTo>
                  <a:cubicBezTo>
                    <a:pt x="21" y="62"/>
                    <a:pt x="20" y="62"/>
                    <a:pt x="20" y="61"/>
                  </a:cubicBezTo>
                  <a:cubicBezTo>
                    <a:pt x="18" y="59"/>
                    <a:pt x="19" y="57"/>
                    <a:pt x="19" y="55"/>
                  </a:cubicBezTo>
                  <a:cubicBezTo>
                    <a:pt x="20" y="55"/>
                    <a:pt x="20" y="54"/>
                    <a:pt x="20" y="54"/>
                  </a:cubicBezTo>
                  <a:cubicBezTo>
                    <a:pt x="20" y="54"/>
                    <a:pt x="20" y="53"/>
                    <a:pt x="19" y="53"/>
                  </a:cubicBezTo>
                  <a:cubicBezTo>
                    <a:pt x="19" y="53"/>
                    <a:pt x="19" y="53"/>
                    <a:pt x="19" y="53"/>
                  </a:cubicBezTo>
                  <a:cubicBezTo>
                    <a:pt x="19" y="54"/>
                    <a:pt x="18" y="54"/>
                    <a:pt x="17" y="54"/>
                  </a:cubicBezTo>
                  <a:cubicBezTo>
                    <a:pt x="16" y="54"/>
                    <a:pt x="15" y="54"/>
                    <a:pt x="13" y="54"/>
                  </a:cubicBezTo>
                  <a:cubicBezTo>
                    <a:pt x="11" y="54"/>
                    <a:pt x="10" y="53"/>
                    <a:pt x="10" y="52"/>
                  </a:cubicBezTo>
                  <a:cubicBezTo>
                    <a:pt x="10" y="51"/>
                    <a:pt x="10" y="49"/>
                    <a:pt x="10" y="48"/>
                  </a:cubicBezTo>
                  <a:cubicBezTo>
                    <a:pt x="10" y="44"/>
                    <a:pt x="10" y="40"/>
                    <a:pt x="6" y="39"/>
                  </a:cubicBezTo>
                  <a:cubicBezTo>
                    <a:pt x="6" y="39"/>
                    <a:pt x="6" y="39"/>
                    <a:pt x="6" y="39"/>
                  </a:cubicBezTo>
                  <a:cubicBezTo>
                    <a:pt x="6" y="38"/>
                    <a:pt x="6" y="38"/>
                    <a:pt x="6" y="38"/>
                  </a:cubicBezTo>
                  <a:cubicBezTo>
                    <a:pt x="6" y="38"/>
                    <a:pt x="6" y="38"/>
                    <a:pt x="6" y="38"/>
                  </a:cubicBezTo>
                  <a:cubicBezTo>
                    <a:pt x="7" y="35"/>
                    <a:pt x="6" y="34"/>
                    <a:pt x="6" y="33"/>
                  </a:cubicBezTo>
                  <a:cubicBezTo>
                    <a:pt x="5" y="31"/>
                    <a:pt x="4" y="30"/>
                    <a:pt x="4" y="27"/>
                  </a:cubicBezTo>
                  <a:cubicBezTo>
                    <a:pt x="4" y="25"/>
                    <a:pt x="3" y="23"/>
                    <a:pt x="2" y="22"/>
                  </a:cubicBezTo>
                  <a:cubicBezTo>
                    <a:pt x="1" y="20"/>
                    <a:pt x="0" y="18"/>
                    <a:pt x="4" y="13"/>
                  </a:cubicBezTo>
                  <a:cubicBezTo>
                    <a:pt x="9" y="7"/>
                    <a:pt x="16" y="3"/>
                    <a:pt x="21" y="3"/>
                  </a:cubicBezTo>
                  <a:cubicBezTo>
                    <a:pt x="22" y="3"/>
                    <a:pt x="23" y="3"/>
                    <a:pt x="24" y="3"/>
                  </a:cubicBezTo>
                  <a:cubicBezTo>
                    <a:pt x="25" y="4"/>
                    <a:pt x="26" y="4"/>
                    <a:pt x="27" y="4"/>
                  </a:cubicBezTo>
                  <a:cubicBezTo>
                    <a:pt x="29" y="4"/>
                    <a:pt x="31" y="3"/>
                    <a:pt x="33" y="3"/>
                  </a:cubicBezTo>
                  <a:cubicBezTo>
                    <a:pt x="35" y="3"/>
                    <a:pt x="38" y="2"/>
                    <a:pt x="39" y="2"/>
                  </a:cubicBezTo>
                  <a:cubicBezTo>
                    <a:pt x="42" y="2"/>
                    <a:pt x="43" y="3"/>
                    <a:pt x="44" y="4"/>
                  </a:cubicBezTo>
                  <a:cubicBezTo>
                    <a:pt x="46" y="6"/>
                    <a:pt x="48" y="7"/>
                    <a:pt x="49" y="7"/>
                  </a:cubicBezTo>
                  <a:cubicBezTo>
                    <a:pt x="51" y="8"/>
                    <a:pt x="53" y="8"/>
                    <a:pt x="52" y="10"/>
                  </a:cubicBezTo>
                  <a:cubicBezTo>
                    <a:pt x="52" y="11"/>
                    <a:pt x="52" y="11"/>
                    <a:pt x="52" y="11"/>
                  </a:cubicBezTo>
                  <a:cubicBezTo>
                    <a:pt x="52" y="11"/>
                    <a:pt x="52" y="11"/>
                    <a:pt x="53" y="11"/>
                  </a:cubicBezTo>
                  <a:cubicBezTo>
                    <a:pt x="54" y="11"/>
                    <a:pt x="56" y="9"/>
                    <a:pt x="56" y="6"/>
                  </a:cubicBezTo>
                  <a:cubicBezTo>
                    <a:pt x="56" y="3"/>
                    <a:pt x="58" y="2"/>
                    <a:pt x="61" y="2"/>
                  </a:cubicBezTo>
                  <a:cubicBezTo>
                    <a:pt x="63" y="2"/>
                    <a:pt x="65" y="2"/>
                    <a:pt x="66" y="3"/>
                  </a:cubicBezTo>
                  <a:cubicBezTo>
                    <a:pt x="67" y="3"/>
                    <a:pt x="68" y="3"/>
                    <a:pt x="69" y="3"/>
                  </a:cubicBezTo>
                  <a:cubicBezTo>
                    <a:pt x="71" y="3"/>
                    <a:pt x="73" y="3"/>
                    <a:pt x="76" y="1"/>
                  </a:cubicBezTo>
                  <a:cubicBezTo>
                    <a:pt x="77" y="0"/>
                    <a:pt x="77" y="0"/>
                    <a:pt x="77" y="0"/>
                  </a:cubicBezTo>
                  <a:cubicBezTo>
                    <a:pt x="77" y="1"/>
                    <a:pt x="77" y="1"/>
                    <a:pt x="77" y="1"/>
                  </a:cubicBezTo>
                  <a:cubicBezTo>
                    <a:pt x="77" y="6"/>
                    <a:pt x="78" y="13"/>
                    <a:pt x="82" y="19"/>
                  </a:cubicBezTo>
                  <a:cubicBezTo>
                    <a:pt x="86" y="25"/>
                    <a:pt x="81" y="29"/>
                    <a:pt x="76" y="32"/>
                  </a:cubicBezTo>
                  <a:cubicBezTo>
                    <a:pt x="74" y="34"/>
                    <a:pt x="73" y="35"/>
                    <a:pt x="72" y="36"/>
                  </a:cubicBezTo>
                  <a:cubicBezTo>
                    <a:pt x="71" y="37"/>
                    <a:pt x="70" y="39"/>
                    <a:pt x="70" y="40"/>
                  </a:cubicBezTo>
                  <a:cubicBezTo>
                    <a:pt x="68" y="43"/>
                    <a:pt x="67" y="45"/>
                    <a:pt x="63" y="45"/>
                  </a:cubicBezTo>
                  <a:cubicBezTo>
                    <a:pt x="62" y="45"/>
                    <a:pt x="60" y="45"/>
                    <a:pt x="58" y="45"/>
                  </a:cubicBezTo>
                  <a:cubicBezTo>
                    <a:pt x="56" y="44"/>
                    <a:pt x="55" y="44"/>
                    <a:pt x="54" y="45"/>
                  </a:cubicBezTo>
                  <a:cubicBezTo>
                    <a:pt x="54" y="45"/>
                    <a:pt x="55" y="48"/>
                    <a:pt x="57" y="50"/>
                  </a:cubicBezTo>
                  <a:cubicBezTo>
                    <a:pt x="58" y="53"/>
                    <a:pt x="60" y="56"/>
                    <a:pt x="59" y="57"/>
                  </a:cubicBezTo>
                  <a:cubicBezTo>
                    <a:pt x="58" y="58"/>
                    <a:pt x="57" y="59"/>
                    <a:pt x="56" y="59"/>
                  </a:cubicBezTo>
                  <a:cubicBezTo>
                    <a:pt x="54" y="59"/>
                    <a:pt x="51" y="58"/>
                    <a:pt x="49" y="57"/>
                  </a:cubicBezTo>
                  <a:cubicBezTo>
                    <a:pt x="47" y="57"/>
                    <a:pt x="45" y="56"/>
                    <a:pt x="43" y="56"/>
                  </a:cubicBezTo>
                  <a:cubicBezTo>
                    <a:pt x="42" y="56"/>
                    <a:pt x="42" y="57"/>
                    <a:pt x="42" y="57"/>
                  </a:cubicBezTo>
                  <a:cubicBezTo>
                    <a:pt x="42" y="59"/>
                    <a:pt x="39" y="61"/>
                    <a:pt x="33" y="64"/>
                  </a:cubicBezTo>
                  <a:lnTo>
                    <a:pt x="33" y="65"/>
                  </a:lnTo>
                  <a:close/>
                  <a:moveTo>
                    <a:pt x="29" y="60"/>
                  </a:moveTo>
                  <a:cubicBezTo>
                    <a:pt x="31" y="60"/>
                    <a:pt x="32" y="61"/>
                    <a:pt x="32" y="62"/>
                  </a:cubicBezTo>
                  <a:cubicBezTo>
                    <a:pt x="33" y="63"/>
                    <a:pt x="33" y="63"/>
                    <a:pt x="33" y="63"/>
                  </a:cubicBezTo>
                  <a:cubicBezTo>
                    <a:pt x="40" y="60"/>
                    <a:pt x="41" y="58"/>
                    <a:pt x="41" y="57"/>
                  </a:cubicBezTo>
                  <a:cubicBezTo>
                    <a:pt x="41" y="56"/>
                    <a:pt x="42" y="55"/>
                    <a:pt x="43" y="55"/>
                  </a:cubicBezTo>
                  <a:cubicBezTo>
                    <a:pt x="45" y="55"/>
                    <a:pt x="47" y="56"/>
                    <a:pt x="49" y="56"/>
                  </a:cubicBezTo>
                  <a:cubicBezTo>
                    <a:pt x="52" y="57"/>
                    <a:pt x="54" y="58"/>
                    <a:pt x="56" y="58"/>
                  </a:cubicBezTo>
                  <a:cubicBezTo>
                    <a:pt x="57" y="58"/>
                    <a:pt x="58" y="57"/>
                    <a:pt x="58" y="57"/>
                  </a:cubicBezTo>
                  <a:cubicBezTo>
                    <a:pt x="59" y="56"/>
                    <a:pt x="57" y="53"/>
                    <a:pt x="56" y="50"/>
                  </a:cubicBezTo>
                  <a:cubicBezTo>
                    <a:pt x="54" y="48"/>
                    <a:pt x="53" y="45"/>
                    <a:pt x="54" y="44"/>
                  </a:cubicBezTo>
                  <a:cubicBezTo>
                    <a:pt x="54" y="43"/>
                    <a:pt x="56" y="43"/>
                    <a:pt x="58" y="44"/>
                  </a:cubicBezTo>
                  <a:cubicBezTo>
                    <a:pt x="60" y="44"/>
                    <a:pt x="62" y="44"/>
                    <a:pt x="63" y="44"/>
                  </a:cubicBezTo>
                  <a:cubicBezTo>
                    <a:pt x="67" y="44"/>
                    <a:pt x="68" y="42"/>
                    <a:pt x="69" y="40"/>
                  </a:cubicBezTo>
                  <a:cubicBezTo>
                    <a:pt x="69" y="38"/>
                    <a:pt x="70" y="37"/>
                    <a:pt x="71" y="35"/>
                  </a:cubicBezTo>
                  <a:cubicBezTo>
                    <a:pt x="72" y="34"/>
                    <a:pt x="74" y="33"/>
                    <a:pt x="76" y="32"/>
                  </a:cubicBezTo>
                  <a:cubicBezTo>
                    <a:pt x="80" y="28"/>
                    <a:pt x="85" y="25"/>
                    <a:pt x="81" y="20"/>
                  </a:cubicBezTo>
                  <a:cubicBezTo>
                    <a:pt x="77" y="14"/>
                    <a:pt x="76" y="7"/>
                    <a:pt x="76" y="2"/>
                  </a:cubicBezTo>
                  <a:cubicBezTo>
                    <a:pt x="73" y="4"/>
                    <a:pt x="71" y="4"/>
                    <a:pt x="69" y="4"/>
                  </a:cubicBezTo>
                  <a:cubicBezTo>
                    <a:pt x="68" y="4"/>
                    <a:pt x="67" y="4"/>
                    <a:pt x="66" y="4"/>
                  </a:cubicBezTo>
                  <a:cubicBezTo>
                    <a:pt x="65" y="3"/>
                    <a:pt x="63" y="3"/>
                    <a:pt x="61" y="3"/>
                  </a:cubicBezTo>
                  <a:cubicBezTo>
                    <a:pt x="59" y="3"/>
                    <a:pt x="57" y="3"/>
                    <a:pt x="57" y="6"/>
                  </a:cubicBezTo>
                  <a:cubicBezTo>
                    <a:pt x="57" y="10"/>
                    <a:pt x="54" y="12"/>
                    <a:pt x="53" y="12"/>
                  </a:cubicBezTo>
                  <a:cubicBezTo>
                    <a:pt x="52" y="12"/>
                    <a:pt x="52" y="12"/>
                    <a:pt x="51" y="11"/>
                  </a:cubicBezTo>
                  <a:cubicBezTo>
                    <a:pt x="51" y="11"/>
                    <a:pt x="51" y="11"/>
                    <a:pt x="51" y="10"/>
                  </a:cubicBezTo>
                  <a:cubicBezTo>
                    <a:pt x="51" y="9"/>
                    <a:pt x="51" y="9"/>
                    <a:pt x="49" y="8"/>
                  </a:cubicBezTo>
                  <a:cubicBezTo>
                    <a:pt x="47" y="7"/>
                    <a:pt x="45" y="7"/>
                    <a:pt x="43" y="5"/>
                  </a:cubicBezTo>
                  <a:cubicBezTo>
                    <a:pt x="43" y="4"/>
                    <a:pt x="41" y="3"/>
                    <a:pt x="39" y="3"/>
                  </a:cubicBezTo>
                  <a:cubicBezTo>
                    <a:pt x="38" y="3"/>
                    <a:pt x="36" y="4"/>
                    <a:pt x="33" y="4"/>
                  </a:cubicBezTo>
                  <a:cubicBezTo>
                    <a:pt x="31" y="4"/>
                    <a:pt x="29" y="5"/>
                    <a:pt x="27" y="5"/>
                  </a:cubicBezTo>
                  <a:cubicBezTo>
                    <a:pt x="26" y="5"/>
                    <a:pt x="25" y="5"/>
                    <a:pt x="24" y="4"/>
                  </a:cubicBezTo>
                  <a:cubicBezTo>
                    <a:pt x="23" y="4"/>
                    <a:pt x="22" y="4"/>
                    <a:pt x="21" y="4"/>
                  </a:cubicBezTo>
                  <a:cubicBezTo>
                    <a:pt x="16" y="4"/>
                    <a:pt x="9" y="8"/>
                    <a:pt x="4" y="14"/>
                  </a:cubicBezTo>
                  <a:cubicBezTo>
                    <a:pt x="1" y="18"/>
                    <a:pt x="2" y="19"/>
                    <a:pt x="3" y="21"/>
                  </a:cubicBezTo>
                  <a:cubicBezTo>
                    <a:pt x="4" y="23"/>
                    <a:pt x="5" y="24"/>
                    <a:pt x="5" y="27"/>
                  </a:cubicBezTo>
                  <a:cubicBezTo>
                    <a:pt x="5" y="30"/>
                    <a:pt x="6" y="31"/>
                    <a:pt x="6" y="32"/>
                  </a:cubicBezTo>
                  <a:cubicBezTo>
                    <a:pt x="7" y="34"/>
                    <a:pt x="8" y="35"/>
                    <a:pt x="7" y="38"/>
                  </a:cubicBezTo>
                  <a:cubicBezTo>
                    <a:pt x="7" y="38"/>
                    <a:pt x="7" y="38"/>
                    <a:pt x="7" y="38"/>
                  </a:cubicBezTo>
                  <a:cubicBezTo>
                    <a:pt x="11" y="40"/>
                    <a:pt x="11" y="44"/>
                    <a:pt x="11" y="48"/>
                  </a:cubicBezTo>
                  <a:cubicBezTo>
                    <a:pt x="11" y="49"/>
                    <a:pt x="11" y="50"/>
                    <a:pt x="11" y="51"/>
                  </a:cubicBezTo>
                  <a:cubicBezTo>
                    <a:pt x="11" y="53"/>
                    <a:pt x="12" y="53"/>
                    <a:pt x="13" y="53"/>
                  </a:cubicBezTo>
                  <a:cubicBezTo>
                    <a:pt x="14" y="53"/>
                    <a:pt x="16" y="53"/>
                    <a:pt x="17" y="53"/>
                  </a:cubicBezTo>
                  <a:cubicBezTo>
                    <a:pt x="18" y="53"/>
                    <a:pt x="18" y="53"/>
                    <a:pt x="19" y="52"/>
                  </a:cubicBezTo>
                  <a:cubicBezTo>
                    <a:pt x="20" y="52"/>
                    <a:pt x="20" y="53"/>
                    <a:pt x="21" y="53"/>
                  </a:cubicBezTo>
                  <a:cubicBezTo>
                    <a:pt x="21" y="54"/>
                    <a:pt x="21" y="54"/>
                    <a:pt x="20" y="56"/>
                  </a:cubicBezTo>
                  <a:cubicBezTo>
                    <a:pt x="20" y="57"/>
                    <a:pt x="19" y="59"/>
                    <a:pt x="20" y="60"/>
                  </a:cubicBezTo>
                  <a:cubicBezTo>
                    <a:pt x="21" y="61"/>
                    <a:pt x="21" y="61"/>
                    <a:pt x="22" y="61"/>
                  </a:cubicBezTo>
                  <a:cubicBezTo>
                    <a:pt x="23" y="61"/>
                    <a:pt x="25" y="61"/>
                    <a:pt x="26" y="61"/>
                  </a:cubicBezTo>
                  <a:cubicBezTo>
                    <a:pt x="27" y="60"/>
                    <a:pt x="28" y="60"/>
                    <a:pt x="29" y="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8" name="Freeform 65"/>
            <p:cNvSpPr>
              <a:spLocks noEditPoints="1"/>
            </p:cNvSpPr>
            <p:nvPr/>
          </p:nvSpPr>
          <p:spPr>
            <a:xfrm>
              <a:off x="7221539" y="3246438"/>
              <a:ext cx="185738" cy="222250"/>
            </a:xfrm>
            <a:custGeom>
              <a:gdLst>
                <a:gd name="T0" fmla="*/ 82 w 109"/>
                <a:gd name="T1" fmla="*/ 129 h 131"/>
                <a:gd name="T2" fmla="*/ 76 w 109"/>
                <a:gd name="T3" fmla="*/ 125 h 131"/>
                <a:gd name="T4" fmla="*/ 78 w 109"/>
                <a:gd name="T5" fmla="*/ 108 h 131"/>
                <a:gd name="T6" fmla="*/ 67 w 109"/>
                <a:gd name="T7" fmla="*/ 76 h 131"/>
                <a:gd name="T8" fmla="*/ 50 w 109"/>
                <a:gd name="T9" fmla="*/ 63 h 131"/>
                <a:gd name="T10" fmla="*/ 33 w 109"/>
                <a:gd name="T11" fmla="*/ 68 h 131"/>
                <a:gd name="T12" fmla="*/ 12 w 109"/>
                <a:gd name="T13" fmla="*/ 76 h 131"/>
                <a:gd name="T14" fmla="*/ 13 w 109"/>
                <a:gd name="T15" fmla="*/ 63 h 131"/>
                <a:gd name="T16" fmla="*/ 12 w 109"/>
                <a:gd name="T17" fmla="*/ 45 h 131"/>
                <a:gd name="T18" fmla="*/ 5 w 109"/>
                <a:gd name="T19" fmla="*/ 44 h 131"/>
                <a:gd name="T20" fmla="*/ 1 w 109"/>
                <a:gd name="T21" fmla="*/ 30 h 131"/>
                <a:gd name="T22" fmla="*/ 2 w 109"/>
                <a:gd name="T23" fmla="*/ 28 h 131"/>
                <a:gd name="T24" fmla="*/ 13 w 109"/>
                <a:gd name="T25" fmla="*/ 13 h 131"/>
                <a:gd name="T26" fmla="*/ 21 w 109"/>
                <a:gd name="T27" fmla="*/ 19 h 131"/>
                <a:gd name="T28" fmla="*/ 21 w 109"/>
                <a:gd name="T29" fmla="*/ 9 h 131"/>
                <a:gd name="T30" fmla="*/ 24 w 109"/>
                <a:gd name="T31" fmla="*/ 1 h 131"/>
                <a:gd name="T32" fmla="*/ 30 w 109"/>
                <a:gd name="T33" fmla="*/ 0 h 131"/>
                <a:gd name="T34" fmla="*/ 39 w 109"/>
                <a:gd name="T35" fmla="*/ 13 h 131"/>
                <a:gd name="T36" fmla="*/ 52 w 109"/>
                <a:gd name="T37" fmla="*/ 26 h 131"/>
                <a:gd name="T38" fmla="*/ 65 w 109"/>
                <a:gd name="T39" fmla="*/ 29 h 131"/>
                <a:gd name="T40" fmla="*/ 64 w 109"/>
                <a:gd name="T41" fmla="*/ 43 h 131"/>
                <a:gd name="T42" fmla="*/ 74 w 109"/>
                <a:gd name="T43" fmla="*/ 60 h 131"/>
                <a:gd name="T44" fmla="*/ 87 w 109"/>
                <a:gd name="T45" fmla="*/ 79 h 131"/>
                <a:gd name="T46" fmla="*/ 105 w 109"/>
                <a:gd name="T47" fmla="*/ 99 h 131"/>
                <a:gd name="T48" fmla="*/ 108 w 109"/>
                <a:gd name="T49" fmla="*/ 120 h 131"/>
                <a:gd name="T50" fmla="*/ 100 w 109"/>
                <a:gd name="T51" fmla="*/ 123 h 131"/>
                <a:gd name="T52" fmla="*/ 88 w 109"/>
                <a:gd name="T53" fmla="*/ 125 h 131"/>
                <a:gd name="T54" fmla="*/ 80 w 109"/>
                <a:gd name="T55" fmla="*/ 126 h 131"/>
                <a:gd name="T56" fmla="*/ 84 w 109"/>
                <a:gd name="T57" fmla="*/ 130 h 131"/>
                <a:gd name="T58" fmla="*/ 97 w 109"/>
                <a:gd name="T59" fmla="*/ 122 h 131"/>
                <a:gd name="T60" fmla="*/ 107 w 109"/>
                <a:gd name="T61" fmla="*/ 120 h 131"/>
                <a:gd name="T62" fmla="*/ 101 w 109"/>
                <a:gd name="T63" fmla="*/ 97 h 131"/>
                <a:gd name="T64" fmla="*/ 81 w 109"/>
                <a:gd name="T65" fmla="*/ 73 h 131"/>
                <a:gd name="T66" fmla="*/ 66 w 109"/>
                <a:gd name="T67" fmla="*/ 55 h 131"/>
                <a:gd name="T68" fmla="*/ 69 w 109"/>
                <a:gd name="T69" fmla="*/ 40 h 131"/>
                <a:gd name="T70" fmla="*/ 60 w 109"/>
                <a:gd name="T71" fmla="*/ 25 h 131"/>
                <a:gd name="T72" fmla="*/ 42 w 109"/>
                <a:gd name="T73" fmla="*/ 19 h 131"/>
                <a:gd name="T74" fmla="*/ 30 w 109"/>
                <a:gd name="T75" fmla="*/ 2 h 131"/>
                <a:gd name="T76" fmla="*/ 23 w 109"/>
                <a:gd name="T77" fmla="*/ 1 h 131"/>
                <a:gd name="T78" fmla="*/ 24 w 109"/>
                <a:gd name="T79" fmla="*/ 19 h 131"/>
                <a:gd name="T80" fmla="*/ 16 w 109"/>
                <a:gd name="T81" fmla="*/ 16 h 131"/>
                <a:gd name="T82" fmla="*/ 3 w 109"/>
                <a:gd name="T83" fmla="*/ 29 h 131"/>
                <a:gd name="T84" fmla="*/ 5 w 109"/>
                <a:gd name="T85" fmla="*/ 36 h 131"/>
                <a:gd name="T86" fmla="*/ 10 w 109"/>
                <a:gd name="T87" fmla="*/ 44 h 131"/>
                <a:gd name="T88" fmla="*/ 15 w 109"/>
                <a:gd name="T89" fmla="*/ 56 h 131"/>
                <a:gd name="T90" fmla="*/ 11 w 109"/>
                <a:gd name="T91" fmla="*/ 74 h 131"/>
                <a:gd name="T92" fmla="*/ 23 w 109"/>
                <a:gd name="T93" fmla="*/ 68 h 131"/>
                <a:gd name="T94" fmla="*/ 37 w 109"/>
                <a:gd name="T95" fmla="*/ 69 h 131"/>
                <a:gd name="T96" fmla="*/ 57 w 109"/>
                <a:gd name="T97" fmla="*/ 65 h 131"/>
                <a:gd name="T98" fmla="*/ 68 w 109"/>
                <a:gd name="T99" fmla="*/ 85 h 131"/>
                <a:gd name="T100" fmla="*/ 79 w 109"/>
                <a:gd name="T101" fmla="*/ 114 h 1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31">
                  <a:moveTo>
                    <a:pt x="84" y="131"/>
                  </a:moveTo>
                  <a:cubicBezTo>
                    <a:pt x="83" y="131"/>
                    <a:pt x="83" y="131"/>
                    <a:pt x="82" y="130"/>
                  </a:cubicBezTo>
                  <a:cubicBezTo>
                    <a:pt x="82" y="130"/>
                    <a:pt x="82" y="130"/>
                    <a:pt x="82" y="129"/>
                  </a:cubicBezTo>
                  <a:cubicBezTo>
                    <a:pt x="82" y="128"/>
                    <a:pt x="82" y="128"/>
                    <a:pt x="80" y="127"/>
                  </a:cubicBezTo>
                  <a:cubicBezTo>
                    <a:pt x="79" y="127"/>
                    <a:pt x="77" y="126"/>
                    <a:pt x="76" y="125"/>
                  </a:cubicBezTo>
                  <a:cubicBezTo>
                    <a:pt x="76" y="125"/>
                    <a:pt x="76" y="125"/>
                    <a:pt x="76" y="125"/>
                  </a:cubicBezTo>
                  <a:cubicBezTo>
                    <a:pt x="76" y="125"/>
                    <a:pt x="76" y="125"/>
                    <a:pt x="76" y="125"/>
                  </a:cubicBezTo>
                  <a:cubicBezTo>
                    <a:pt x="79" y="121"/>
                    <a:pt x="79" y="118"/>
                    <a:pt x="78" y="115"/>
                  </a:cubicBezTo>
                  <a:cubicBezTo>
                    <a:pt x="78" y="113"/>
                    <a:pt x="78" y="111"/>
                    <a:pt x="78" y="108"/>
                  </a:cubicBezTo>
                  <a:cubicBezTo>
                    <a:pt x="79" y="101"/>
                    <a:pt x="73" y="95"/>
                    <a:pt x="68" y="93"/>
                  </a:cubicBezTo>
                  <a:cubicBezTo>
                    <a:pt x="66" y="93"/>
                    <a:pt x="67" y="89"/>
                    <a:pt x="67" y="85"/>
                  </a:cubicBezTo>
                  <a:cubicBezTo>
                    <a:pt x="68" y="81"/>
                    <a:pt x="69" y="77"/>
                    <a:pt x="67" y="76"/>
                  </a:cubicBezTo>
                  <a:cubicBezTo>
                    <a:pt x="63" y="74"/>
                    <a:pt x="60" y="70"/>
                    <a:pt x="58" y="67"/>
                  </a:cubicBezTo>
                  <a:cubicBezTo>
                    <a:pt x="57" y="67"/>
                    <a:pt x="57" y="66"/>
                    <a:pt x="56" y="65"/>
                  </a:cubicBezTo>
                  <a:cubicBezTo>
                    <a:pt x="55" y="64"/>
                    <a:pt x="53" y="63"/>
                    <a:pt x="50" y="63"/>
                  </a:cubicBezTo>
                  <a:cubicBezTo>
                    <a:pt x="47" y="63"/>
                    <a:pt x="44" y="64"/>
                    <a:pt x="43" y="66"/>
                  </a:cubicBezTo>
                  <a:cubicBezTo>
                    <a:pt x="43" y="68"/>
                    <a:pt x="39" y="70"/>
                    <a:pt x="37" y="70"/>
                  </a:cubicBezTo>
                  <a:cubicBezTo>
                    <a:pt x="35" y="70"/>
                    <a:pt x="34" y="69"/>
                    <a:pt x="33" y="68"/>
                  </a:cubicBezTo>
                  <a:cubicBezTo>
                    <a:pt x="31" y="66"/>
                    <a:pt x="28" y="66"/>
                    <a:pt x="23" y="69"/>
                  </a:cubicBezTo>
                  <a:cubicBezTo>
                    <a:pt x="23" y="70"/>
                    <a:pt x="22" y="71"/>
                    <a:pt x="21" y="71"/>
                  </a:cubicBezTo>
                  <a:cubicBezTo>
                    <a:pt x="18" y="74"/>
                    <a:pt x="14" y="76"/>
                    <a:pt x="12" y="76"/>
                  </a:cubicBezTo>
                  <a:cubicBezTo>
                    <a:pt x="11" y="76"/>
                    <a:pt x="10" y="76"/>
                    <a:pt x="10" y="74"/>
                  </a:cubicBezTo>
                  <a:cubicBezTo>
                    <a:pt x="9" y="71"/>
                    <a:pt x="10" y="69"/>
                    <a:pt x="11" y="68"/>
                  </a:cubicBezTo>
                  <a:cubicBezTo>
                    <a:pt x="12" y="67"/>
                    <a:pt x="13" y="65"/>
                    <a:pt x="13" y="63"/>
                  </a:cubicBezTo>
                  <a:cubicBezTo>
                    <a:pt x="13" y="60"/>
                    <a:pt x="14" y="58"/>
                    <a:pt x="14" y="56"/>
                  </a:cubicBezTo>
                  <a:cubicBezTo>
                    <a:pt x="15" y="53"/>
                    <a:pt x="16" y="51"/>
                    <a:pt x="15" y="47"/>
                  </a:cubicBezTo>
                  <a:cubicBezTo>
                    <a:pt x="14" y="45"/>
                    <a:pt x="13" y="45"/>
                    <a:pt x="12" y="45"/>
                  </a:cubicBezTo>
                  <a:cubicBezTo>
                    <a:pt x="11" y="45"/>
                    <a:pt x="10" y="45"/>
                    <a:pt x="10" y="45"/>
                  </a:cubicBezTo>
                  <a:cubicBezTo>
                    <a:pt x="9" y="45"/>
                    <a:pt x="8" y="45"/>
                    <a:pt x="8" y="45"/>
                  </a:cubicBezTo>
                  <a:cubicBezTo>
                    <a:pt x="6" y="45"/>
                    <a:pt x="5" y="45"/>
                    <a:pt x="5" y="44"/>
                  </a:cubicBezTo>
                  <a:cubicBezTo>
                    <a:pt x="4" y="41"/>
                    <a:pt x="4" y="38"/>
                    <a:pt x="4" y="36"/>
                  </a:cubicBezTo>
                  <a:cubicBezTo>
                    <a:pt x="4" y="35"/>
                    <a:pt x="4" y="33"/>
                    <a:pt x="3" y="32"/>
                  </a:cubicBezTo>
                  <a:cubicBezTo>
                    <a:pt x="1" y="30"/>
                    <a:pt x="1" y="30"/>
                    <a:pt x="1" y="30"/>
                  </a:cubicBezTo>
                  <a:cubicBezTo>
                    <a:pt x="0" y="29"/>
                    <a:pt x="0" y="29"/>
                    <a:pt x="0" y="29"/>
                  </a:cubicBezTo>
                  <a:cubicBezTo>
                    <a:pt x="1" y="29"/>
                    <a:pt x="1" y="29"/>
                    <a:pt x="1" y="29"/>
                  </a:cubicBezTo>
                  <a:cubicBezTo>
                    <a:pt x="2" y="28"/>
                    <a:pt x="2" y="28"/>
                    <a:pt x="2" y="28"/>
                  </a:cubicBezTo>
                  <a:cubicBezTo>
                    <a:pt x="4" y="27"/>
                    <a:pt x="6" y="27"/>
                    <a:pt x="6" y="25"/>
                  </a:cubicBezTo>
                  <a:cubicBezTo>
                    <a:pt x="6" y="22"/>
                    <a:pt x="13" y="13"/>
                    <a:pt x="13" y="13"/>
                  </a:cubicBezTo>
                  <a:cubicBezTo>
                    <a:pt x="13" y="13"/>
                    <a:pt x="13" y="13"/>
                    <a:pt x="13" y="13"/>
                  </a:cubicBezTo>
                  <a:cubicBezTo>
                    <a:pt x="14" y="13"/>
                    <a:pt x="14" y="13"/>
                    <a:pt x="14" y="13"/>
                  </a:cubicBezTo>
                  <a:cubicBezTo>
                    <a:pt x="15" y="12"/>
                    <a:pt x="16" y="14"/>
                    <a:pt x="17" y="15"/>
                  </a:cubicBezTo>
                  <a:cubicBezTo>
                    <a:pt x="18" y="17"/>
                    <a:pt x="19" y="19"/>
                    <a:pt x="21" y="19"/>
                  </a:cubicBezTo>
                  <a:cubicBezTo>
                    <a:pt x="21" y="20"/>
                    <a:pt x="22" y="20"/>
                    <a:pt x="22" y="20"/>
                  </a:cubicBezTo>
                  <a:cubicBezTo>
                    <a:pt x="23" y="19"/>
                    <a:pt x="23" y="19"/>
                    <a:pt x="23" y="19"/>
                  </a:cubicBezTo>
                  <a:cubicBezTo>
                    <a:pt x="24" y="16"/>
                    <a:pt x="22" y="10"/>
                    <a:pt x="21" y="9"/>
                  </a:cubicBezTo>
                  <a:cubicBezTo>
                    <a:pt x="20" y="8"/>
                    <a:pt x="21" y="4"/>
                    <a:pt x="21" y="2"/>
                  </a:cubicBezTo>
                  <a:cubicBezTo>
                    <a:pt x="22" y="1"/>
                    <a:pt x="22" y="0"/>
                    <a:pt x="23" y="0"/>
                  </a:cubicBezTo>
                  <a:cubicBezTo>
                    <a:pt x="24" y="0"/>
                    <a:pt x="24" y="0"/>
                    <a:pt x="24" y="1"/>
                  </a:cubicBezTo>
                  <a:cubicBezTo>
                    <a:pt x="25" y="1"/>
                    <a:pt x="25" y="1"/>
                    <a:pt x="26" y="1"/>
                  </a:cubicBezTo>
                  <a:cubicBezTo>
                    <a:pt x="27" y="1"/>
                    <a:pt x="28" y="1"/>
                    <a:pt x="30" y="0"/>
                  </a:cubicBezTo>
                  <a:cubicBezTo>
                    <a:pt x="30" y="0"/>
                    <a:pt x="30" y="0"/>
                    <a:pt x="30" y="0"/>
                  </a:cubicBezTo>
                  <a:cubicBezTo>
                    <a:pt x="31" y="1"/>
                    <a:pt x="31" y="1"/>
                    <a:pt x="31" y="1"/>
                  </a:cubicBezTo>
                  <a:cubicBezTo>
                    <a:pt x="33" y="4"/>
                    <a:pt x="35" y="6"/>
                    <a:pt x="35" y="8"/>
                  </a:cubicBezTo>
                  <a:cubicBezTo>
                    <a:pt x="35" y="10"/>
                    <a:pt x="37" y="11"/>
                    <a:pt x="39" y="13"/>
                  </a:cubicBezTo>
                  <a:cubicBezTo>
                    <a:pt x="41" y="15"/>
                    <a:pt x="43" y="17"/>
                    <a:pt x="43" y="19"/>
                  </a:cubicBezTo>
                  <a:cubicBezTo>
                    <a:pt x="43" y="21"/>
                    <a:pt x="44" y="22"/>
                    <a:pt x="46" y="24"/>
                  </a:cubicBezTo>
                  <a:cubicBezTo>
                    <a:pt x="48" y="25"/>
                    <a:pt x="51" y="26"/>
                    <a:pt x="52" y="26"/>
                  </a:cubicBezTo>
                  <a:cubicBezTo>
                    <a:pt x="53" y="26"/>
                    <a:pt x="54" y="26"/>
                    <a:pt x="54" y="25"/>
                  </a:cubicBezTo>
                  <a:cubicBezTo>
                    <a:pt x="55" y="25"/>
                    <a:pt x="58" y="24"/>
                    <a:pt x="60" y="24"/>
                  </a:cubicBezTo>
                  <a:cubicBezTo>
                    <a:pt x="63" y="24"/>
                    <a:pt x="65" y="25"/>
                    <a:pt x="65" y="29"/>
                  </a:cubicBezTo>
                  <a:cubicBezTo>
                    <a:pt x="65" y="32"/>
                    <a:pt x="67" y="33"/>
                    <a:pt x="68" y="35"/>
                  </a:cubicBezTo>
                  <a:cubicBezTo>
                    <a:pt x="69" y="36"/>
                    <a:pt x="70" y="37"/>
                    <a:pt x="70" y="40"/>
                  </a:cubicBezTo>
                  <a:cubicBezTo>
                    <a:pt x="70" y="42"/>
                    <a:pt x="67" y="43"/>
                    <a:pt x="64" y="43"/>
                  </a:cubicBezTo>
                  <a:cubicBezTo>
                    <a:pt x="62" y="44"/>
                    <a:pt x="59" y="44"/>
                    <a:pt x="58" y="46"/>
                  </a:cubicBezTo>
                  <a:cubicBezTo>
                    <a:pt x="58" y="48"/>
                    <a:pt x="63" y="51"/>
                    <a:pt x="67" y="54"/>
                  </a:cubicBezTo>
                  <a:cubicBezTo>
                    <a:pt x="71" y="56"/>
                    <a:pt x="74" y="58"/>
                    <a:pt x="74" y="60"/>
                  </a:cubicBezTo>
                  <a:cubicBezTo>
                    <a:pt x="74" y="62"/>
                    <a:pt x="76" y="64"/>
                    <a:pt x="78" y="67"/>
                  </a:cubicBezTo>
                  <a:cubicBezTo>
                    <a:pt x="79" y="69"/>
                    <a:pt x="81" y="71"/>
                    <a:pt x="82" y="73"/>
                  </a:cubicBezTo>
                  <a:cubicBezTo>
                    <a:pt x="82" y="75"/>
                    <a:pt x="85" y="77"/>
                    <a:pt x="87" y="79"/>
                  </a:cubicBezTo>
                  <a:cubicBezTo>
                    <a:pt x="90" y="82"/>
                    <a:pt x="92" y="85"/>
                    <a:pt x="94" y="88"/>
                  </a:cubicBezTo>
                  <a:cubicBezTo>
                    <a:pt x="95" y="92"/>
                    <a:pt x="99" y="94"/>
                    <a:pt x="102" y="96"/>
                  </a:cubicBezTo>
                  <a:cubicBezTo>
                    <a:pt x="103" y="97"/>
                    <a:pt x="104" y="98"/>
                    <a:pt x="105" y="99"/>
                  </a:cubicBezTo>
                  <a:cubicBezTo>
                    <a:pt x="108" y="102"/>
                    <a:pt x="109" y="109"/>
                    <a:pt x="108" y="114"/>
                  </a:cubicBezTo>
                  <a:cubicBezTo>
                    <a:pt x="108" y="116"/>
                    <a:pt x="108" y="118"/>
                    <a:pt x="108" y="120"/>
                  </a:cubicBezTo>
                  <a:cubicBezTo>
                    <a:pt x="108" y="120"/>
                    <a:pt x="108" y="120"/>
                    <a:pt x="108" y="120"/>
                  </a:cubicBezTo>
                  <a:cubicBezTo>
                    <a:pt x="108" y="121"/>
                    <a:pt x="108" y="121"/>
                    <a:pt x="108" y="121"/>
                  </a:cubicBezTo>
                  <a:cubicBezTo>
                    <a:pt x="105" y="123"/>
                    <a:pt x="102" y="123"/>
                    <a:pt x="100" y="123"/>
                  </a:cubicBezTo>
                  <a:cubicBezTo>
                    <a:pt x="100" y="123"/>
                    <a:pt x="100" y="123"/>
                    <a:pt x="100" y="123"/>
                  </a:cubicBezTo>
                  <a:cubicBezTo>
                    <a:pt x="99" y="123"/>
                    <a:pt x="98" y="123"/>
                    <a:pt x="97" y="123"/>
                  </a:cubicBezTo>
                  <a:cubicBezTo>
                    <a:pt x="96" y="122"/>
                    <a:pt x="94" y="122"/>
                    <a:pt x="92" y="122"/>
                  </a:cubicBezTo>
                  <a:cubicBezTo>
                    <a:pt x="90" y="122"/>
                    <a:pt x="88" y="122"/>
                    <a:pt x="88" y="125"/>
                  </a:cubicBezTo>
                  <a:cubicBezTo>
                    <a:pt x="88" y="129"/>
                    <a:pt x="85" y="131"/>
                    <a:pt x="84" y="131"/>
                  </a:cubicBezTo>
                  <a:close/>
                  <a:moveTo>
                    <a:pt x="77" y="125"/>
                  </a:moveTo>
                  <a:cubicBezTo>
                    <a:pt x="78" y="125"/>
                    <a:pt x="79" y="126"/>
                    <a:pt x="80" y="126"/>
                  </a:cubicBezTo>
                  <a:cubicBezTo>
                    <a:pt x="82" y="127"/>
                    <a:pt x="84" y="127"/>
                    <a:pt x="83" y="129"/>
                  </a:cubicBezTo>
                  <a:cubicBezTo>
                    <a:pt x="83" y="130"/>
                    <a:pt x="83" y="130"/>
                    <a:pt x="83" y="130"/>
                  </a:cubicBezTo>
                  <a:cubicBezTo>
                    <a:pt x="83" y="130"/>
                    <a:pt x="83" y="130"/>
                    <a:pt x="84" y="130"/>
                  </a:cubicBezTo>
                  <a:cubicBezTo>
                    <a:pt x="85" y="130"/>
                    <a:pt x="87" y="128"/>
                    <a:pt x="87" y="125"/>
                  </a:cubicBezTo>
                  <a:cubicBezTo>
                    <a:pt x="87" y="122"/>
                    <a:pt x="89" y="121"/>
                    <a:pt x="92" y="121"/>
                  </a:cubicBezTo>
                  <a:cubicBezTo>
                    <a:pt x="94" y="121"/>
                    <a:pt x="96" y="121"/>
                    <a:pt x="97" y="122"/>
                  </a:cubicBezTo>
                  <a:cubicBezTo>
                    <a:pt x="98" y="122"/>
                    <a:pt x="99" y="122"/>
                    <a:pt x="100" y="122"/>
                  </a:cubicBezTo>
                  <a:cubicBezTo>
                    <a:pt x="100" y="122"/>
                    <a:pt x="100" y="122"/>
                    <a:pt x="100" y="122"/>
                  </a:cubicBezTo>
                  <a:cubicBezTo>
                    <a:pt x="101" y="122"/>
                    <a:pt x="104" y="122"/>
                    <a:pt x="107" y="120"/>
                  </a:cubicBezTo>
                  <a:cubicBezTo>
                    <a:pt x="107" y="118"/>
                    <a:pt x="107" y="116"/>
                    <a:pt x="107" y="114"/>
                  </a:cubicBezTo>
                  <a:cubicBezTo>
                    <a:pt x="108" y="108"/>
                    <a:pt x="107" y="102"/>
                    <a:pt x="105" y="100"/>
                  </a:cubicBezTo>
                  <a:cubicBezTo>
                    <a:pt x="104" y="99"/>
                    <a:pt x="102" y="98"/>
                    <a:pt x="101" y="97"/>
                  </a:cubicBezTo>
                  <a:cubicBezTo>
                    <a:pt x="98" y="95"/>
                    <a:pt x="94" y="93"/>
                    <a:pt x="93" y="89"/>
                  </a:cubicBezTo>
                  <a:cubicBezTo>
                    <a:pt x="92" y="86"/>
                    <a:pt x="89" y="83"/>
                    <a:pt x="86" y="80"/>
                  </a:cubicBezTo>
                  <a:cubicBezTo>
                    <a:pt x="84" y="78"/>
                    <a:pt x="81" y="75"/>
                    <a:pt x="81" y="73"/>
                  </a:cubicBezTo>
                  <a:cubicBezTo>
                    <a:pt x="80" y="71"/>
                    <a:pt x="78" y="69"/>
                    <a:pt x="77" y="67"/>
                  </a:cubicBezTo>
                  <a:cubicBezTo>
                    <a:pt x="75" y="65"/>
                    <a:pt x="73" y="62"/>
                    <a:pt x="73" y="60"/>
                  </a:cubicBezTo>
                  <a:cubicBezTo>
                    <a:pt x="73" y="59"/>
                    <a:pt x="70" y="56"/>
                    <a:pt x="66" y="55"/>
                  </a:cubicBezTo>
                  <a:cubicBezTo>
                    <a:pt x="61" y="52"/>
                    <a:pt x="56" y="49"/>
                    <a:pt x="58" y="46"/>
                  </a:cubicBezTo>
                  <a:cubicBezTo>
                    <a:pt x="59" y="43"/>
                    <a:pt x="61" y="43"/>
                    <a:pt x="64" y="42"/>
                  </a:cubicBezTo>
                  <a:cubicBezTo>
                    <a:pt x="67" y="42"/>
                    <a:pt x="69" y="41"/>
                    <a:pt x="69" y="40"/>
                  </a:cubicBezTo>
                  <a:cubicBezTo>
                    <a:pt x="69" y="38"/>
                    <a:pt x="68" y="37"/>
                    <a:pt x="67" y="35"/>
                  </a:cubicBezTo>
                  <a:cubicBezTo>
                    <a:pt x="66" y="34"/>
                    <a:pt x="64" y="32"/>
                    <a:pt x="64" y="29"/>
                  </a:cubicBezTo>
                  <a:cubicBezTo>
                    <a:pt x="64" y="26"/>
                    <a:pt x="62" y="25"/>
                    <a:pt x="60" y="25"/>
                  </a:cubicBezTo>
                  <a:cubicBezTo>
                    <a:pt x="58" y="25"/>
                    <a:pt x="56" y="25"/>
                    <a:pt x="55" y="26"/>
                  </a:cubicBezTo>
                  <a:cubicBezTo>
                    <a:pt x="53" y="27"/>
                    <a:pt x="49" y="27"/>
                    <a:pt x="46" y="25"/>
                  </a:cubicBezTo>
                  <a:cubicBezTo>
                    <a:pt x="43" y="23"/>
                    <a:pt x="42" y="21"/>
                    <a:pt x="42" y="19"/>
                  </a:cubicBezTo>
                  <a:cubicBezTo>
                    <a:pt x="42" y="17"/>
                    <a:pt x="40" y="15"/>
                    <a:pt x="38" y="14"/>
                  </a:cubicBezTo>
                  <a:cubicBezTo>
                    <a:pt x="36" y="12"/>
                    <a:pt x="34" y="10"/>
                    <a:pt x="34" y="8"/>
                  </a:cubicBezTo>
                  <a:cubicBezTo>
                    <a:pt x="34" y="7"/>
                    <a:pt x="32" y="4"/>
                    <a:pt x="30" y="2"/>
                  </a:cubicBezTo>
                  <a:cubicBezTo>
                    <a:pt x="30" y="1"/>
                    <a:pt x="30" y="1"/>
                    <a:pt x="30" y="1"/>
                  </a:cubicBezTo>
                  <a:cubicBezTo>
                    <a:pt x="27" y="2"/>
                    <a:pt x="25" y="2"/>
                    <a:pt x="24" y="1"/>
                  </a:cubicBezTo>
                  <a:cubicBezTo>
                    <a:pt x="23" y="1"/>
                    <a:pt x="23" y="1"/>
                    <a:pt x="23" y="1"/>
                  </a:cubicBezTo>
                  <a:cubicBezTo>
                    <a:pt x="23" y="1"/>
                    <a:pt x="23" y="2"/>
                    <a:pt x="22" y="3"/>
                  </a:cubicBezTo>
                  <a:cubicBezTo>
                    <a:pt x="21" y="5"/>
                    <a:pt x="21" y="7"/>
                    <a:pt x="22" y="8"/>
                  </a:cubicBezTo>
                  <a:cubicBezTo>
                    <a:pt x="23" y="10"/>
                    <a:pt x="25" y="16"/>
                    <a:pt x="24" y="19"/>
                  </a:cubicBezTo>
                  <a:cubicBezTo>
                    <a:pt x="23" y="20"/>
                    <a:pt x="22" y="21"/>
                    <a:pt x="22" y="21"/>
                  </a:cubicBezTo>
                  <a:cubicBezTo>
                    <a:pt x="21" y="21"/>
                    <a:pt x="21" y="20"/>
                    <a:pt x="21" y="20"/>
                  </a:cubicBezTo>
                  <a:cubicBezTo>
                    <a:pt x="18" y="20"/>
                    <a:pt x="17" y="18"/>
                    <a:pt x="16" y="16"/>
                  </a:cubicBezTo>
                  <a:cubicBezTo>
                    <a:pt x="15" y="14"/>
                    <a:pt x="15" y="13"/>
                    <a:pt x="14" y="14"/>
                  </a:cubicBezTo>
                  <a:cubicBezTo>
                    <a:pt x="12" y="16"/>
                    <a:pt x="7" y="22"/>
                    <a:pt x="7" y="25"/>
                  </a:cubicBezTo>
                  <a:cubicBezTo>
                    <a:pt x="7" y="27"/>
                    <a:pt x="4" y="28"/>
                    <a:pt x="3" y="29"/>
                  </a:cubicBezTo>
                  <a:cubicBezTo>
                    <a:pt x="2" y="29"/>
                    <a:pt x="2" y="29"/>
                    <a:pt x="2" y="29"/>
                  </a:cubicBezTo>
                  <a:cubicBezTo>
                    <a:pt x="3" y="31"/>
                    <a:pt x="4" y="31"/>
                    <a:pt x="4" y="32"/>
                  </a:cubicBezTo>
                  <a:cubicBezTo>
                    <a:pt x="5" y="33"/>
                    <a:pt x="5" y="34"/>
                    <a:pt x="5" y="36"/>
                  </a:cubicBezTo>
                  <a:cubicBezTo>
                    <a:pt x="5" y="38"/>
                    <a:pt x="5" y="41"/>
                    <a:pt x="6" y="43"/>
                  </a:cubicBezTo>
                  <a:cubicBezTo>
                    <a:pt x="6" y="44"/>
                    <a:pt x="7" y="44"/>
                    <a:pt x="8" y="44"/>
                  </a:cubicBezTo>
                  <a:cubicBezTo>
                    <a:pt x="8" y="44"/>
                    <a:pt x="9" y="44"/>
                    <a:pt x="10" y="44"/>
                  </a:cubicBezTo>
                  <a:cubicBezTo>
                    <a:pt x="10" y="44"/>
                    <a:pt x="11" y="44"/>
                    <a:pt x="12" y="44"/>
                  </a:cubicBezTo>
                  <a:cubicBezTo>
                    <a:pt x="14" y="44"/>
                    <a:pt x="15" y="45"/>
                    <a:pt x="16" y="47"/>
                  </a:cubicBezTo>
                  <a:cubicBezTo>
                    <a:pt x="17" y="51"/>
                    <a:pt x="16" y="53"/>
                    <a:pt x="15" y="56"/>
                  </a:cubicBezTo>
                  <a:cubicBezTo>
                    <a:pt x="15" y="58"/>
                    <a:pt x="14" y="60"/>
                    <a:pt x="14" y="63"/>
                  </a:cubicBezTo>
                  <a:cubicBezTo>
                    <a:pt x="14" y="66"/>
                    <a:pt x="13" y="67"/>
                    <a:pt x="12" y="69"/>
                  </a:cubicBezTo>
                  <a:cubicBezTo>
                    <a:pt x="11" y="70"/>
                    <a:pt x="10" y="71"/>
                    <a:pt x="11" y="74"/>
                  </a:cubicBezTo>
                  <a:cubicBezTo>
                    <a:pt x="11" y="75"/>
                    <a:pt x="12" y="75"/>
                    <a:pt x="12" y="75"/>
                  </a:cubicBezTo>
                  <a:cubicBezTo>
                    <a:pt x="14" y="75"/>
                    <a:pt x="17" y="73"/>
                    <a:pt x="20" y="70"/>
                  </a:cubicBezTo>
                  <a:cubicBezTo>
                    <a:pt x="21" y="70"/>
                    <a:pt x="22" y="69"/>
                    <a:pt x="23" y="68"/>
                  </a:cubicBezTo>
                  <a:cubicBezTo>
                    <a:pt x="25" y="67"/>
                    <a:pt x="28" y="66"/>
                    <a:pt x="30" y="66"/>
                  </a:cubicBezTo>
                  <a:cubicBezTo>
                    <a:pt x="31" y="66"/>
                    <a:pt x="33" y="66"/>
                    <a:pt x="34" y="68"/>
                  </a:cubicBezTo>
                  <a:cubicBezTo>
                    <a:pt x="35" y="68"/>
                    <a:pt x="35" y="69"/>
                    <a:pt x="37" y="69"/>
                  </a:cubicBezTo>
                  <a:cubicBezTo>
                    <a:pt x="39" y="69"/>
                    <a:pt x="42" y="67"/>
                    <a:pt x="43" y="65"/>
                  </a:cubicBezTo>
                  <a:cubicBezTo>
                    <a:pt x="43" y="63"/>
                    <a:pt x="47" y="62"/>
                    <a:pt x="50" y="62"/>
                  </a:cubicBezTo>
                  <a:cubicBezTo>
                    <a:pt x="53" y="62"/>
                    <a:pt x="56" y="63"/>
                    <a:pt x="57" y="65"/>
                  </a:cubicBezTo>
                  <a:cubicBezTo>
                    <a:pt x="58" y="65"/>
                    <a:pt x="58" y="66"/>
                    <a:pt x="59" y="67"/>
                  </a:cubicBezTo>
                  <a:cubicBezTo>
                    <a:pt x="61" y="70"/>
                    <a:pt x="64" y="73"/>
                    <a:pt x="67" y="75"/>
                  </a:cubicBezTo>
                  <a:cubicBezTo>
                    <a:pt x="70" y="77"/>
                    <a:pt x="69" y="81"/>
                    <a:pt x="68" y="85"/>
                  </a:cubicBezTo>
                  <a:cubicBezTo>
                    <a:pt x="68" y="88"/>
                    <a:pt x="67" y="92"/>
                    <a:pt x="69" y="93"/>
                  </a:cubicBezTo>
                  <a:cubicBezTo>
                    <a:pt x="73" y="94"/>
                    <a:pt x="80" y="101"/>
                    <a:pt x="79" y="109"/>
                  </a:cubicBezTo>
                  <a:cubicBezTo>
                    <a:pt x="79" y="111"/>
                    <a:pt x="79" y="113"/>
                    <a:pt x="79" y="114"/>
                  </a:cubicBezTo>
                  <a:cubicBezTo>
                    <a:pt x="80" y="118"/>
                    <a:pt x="80" y="121"/>
                    <a:pt x="77" y="1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39" name="Freeform 66"/>
            <p:cNvSpPr>
              <a:spLocks noEditPoints="1"/>
            </p:cNvSpPr>
            <p:nvPr/>
          </p:nvSpPr>
          <p:spPr>
            <a:xfrm>
              <a:off x="7159626" y="3295650"/>
              <a:ext cx="198438" cy="374650"/>
            </a:xfrm>
            <a:custGeom>
              <a:gdLst>
                <a:gd name="T0" fmla="*/ 35 w 117"/>
                <a:gd name="T1" fmla="*/ 210 h 221"/>
                <a:gd name="T2" fmla="*/ 11 w 117"/>
                <a:gd name="T3" fmla="*/ 184 h 221"/>
                <a:gd name="T4" fmla="*/ 14 w 117"/>
                <a:gd name="T5" fmla="*/ 149 h 221"/>
                <a:gd name="T6" fmla="*/ 27 w 117"/>
                <a:gd name="T7" fmla="*/ 125 h 221"/>
                <a:gd name="T8" fmla="*/ 10 w 117"/>
                <a:gd name="T9" fmla="*/ 85 h 221"/>
                <a:gd name="T10" fmla="*/ 14 w 117"/>
                <a:gd name="T11" fmla="*/ 70 h 221"/>
                <a:gd name="T12" fmla="*/ 12 w 117"/>
                <a:gd name="T13" fmla="*/ 58 h 221"/>
                <a:gd name="T14" fmla="*/ 3 w 117"/>
                <a:gd name="T15" fmla="*/ 18 h 221"/>
                <a:gd name="T16" fmla="*/ 22 w 117"/>
                <a:gd name="T17" fmla="*/ 10 h 221"/>
                <a:gd name="T18" fmla="*/ 38 w 117"/>
                <a:gd name="T19" fmla="*/ 0 h 221"/>
                <a:gd name="T20" fmla="*/ 43 w 117"/>
                <a:gd name="T21" fmla="*/ 14 h 221"/>
                <a:gd name="T22" fmla="*/ 53 w 117"/>
                <a:gd name="T23" fmla="*/ 18 h 221"/>
                <a:gd name="T24" fmla="*/ 48 w 117"/>
                <a:gd name="T25" fmla="*/ 45 h 221"/>
                <a:gd name="T26" fmla="*/ 67 w 117"/>
                <a:gd name="T27" fmla="*/ 37 h 221"/>
                <a:gd name="T28" fmla="*/ 87 w 117"/>
                <a:gd name="T29" fmla="*/ 33 h 221"/>
                <a:gd name="T30" fmla="*/ 105 w 117"/>
                <a:gd name="T31" fmla="*/ 56 h 221"/>
                <a:gd name="T32" fmla="*/ 114 w 117"/>
                <a:gd name="T33" fmla="*/ 96 h 221"/>
                <a:gd name="T34" fmla="*/ 107 w 117"/>
                <a:gd name="T35" fmla="*/ 93 h 221"/>
                <a:gd name="T36" fmla="*/ 89 w 117"/>
                <a:gd name="T37" fmla="*/ 94 h 221"/>
                <a:gd name="T38" fmla="*/ 74 w 117"/>
                <a:gd name="T39" fmla="*/ 122 h 221"/>
                <a:gd name="T40" fmla="*/ 74 w 117"/>
                <a:gd name="T41" fmla="*/ 129 h 221"/>
                <a:gd name="T42" fmla="*/ 58 w 117"/>
                <a:gd name="T43" fmla="*/ 120 h 221"/>
                <a:gd name="T44" fmla="*/ 42 w 117"/>
                <a:gd name="T45" fmla="*/ 108 h 221"/>
                <a:gd name="T46" fmla="*/ 27 w 117"/>
                <a:gd name="T47" fmla="*/ 144 h 221"/>
                <a:gd name="T48" fmla="*/ 35 w 117"/>
                <a:gd name="T49" fmla="*/ 174 h 221"/>
                <a:gd name="T50" fmla="*/ 50 w 117"/>
                <a:gd name="T51" fmla="*/ 204 h 221"/>
                <a:gd name="T52" fmla="*/ 63 w 117"/>
                <a:gd name="T53" fmla="*/ 219 h 221"/>
                <a:gd name="T54" fmla="*/ 43 w 117"/>
                <a:gd name="T55" fmla="*/ 210 h 221"/>
                <a:gd name="T56" fmla="*/ 62 w 117"/>
                <a:gd name="T57" fmla="*/ 219 h 221"/>
                <a:gd name="T58" fmla="*/ 39 w 117"/>
                <a:gd name="T59" fmla="*/ 188 h 221"/>
                <a:gd name="T60" fmla="*/ 25 w 117"/>
                <a:gd name="T61" fmla="*/ 168 h 221"/>
                <a:gd name="T62" fmla="*/ 34 w 117"/>
                <a:gd name="T63" fmla="*/ 115 h 221"/>
                <a:gd name="T64" fmla="*/ 47 w 117"/>
                <a:gd name="T65" fmla="*/ 111 h 221"/>
                <a:gd name="T66" fmla="*/ 74 w 117"/>
                <a:gd name="T67" fmla="*/ 128 h 221"/>
                <a:gd name="T68" fmla="*/ 72 w 117"/>
                <a:gd name="T69" fmla="*/ 103 h 221"/>
                <a:gd name="T70" fmla="*/ 101 w 117"/>
                <a:gd name="T71" fmla="*/ 93 h 221"/>
                <a:gd name="T72" fmla="*/ 115 w 117"/>
                <a:gd name="T73" fmla="*/ 86 h 221"/>
                <a:gd name="T74" fmla="*/ 104 w 117"/>
                <a:gd name="T75" fmla="*/ 47 h 221"/>
                <a:gd name="T76" fmla="*/ 80 w 117"/>
                <a:gd name="T77" fmla="*/ 37 h 221"/>
                <a:gd name="T78" fmla="*/ 58 w 117"/>
                <a:gd name="T79" fmla="*/ 42 h 221"/>
                <a:gd name="T80" fmla="*/ 50 w 117"/>
                <a:gd name="T81" fmla="*/ 34 h 221"/>
                <a:gd name="T82" fmla="*/ 47 w 117"/>
                <a:gd name="T83" fmla="*/ 16 h 221"/>
                <a:gd name="T84" fmla="*/ 40 w 117"/>
                <a:gd name="T85" fmla="*/ 3 h 221"/>
                <a:gd name="T86" fmla="*/ 23 w 117"/>
                <a:gd name="T87" fmla="*/ 10 h 221"/>
                <a:gd name="T88" fmla="*/ 4 w 117"/>
                <a:gd name="T89" fmla="*/ 18 h 221"/>
                <a:gd name="T90" fmla="*/ 13 w 117"/>
                <a:gd name="T91" fmla="*/ 59 h 221"/>
                <a:gd name="T92" fmla="*/ 14 w 117"/>
                <a:gd name="T93" fmla="*/ 73 h 221"/>
                <a:gd name="T94" fmla="*/ 23 w 117"/>
                <a:gd name="T95" fmla="*/ 114 h 221"/>
                <a:gd name="T96" fmla="*/ 15 w 117"/>
                <a:gd name="T97" fmla="*/ 150 h 221"/>
                <a:gd name="T98" fmla="*/ 11 w 117"/>
                <a:gd name="T99" fmla="*/ 183 h 2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 h="221">
                  <a:moveTo>
                    <a:pt x="56" y="221"/>
                  </a:moveTo>
                  <a:cubicBezTo>
                    <a:pt x="52" y="221"/>
                    <a:pt x="50" y="220"/>
                    <a:pt x="50" y="219"/>
                  </a:cubicBezTo>
                  <a:cubicBezTo>
                    <a:pt x="50" y="218"/>
                    <a:pt x="50" y="212"/>
                    <a:pt x="43" y="211"/>
                  </a:cubicBezTo>
                  <a:cubicBezTo>
                    <a:pt x="40" y="210"/>
                    <a:pt x="38" y="210"/>
                    <a:pt x="35" y="210"/>
                  </a:cubicBezTo>
                  <a:cubicBezTo>
                    <a:pt x="35" y="210"/>
                    <a:pt x="35" y="210"/>
                    <a:pt x="35" y="210"/>
                  </a:cubicBezTo>
                  <a:cubicBezTo>
                    <a:pt x="34" y="210"/>
                    <a:pt x="34" y="210"/>
                    <a:pt x="34" y="210"/>
                  </a:cubicBezTo>
                  <a:cubicBezTo>
                    <a:pt x="33" y="207"/>
                    <a:pt x="32" y="205"/>
                    <a:pt x="30" y="203"/>
                  </a:cubicBezTo>
                  <a:cubicBezTo>
                    <a:pt x="27" y="198"/>
                    <a:pt x="16" y="185"/>
                    <a:pt x="11" y="184"/>
                  </a:cubicBezTo>
                  <a:cubicBezTo>
                    <a:pt x="10" y="184"/>
                    <a:pt x="10" y="184"/>
                    <a:pt x="9" y="183"/>
                  </a:cubicBezTo>
                  <a:cubicBezTo>
                    <a:pt x="8" y="181"/>
                    <a:pt x="9" y="176"/>
                    <a:pt x="10" y="171"/>
                  </a:cubicBezTo>
                  <a:cubicBezTo>
                    <a:pt x="11" y="167"/>
                    <a:pt x="12" y="161"/>
                    <a:pt x="13" y="156"/>
                  </a:cubicBezTo>
                  <a:cubicBezTo>
                    <a:pt x="13" y="154"/>
                    <a:pt x="14" y="151"/>
                    <a:pt x="14" y="149"/>
                  </a:cubicBezTo>
                  <a:cubicBezTo>
                    <a:pt x="14" y="149"/>
                    <a:pt x="14" y="149"/>
                    <a:pt x="14" y="149"/>
                  </a:cubicBezTo>
                  <a:cubicBezTo>
                    <a:pt x="15" y="149"/>
                    <a:pt x="15" y="149"/>
                    <a:pt x="15" y="149"/>
                  </a:cubicBezTo>
                  <a:cubicBezTo>
                    <a:pt x="15" y="149"/>
                    <a:pt x="15" y="149"/>
                    <a:pt x="15" y="149"/>
                  </a:cubicBezTo>
                  <a:cubicBezTo>
                    <a:pt x="19" y="149"/>
                    <a:pt x="25" y="132"/>
                    <a:pt x="27" y="125"/>
                  </a:cubicBezTo>
                  <a:cubicBezTo>
                    <a:pt x="27" y="122"/>
                    <a:pt x="25" y="121"/>
                    <a:pt x="24" y="120"/>
                  </a:cubicBezTo>
                  <a:cubicBezTo>
                    <a:pt x="23" y="118"/>
                    <a:pt x="22" y="117"/>
                    <a:pt x="22" y="114"/>
                  </a:cubicBezTo>
                  <a:cubicBezTo>
                    <a:pt x="22" y="110"/>
                    <a:pt x="22" y="102"/>
                    <a:pt x="16" y="97"/>
                  </a:cubicBezTo>
                  <a:cubicBezTo>
                    <a:pt x="12" y="93"/>
                    <a:pt x="9" y="88"/>
                    <a:pt x="10" y="85"/>
                  </a:cubicBezTo>
                  <a:cubicBezTo>
                    <a:pt x="10" y="83"/>
                    <a:pt x="10" y="82"/>
                    <a:pt x="11" y="81"/>
                  </a:cubicBezTo>
                  <a:cubicBezTo>
                    <a:pt x="13" y="79"/>
                    <a:pt x="13" y="76"/>
                    <a:pt x="13" y="73"/>
                  </a:cubicBezTo>
                  <a:cubicBezTo>
                    <a:pt x="13" y="72"/>
                    <a:pt x="13" y="71"/>
                    <a:pt x="13" y="70"/>
                  </a:cubicBezTo>
                  <a:cubicBezTo>
                    <a:pt x="14" y="70"/>
                    <a:pt x="14" y="70"/>
                    <a:pt x="14" y="70"/>
                  </a:cubicBezTo>
                  <a:cubicBezTo>
                    <a:pt x="14" y="70"/>
                    <a:pt x="14" y="70"/>
                    <a:pt x="14" y="70"/>
                  </a:cubicBezTo>
                  <a:cubicBezTo>
                    <a:pt x="15" y="70"/>
                    <a:pt x="15" y="69"/>
                    <a:pt x="16" y="68"/>
                  </a:cubicBezTo>
                  <a:cubicBezTo>
                    <a:pt x="16" y="67"/>
                    <a:pt x="16" y="65"/>
                    <a:pt x="14" y="64"/>
                  </a:cubicBezTo>
                  <a:cubicBezTo>
                    <a:pt x="12" y="63"/>
                    <a:pt x="12" y="61"/>
                    <a:pt x="12" y="58"/>
                  </a:cubicBezTo>
                  <a:cubicBezTo>
                    <a:pt x="12" y="57"/>
                    <a:pt x="12" y="55"/>
                    <a:pt x="11" y="55"/>
                  </a:cubicBezTo>
                  <a:cubicBezTo>
                    <a:pt x="8" y="53"/>
                    <a:pt x="0" y="44"/>
                    <a:pt x="0" y="41"/>
                  </a:cubicBezTo>
                  <a:cubicBezTo>
                    <a:pt x="0" y="38"/>
                    <a:pt x="2" y="27"/>
                    <a:pt x="3" y="19"/>
                  </a:cubicBezTo>
                  <a:cubicBezTo>
                    <a:pt x="3" y="18"/>
                    <a:pt x="3" y="18"/>
                    <a:pt x="3" y="18"/>
                  </a:cubicBezTo>
                  <a:cubicBezTo>
                    <a:pt x="4" y="13"/>
                    <a:pt x="11" y="13"/>
                    <a:pt x="12" y="13"/>
                  </a:cubicBezTo>
                  <a:cubicBezTo>
                    <a:pt x="12" y="13"/>
                    <a:pt x="12" y="13"/>
                    <a:pt x="12" y="13"/>
                  </a:cubicBezTo>
                  <a:cubicBezTo>
                    <a:pt x="13" y="13"/>
                    <a:pt x="13" y="13"/>
                    <a:pt x="13" y="13"/>
                  </a:cubicBezTo>
                  <a:cubicBezTo>
                    <a:pt x="18" y="13"/>
                    <a:pt x="21" y="12"/>
                    <a:pt x="22" y="10"/>
                  </a:cubicBezTo>
                  <a:cubicBezTo>
                    <a:pt x="23" y="7"/>
                    <a:pt x="27" y="6"/>
                    <a:pt x="30" y="5"/>
                  </a:cubicBezTo>
                  <a:cubicBezTo>
                    <a:pt x="32" y="4"/>
                    <a:pt x="35" y="3"/>
                    <a:pt x="35" y="2"/>
                  </a:cubicBezTo>
                  <a:cubicBezTo>
                    <a:pt x="36" y="1"/>
                    <a:pt x="37" y="0"/>
                    <a:pt x="38" y="0"/>
                  </a:cubicBezTo>
                  <a:cubicBezTo>
                    <a:pt x="38" y="0"/>
                    <a:pt x="38" y="0"/>
                    <a:pt x="38" y="0"/>
                  </a:cubicBezTo>
                  <a:cubicBezTo>
                    <a:pt x="38" y="0"/>
                    <a:pt x="38" y="0"/>
                    <a:pt x="38" y="0"/>
                  </a:cubicBezTo>
                  <a:cubicBezTo>
                    <a:pt x="40" y="1"/>
                    <a:pt x="41" y="2"/>
                    <a:pt x="41" y="3"/>
                  </a:cubicBezTo>
                  <a:cubicBezTo>
                    <a:pt x="42" y="4"/>
                    <a:pt x="42" y="5"/>
                    <a:pt x="42" y="7"/>
                  </a:cubicBezTo>
                  <a:cubicBezTo>
                    <a:pt x="42" y="9"/>
                    <a:pt x="42" y="12"/>
                    <a:pt x="43" y="14"/>
                  </a:cubicBezTo>
                  <a:cubicBezTo>
                    <a:pt x="43" y="15"/>
                    <a:pt x="44" y="15"/>
                    <a:pt x="45" y="15"/>
                  </a:cubicBezTo>
                  <a:cubicBezTo>
                    <a:pt x="45" y="15"/>
                    <a:pt x="46" y="15"/>
                    <a:pt x="47" y="15"/>
                  </a:cubicBezTo>
                  <a:cubicBezTo>
                    <a:pt x="47" y="15"/>
                    <a:pt x="48" y="15"/>
                    <a:pt x="49" y="15"/>
                  </a:cubicBezTo>
                  <a:cubicBezTo>
                    <a:pt x="51" y="15"/>
                    <a:pt x="52" y="16"/>
                    <a:pt x="53" y="18"/>
                  </a:cubicBezTo>
                  <a:cubicBezTo>
                    <a:pt x="54" y="22"/>
                    <a:pt x="53" y="24"/>
                    <a:pt x="52" y="27"/>
                  </a:cubicBezTo>
                  <a:cubicBezTo>
                    <a:pt x="52" y="29"/>
                    <a:pt x="51" y="31"/>
                    <a:pt x="51" y="34"/>
                  </a:cubicBezTo>
                  <a:cubicBezTo>
                    <a:pt x="51" y="37"/>
                    <a:pt x="50" y="38"/>
                    <a:pt x="49" y="40"/>
                  </a:cubicBezTo>
                  <a:cubicBezTo>
                    <a:pt x="48" y="41"/>
                    <a:pt x="47" y="42"/>
                    <a:pt x="48" y="45"/>
                  </a:cubicBezTo>
                  <a:cubicBezTo>
                    <a:pt x="48" y="46"/>
                    <a:pt x="49" y="46"/>
                    <a:pt x="49" y="46"/>
                  </a:cubicBezTo>
                  <a:cubicBezTo>
                    <a:pt x="51" y="46"/>
                    <a:pt x="54" y="44"/>
                    <a:pt x="57" y="41"/>
                  </a:cubicBezTo>
                  <a:cubicBezTo>
                    <a:pt x="58" y="41"/>
                    <a:pt x="59" y="40"/>
                    <a:pt x="60" y="39"/>
                  </a:cubicBezTo>
                  <a:cubicBezTo>
                    <a:pt x="62" y="38"/>
                    <a:pt x="65" y="37"/>
                    <a:pt x="67" y="37"/>
                  </a:cubicBezTo>
                  <a:cubicBezTo>
                    <a:pt x="68" y="37"/>
                    <a:pt x="70" y="37"/>
                    <a:pt x="71" y="39"/>
                  </a:cubicBezTo>
                  <a:cubicBezTo>
                    <a:pt x="72" y="39"/>
                    <a:pt x="72" y="40"/>
                    <a:pt x="74" y="40"/>
                  </a:cubicBezTo>
                  <a:cubicBezTo>
                    <a:pt x="76" y="40"/>
                    <a:pt x="79" y="38"/>
                    <a:pt x="80" y="36"/>
                  </a:cubicBezTo>
                  <a:cubicBezTo>
                    <a:pt x="80" y="34"/>
                    <a:pt x="84" y="33"/>
                    <a:pt x="87" y="33"/>
                  </a:cubicBezTo>
                  <a:cubicBezTo>
                    <a:pt x="90" y="33"/>
                    <a:pt x="93" y="34"/>
                    <a:pt x="94" y="36"/>
                  </a:cubicBezTo>
                  <a:cubicBezTo>
                    <a:pt x="95" y="36"/>
                    <a:pt x="95" y="37"/>
                    <a:pt x="96" y="38"/>
                  </a:cubicBezTo>
                  <a:cubicBezTo>
                    <a:pt x="98" y="41"/>
                    <a:pt x="101" y="44"/>
                    <a:pt x="104" y="46"/>
                  </a:cubicBezTo>
                  <a:cubicBezTo>
                    <a:pt x="107" y="48"/>
                    <a:pt x="106" y="52"/>
                    <a:pt x="105" y="56"/>
                  </a:cubicBezTo>
                  <a:cubicBezTo>
                    <a:pt x="105" y="59"/>
                    <a:pt x="104" y="63"/>
                    <a:pt x="106" y="64"/>
                  </a:cubicBezTo>
                  <a:cubicBezTo>
                    <a:pt x="110" y="65"/>
                    <a:pt x="117" y="72"/>
                    <a:pt x="116" y="80"/>
                  </a:cubicBezTo>
                  <a:cubicBezTo>
                    <a:pt x="116" y="82"/>
                    <a:pt x="116" y="84"/>
                    <a:pt x="116" y="85"/>
                  </a:cubicBezTo>
                  <a:cubicBezTo>
                    <a:pt x="117" y="89"/>
                    <a:pt x="117" y="93"/>
                    <a:pt x="114" y="96"/>
                  </a:cubicBezTo>
                  <a:cubicBezTo>
                    <a:pt x="114" y="97"/>
                    <a:pt x="114" y="97"/>
                    <a:pt x="114" y="97"/>
                  </a:cubicBezTo>
                  <a:cubicBezTo>
                    <a:pt x="113" y="96"/>
                    <a:pt x="113" y="96"/>
                    <a:pt x="113" y="96"/>
                  </a:cubicBezTo>
                  <a:cubicBezTo>
                    <a:pt x="113" y="96"/>
                    <a:pt x="112" y="95"/>
                    <a:pt x="111" y="95"/>
                  </a:cubicBezTo>
                  <a:cubicBezTo>
                    <a:pt x="111" y="94"/>
                    <a:pt x="109" y="93"/>
                    <a:pt x="107" y="93"/>
                  </a:cubicBezTo>
                  <a:cubicBezTo>
                    <a:pt x="106" y="93"/>
                    <a:pt x="104" y="94"/>
                    <a:pt x="101" y="94"/>
                  </a:cubicBezTo>
                  <a:cubicBezTo>
                    <a:pt x="99" y="94"/>
                    <a:pt x="97" y="95"/>
                    <a:pt x="95" y="95"/>
                  </a:cubicBezTo>
                  <a:cubicBezTo>
                    <a:pt x="94" y="95"/>
                    <a:pt x="93" y="95"/>
                    <a:pt x="92" y="94"/>
                  </a:cubicBezTo>
                  <a:cubicBezTo>
                    <a:pt x="91" y="94"/>
                    <a:pt x="90" y="94"/>
                    <a:pt x="89" y="94"/>
                  </a:cubicBezTo>
                  <a:cubicBezTo>
                    <a:pt x="84" y="94"/>
                    <a:pt x="77" y="98"/>
                    <a:pt x="72" y="104"/>
                  </a:cubicBezTo>
                  <a:cubicBezTo>
                    <a:pt x="69" y="108"/>
                    <a:pt x="70" y="109"/>
                    <a:pt x="71" y="111"/>
                  </a:cubicBezTo>
                  <a:cubicBezTo>
                    <a:pt x="72" y="113"/>
                    <a:pt x="73" y="114"/>
                    <a:pt x="73" y="117"/>
                  </a:cubicBezTo>
                  <a:cubicBezTo>
                    <a:pt x="73" y="120"/>
                    <a:pt x="74" y="121"/>
                    <a:pt x="74" y="122"/>
                  </a:cubicBezTo>
                  <a:cubicBezTo>
                    <a:pt x="75" y="124"/>
                    <a:pt x="76" y="125"/>
                    <a:pt x="75" y="128"/>
                  </a:cubicBezTo>
                  <a:cubicBezTo>
                    <a:pt x="75" y="128"/>
                    <a:pt x="75" y="128"/>
                    <a:pt x="75" y="128"/>
                  </a:cubicBezTo>
                  <a:cubicBezTo>
                    <a:pt x="75" y="129"/>
                    <a:pt x="75" y="129"/>
                    <a:pt x="75" y="129"/>
                  </a:cubicBezTo>
                  <a:cubicBezTo>
                    <a:pt x="74" y="129"/>
                    <a:pt x="74" y="129"/>
                    <a:pt x="74" y="129"/>
                  </a:cubicBezTo>
                  <a:cubicBezTo>
                    <a:pt x="74" y="129"/>
                    <a:pt x="74" y="129"/>
                    <a:pt x="74" y="129"/>
                  </a:cubicBezTo>
                  <a:cubicBezTo>
                    <a:pt x="73" y="128"/>
                    <a:pt x="73" y="128"/>
                    <a:pt x="73" y="128"/>
                  </a:cubicBezTo>
                  <a:cubicBezTo>
                    <a:pt x="70" y="128"/>
                    <a:pt x="68" y="126"/>
                    <a:pt x="67" y="124"/>
                  </a:cubicBezTo>
                  <a:cubicBezTo>
                    <a:pt x="65" y="122"/>
                    <a:pt x="63" y="120"/>
                    <a:pt x="58" y="120"/>
                  </a:cubicBezTo>
                  <a:cubicBezTo>
                    <a:pt x="57" y="120"/>
                    <a:pt x="57" y="120"/>
                    <a:pt x="56" y="120"/>
                  </a:cubicBezTo>
                  <a:cubicBezTo>
                    <a:pt x="49" y="120"/>
                    <a:pt x="48" y="117"/>
                    <a:pt x="46" y="111"/>
                  </a:cubicBezTo>
                  <a:cubicBezTo>
                    <a:pt x="46" y="111"/>
                    <a:pt x="46" y="111"/>
                    <a:pt x="46" y="111"/>
                  </a:cubicBezTo>
                  <a:cubicBezTo>
                    <a:pt x="46" y="109"/>
                    <a:pt x="43" y="108"/>
                    <a:pt x="42" y="108"/>
                  </a:cubicBezTo>
                  <a:cubicBezTo>
                    <a:pt x="39" y="108"/>
                    <a:pt x="36" y="110"/>
                    <a:pt x="35" y="112"/>
                  </a:cubicBezTo>
                  <a:cubicBezTo>
                    <a:pt x="35" y="112"/>
                    <a:pt x="35" y="113"/>
                    <a:pt x="35" y="114"/>
                  </a:cubicBezTo>
                  <a:cubicBezTo>
                    <a:pt x="37" y="118"/>
                    <a:pt x="34" y="126"/>
                    <a:pt x="31" y="134"/>
                  </a:cubicBezTo>
                  <a:cubicBezTo>
                    <a:pt x="29" y="138"/>
                    <a:pt x="27" y="142"/>
                    <a:pt x="27" y="144"/>
                  </a:cubicBezTo>
                  <a:cubicBezTo>
                    <a:pt x="27" y="146"/>
                    <a:pt x="26" y="149"/>
                    <a:pt x="26" y="151"/>
                  </a:cubicBezTo>
                  <a:cubicBezTo>
                    <a:pt x="24" y="158"/>
                    <a:pt x="22" y="166"/>
                    <a:pt x="25" y="167"/>
                  </a:cubicBezTo>
                  <a:cubicBezTo>
                    <a:pt x="26" y="168"/>
                    <a:pt x="27" y="168"/>
                    <a:pt x="29" y="169"/>
                  </a:cubicBezTo>
                  <a:cubicBezTo>
                    <a:pt x="32" y="170"/>
                    <a:pt x="35" y="171"/>
                    <a:pt x="35" y="174"/>
                  </a:cubicBezTo>
                  <a:cubicBezTo>
                    <a:pt x="35" y="176"/>
                    <a:pt x="36" y="178"/>
                    <a:pt x="37" y="180"/>
                  </a:cubicBezTo>
                  <a:cubicBezTo>
                    <a:pt x="39" y="183"/>
                    <a:pt x="40" y="185"/>
                    <a:pt x="40" y="188"/>
                  </a:cubicBezTo>
                  <a:cubicBezTo>
                    <a:pt x="40" y="191"/>
                    <a:pt x="41" y="197"/>
                    <a:pt x="44" y="201"/>
                  </a:cubicBezTo>
                  <a:cubicBezTo>
                    <a:pt x="46" y="203"/>
                    <a:pt x="48" y="204"/>
                    <a:pt x="50" y="204"/>
                  </a:cubicBezTo>
                  <a:cubicBezTo>
                    <a:pt x="56" y="205"/>
                    <a:pt x="64" y="210"/>
                    <a:pt x="67" y="214"/>
                  </a:cubicBezTo>
                  <a:cubicBezTo>
                    <a:pt x="67" y="215"/>
                    <a:pt x="67" y="215"/>
                    <a:pt x="67" y="215"/>
                  </a:cubicBezTo>
                  <a:cubicBezTo>
                    <a:pt x="67" y="215"/>
                    <a:pt x="67" y="215"/>
                    <a:pt x="67" y="215"/>
                  </a:cubicBezTo>
                  <a:cubicBezTo>
                    <a:pt x="64" y="216"/>
                    <a:pt x="63" y="217"/>
                    <a:pt x="63" y="219"/>
                  </a:cubicBezTo>
                  <a:cubicBezTo>
                    <a:pt x="63" y="220"/>
                    <a:pt x="63" y="220"/>
                    <a:pt x="62" y="221"/>
                  </a:cubicBezTo>
                  <a:cubicBezTo>
                    <a:pt x="61" y="221"/>
                    <a:pt x="59" y="221"/>
                    <a:pt x="56" y="221"/>
                  </a:cubicBezTo>
                  <a:close/>
                  <a:moveTo>
                    <a:pt x="37" y="209"/>
                  </a:moveTo>
                  <a:cubicBezTo>
                    <a:pt x="39" y="209"/>
                    <a:pt x="41" y="209"/>
                    <a:pt x="43" y="210"/>
                  </a:cubicBezTo>
                  <a:cubicBezTo>
                    <a:pt x="49" y="211"/>
                    <a:pt x="51" y="215"/>
                    <a:pt x="51" y="219"/>
                  </a:cubicBezTo>
                  <a:cubicBezTo>
                    <a:pt x="51" y="220"/>
                    <a:pt x="53" y="220"/>
                    <a:pt x="56" y="220"/>
                  </a:cubicBezTo>
                  <a:cubicBezTo>
                    <a:pt x="58" y="220"/>
                    <a:pt x="61" y="220"/>
                    <a:pt x="62" y="220"/>
                  </a:cubicBezTo>
                  <a:cubicBezTo>
                    <a:pt x="62" y="219"/>
                    <a:pt x="62" y="219"/>
                    <a:pt x="62" y="219"/>
                  </a:cubicBezTo>
                  <a:cubicBezTo>
                    <a:pt x="62" y="217"/>
                    <a:pt x="63" y="215"/>
                    <a:pt x="66" y="214"/>
                  </a:cubicBezTo>
                  <a:cubicBezTo>
                    <a:pt x="62" y="210"/>
                    <a:pt x="55" y="206"/>
                    <a:pt x="50" y="205"/>
                  </a:cubicBezTo>
                  <a:cubicBezTo>
                    <a:pt x="47" y="205"/>
                    <a:pt x="45" y="203"/>
                    <a:pt x="43" y="201"/>
                  </a:cubicBezTo>
                  <a:cubicBezTo>
                    <a:pt x="40" y="197"/>
                    <a:pt x="39" y="191"/>
                    <a:pt x="39" y="188"/>
                  </a:cubicBezTo>
                  <a:cubicBezTo>
                    <a:pt x="39" y="185"/>
                    <a:pt x="38" y="183"/>
                    <a:pt x="36" y="181"/>
                  </a:cubicBezTo>
                  <a:cubicBezTo>
                    <a:pt x="35" y="179"/>
                    <a:pt x="34" y="177"/>
                    <a:pt x="34" y="174"/>
                  </a:cubicBezTo>
                  <a:cubicBezTo>
                    <a:pt x="34" y="172"/>
                    <a:pt x="31" y="171"/>
                    <a:pt x="28" y="169"/>
                  </a:cubicBezTo>
                  <a:cubicBezTo>
                    <a:pt x="27" y="169"/>
                    <a:pt x="26" y="169"/>
                    <a:pt x="25" y="168"/>
                  </a:cubicBezTo>
                  <a:cubicBezTo>
                    <a:pt x="21" y="166"/>
                    <a:pt x="23" y="158"/>
                    <a:pt x="25" y="151"/>
                  </a:cubicBezTo>
                  <a:cubicBezTo>
                    <a:pt x="25" y="149"/>
                    <a:pt x="26" y="146"/>
                    <a:pt x="26" y="144"/>
                  </a:cubicBezTo>
                  <a:cubicBezTo>
                    <a:pt x="26" y="142"/>
                    <a:pt x="28" y="138"/>
                    <a:pt x="30" y="133"/>
                  </a:cubicBezTo>
                  <a:cubicBezTo>
                    <a:pt x="32" y="127"/>
                    <a:pt x="36" y="118"/>
                    <a:pt x="34" y="115"/>
                  </a:cubicBezTo>
                  <a:cubicBezTo>
                    <a:pt x="33" y="114"/>
                    <a:pt x="33" y="112"/>
                    <a:pt x="34" y="111"/>
                  </a:cubicBezTo>
                  <a:cubicBezTo>
                    <a:pt x="35" y="109"/>
                    <a:pt x="39" y="107"/>
                    <a:pt x="42" y="107"/>
                  </a:cubicBezTo>
                  <a:cubicBezTo>
                    <a:pt x="45" y="107"/>
                    <a:pt x="47" y="109"/>
                    <a:pt x="47" y="111"/>
                  </a:cubicBezTo>
                  <a:cubicBezTo>
                    <a:pt x="47" y="111"/>
                    <a:pt x="47" y="111"/>
                    <a:pt x="47" y="111"/>
                  </a:cubicBezTo>
                  <a:cubicBezTo>
                    <a:pt x="49" y="117"/>
                    <a:pt x="50" y="120"/>
                    <a:pt x="58" y="119"/>
                  </a:cubicBezTo>
                  <a:cubicBezTo>
                    <a:pt x="63" y="119"/>
                    <a:pt x="65" y="121"/>
                    <a:pt x="67" y="123"/>
                  </a:cubicBezTo>
                  <a:cubicBezTo>
                    <a:pt x="69" y="125"/>
                    <a:pt x="71" y="127"/>
                    <a:pt x="73" y="127"/>
                  </a:cubicBezTo>
                  <a:cubicBezTo>
                    <a:pt x="74" y="128"/>
                    <a:pt x="74" y="128"/>
                    <a:pt x="74" y="128"/>
                  </a:cubicBezTo>
                  <a:cubicBezTo>
                    <a:pt x="75" y="125"/>
                    <a:pt x="74" y="124"/>
                    <a:pt x="74" y="123"/>
                  </a:cubicBezTo>
                  <a:cubicBezTo>
                    <a:pt x="73" y="121"/>
                    <a:pt x="72" y="120"/>
                    <a:pt x="72" y="117"/>
                  </a:cubicBezTo>
                  <a:cubicBezTo>
                    <a:pt x="72" y="115"/>
                    <a:pt x="71" y="113"/>
                    <a:pt x="70" y="112"/>
                  </a:cubicBezTo>
                  <a:cubicBezTo>
                    <a:pt x="69" y="110"/>
                    <a:pt x="68" y="108"/>
                    <a:pt x="72" y="103"/>
                  </a:cubicBezTo>
                  <a:cubicBezTo>
                    <a:pt x="77" y="97"/>
                    <a:pt x="84" y="93"/>
                    <a:pt x="89" y="93"/>
                  </a:cubicBezTo>
                  <a:cubicBezTo>
                    <a:pt x="90" y="93"/>
                    <a:pt x="91" y="93"/>
                    <a:pt x="92" y="93"/>
                  </a:cubicBezTo>
                  <a:cubicBezTo>
                    <a:pt x="93" y="94"/>
                    <a:pt x="94" y="94"/>
                    <a:pt x="95" y="94"/>
                  </a:cubicBezTo>
                  <a:cubicBezTo>
                    <a:pt x="97" y="94"/>
                    <a:pt x="99" y="93"/>
                    <a:pt x="101" y="93"/>
                  </a:cubicBezTo>
                  <a:cubicBezTo>
                    <a:pt x="103" y="93"/>
                    <a:pt x="105" y="92"/>
                    <a:pt x="107" y="92"/>
                  </a:cubicBezTo>
                  <a:cubicBezTo>
                    <a:pt x="110" y="92"/>
                    <a:pt x="111" y="93"/>
                    <a:pt x="112" y="94"/>
                  </a:cubicBezTo>
                  <a:cubicBezTo>
                    <a:pt x="112" y="95"/>
                    <a:pt x="113" y="95"/>
                    <a:pt x="113" y="95"/>
                  </a:cubicBezTo>
                  <a:cubicBezTo>
                    <a:pt x="116" y="92"/>
                    <a:pt x="116" y="89"/>
                    <a:pt x="115" y="86"/>
                  </a:cubicBezTo>
                  <a:cubicBezTo>
                    <a:pt x="115" y="84"/>
                    <a:pt x="115" y="82"/>
                    <a:pt x="115" y="79"/>
                  </a:cubicBezTo>
                  <a:cubicBezTo>
                    <a:pt x="116" y="72"/>
                    <a:pt x="110" y="66"/>
                    <a:pt x="105" y="64"/>
                  </a:cubicBezTo>
                  <a:cubicBezTo>
                    <a:pt x="103" y="64"/>
                    <a:pt x="104" y="60"/>
                    <a:pt x="104" y="56"/>
                  </a:cubicBezTo>
                  <a:cubicBezTo>
                    <a:pt x="105" y="52"/>
                    <a:pt x="106" y="48"/>
                    <a:pt x="104" y="47"/>
                  </a:cubicBezTo>
                  <a:cubicBezTo>
                    <a:pt x="100" y="45"/>
                    <a:pt x="97" y="41"/>
                    <a:pt x="95" y="38"/>
                  </a:cubicBezTo>
                  <a:cubicBezTo>
                    <a:pt x="94" y="38"/>
                    <a:pt x="94" y="37"/>
                    <a:pt x="93" y="36"/>
                  </a:cubicBezTo>
                  <a:cubicBezTo>
                    <a:pt x="92" y="35"/>
                    <a:pt x="90" y="34"/>
                    <a:pt x="87" y="34"/>
                  </a:cubicBezTo>
                  <a:cubicBezTo>
                    <a:pt x="84" y="34"/>
                    <a:pt x="81" y="35"/>
                    <a:pt x="80" y="37"/>
                  </a:cubicBezTo>
                  <a:cubicBezTo>
                    <a:pt x="80" y="39"/>
                    <a:pt x="76" y="41"/>
                    <a:pt x="74" y="41"/>
                  </a:cubicBezTo>
                  <a:cubicBezTo>
                    <a:pt x="72" y="41"/>
                    <a:pt x="71" y="40"/>
                    <a:pt x="70" y="39"/>
                  </a:cubicBezTo>
                  <a:cubicBezTo>
                    <a:pt x="68" y="37"/>
                    <a:pt x="65" y="37"/>
                    <a:pt x="60" y="40"/>
                  </a:cubicBezTo>
                  <a:cubicBezTo>
                    <a:pt x="60" y="41"/>
                    <a:pt x="59" y="42"/>
                    <a:pt x="58" y="42"/>
                  </a:cubicBezTo>
                  <a:cubicBezTo>
                    <a:pt x="55" y="45"/>
                    <a:pt x="51" y="47"/>
                    <a:pt x="49" y="47"/>
                  </a:cubicBezTo>
                  <a:cubicBezTo>
                    <a:pt x="48" y="47"/>
                    <a:pt x="47" y="47"/>
                    <a:pt x="47" y="45"/>
                  </a:cubicBezTo>
                  <a:cubicBezTo>
                    <a:pt x="46" y="42"/>
                    <a:pt x="47" y="40"/>
                    <a:pt x="48" y="39"/>
                  </a:cubicBezTo>
                  <a:cubicBezTo>
                    <a:pt x="49" y="38"/>
                    <a:pt x="50" y="36"/>
                    <a:pt x="50" y="34"/>
                  </a:cubicBezTo>
                  <a:cubicBezTo>
                    <a:pt x="50" y="31"/>
                    <a:pt x="51" y="29"/>
                    <a:pt x="51" y="27"/>
                  </a:cubicBezTo>
                  <a:cubicBezTo>
                    <a:pt x="52" y="24"/>
                    <a:pt x="53" y="22"/>
                    <a:pt x="52" y="18"/>
                  </a:cubicBezTo>
                  <a:cubicBezTo>
                    <a:pt x="51" y="16"/>
                    <a:pt x="50" y="16"/>
                    <a:pt x="49" y="16"/>
                  </a:cubicBezTo>
                  <a:cubicBezTo>
                    <a:pt x="48" y="16"/>
                    <a:pt x="47" y="16"/>
                    <a:pt x="47" y="16"/>
                  </a:cubicBezTo>
                  <a:cubicBezTo>
                    <a:pt x="46" y="16"/>
                    <a:pt x="45" y="16"/>
                    <a:pt x="45" y="16"/>
                  </a:cubicBezTo>
                  <a:cubicBezTo>
                    <a:pt x="43" y="16"/>
                    <a:pt x="42" y="16"/>
                    <a:pt x="42" y="15"/>
                  </a:cubicBezTo>
                  <a:cubicBezTo>
                    <a:pt x="41" y="12"/>
                    <a:pt x="41" y="9"/>
                    <a:pt x="41" y="7"/>
                  </a:cubicBezTo>
                  <a:cubicBezTo>
                    <a:pt x="41" y="6"/>
                    <a:pt x="41" y="4"/>
                    <a:pt x="40" y="3"/>
                  </a:cubicBezTo>
                  <a:cubicBezTo>
                    <a:pt x="40" y="3"/>
                    <a:pt x="39" y="2"/>
                    <a:pt x="38" y="1"/>
                  </a:cubicBezTo>
                  <a:cubicBezTo>
                    <a:pt x="37" y="1"/>
                    <a:pt x="36" y="2"/>
                    <a:pt x="36" y="3"/>
                  </a:cubicBezTo>
                  <a:cubicBezTo>
                    <a:pt x="36" y="4"/>
                    <a:pt x="33" y="5"/>
                    <a:pt x="30" y="6"/>
                  </a:cubicBezTo>
                  <a:cubicBezTo>
                    <a:pt x="27" y="7"/>
                    <a:pt x="24" y="8"/>
                    <a:pt x="23" y="10"/>
                  </a:cubicBezTo>
                  <a:cubicBezTo>
                    <a:pt x="21" y="13"/>
                    <a:pt x="18" y="14"/>
                    <a:pt x="13" y="14"/>
                  </a:cubicBezTo>
                  <a:cubicBezTo>
                    <a:pt x="12" y="14"/>
                    <a:pt x="12" y="14"/>
                    <a:pt x="12" y="14"/>
                  </a:cubicBezTo>
                  <a:cubicBezTo>
                    <a:pt x="12" y="14"/>
                    <a:pt x="12" y="14"/>
                    <a:pt x="12" y="14"/>
                  </a:cubicBezTo>
                  <a:cubicBezTo>
                    <a:pt x="11" y="14"/>
                    <a:pt x="5" y="14"/>
                    <a:pt x="4" y="18"/>
                  </a:cubicBezTo>
                  <a:cubicBezTo>
                    <a:pt x="4" y="19"/>
                    <a:pt x="4" y="19"/>
                    <a:pt x="4" y="19"/>
                  </a:cubicBezTo>
                  <a:cubicBezTo>
                    <a:pt x="3" y="24"/>
                    <a:pt x="1" y="38"/>
                    <a:pt x="1" y="41"/>
                  </a:cubicBezTo>
                  <a:cubicBezTo>
                    <a:pt x="1" y="44"/>
                    <a:pt x="9" y="53"/>
                    <a:pt x="12" y="54"/>
                  </a:cubicBezTo>
                  <a:cubicBezTo>
                    <a:pt x="13" y="54"/>
                    <a:pt x="13" y="56"/>
                    <a:pt x="13" y="59"/>
                  </a:cubicBezTo>
                  <a:cubicBezTo>
                    <a:pt x="13" y="61"/>
                    <a:pt x="13" y="63"/>
                    <a:pt x="15" y="63"/>
                  </a:cubicBezTo>
                  <a:cubicBezTo>
                    <a:pt x="17" y="64"/>
                    <a:pt x="17" y="67"/>
                    <a:pt x="17" y="68"/>
                  </a:cubicBezTo>
                  <a:cubicBezTo>
                    <a:pt x="16" y="70"/>
                    <a:pt x="15" y="72"/>
                    <a:pt x="14" y="71"/>
                  </a:cubicBezTo>
                  <a:cubicBezTo>
                    <a:pt x="14" y="72"/>
                    <a:pt x="14" y="73"/>
                    <a:pt x="14" y="73"/>
                  </a:cubicBezTo>
                  <a:cubicBezTo>
                    <a:pt x="14" y="76"/>
                    <a:pt x="14" y="80"/>
                    <a:pt x="12" y="81"/>
                  </a:cubicBezTo>
                  <a:cubicBezTo>
                    <a:pt x="11" y="82"/>
                    <a:pt x="11" y="83"/>
                    <a:pt x="11" y="85"/>
                  </a:cubicBezTo>
                  <a:cubicBezTo>
                    <a:pt x="10" y="88"/>
                    <a:pt x="13" y="93"/>
                    <a:pt x="17" y="96"/>
                  </a:cubicBezTo>
                  <a:cubicBezTo>
                    <a:pt x="23" y="102"/>
                    <a:pt x="23" y="110"/>
                    <a:pt x="23" y="114"/>
                  </a:cubicBezTo>
                  <a:cubicBezTo>
                    <a:pt x="23" y="116"/>
                    <a:pt x="24" y="118"/>
                    <a:pt x="25" y="119"/>
                  </a:cubicBezTo>
                  <a:cubicBezTo>
                    <a:pt x="26" y="120"/>
                    <a:pt x="28" y="122"/>
                    <a:pt x="28" y="125"/>
                  </a:cubicBezTo>
                  <a:cubicBezTo>
                    <a:pt x="28" y="125"/>
                    <a:pt x="28" y="125"/>
                    <a:pt x="28" y="125"/>
                  </a:cubicBezTo>
                  <a:cubicBezTo>
                    <a:pt x="27" y="128"/>
                    <a:pt x="21" y="150"/>
                    <a:pt x="15" y="150"/>
                  </a:cubicBezTo>
                  <a:cubicBezTo>
                    <a:pt x="15" y="152"/>
                    <a:pt x="14" y="154"/>
                    <a:pt x="14" y="156"/>
                  </a:cubicBezTo>
                  <a:cubicBezTo>
                    <a:pt x="13" y="161"/>
                    <a:pt x="12" y="167"/>
                    <a:pt x="11" y="171"/>
                  </a:cubicBezTo>
                  <a:cubicBezTo>
                    <a:pt x="10" y="175"/>
                    <a:pt x="9" y="180"/>
                    <a:pt x="10" y="182"/>
                  </a:cubicBezTo>
                  <a:cubicBezTo>
                    <a:pt x="10" y="183"/>
                    <a:pt x="11" y="183"/>
                    <a:pt x="11" y="183"/>
                  </a:cubicBezTo>
                  <a:cubicBezTo>
                    <a:pt x="15" y="184"/>
                    <a:pt x="21" y="189"/>
                    <a:pt x="31" y="202"/>
                  </a:cubicBezTo>
                  <a:cubicBezTo>
                    <a:pt x="33" y="204"/>
                    <a:pt x="34" y="207"/>
                    <a:pt x="35" y="209"/>
                  </a:cubicBezTo>
                  <a:cubicBezTo>
                    <a:pt x="36" y="209"/>
                    <a:pt x="36" y="209"/>
                    <a:pt x="37" y="2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0" name="Freeform 67"/>
            <p:cNvSpPr>
              <a:spLocks noEditPoints="1"/>
            </p:cNvSpPr>
            <p:nvPr/>
          </p:nvSpPr>
          <p:spPr>
            <a:xfrm>
              <a:off x="5132389" y="2282825"/>
              <a:ext cx="238125" cy="193675"/>
            </a:xfrm>
            <a:custGeom>
              <a:gdLst>
                <a:gd name="T0" fmla="*/ 110 w 141"/>
                <a:gd name="T1" fmla="*/ 112 h 114"/>
                <a:gd name="T2" fmla="*/ 87 w 141"/>
                <a:gd name="T3" fmla="*/ 108 h 114"/>
                <a:gd name="T4" fmla="*/ 71 w 141"/>
                <a:gd name="T5" fmla="*/ 107 h 114"/>
                <a:gd name="T6" fmla="*/ 62 w 141"/>
                <a:gd name="T7" fmla="*/ 102 h 114"/>
                <a:gd name="T8" fmla="*/ 49 w 141"/>
                <a:gd name="T9" fmla="*/ 96 h 114"/>
                <a:gd name="T10" fmla="*/ 43 w 141"/>
                <a:gd name="T11" fmla="*/ 91 h 114"/>
                <a:gd name="T12" fmla="*/ 36 w 141"/>
                <a:gd name="T13" fmla="*/ 94 h 114"/>
                <a:gd name="T14" fmla="*/ 20 w 141"/>
                <a:gd name="T15" fmla="*/ 83 h 114"/>
                <a:gd name="T16" fmla="*/ 12 w 141"/>
                <a:gd name="T17" fmla="*/ 77 h 114"/>
                <a:gd name="T18" fmla="*/ 6 w 141"/>
                <a:gd name="T19" fmla="*/ 54 h 114"/>
                <a:gd name="T20" fmla="*/ 0 w 141"/>
                <a:gd name="T21" fmla="*/ 42 h 114"/>
                <a:gd name="T22" fmla="*/ 2 w 141"/>
                <a:gd name="T23" fmla="*/ 22 h 114"/>
                <a:gd name="T24" fmla="*/ 6 w 141"/>
                <a:gd name="T25" fmla="*/ 18 h 114"/>
                <a:gd name="T26" fmla="*/ 58 w 141"/>
                <a:gd name="T27" fmla="*/ 0 h 114"/>
                <a:gd name="T28" fmla="*/ 75 w 141"/>
                <a:gd name="T29" fmla="*/ 6 h 114"/>
                <a:gd name="T30" fmla="*/ 83 w 141"/>
                <a:gd name="T31" fmla="*/ 9 h 114"/>
                <a:gd name="T32" fmla="*/ 121 w 141"/>
                <a:gd name="T33" fmla="*/ 10 h 114"/>
                <a:gd name="T34" fmla="*/ 121 w 141"/>
                <a:gd name="T35" fmla="*/ 11 h 114"/>
                <a:gd name="T36" fmla="*/ 135 w 141"/>
                <a:gd name="T37" fmla="*/ 30 h 114"/>
                <a:gd name="T38" fmla="*/ 128 w 141"/>
                <a:gd name="T39" fmla="*/ 50 h 114"/>
                <a:gd name="T40" fmla="*/ 133 w 141"/>
                <a:gd name="T41" fmla="*/ 70 h 114"/>
                <a:gd name="T42" fmla="*/ 133 w 141"/>
                <a:gd name="T43" fmla="*/ 90 h 114"/>
                <a:gd name="T44" fmla="*/ 119 w 141"/>
                <a:gd name="T45" fmla="*/ 107 h 114"/>
                <a:gd name="T46" fmla="*/ 111 w 141"/>
                <a:gd name="T47" fmla="*/ 111 h 114"/>
                <a:gd name="T48" fmla="*/ 118 w 141"/>
                <a:gd name="T49" fmla="*/ 104 h 114"/>
                <a:gd name="T50" fmla="*/ 135 w 141"/>
                <a:gd name="T51" fmla="*/ 88 h 114"/>
                <a:gd name="T52" fmla="*/ 131 w 141"/>
                <a:gd name="T53" fmla="*/ 58 h 114"/>
                <a:gd name="T54" fmla="*/ 135 w 141"/>
                <a:gd name="T55" fmla="*/ 43 h 114"/>
                <a:gd name="T56" fmla="*/ 132 w 141"/>
                <a:gd name="T57" fmla="*/ 19 h 114"/>
                <a:gd name="T58" fmla="*/ 120 w 141"/>
                <a:gd name="T59" fmla="*/ 11 h 114"/>
                <a:gd name="T60" fmla="*/ 76 w 141"/>
                <a:gd name="T61" fmla="*/ 7 h 114"/>
                <a:gd name="T62" fmla="*/ 58 w 141"/>
                <a:gd name="T63" fmla="*/ 1 h 114"/>
                <a:gd name="T64" fmla="*/ 7 w 141"/>
                <a:gd name="T65" fmla="*/ 18 h 114"/>
                <a:gd name="T66" fmla="*/ 2 w 141"/>
                <a:gd name="T67" fmla="*/ 39 h 114"/>
                <a:gd name="T68" fmla="*/ 7 w 141"/>
                <a:gd name="T69" fmla="*/ 51 h 114"/>
                <a:gd name="T70" fmla="*/ 12 w 141"/>
                <a:gd name="T71" fmla="*/ 70 h 114"/>
                <a:gd name="T72" fmla="*/ 31 w 141"/>
                <a:gd name="T73" fmla="*/ 89 h 114"/>
                <a:gd name="T74" fmla="*/ 37 w 141"/>
                <a:gd name="T75" fmla="*/ 92 h 114"/>
                <a:gd name="T76" fmla="*/ 46 w 141"/>
                <a:gd name="T77" fmla="*/ 90 h 114"/>
                <a:gd name="T78" fmla="*/ 54 w 141"/>
                <a:gd name="T79" fmla="*/ 97 h 114"/>
                <a:gd name="T80" fmla="*/ 66 w 141"/>
                <a:gd name="T81" fmla="*/ 107 h 114"/>
                <a:gd name="T82" fmla="*/ 75 w 141"/>
                <a:gd name="T83" fmla="*/ 106 h 114"/>
                <a:gd name="T84" fmla="*/ 89 w 141"/>
                <a:gd name="T85" fmla="*/ 107 h 114"/>
                <a:gd name="T86" fmla="*/ 100 w 141"/>
                <a:gd name="T87" fmla="*/ 108 h 1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114">
                  <a:moveTo>
                    <a:pt x="120" y="114"/>
                  </a:moveTo>
                  <a:cubicBezTo>
                    <a:pt x="119" y="114"/>
                    <a:pt x="119" y="114"/>
                    <a:pt x="119" y="114"/>
                  </a:cubicBezTo>
                  <a:cubicBezTo>
                    <a:pt x="112" y="113"/>
                    <a:pt x="111" y="112"/>
                    <a:pt x="110" y="112"/>
                  </a:cubicBezTo>
                  <a:cubicBezTo>
                    <a:pt x="109" y="111"/>
                    <a:pt x="103" y="109"/>
                    <a:pt x="98" y="109"/>
                  </a:cubicBezTo>
                  <a:cubicBezTo>
                    <a:pt x="96" y="109"/>
                    <a:pt x="94" y="109"/>
                    <a:pt x="93" y="108"/>
                  </a:cubicBezTo>
                  <a:cubicBezTo>
                    <a:pt x="91" y="108"/>
                    <a:pt x="89" y="107"/>
                    <a:pt x="87" y="108"/>
                  </a:cubicBezTo>
                  <a:cubicBezTo>
                    <a:pt x="86" y="109"/>
                    <a:pt x="85" y="109"/>
                    <a:pt x="83" y="109"/>
                  </a:cubicBezTo>
                  <a:cubicBezTo>
                    <a:pt x="80" y="109"/>
                    <a:pt x="76" y="108"/>
                    <a:pt x="74" y="107"/>
                  </a:cubicBezTo>
                  <a:cubicBezTo>
                    <a:pt x="74" y="106"/>
                    <a:pt x="72" y="107"/>
                    <a:pt x="71" y="107"/>
                  </a:cubicBezTo>
                  <a:cubicBezTo>
                    <a:pt x="70" y="108"/>
                    <a:pt x="69" y="108"/>
                    <a:pt x="68" y="108"/>
                  </a:cubicBezTo>
                  <a:cubicBezTo>
                    <a:pt x="67" y="108"/>
                    <a:pt x="66" y="108"/>
                    <a:pt x="66" y="108"/>
                  </a:cubicBezTo>
                  <a:cubicBezTo>
                    <a:pt x="64" y="106"/>
                    <a:pt x="63" y="104"/>
                    <a:pt x="62" y="102"/>
                  </a:cubicBezTo>
                  <a:cubicBezTo>
                    <a:pt x="61" y="101"/>
                    <a:pt x="60" y="100"/>
                    <a:pt x="59" y="99"/>
                  </a:cubicBezTo>
                  <a:cubicBezTo>
                    <a:pt x="58" y="98"/>
                    <a:pt x="56" y="98"/>
                    <a:pt x="54" y="98"/>
                  </a:cubicBezTo>
                  <a:cubicBezTo>
                    <a:pt x="52" y="98"/>
                    <a:pt x="50" y="98"/>
                    <a:pt x="49" y="96"/>
                  </a:cubicBezTo>
                  <a:cubicBezTo>
                    <a:pt x="49" y="96"/>
                    <a:pt x="49" y="96"/>
                    <a:pt x="49" y="96"/>
                  </a:cubicBezTo>
                  <a:cubicBezTo>
                    <a:pt x="49" y="93"/>
                    <a:pt x="48" y="91"/>
                    <a:pt x="46" y="91"/>
                  </a:cubicBezTo>
                  <a:cubicBezTo>
                    <a:pt x="45" y="91"/>
                    <a:pt x="44" y="91"/>
                    <a:pt x="43" y="91"/>
                  </a:cubicBezTo>
                  <a:cubicBezTo>
                    <a:pt x="43" y="91"/>
                    <a:pt x="42" y="91"/>
                    <a:pt x="41" y="91"/>
                  </a:cubicBezTo>
                  <a:cubicBezTo>
                    <a:pt x="40" y="91"/>
                    <a:pt x="39" y="91"/>
                    <a:pt x="38" y="92"/>
                  </a:cubicBezTo>
                  <a:cubicBezTo>
                    <a:pt x="38" y="93"/>
                    <a:pt x="37" y="94"/>
                    <a:pt x="36" y="94"/>
                  </a:cubicBezTo>
                  <a:cubicBezTo>
                    <a:pt x="36" y="94"/>
                    <a:pt x="36" y="94"/>
                    <a:pt x="36" y="94"/>
                  </a:cubicBezTo>
                  <a:cubicBezTo>
                    <a:pt x="33" y="94"/>
                    <a:pt x="30" y="91"/>
                    <a:pt x="30" y="89"/>
                  </a:cubicBezTo>
                  <a:cubicBezTo>
                    <a:pt x="29" y="87"/>
                    <a:pt x="26" y="85"/>
                    <a:pt x="20" y="83"/>
                  </a:cubicBezTo>
                  <a:cubicBezTo>
                    <a:pt x="18" y="82"/>
                    <a:pt x="15" y="80"/>
                    <a:pt x="12" y="78"/>
                  </a:cubicBezTo>
                  <a:cubicBezTo>
                    <a:pt x="11" y="77"/>
                    <a:pt x="11" y="77"/>
                    <a:pt x="11" y="77"/>
                  </a:cubicBezTo>
                  <a:cubicBezTo>
                    <a:pt x="12" y="77"/>
                    <a:pt x="12" y="77"/>
                    <a:pt x="12" y="77"/>
                  </a:cubicBezTo>
                  <a:cubicBezTo>
                    <a:pt x="12" y="75"/>
                    <a:pt x="13" y="73"/>
                    <a:pt x="11" y="71"/>
                  </a:cubicBezTo>
                  <a:cubicBezTo>
                    <a:pt x="9" y="69"/>
                    <a:pt x="8" y="65"/>
                    <a:pt x="8" y="59"/>
                  </a:cubicBezTo>
                  <a:cubicBezTo>
                    <a:pt x="7" y="56"/>
                    <a:pt x="7" y="55"/>
                    <a:pt x="6" y="54"/>
                  </a:cubicBezTo>
                  <a:cubicBezTo>
                    <a:pt x="6" y="53"/>
                    <a:pt x="6" y="53"/>
                    <a:pt x="6" y="51"/>
                  </a:cubicBezTo>
                  <a:cubicBezTo>
                    <a:pt x="6" y="49"/>
                    <a:pt x="5" y="46"/>
                    <a:pt x="3" y="45"/>
                  </a:cubicBezTo>
                  <a:cubicBezTo>
                    <a:pt x="1" y="44"/>
                    <a:pt x="0" y="43"/>
                    <a:pt x="0" y="42"/>
                  </a:cubicBezTo>
                  <a:cubicBezTo>
                    <a:pt x="0" y="41"/>
                    <a:pt x="0" y="40"/>
                    <a:pt x="1" y="38"/>
                  </a:cubicBezTo>
                  <a:cubicBezTo>
                    <a:pt x="4" y="35"/>
                    <a:pt x="3" y="26"/>
                    <a:pt x="2" y="24"/>
                  </a:cubicBezTo>
                  <a:cubicBezTo>
                    <a:pt x="2" y="23"/>
                    <a:pt x="1" y="22"/>
                    <a:pt x="2" y="22"/>
                  </a:cubicBezTo>
                  <a:cubicBezTo>
                    <a:pt x="2" y="21"/>
                    <a:pt x="2" y="21"/>
                    <a:pt x="2" y="21"/>
                  </a:cubicBezTo>
                  <a:cubicBezTo>
                    <a:pt x="2" y="21"/>
                    <a:pt x="2" y="21"/>
                    <a:pt x="2" y="21"/>
                  </a:cubicBezTo>
                  <a:cubicBezTo>
                    <a:pt x="4" y="22"/>
                    <a:pt x="6" y="21"/>
                    <a:pt x="6" y="18"/>
                  </a:cubicBezTo>
                  <a:cubicBezTo>
                    <a:pt x="6" y="16"/>
                    <a:pt x="9" y="16"/>
                    <a:pt x="14" y="15"/>
                  </a:cubicBezTo>
                  <a:cubicBezTo>
                    <a:pt x="19" y="15"/>
                    <a:pt x="25" y="14"/>
                    <a:pt x="28" y="10"/>
                  </a:cubicBezTo>
                  <a:cubicBezTo>
                    <a:pt x="34" y="5"/>
                    <a:pt x="52" y="0"/>
                    <a:pt x="58" y="0"/>
                  </a:cubicBezTo>
                  <a:cubicBezTo>
                    <a:pt x="59" y="0"/>
                    <a:pt x="61" y="0"/>
                    <a:pt x="61" y="1"/>
                  </a:cubicBezTo>
                  <a:cubicBezTo>
                    <a:pt x="61" y="4"/>
                    <a:pt x="62" y="10"/>
                    <a:pt x="68" y="10"/>
                  </a:cubicBezTo>
                  <a:cubicBezTo>
                    <a:pt x="71" y="10"/>
                    <a:pt x="74" y="9"/>
                    <a:pt x="75" y="6"/>
                  </a:cubicBezTo>
                  <a:cubicBezTo>
                    <a:pt x="75" y="6"/>
                    <a:pt x="75" y="6"/>
                    <a:pt x="75" y="6"/>
                  </a:cubicBezTo>
                  <a:cubicBezTo>
                    <a:pt x="76" y="6"/>
                    <a:pt x="76" y="6"/>
                    <a:pt x="76" y="6"/>
                  </a:cubicBezTo>
                  <a:cubicBezTo>
                    <a:pt x="79" y="7"/>
                    <a:pt x="82" y="8"/>
                    <a:pt x="83" y="9"/>
                  </a:cubicBezTo>
                  <a:cubicBezTo>
                    <a:pt x="84" y="9"/>
                    <a:pt x="99" y="11"/>
                    <a:pt x="111" y="11"/>
                  </a:cubicBezTo>
                  <a:cubicBezTo>
                    <a:pt x="115" y="11"/>
                    <a:pt x="118" y="11"/>
                    <a:pt x="121" y="10"/>
                  </a:cubicBezTo>
                  <a:cubicBezTo>
                    <a:pt x="121" y="10"/>
                    <a:pt x="121" y="10"/>
                    <a:pt x="121" y="10"/>
                  </a:cubicBezTo>
                  <a:cubicBezTo>
                    <a:pt x="121" y="11"/>
                    <a:pt x="121" y="11"/>
                    <a:pt x="121" y="11"/>
                  </a:cubicBezTo>
                  <a:cubicBezTo>
                    <a:pt x="121" y="11"/>
                    <a:pt x="121" y="11"/>
                    <a:pt x="121" y="11"/>
                  </a:cubicBezTo>
                  <a:cubicBezTo>
                    <a:pt x="121" y="11"/>
                    <a:pt x="121" y="11"/>
                    <a:pt x="121" y="11"/>
                  </a:cubicBezTo>
                  <a:cubicBezTo>
                    <a:pt x="123" y="11"/>
                    <a:pt x="130" y="13"/>
                    <a:pt x="132" y="17"/>
                  </a:cubicBezTo>
                  <a:cubicBezTo>
                    <a:pt x="133" y="18"/>
                    <a:pt x="133" y="19"/>
                    <a:pt x="133" y="20"/>
                  </a:cubicBezTo>
                  <a:cubicBezTo>
                    <a:pt x="132" y="24"/>
                    <a:pt x="132" y="28"/>
                    <a:pt x="135" y="30"/>
                  </a:cubicBezTo>
                  <a:cubicBezTo>
                    <a:pt x="137" y="32"/>
                    <a:pt x="138" y="37"/>
                    <a:pt x="138" y="40"/>
                  </a:cubicBezTo>
                  <a:cubicBezTo>
                    <a:pt x="137" y="42"/>
                    <a:pt x="137" y="43"/>
                    <a:pt x="136" y="43"/>
                  </a:cubicBezTo>
                  <a:cubicBezTo>
                    <a:pt x="133" y="45"/>
                    <a:pt x="128" y="49"/>
                    <a:pt x="128" y="50"/>
                  </a:cubicBezTo>
                  <a:cubicBezTo>
                    <a:pt x="128" y="51"/>
                    <a:pt x="129" y="52"/>
                    <a:pt x="130" y="53"/>
                  </a:cubicBezTo>
                  <a:cubicBezTo>
                    <a:pt x="131" y="54"/>
                    <a:pt x="133" y="56"/>
                    <a:pt x="132" y="58"/>
                  </a:cubicBezTo>
                  <a:cubicBezTo>
                    <a:pt x="131" y="61"/>
                    <a:pt x="132" y="69"/>
                    <a:pt x="133" y="70"/>
                  </a:cubicBezTo>
                  <a:cubicBezTo>
                    <a:pt x="136" y="75"/>
                    <a:pt x="141" y="82"/>
                    <a:pt x="139" y="85"/>
                  </a:cubicBezTo>
                  <a:cubicBezTo>
                    <a:pt x="138" y="87"/>
                    <a:pt x="137" y="88"/>
                    <a:pt x="135" y="88"/>
                  </a:cubicBezTo>
                  <a:cubicBezTo>
                    <a:pt x="134" y="89"/>
                    <a:pt x="133" y="90"/>
                    <a:pt x="133" y="90"/>
                  </a:cubicBezTo>
                  <a:cubicBezTo>
                    <a:pt x="132" y="91"/>
                    <a:pt x="130" y="93"/>
                    <a:pt x="128" y="95"/>
                  </a:cubicBezTo>
                  <a:cubicBezTo>
                    <a:pt x="125" y="98"/>
                    <a:pt x="119" y="103"/>
                    <a:pt x="119" y="104"/>
                  </a:cubicBezTo>
                  <a:cubicBezTo>
                    <a:pt x="119" y="105"/>
                    <a:pt x="119" y="106"/>
                    <a:pt x="119" y="107"/>
                  </a:cubicBezTo>
                  <a:cubicBezTo>
                    <a:pt x="120" y="110"/>
                    <a:pt x="120" y="112"/>
                    <a:pt x="120" y="114"/>
                  </a:cubicBezTo>
                  <a:close/>
                  <a:moveTo>
                    <a:pt x="100" y="108"/>
                  </a:moveTo>
                  <a:cubicBezTo>
                    <a:pt x="104" y="108"/>
                    <a:pt x="110" y="110"/>
                    <a:pt x="111" y="111"/>
                  </a:cubicBezTo>
                  <a:cubicBezTo>
                    <a:pt x="111" y="111"/>
                    <a:pt x="113" y="112"/>
                    <a:pt x="119" y="113"/>
                  </a:cubicBezTo>
                  <a:cubicBezTo>
                    <a:pt x="119" y="112"/>
                    <a:pt x="119" y="109"/>
                    <a:pt x="119" y="107"/>
                  </a:cubicBezTo>
                  <a:cubicBezTo>
                    <a:pt x="118" y="106"/>
                    <a:pt x="118" y="105"/>
                    <a:pt x="118" y="104"/>
                  </a:cubicBezTo>
                  <a:cubicBezTo>
                    <a:pt x="118" y="103"/>
                    <a:pt x="122" y="99"/>
                    <a:pt x="127" y="94"/>
                  </a:cubicBezTo>
                  <a:cubicBezTo>
                    <a:pt x="129" y="92"/>
                    <a:pt x="131" y="91"/>
                    <a:pt x="132" y="90"/>
                  </a:cubicBezTo>
                  <a:cubicBezTo>
                    <a:pt x="133" y="89"/>
                    <a:pt x="134" y="88"/>
                    <a:pt x="135" y="88"/>
                  </a:cubicBezTo>
                  <a:cubicBezTo>
                    <a:pt x="136" y="87"/>
                    <a:pt x="137" y="86"/>
                    <a:pt x="138" y="85"/>
                  </a:cubicBezTo>
                  <a:cubicBezTo>
                    <a:pt x="139" y="83"/>
                    <a:pt x="137" y="78"/>
                    <a:pt x="132" y="71"/>
                  </a:cubicBezTo>
                  <a:cubicBezTo>
                    <a:pt x="131" y="69"/>
                    <a:pt x="130" y="61"/>
                    <a:pt x="131" y="58"/>
                  </a:cubicBezTo>
                  <a:cubicBezTo>
                    <a:pt x="132" y="56"/>
                    <a:pt x="130" y="55"/>
                    <a:pt x="129" y="54"/>
                  </a:cubicBezTo>
                  <a:cubicBezTo>
                    <a:pt x="128" y="53"/>
                    <a:pt x="127" y="52"/>
                    <a:pt x="127" y="50"/>
                  </a:cubicBezTo>
                  <a:cubicBezTo>
                    <a:pt x="127" y="48"/>
                    <a:pt x="132" y="44"/>
                    <a:pt x="135" y="43"/>
                  </a:cubicBezTo>
                  <a:cubicBezTo>
                    <a:pt x="136" y="42"/>
                    <a:pt x="136" y="41"/>
                    <a:pt x="137" y="40"/>
                  </a:cubicBezTo>
                  <a:cubicBezTo>
                    <a:pt x="137" y="37"/>
                    <a:pt x="136" y="32"/>
                    <a:pt x="134" y="31"/>
                  </a:cubicBezTo>
                  <a:cubicBezTo>
                    <a:pt x="131" y="28"/>
                    <a:pt x="130" y="24"/>
                    <a:pt x="132" y="19"/>
                  </a:cubicBezTo>
                  <a:cubicBezTo>
                    <a:pt x="132" y="19"/>
                    <a:pt x="132" y="18"/>
                    <a:pt x="132" y="17"/>
                  </a:cubicBezTo>
                  <a:cubicBezTo>
                    <a:pt x="130" y="14"/>
                    <a:pt x="122" y="12"/>
                    <a:pt x="121" y="12"/>
                  </a:cubicBezTo>
                  <a:cubicBezTo>
                    <a:pt x="121" y="12"/>
                    <a:pt x="121" y="12"/>
                    <a:pt x="120" y="11"/>
                  </a:cubicBezTo>
                  <a:cubicBezTo>
                    <a:pt x="118" y="12"/>
                    <a:pt x="115" y="12"/>
                    <a:pt x="111" y="12"/>
                  </a:cubicBezTo>
                  <a:cubicBezTo>
                    <a:pt x="99" y="12"/>
                    <a:pt x="84" y="10"/>
                    <a:pt x="83" y="10"/>
                  </a:cubicBezTo>
                  <a:cubicBezTo>
                    <a:pt x="81" y="9"/>
                    <a:pt x="79" y="8"/>
                    <a:pt x="76" y="7"/>
                  </a:cubicBezTo>
                  <a:cubicBezTo>
                    <a:pt x="74" y="10"/>
                    <a:pt x="71" y="11"/>
                    <a:pt x="68" y="11"/>
                  </a:cubicBezTo>
                  <a:cubicBezTo>
                    <a:pt x="61" y="11"/>
                    <a:pt x="60" y="4"/>
                    <a:pt x="60" y="2"/>
                  </a:cubicBezTo>
                  <a:cubicBezTo>
                    <a:pt x="60" y="2"/>
                    <a:pt x="60" y="1"/>
                    <a:pt x="58" y="1"/>
                  </a:cubicBezTo>
                  <a:cubicBezTo>
                    <a:pt x="52" y="1"/>
                    <a:pt x="35" y="6"/>
                    <a:pt x="29" y="11"/>
                  </a:cubicBezTo>
                  <a:cubicBezTo>
                    <a:pt x="25" y="15"/>
                    <a:pt x="19" y="16"/>
                    <a:pt x="14" y="16"/>
                  </a:cubicBezTo>
                  <a:cubicBezTo>
                    <a:pt x="10" y="17"/>
                    <a:pt x="7" y="17"/>
                    <a:pt x="7" y="18"/>
                  </a:cubicBezTo>
                  <a:cubicBezTo>
                    <a:pt x="6" y="21"/>
                    <a:pt x="4" y="23"/>
                    <a:pt x="3" y="22"/>
                  </a:cubicBezTo>
                  <a:cubicBezTo>
                    <a:pt x="3" y="23"/>
                    <a:pt x="3" y="23"/>
                    <a:pt x="3" y="23"/>
                  </a:cubicBezTo>
                  <a:cubicBezTo>
                    <a:pt x="4" y="26"/>
                    <a:pt x="5" y="35"/>
                    <a:pt x="2" y="39"/>
                  </a:cubicBezTo>
                  <a:cubicBezTo>
                    <a:pt x="1" y="40"/>
                    <a:pt x="1" y="41"/>
                    <a:pt x="1" y="42"/>
                  </a:cubicBezTo>
                  <a:cubicBezTo>
                    <a:pt x="1" y="43"/>
                    <a:pt x="2" y="43"/>
                    <a:pt x="3" y="44"/>
                  </a:cubicBezTo>
                  <a:cubicBezTo>
                    <a:pt x="6" y="45"/>
                    <a:pt x="7" y="49"/>
                    <a:pt x="7" y="51"/>
                  </a:cubicBezTo>
                  <a:cubicBezTo>
                    <a:pt x="7" y="52"/>
                    <a:pt x="7" y="53"/>
                    <a:pt x="7" y="54"/>
                  </a:cubicBezTo>
                  <a:cubicBezTo>
                    <a:pt x="8" y="55"/>
                    <a:pt x="8" y="56"/>
                    <a:pt x="9" y="59"/>
                  </a:cubicBezTo>
                  <a:cubicBezTo>
                    <a:pt x="9" y="64"/>
                    <a:pt x="10" y="68"/>
                    <a:pt x="12" y="70"/>
                  </a:cubicBezTo>
                  <a:cubicBezTo>
                    <a:pt x="14" y="73"/>
                    <a:pt x="13" y="76"/>
                    <a:pt x="13" y="77"/>
                  </a:cubicBezTo>
                  <a:cubicBezTo>
                    <a:pt x="16" y="79"/>
                    <a:pt x="18" y="81"/>
                    <a:pt x="21" y="82"/>
                  </a:cubicBezTo>
                  <a:cubicBezTo>
                    <a:pt x="27" y="84"/>
                    <a:pt x="30" y="86"/>
                    <a:pt x="31" y="89"/>
                  </a:cubicBezTo>
                  <a:cubicBezTo>
                    <a:pt x="31" y="90"/>
                    <a:pt x="34" y="93"/>
                    <a:pt x="36" y="93"/>
                  </a:cubicBezTo>
                  <a:cubicBezTo>
                    <a:pt x="36" y="93"/>
                    <a:pt x="36" y="93"/>
                    <a:pt x="36" y="93"/>
                  </a:cubicBezTo>
                  <a:cubicBezTo>
                    <a:pt x="37" y="93"/>
                    <a:pt x="37" y="93"/>
                    <a:pt x="37" y="92"/>
                  </a:cubicBezTo>
                  <a:cubicBezTo>
                    <a:pt x="38" y="91"/>
                    <a:pt x="39" y="90"/>
                    <a:pt x="41" y="90"/>
                  </a:cubicBezTo>
                  <a:cubicBezTo>
                    <a:pt x="42" y="90"/>
                    <a:pt x="43" y="90"/>
                    <a:pt x="44" y="90"/>
                  </a:cubicBezTo>
                  <a:cubicBezTo>
                    <a:pt x="44" y="90"/>
                    <a:pt x="45" y="90"/>
                    <a:pt x="46" y="90"/>
                  </a:cubicBezTo>
                  <a:cubicBezTo>
                    <a:pt x="49" y="90"/>
                    <a:pt x="50" y="93"/>
                    <a:pt x="50" y="95"/>
                  </a:cubicBezTo>
                  <a:cubicBezTo>
                    <a:pt x="50" y="96"/>
                    <a:pt x="50" y="96"/>
                    <a:pt x="50" y="96"/>
                  </a:cubicBezTo>
                  <a:cubicBezTo>
                    <a:pt x="50" y="97"/>
                    <a:pt x="53" y="97"/>
                    <a:pt x="54" y="97"/>
                  </a:cubicBezTo>
                  <a:cubicBezTo>
                    <a:pt x="56" y="97"/>
                    <a:pt x="58" y="97"/>
                    <a:pt x="60" y="98"/>
                  </a:cubicBezTo>
                  <a:cubicBezTo>
                    <a:pt x="61" y="99"/>
                    <a:pt x="62" y="100"/>
                    <a:pt x="63" y="102"/>
                  </a:cubicBezTo>
                  <a:cubicBezTo>
                    <a:pt x="64" y="104"/>
                    <a:pt x="65" y="106"/>
                    <a:pt x="66" y="107"/>
                  </a:cubicBezTo>
                  <a:cubicBezTo>
                    <a:pt x="68" y="108"/>
                    <a:pt x="69" y="107"/>
                    <a:pt x="71" y="106"/>
                  </a:cubicBezTo>
                  <a:cubicBezTo>
                    <a:pt x="72" y="106"/>
                    <a:pt x="73" y="105"/>
                    <a:pt x="74" y="105"/>
                  </a:cubicBezTo>
                  <a:cubicBezTo>
                    <a:pt x="75" y="106"/>
                    <a:pt x="75" y="106"/>
                    <a:pt x="75" y="106"/>
                  </a:cubicBezTo>
                  <a:cubicBezTo>
                    <a:pt x="77" y="107"/>
                    <a:pt x="80" y="108"/>
                    <a:pt x="83" y="108"/>
                  </a:cubicBezTo>
                  <a:cubicBezTo>
                    <a:pt x="85" y="108"/>
                    <a:pt x="86" y="108"/>
                    <a:pt x="87" y="107"/>
                  </a:cubicBezTo>
                  <a:cubicBezTo>
                    <a:pt x="88" y="107"/>
                    <a:pt x="89" y="107"/>
                    <a:pt x="89" y="107"/>
                  </a:cubicBezTo>
                  <a:cubicBezTo>
                    <a:pt x="91" y="107"/>
                    <a:pt x="92" y="107"/>
                    <a:pt x="93" y="107"/>
                  </a:cubicBezTo>
                  <a:cubicBezTo>
                    <a:pt x="94" y="108"/>
                    <a:pt x="96" y="108"/>
                    <a:pt x="98" y="108"/>
                  </a:cubicBezTo>
                  <a:cubicBezTo>
                    <a:pt x="99" y="108"/>
                    <a:pt x="99" y="108"/>
                    <a:pt x="100" y="10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1" name="Freeform 68"/>
            <p:cNvSpPr>
              <a:spLocks noEditPoints="1"/>
            </p:cNvSpPr>
            <p:nvPr/>
          </p:nvSpPr>
          <p:spPr>
            <a:xfrm>
              <a:off x="5165726" y="2598738"/>
              <a:ext cx="90488" cy="85725"/>
            </a:xfrm>
            <a:custGeom>
              <a:gdLst>
                <a:gd name="T0" fmla="*/ 39 w 53"/>
                <a:gd name="T1" fmla="*/ 50 h 50"/>
                <a:gd name="T2" fmla="*/ 38 w 53"/>
                <a:gd name="T3" fmla="*/ 50 h 50"/>
                <a:gd name="T4" fmla="*/ 31 w 53"/>
                <a:gd name="T5" fmla="*/ 44 h 50"/>
                <a:gd name="T6" fmla="*/ 31 w 53"/>
                <a:gd name="T7" fmla="*/ 44 h 50"/>
                <a:gd name="T8" fmla="*/ 23 w 53"/>
                <a:gd name="T9" fmla="*/ 36 h 50"/>
                <a:gd name="T10" fmla="*/ 19 w 53"/>
                <a:gd name="T11" fmla="*/ 31 h 50"/>
                <a:gd name="T12" fmla="*/ 14 w 53"/>
                <a:gd name="T13" fmla="*/ 26 h 50"/>
                <a:gd name="T14" fmla="*/ 7 w 53"/>
                <a:gd name="T15" fmla="*/ 16 h 50"/>
                <a:gd name="T16" fmla="*/ 3 w 53"/>
                <a:gd name="T17" fmla="*/ 10 h 50"/>
                <a:gd name="T18" fmla="*/ 0 w 53"/>
                <a:gd name="T19" fmla="*/ 6 h 50"/>
                <a:gd name="T20" fmla="*/ 1 w 53"/>
                <a:gd name="T21" fmla="*/ 3 h 50"/>
                <a:gd name="T22" fmla="*/ 7 w 53"/>
                <a:gd name="T23" fmla="*/ 2 h 50"/>
                <a:gd name="T24" fmla="*/ 12 w 53"/>
                <a:gd name="T25" fmla="*/ 1 h 50"/>
                <a:gd name="T26" fmla="*/ 15 w 53"/>
                <a:gd name="T27" fmla="*/ 0 h 50"/>
                <a:gd name="T28" fmla="*/ 17 w 53"/>
                <a:gd name="T29" fmla="*/ 0 h 50"/>
                <a:gd name="T30" fmla="*/ 39 w 53"/>
                <a:gd name="T31" fmla="*/ 2 h 50"/>
                <a:gd name="T32" fmla="*/ 52 w 53"/>
                <a:gd name="T33" fmla="*/ 9 h 50"/>
                <a:gd name="T34" fmla="*/ 52 w 53"/>
                <a:gd name="T35" fmla="*/ 9 h 50"/>
                <a:gd name="T36" fmla="*/ 53 w 53"/>
                <a:gd name="T37" fmla="*/ 9 h 50"/>
                <a:gd name="T38" fmla="*/ 51 w 53"/>
                <a:gd name="T39" fmla="*/ 29 h 50"/>
                <a:gd name="T40" fmla="*/ 50 w 53"/>
                <a:gd name="T41" fmla="*/ 29 h 50"/>
                <a:gd name="T42" fmla="*/ 47 w 53"/>
                <a:gd name="T43" fmla="*/ 32 h 50"/>
                <a:gd name="T44" fmla="*/ 40 w 53"/>
                <a:gd name="T45" fmla="*/ 45 h 50"/>
                <a:gd name="T46" fmla="*/ 39 w 53"/>
                <a:gd name="T47" fmla="*/ 50 h 50"/>
                <a:gd name="T48" fmla="*/ 31 w 53"/>
                <a:gd name="T49" fmla="*/ 44 h 50"/>
                <a:gd name="T50" fmla="*/ 38 w 53"/>
                <a:gd name="T51" fmla="*/ 49 h 50"/>
                <a:gd name="T52" fmla="*/ 39 w 53"/>
                <a:gd name="T53" fmla="*/ 45 h 50"/>
                <a:gd name="T54" fmla="*/ 46 w 53"/>
                <a:gd name="T55" fmla="*/ 32 h 50"/>
                <a:gd name="T56" fmla="*/ 50 w 53"/>
                <a:gd name="T57" fmla="*/ 28 h 50"/>
                <a:gd name="T58" fmla="*/ 52 w 53"/>
                <a:gd name="T59" fmla="*/ 10 h 50"/>
                <a:gd name="T60" fmla="*/ 39 w 53"/>
                <a:gd name="T61" fmla="*/ 3 h 50"/>
                <a:gd name="T62" fmla="*/ 16 w 53"/>
                <a:gd name="T63" fmla="*/ 1 h 50"/>
                <a:gd name="T64" fmla="*/ 12 w 53"/>
                <a:gd name="T65" fmla="*/ 2 h 50"/>
                <a:gd name="T66" fmla="*/ 9 w 53"/>
                <a:gd name="T67" fmla="*/ 3 h 50"/>
                <a:gd name="T68" fmla="*/ 7 w 53"/>
                <a:gd name="T69" fmla="*/ 3 h 50"/>
                <a:gd name="T70" fmla="*/ 2 w 53"/>
                <a:gd name="T71" fmla="*/ 3 h 50"/>
                <a:gd name="T72" fmla="*/ 1 w 53"/>
                <a:gd name="T73" fmla="*/ 6 h 50"/>
                <a:gd name="T74" fmla="*/ 4 w 53"/>
                <a:gd name="T75" fmla="*/ 10 h 50"/>
                <a:gd name="T76" fmla="*/ 8 w 53"/>
                <a:gd name="T77" fmla="*/ 16 h 50"/>
                <a:gd name="T78" fmla="*/ 15 w 53"/>
                <a:gd name="T79" fmla="*/ 25 h 50"/>
                <a:gd name="T80" fmla="*/ 20 w 53"/>
                <a:gd name="T81" fmla="*/ 31 h 50"/>
                <a:gd name="T82" fmla="*/ 23 w 53"/>
                <a:gd name="T83" fmla="*/ 35 h 50"/>
                <a:gd name="T84" fmla="*/ 31 w 53"/>
                <a:gd name="T85" fmla="*/ 44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50">
                  <a:moveTo>
                    <a:pt x="39" y="50"/>
                  </a:moveTo>
                  <a:cubicBezTo>
                    <a:pt x="38" y="50"/>
                    <a:pt x="38" y="50"/>
                    <a:pt x="38" y="50"/>
                  </a:cubicBezTo>
                  <a:cubicBezTo>
                    <a:pt x="36" y="48"/>
                    <a:pt x="33" y="46"/>
                    <a:pt x="31" y="44"/>
                  </a:cubicBezTo>
                  <a:cubicBezTo>
                    <a:pt x="31" y="44"/>
                    <a:pt x="31" y="44"/>
                    <a:pt x="31" y="44"/>
                  </a:cubicBezTo>
                  <a:cubicBezTo>
                    <a:pt x="28" y="41"/>
                    <a:pt x="25" y="38"/>
                    <a:pt x="23" y="36"/>
                  </a:cubicBezTo>
                  <a:cubicBezTo>
                    <a:pt x="20" y="33"/>
                    <a:pt x="19" y="32"/>
                    <a:pt x="19" y="31"/>
                  </a:cubicBezTo>
                  <a:cubicBezTo>
                    <a:pt x="19" y="30"/>
                    <a:pt x="16" y="28"/>
                    <a:pt x="14" y="26"/>
                  </a:cubicBezTo>
                  <a:cubicBezTo>
                    <a:pt x="11" y="23"/>
                    <a:pt x="7" y="19"/>
                    <a:pt x="7" y="16"/>
                  </a:cubicBezTo>
                  <a:cubicBezTo>
                    <a:pt x="7" y="14"/>
                    <a:pt x="5" y="12"/>
                    <a:pt x="3" y="10"/>
                  </a:cubicBezTo>
                  <a:cubicBezTo>
                    <a:pt x="2" y="9"/>
                    <a:pt x="0" y="8"/>
                    <a:pt x="0" y="6"/>
                  </a:cubicBezTo>
                  <a:cubicBezTo>
                    <a:pt x="0" y="5"/>
                    <a:pt x="0" y="4"/>
                    <a:pt x="1" y="3"/>
                  </a:cubicBezTo>
                  <a:cubicBezTo>
                    <a:pt x="3" y="1"/>
                    <a:pt x="6" y="0"/>
                    <a:pt x="7" y="2"/>
                  </a:cubicBezTo>
                  <a:cubicBezTo>
                    <a:pt x="9" y="3"/>
                    <a:pt x="10" y="2"/>
                    <a:pt x="12" y="1"/>
                  </a:cubicBezTo>
                  <a:cubicBezTo>
                    <a:pt x="13" y="0"/>
                    <a:pt x="14" y="0"/>
                    <a:pt x="15" y="0"/>
                  </a:cubicBezTo>
                  <a:cubicBezTo>
                    <a:pt x="16" y="0"/>
                    <a:pt x="16" y="0"/>
                    <a:pt x="17" y="0"/>
                  </a:cubicBezTo>
                  <a:cubicBezTo>
                    <a:pt x="20" y="1"/>
                    <a:pt x="39" y="2"/>
                    <a:pt x="39" y="2"/>
                  </a:cubicBezTo>
                  <a:cubicBezTo>
                    <a:pt x="39" y="2"/>
                    <a:pt x="45" y="4"/>
                    <a:pt x="52" y="9"/>
                  </a:cubicBezTo>
                  <a:cubicBezTo>
                    <a:pt x="52" y="9"/>
                    <a:pt x="52" y="9"/>
                    <a:pt x="52" y="9"/>
                  </a:cubicBezTo>
                  <a:cubicBezTo>
                    <a:pt x="53" y="9"/>
                    <a:pt x="53" y="9"/>
                    <a:pt x="53" y="9"/>
                  </a:cubicBezTo>
                  <a:cubicBezTo>
                    <a:pt x="53" y="15"/>
                    <a:pt x="53" y="27"/>
                    <a:pt x="51" y="29"/>
                  </a:cubicBezTo>
                  <a:cubicBezTo>
                    <a:pt x="50" y="29"/>
                    <a:pt x="50" y="29"/>
                    <a:pt x="50" y="29"/>
                  </a:cubicBezTo>
                  <a:cubicBezTo>
                    <a:pt x="50" y="29"/>
                    <a:pt x="49" y="30"/>
                    <a:pt x="47" y="32"/>
                  </a:cubicBezTo>
                  <a:cubicBezTo>
                    <a:pt x="43" y="37"/>
                    <a:pt x="39" y="43"/>
                    <a:pt x="40" y="45"/>
                  </a:cubicBezTo>
                  <a:cubicBezTo>
                    <a:pt x="40" y="46"/>
                    <a:pt x="40" y="47"/>
                    <a:pt x="39" y="50"/>
                  </a:cubicBezTo>
                  <a:close/>
                  <a:moveTo>
                    <a:pt x="31" y="44"/>
                  </a:moveTo>
                  <a:cubicBezTo>
                    <a:pt x="34" y="45"/>
                    <a:pt x="36" y="47"/>
                    <a:pt x="38" y="49"/>
                  </a:cubicBezTo>
                  <a:cubicBezTo>
                    <a:pt x="39" y="46"/>
                    <a:pt x="39" y="45"/>
                    <a:pt x="39" y="45"/>
                  </a:cubicBezTo>
                  <a:cubicBezTo>
                    <a:pt x="38" y="43"/>
                    <a:pt x="43" y="36"/>
                    <a:pt x="46" y="32"/>
                  </a:cubicBezTo>
                  <a:cubicBezTo>
                    <a:pt x="49" y="28"/>
                    <a:pt x="50" y="28"/>
                    <a:pt x="50" y="28"/>
                  </a:cubicBezTo>
                  <a:cubicBezTo>
                    <a:pt x="51" y="28"/>
                    <a:pt x="52" y="17"/>
                    <a:pt x="52" y="10"/>
                  </a:cubicBezTo>
                  <a:cubicBezTo>
                    <a:pt x="45" y="5"/>
                    <a:pt x="39" y="3"/>
                    <a:pt x="39" y="3"/>
                  </a:cubicBezTo>
                  <a:cubicBezTo>
                    <a:pt x="38" y="3"/>
                    <a:pt x="19" y="2"/>
                    <a:pt x="16" y="1"/>
                  </a:cubicBezTo>
                  <a:cubicBezTo>
                    <a:pt x="15" y="0"/>
                    <a:pt x="14" y="1"/>
                    <a:pt x="12" y="2"/>
                  </a:cubicBezTo>
                  <a:cubicBezTo>
                    <a:pt x="11" y="3"/>
                    <a:pt x="10" y="3"/>
                    <a:pt x="9" y="3"/>
                  </a:cubicBezTo>
                  <a:cubicBezTo>
                    <a:pt x="8" y="3"/>
                    <a:pt x="7" y="3"/>
                    <a:pt x="7" y="3"/>
                  </a:cubicBezTo>
                  <a:cubicBezTo>
                    <a:pt x="5" y="2"/>
                    <a:pt x="3" y="2"/>
                    <a:pt x="2" y="3"/>
                  </a:cubicBezTo>
                  <a:cubicBezTo>
                    <a:pt x="1" y="4"/>
                    <a:pt x="1" y="5"/>
                    <a:pt x="1" y="6"/>
                  </a:cubicBezTo>
                  <a:cubicBezTo>
                    <a:pt x="1" y="7"/>
                    <a:pt x="3" y="8"/>
                    <a:pt x="4" y="10"/>
                  </a:cubicBezTo>
                  <a:cubicBezTo>
                    <a:pt x="6" y="11"/>
                    <a:pt x="8" y="13"/>
                    <a:pt x="8" y="16"/>
                  </a:cubicBezTo>
                  <a:cubicBezTo>
                    <a:pt x="8" y="19"/>
                    <a:pt x="12" y="22"/>
                    <a:pt x="15" y="25"/>
                  </a:cubicBezTo>
                  <a:cubicBezTo>
                    <a:pt x="18" y="28"/>
                    <a:pt x="20" y="29"/>
                    <a:pt x="20" y="31"/>
                  </a:cubicBezTo>
                  <a:cubicBezTo>
                    <a:pt x="20" y="31"/>
                    <a:pt x="22" y="33"/>
                    <a:pt x="23" y="35"/>
                  </a:cubicBezTo>
                  <a:cubicBezTo>
                    <a:pt x="26" y="37"/>
                    <a:pt x="29" y="40"/>
                    <a:pt x="31" y="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2" name="Freeform 69"/>
            <p:cNvSpPr>
              <a:spLocks noEditPoints="1"/>
            </p:cNvSpPr>
            <p:nvPr/>
          </p:nvSpPr>
          <p:spPr>
            <a:xfrm>
              <a:off x="5121276" y="2555875"/>
              <a:ext cx="134938" cy="120650"/>
            </a:xfrm>
            <a:custGeom>
              <a:gdLst>
                <a:gd name="T0" fmla="*/ 57 w 79"/>
                <a:gd name="T1" fmla="*/ 69 h 71"/>
                <a:gd name="T2" fmla="*/ 38 w 79"/>
                <a:gd name="T3" fmla="*/ 60 h 71"/>
                <a:gd name="T4" fmla="*/ 27 w 79"/>
                <a:gd name="T5" fmla="*/ 54 h 71"/>
                <a:gd name="T6" fmla="*/ 5 w 79"/>
                <a:gd name="T7" fmla="*/ 29 h 71"/>
                <a:gd name="T8" fmla="*/ 0 w 79"/>
                <a:gd name="T9" fmla="*/ 24 h 71"/>
                <a:gd name="T10" fmla="*/ 0 w 79"/>
                <a:gd name="T11" fmla="*/ 22 h 71"/>
                <a:gd name="T12" fmla="*/ 10 w 79"/>
                <a:gd name="T13" fmla="*/ 20 h 71"/>
                <a:gd name="T14" fmla="*/ 18 w 79"/>
                <a:gd name="T15" fmla="*/ 21 h 71"/>
                <a:gd name="T16" fmla="*/ 25 w 79"/>
                <a:gd name="T17" fmla="*/ 13 h 71"/>
                <a:gd name="T18" fmla="*/ 28 w 79"/>
                <a:gd name="T19" fmla="*/ 6 h 71"/>
                <a:gd name="T20" fmla="*/ 37 w 79"/>
                <a:gd name="T21" fmla="*/ 0 h 71"/>
                <a:gd name="T22" fmla="*/ 49 w 79"/>
                <a:gd name="T23" fmla="*/ 10 h 71"/>
                <a:gd name="T24" fmla="*/ 64 w 79"/>
                <a:gd name="T25" fmla="*/ 13 h 71"/>
                <a:gd name="T26" fmla="*/ 69 w 79"/>
                <a:gd name="T27" fmla="*/ 11 h 71"/>
                <a:gd name="T28" fmla="*/ 73 w 79"/>
                <a:gd name="T29" fmla="*/ 20 h 71"/>
                <a:gd name="T30" fmla="*/ 78 w 79"/>
                <a:gd name="T31" fmla="*/ 31 h 71"/>
                <a:gd name="T32" fmla="*/ 79 w 79"/>
                <a:gd name="T33" fmla="*/ 35 h 71"/>
                <a:gd name="T34" fmla="*/ 65 w 79"/>
                <a:gd name="T35" fmla="*/ 28 h 71"/>
                <a:gd name="T36" fmla="*/ 38 w 79"/>
                <a:gd name="T37" fmla="*/ 27 h 71"/>
                <a:gd name="T38" fmla="*/ 33 w 79"/>
                <a:gd name="T39" fmla="*/ 28 h 71"/>
                <a:gd name="T40" fmla="*/ 27 w 79"/>
                <a:gd name="T41" fmla="*/ 31 h 71"/>
                <a:gd name="T42" fmla="*/ 34 w 79"/>
                <a:gd name="T43" fmla="*/ 41 h 71"/>
                <a:gd name="T44" fmla="*/ 46 w 79"/>
                <a:gd name="T45" fmla="*/ 56 h 71"/>
                <a:gd name="T46" fmla="*/ 58 w 79"/>
                <a:gd name="T47" fmla="*/ 69 h 71"/>
                <a:gd name="T48" fmla="*/ 5 w 79"/>
                <a:gd name="T49" fmla="*/ 28 h 71"/>
                <a:gd name="T50" fmla="*/ 27 w 79"/>
                <a:gd name="T51" fmla="*/ 53 h 71"/>
                <a:gd name="T52" fmla="*/ 39 w 79"/>
                <a:gd name="T53" fmla="*/ 60 h 71"/>
                <a:gd name="T54" fmla="*/ 55 w 79"/>
                <a:gd name="T55" fmla="*/ 67 h 71"/>
                <a:gd name="T56" fmla="*/ 45 w 79"/>
                <a:gd name="T57" fmla="*/ 56 h 71"/>
                <a:gd name="T58" fmla="*/ 33 w 79"/>
                <a:gd name="T59" fmla="*/ 41 h 71"/>
                <a:gd name="T60" fmla="*/ 26 w 79"/>
                <a:gd name="T61" fmla="*/ 31 h 71"/>
                <a:gd name="T62" fmla="*/ 33 w 79"/>
                <a:gd name="T63" fmla="*/ 27 h 71"/>
                <a:gd name="T64" fmla="*/ 41 w 79"/>
                <a:gd name="T65" fmla="*/ 25 h 71"/>
                <a:gd name="T66" fmla="*/ 65 w 79"/>
                <a:gd name="T67" fmla="*/ 27 h 71"/>
                <a:gd name="T68" fmla="*/ 77 w 79"/>
                <a:gd name="T69" fmla="*/ 31 h 71"/>
                <a:gd name="T70" fmla="*/ 73 w 79"/>
                <a:gd name="T71" fmla="*/ 21 h 71"/>
                <a:gd name="T72" fmla="*/ 64 w 79"/>
                <a:gd name="T73" fmla="*/ 14 h 71"/>
                <a:gd name="T74" fmla="*/ 49 w 79"/>
                <a:gd name="T75" fmla="*/ 10 h 71"/>
                <a:gd name="T76" fmla="*/ 28 w 79"/>
                <a:gd name="T77" fmla="*/ 7 h 71"/>
                <a:gd name="T78" fmla="*/ 25 w 79"/>
                <a:gd name="T79" fmla="*/ 14 h 71"/>
                <a:gd name="T80" fmla="*/ 18 w 79"/>
                <a:gd name="T81" fmla="*/ 22 h 71"/>
                <a:gd name="T82" fmla="*/ 11 w 79"/>
                <a:gd name="T83" fmla="*/ 21 h 71"/>
                <a:gd name="T84" fmla="*/ 1 w 79"/>
                <a:gd name="T85" fmla="*/ 24 h 71"/>
                <a:gd name="T86" fmla="*/ 5 w 79"/>
                <a:gd name="T87" fmla="*/ 28 h 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 h="71">
                  <a:moveTo>
                    <a:pt x="59" y="71"/>
                  </a:moveTo>
                  <a:cubicBezTo>
                    <a:pt x="57" y="69"/>
                    <a:pt x="57" y="69"/>
                    <a:pt x="57" y="69"/>
                  </a:cubicBezTo>
                  <a:cubicBezTo>
                    <a:pt x="54" y="68"/>
                    <a:pt x="52" y="67"/>
                    <a:pt x="51" y="67"/>
                  </a:cubicBezTo>
                  <a:cubicBezTo>
                    <a:pt x="44" y="66"/>
                    <a:pt x="38" y="63"/>
                    <a:pt x="38" y="60"/>
                  </a:cubicBezTo>
                  <a:cubicBezTo>
                    <a:pt x="38" y="58"/>
                    <a:pt x="36" y="58"/>
                    <a:pt x="34" y="57"/>
                  </a:cubicBezTo>
                  <a:cubicBezTo>
                    <a:pt x="31" y="57"/>
                    <a:pt x="28" y="56"/>
                    <a:pt x="27" y="54"/>
                  </a:cubicBezTo>
                  <a:cubicBezTo>
                    <a:pt x="26" y="54"/>
                    <a:pt x="14" y="39"/>
                    <a:pt x="14" y="33"/>
                  </a:cubicBezTo>
                  <a:cubicBezTo>
                    <a:pt x="13" y="29"/>
                    <a:pt x="9" y="29"/>
                    <a:pt x="5" y="29"/>
                  </a:cubicBezTo>
                  <a:cubicBezTo>
                    <a:pt x="3" y="29"/>
                    <a:pt x="3" y="29"/>
                    <a:pt x="3" y="29"/>
                  </a:cubicBezTo>
                  <a:cubicBezTo>
                    <a:pt x="0" y="29"/>
                    <a:pt x="0" y="26"/>
                    <a:pt x="0" y="24"/>
                  </a:cubicBezTo>
                  <a:cubicBezTo>
                    <a:pt x="0" y="23"/>
                    <a:pt x="0" y="23"/>
                    <a:pt x="0" y="22"/>
                  </a:cubicBezTo>
                  <a:cubicBezTo>
                    <a:pt x="0" y="22"/>
                    <a:pt x="0" y="22"/>
                    <a:pt x="0" y="22"/>
                  </a:cubicBezTo>
                  <a:cubicBezTo>
                    <a:pt x="0" y="22"/>
                    <a:pt x="0" y="22"/>
                    <a:pt x="0" y="22"/>
                  </a:cubicBezTo>
                  <a:cubicBezTo>
                    <a:pt x="3" y="21"/>
                    <a:pt x="8" y="20"/>
                    <a:pt x="10" y="20"/>
                  </a:cubicBezTo>
                  <a:cubicBezTo>
                    <a:pt x="12" y="19"/>
                    <a:pt x="14" y="20"/>
                    <a:pt x="15" y="20"/>
                  </a:cubicBezTo>
                  <a:cubicBezTo>
                    <a:pt x="17" y="20"/>
                    <a:pt x="18" y="21"/>
                    <a:pt x="18" y="21"/>
                  </a:cubicBezTo>
                  <a:cubicBezTo>
                    <a:pt x="19" y="21"/>
                    <a:pt x="19" y="20"/>
                    <a:pt x="19" y="20"/>
                  </a:cubicBezTo>
                  <a:cubicBezTo>
                    <a:pt x="19" y="19"/>
                    <a:pt x="21" y="13"/>
                    <a:pt x="25" y="13"/>
                  </a:cubicBezTo>
                  <a:cubicBezTo>
                    <a:pt x="25" y="13"/>
                    <a:pt x="26" y="12"/>
                    <a:pt x="26" y="10"/>
                  </a:cubicBezTo>
                  <a:cubicBezTo>
                    <a:pt x="26" y="9"/>
                    <a:pt x="26" y="7"/>
                    <a:pt x="28" y="6"/>
                  </a:cubicBezTo>
                  <a:cubicBezTo>
                    <a:pt x="30" y="6"/>
                    <a:pt x="34" y="3"/>
                    <a:pt x="37" y="1"/>
                  </a:cubicBezTo>
                  <a:cubicBezTo>
                    <a:pt x="37" y="0"/>
                    <a:pt x="37" y="0"/>
                    <a:pt x="37" y="0"/>
                  </a:cubicBezTo>
                  <a:cubicBezTo>
                    <a:pt x="37" y="1"/>
                    <a:pt x="37" y="1"/>
                    <a:pt x="37" y="1"/>
                  </a:cubicBezTo>
                  <a:cubicBezTo>
                    <a:pt x="41" y="3"/>
                    <a:pt x="47" y="7"/>
                    <a:pt x="49" y="10"/>
                  </a:cubicBezTo>
                  <a:cubicBezTo>
                    <a:pt x="51" y="12"/>
                    <a:pt x="56" y="13"/>
                    <a:pt x="60" y="13"/>
                  </a:cubicBezTo>
                  <a:cubicBezTo>
                    <a:pt x="61" y="13"/>
                    <a:pt x="63" y="13"/>
                    <a:pt x="64" y="13"/>
                  </a:cubicBezTo>
                  <a:cubicBezTo>
                    <a:pt x="65" y="13"/>
                    <a:pt x="66" y="12"/>
                    <a:pt x="69" y="11"/>
                  </a:cubicBezTo>
                  <a:cubicBezTo>
                    <a:pt x="69" y="11"/>
                    <a:pt x="69" y="11"/>
                    <a:pt x="69" y="11"/>
                  </a:cubicBezTo>
                  <a:cubicBezTo>
                    <a:pt x="69" y="12"/>
                    <a:pt x="69" y="12"/>
                    <a:pt x="69" y="12"/>
                  </a:cubicBezTo>
                  <a:cubicBezTo>
                    <a:pt x="70" y="17"/>
                    <a:pt x="71" y="20"/>
                    <a:pt x="73" y="20"/>
                  </a:cubicBezTo>
                  <a:cubicBezTo>
                    <a:pt x="76" y="22"/>
                    <a:pt x="77" y="24"/>
                    <a:pt x="77" y="27"/>
                  </a:cubicBezTo>
                  <a:cubicBezTo>
                    <a:pt x="77" y="28"/>
                    <a:pt x="77" y="30"/>
                    <a:pt x="78" y="31"/>
                  </a:cubicBezTo>
                  <a:cubicBezTo>
                    <a:pt x="78" y="32"/>
                    <a:pt x="78" y="33"/>
                    <a:pt x="79" y="34"/>
                  </a:cubicBezTo>
                  <a:cubicBezTo>
                    <a:pt x="79" y="35"/>
                    <a:pt x="79" y="35"/>
                    <a:pt x="79" y="35"/>
                  </a:cubicBezTo>
                  <a:cubicBezTo>
                    <a:pt x="78" y="35"/>
                    <a:pt x="78" y="35"/>
                    <a:pt x="78" y="35"/>
                  </a:cubicBezTo>
                  <a:cubicBezTo>
                    <a:pt x="71" y="30"/>
                    <a:pt x="65" y="28"/>
                    <a:pt x="65" y="28"/>
                  </a:cubicBezTo>
                  <a:cubicBezTo>
                    <a:pt x="64" y="28"/>
                    <a:pt x="45" y="27"/>
                    <a:pt x="42" y="26"/>
                  </a:cubicBezTo>
                  <a:cubicBezTo>
                    <a:pt x="41" y="25"/>
                    <a:pt x="40" y="26"/>
                    <a:pt x="38" y="27"/>
                  </a:cubicBezTo>
                  <a:cubicBezTo>
                    <a:pt x="37" y="28"/>
                    <a:pt x="36" y="28"/>
                    <a:pt x="35" y="28"/>
                  </a:cubicBezTo>
                  <a:cubicBezTo>
                    <a:pt x="34" y="28"/>
                    <a:pt x="33" y="28"/>
                    <a:pt x="33" y="28"/>
                  </a:cubicBezTo>
                  <a:cubicBezTo>
                    <a:pt x="31" y="27"/>
                    <a:pt x="29" y="27"/>
                    <a:pt x="28" y="28"/>
                  </a:cubicBezTo>
                  <a:cubicBezTo>
                    <a:pt x="27" y="29"/>
                    <a:pt x="27" y="30"/>
                    <a:pt x="27" y="31"/>
                  </a:cubicBezTo>
                  <a:cubicBezTo>
                    <a:pt x="27" y="32"/>
                    <a:pt x="29" y="33"/>
                    <a:pt x="30" y="35"/>
                  </a:cubicBezTo>
                  <a:cubicBezTo>
                    <a:pt x="32" y="36"/>
                    <a:pt x="34" y="38"/>
                    <a:pt x="34" y="41"/>
                  </a:cubicBezTo>
                  <a:cubicBezTo>
                    <a:pt x="34" y="44"/>
                    <a:pt x="38" y="47"/>
                    <a:pt x="41" y="50"/>
                  </a:cubicBezTo>
                  <a:cubicBezTo>
                    <a:pt x="44" y="53"/>
                    <a:pt x="46" y="54"/>
                    <a:pt x="46" y="56"/>
                  </a:cubicBezTo>
                  <a:cubicBezTo>
                    <a:pt x="46" y="56"/>
                    <a:pt x="48" y="58"/>
                    <a:pt x="49" y="60"/>
                  </a:cubicBezTo>
                  <a:cubicBezTo>
                    <a:pt x="52" y="62"/>
                    <a:pt x="55" y="65"/>
                    <a:pt x="58" y="69"/>
                  </a:cubicBezTo>
                  <a:lnTo>
                    <a:pt x="59" y="71"/>
                  </a:lnTo>
                  <a:close/>
                  <a:moveTo>
                    <a:pt x="5" y="28"/>
                  </a:moveTo>
                  <a:cubicBezTo>
                    <a:pt x="8" y="28"/>
                    <a:pt x="14" y="28"/>
                    <a:pt x="15" y="33"/>
                  </a:cubicBezTo>
                  <a:cubicBezTo>
                    <a:pt x="15" y="38"/>
                    <a:pt x="24" y="49"/>
                    <a:pt x="27" y="53"/>
                  </a:cubicBezTo>
                  <a:cubicBezTo>
                    <a:pt x="29" y="55"/>
                    <a:pt x="32" y="56"/>
                    <a:pt x="34" y="56"/>
                  </a:cubicBezTo>
                  <a:cubicBezTo>
                    <a:pt x="36" y="57"/>
                    <a:pt x="39" y="58"/>
                    <a:pt x="39" y="60"/>
                  </a:cubicBezTo>
                  <a:cubicBezTo>
                    <a:pt x="39" y="63"/>
                    <a:pt x="45" y="65"/>
                    <a:pt x="51" y="66"/>
                  </a:cubicBezTo>
                  <a:cubicBezTo>
                    <a:pt x="52" y="66"/>
                    <a:pt x="54" y="66"/>
                    <a:pt x="55" y="67"/>
                  </a:cubicBezTo>
                  <a:cubicBezTo>
                    <a:pt x="53" y="65"/>
                    <a:pt x="51" y="62"/>
                    <a:pt x="49" y="61"/>
                  </a:cubicBezTo>
                  <a:cubicBezTo>
                    <a:pt x="46" y="58"/>
                    <a:pt x="45" y="57"/>
                    <a:pt x="45" y="56"/>
                  </a:cubicBezTo>
                  <a:cubicBezTo>
                    <a:pt x="45" y="55"/>
                    <a:pt x="42" y="53"/>
                    <a:pt x="40" y="51"/>
                  </a:cubicBezTo>
                  <a:cubicBezTo>
                    <a:pt x="37" y="48"/>
                    <a:pt x="33" y="44"/>
                    <a:pt x="33" y="41"/>
                  </a:cubicBezTo>
                  <a:cubicBezTo>
                    <a:pt x="33" y="39"/>
                    <a:pt x="31" y="37"/>
                    <a:pt x="29" y="35"/>
                  </a:cubicBezTo>
                  <a:cubicBezTo>
                    <a:pt x="28" y="34"/>
                    <a:pt x="26" y="33"/>
                    <a:pt x="26" y="31"/>
                  </a:cubicBezTo>
                  <a:cubicBezTo>
                    <a:pt x="26" y="30"/>
                    <a:pt x="26" y="29"/>
                    <a:pt x="27" y="28"/>
                  </a:cubicBezTo>
                  <a:cubicBezTo>
                    <a:pt x="29" y="26"/>
                    <a:pt x="32" y="25"/>
                    <a:pt x="33" y="27"/>
                  </a:cubicBezTo>
                  <a:cubicBezTo>
                    <a:pt x="35" y="28"/>
                    <a:pt x="36" y="27"/>
                    <a:pt x="38" y="26"/>
                  </a:cubicBezTo>
                  <a:cubicBezTo>
                    <a:pt x="39" y="25"/>
                    <a:pt x="40" y="25"/>
                    <a:pt x="41" y="25"/>
                  </a:cubicBezTo>
                  <a:cubicBezTo>
                    <a:pt x="42" y="25"/>
                    <a:pt x="42" y="25"/>
                    <a:pt x="43" y="25"/>
                  </a:cubicBezTo>
                  <a:cubicBezTo>
                    <a:pt x="46" y="26"/>
                    <a:pt x="65" y="27"/>
                    <a:pt x="65" y="27"/>
                  </a:cubicBezTo>
                  <a:cubicBezTo>
                    <a:pt x="65" y="27"/>
                    <a:pt x="71" y="29"/>
                    <a:pt x="77" y="33"/>
                  </a:cubicBezTo>
                  <a:cubicBezTo>
                    <a:pt x="77" y="32"/>
                    <a:pt x="77" y="32"/>
                    <a:pt x="77" y="31"/>
                  </a:cubicBezTo>
                  <a:cubicBezTo>
                    <a:pt x="76" y="30"/>
                    <a:pt x="76" y="28"/>
                    <a:pt x="76" y="27"/>
                  </a:cubicBezTo>
                  <a:cubicBezTo>
                    <a:pt x="76" y="24"/>
                    <a:pt x="75" y="22"/>
                    <a:pt x="73" y="21"/>
                  </a:cubicBezTo>
                  <a:cubicBezTo>
                    <a:pt x="70" y="20"/>
                    <a:pt x="69" y="18"/>
                    <a:pt x="68" y="13"/>
                  </a:cubicBezTo>
                  <a:cubicBezTo>
                    <a:pt x="66" y="13"/>
                    <a:pt x="65" y="14"/>
                    <a:pt x="64" y="14"/>
                  </a:cubicBezTo>
                  <a:cubicBezTo>
                    <a:pt x="63" y="14"/>
                    <a:pt x="61" y="14"/>
                    <a:pt x="60" y="14"/>
                  </a:cubicBezTo>
                  <a:cubicBezTo>
                    <a:pt x="56" y="14"/>
                    <a:pt x="51" y="13"/>
                    <a:pt x="49" y="10"/>
                  </a:cubicBezTo>
                  <a:cubicBezTo>
                    <a:pt x="47" y="8"/>
                    <a:pt x="40" y="3"/>
                    <a:pt x="37" y="2"/>
                  </a:cubicBezTo>
                  <a:cubicBezTo>
                    <a:pt x="34" y="4"/>
                    <a:pt x="30" y="7"/>
                    <a:pt x="28" y="7"/>
                  </a:cubicBezTo>
                  <a:cubicBezTo>
                    <a:pt x="27" y="7"/>
                    <a:pt x="27" y="9"/>
                    <a:pt x="27" y="11"/>
                  </a:cubicBezTo>
                  <a:cubicBezTo>
                    <a:pt x="27" y="12"/>
                    <a:pt x="26" y="14"/>
                    <a:pt x="25" y="14"/>
                  </a:cubicBezTo>
                  <a:cubicBezTo>
                    <a:pt x="23" y="14"/>
                    <a:pt x="21" y="18"/>
                    <a:pt x="20" y="21"/>
                  </a:cubicBezTo>
                  <a:cubicBezTo>
                    <a:pt x="20" y="21"/>
                    <a:pt x="19" y="22"/>
                    <a:pt x="18" y="22"/>
                  </a:cubicBezTo>
                  <a:cubicBezTo>
                    <a:pt x="17" y="22"/>
                    <a:pt x="16" y="21"/>
                    <a:pt x="15" y="21"/>
                  </a:cubicBezTo>
                  <a:cubicBezTo>
                    <a:pt x="13" y="21"/>
                    <a:pt x="12" y="20"/>
                    <a:pt x="11" y="21"/>
                  </a:cubicBezTo>
                  <a:cubicBezTo>
                    <a:pt x="9" y="21"/>
                    <a:pt x="4" y="22"/>
                    <a:pt x="1" y="23"/>
                  </a:cubicBezTo>
                  <a:cubicBezTo>
                    <a:pt x="1" y="23"/>
                    <a:pt x="1" y="23"/>
                    <a:pt x="1" y="24"/>
                  </a:cubicBezTo>
                  <a:cubicBezTo>
                    <a:pt x="1" y="26"/>
                    <a:pt x="1" y="28"/>
                    <a:pt x="3" y="28"/>
                  </a:cubicBezTo>
                  <a:lnTo>
                    <a:pt x="5" y="2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3" name="Freeform 70"/>
            <p:cNvSpPr>
              <a:spLocks noEditPoints="1"/>
            </p:cNvSpPr>
            <p:nvPr/>
          </p:nvSpPr>
          <p:spPr>
            <a:xfrm>
              <a:off x="5248276" y="2678113"/>
              <a:ext cx="47625" cy="92075"/>
            </a:xfrm>
            <a:custGeom>
              <a:gdLst>
                <a:gd name="T0" fmla="*/ 14 w 28"/>
                <a:gd name="T1" fmla="*/ 54 h 54"/>
                <a:gd name="T2" fmla="*/ 14 w 28"/>
                <a:gd name="T3" fmla="*/ 54 h 54"/>
                <a:gd name="T4" fmla="*/ 8 w 28"/>
                <a:gd name="T5" fmla="*/ 48 h 54"/>
                <a:gd name="T6" fmla="*/ 4 w 28"/>
                <a:gd name="T7" fmla="*/ 41 h 54"/>
                <a:gd name="T8" fmla="*/ 1 w 28"/>
                <a:gd name="T9" fmla="*/ 33 h 54"/>
                <a:gd name="T10" fmla="*/ 4 w 28"/>
                <a:gd name="T11" fmla="*/ 19 h 54"/>
                <a:gd name="T12" fmla="*/ 6 w 28"/>
                <a:gd name="T13" fmla="*/ 16 h 54"/>
                <a:gd name="T14" fmla="*/ 0 w 28"/>
                <a:gd name="T15" fmla="*/ 11 h 54"/>
                <a:gd name="T16" fmla="*/ 0 w 28"/>
                <a:gd name="T17" fmla="*/ 11 h 54"/>
                <a:gd name="T18" fmla="*/ 0 w 28"/>
                <a:gd name="T19" fmla="*/ 10 h 54"/>
                <a:gd name="T20" fmla="*/ 8 w 28"/>
                <a:gd name="T21" fmla="*/ 0 h 54"/>
                <a:gd name="T22" fmla="*/ 21 w 28"/>
                <a:gd name="T23" fmla="*/ 7 h 54"/>
                <a:gd name="T24" fmla="*/ 21 w 28"/>
                <a:gd name="T25" fmla="*/ 7 h 54"/>
                <a:gd name="T26" fmla="*/ 21 w 28"/>
                <a:gd name="T27" fmla="*/ 7 h 54"/>
                <a:gd name="T28" fmla="*/ 19 w 28"/>
                <a:gd name="T29" fmla="*/ 22 h 54"/>
                <a:gd name="T30" fmla="*/ 27 w 28"/>
                <a:gd name="T31" fmla="*/ 31 h 54"/>
                <a:gd name="T32" fmla="*/ 28 w 28"/>
                <a:gd name="T33" fmla="*/ 31 h 54"/>
                <a:gd name="T34" fmla="*/ 27 w 28"/>
                <a:gd name="T35" fmla="*/ 32 h 54"/>
                <a:gd name="T36" fmla="*/ 27 w 28"/>
                <a:gd name="T37" fmla="*/ 32 h 54"/>
                <a:gd name="T38" fmla="*/ 22 w 28"/>
                <a:gd name="T39" fmla="*/ 40 h 54"/>
                <a:gd name="T40" fmla="*/ 21 w 28"/>
                <a:gd name="T41" fmla="*/ 43 h 54"/>
                <a:gd name="T42" fmla="*/ 18 w 28"/>
                <a:gd name="T43" fmla="*/ 46 h 54"/>
                <a:gd name="T44" fmla="*/ 15 w 28"/>
                <a:gd name="T45" fmla="*/ 52 h 54"/>
                <a:gd name="T46" fmla="*/ 14 w 28"/>
                <a:gd name="T47" fmla="*/ 54 h 54"/>
                <a:gd name="T48" fmla="*/ 1 w 28"/>
                <a:gd name="T49" fmla="*/ 10 h 54"/>
                <a:gd name="T50" fmla="*/ 7 w 28"/>
                <a:gd name="T51" fmla="*/ 16 h 54"/>
                <a:gd name="T52" fmla="*/ 5 w 28"/>
                <a:gd name="T53" fmla="*/ 20 h 54"/>
                <a:gd name="T54" fmla="*/ 2 w 28"/>
                <a:gd name="T55" fmla="*/ 33 h 54"/>
                <a:gd name="T56" fmla="*/ 4 w 28"/>
                <a:gd name="T57" fmla="*/ 41 h 54"/>
                <a:gd name="T58" fmla="*/ 9 w 28"/>
                <a:gd name="T59" fmla="*/ 47 h 54"/>
                <a:gd name="T60" fmla="*/ 14 w 28"/>
                <a:gd name="T61" fmla="*/ 53 h 54"/>
                <a:gd name="T62" fmla="*/ 14 w 28"/>
                <a:gd name="T63" fmla="*/ 52 h 54"/>
                <a:gd name="T64" fmla="*/ 18 w 28"/>
                <a:gd name="T65" fmla="*/ 45 h 54"/>
                <a:gd name="T66" fmla="*/ 20 w 28"/>
                <a:gd name="T67" fmla="*/ 43 h 54"/>
                <a:gd name="T68" fmla="*/ 21 w 28"/>
                <a:gd name="T69" fmla="*/ 40 h 54"/>
                <a:gd name="T70" fmla="*/ 26 w 28"/>
                <a:gd name="T71" fmla="*/ 32 h 54"/>
                <a:gd name="T72" fmla="*/ 26 w 28"/>
                <a:gd name="T73" fmla="*/ 31 h 54"/>
                <a:gd name="T74" fmla="*/ 18 w 28"/>
                <a:gd name="T75" fmla="*/ 22 h 54"/>
                <a:gd name="T76" fmla="*/ 20 w 28"/>
                <a:gd name="T77" fmla="*/ 7 h 54"/>
                <a:gd name="T78" fmla="*/ 8 w 28"/>
                <a:gd name="T79" fmla="*/ 1 h 54"/>
                <a:gd name="T80" fmla="*/ 1 w 28"/>
                <a:gd name="T81" fmla="*/ 10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54">
                  <a:moveTo>
                    <a:pt x="14" y="54"/>
                  </a:moveTo>
                  <a:cubicBezTo>
                    <a:pt x="14" y="54"/>
                    <a:pt x="14" y="54"/>
                    <a:pt x="14" y="54"/>
                  </a:cubicBezTo>
                  <a:cubicBezTo>
                    <a:pt x="11" y="53"/>
                    <a:pt x="10" y="50"/>
                    <a:pt x="8" y="48"/>
                  </a:cubicBezTo>
                  <a:cubicBezTo>
                    <a:pt x="7" y="45"/>
                    <a:pt x="6" y="43"/>
                    <a:pt x="4" y="41"/>
                  </a:cubicBezTo>
                  <a:cubicBezTo>
                    <a:pt x="2" y="40"/>
                    <a:pt x="1" y="37"/>
                    <a:pt x="1" y="33"/>
                  </a:cubicBezTo>
                  <a:cubicBezTo>
                    <a:pt x="0" y="28"/>
                    <a:pt x="2" y="22"/>
                    <a:pt x="4" y="19"/>
                  </a:cubicBezTo>
                  <a:cubicBezTo>
                    <a:pt x="6" y="18"/>
                    <a:pt x="6" y="17"/>
                    <a:pt x="6" y="16"/>
                  </a:cubicBezTo>
                  <a:cubicBezTo>
                    <a:pt x="6" y="14"/>
                    <a:pt x="4" y="13"/>
                    <a:pt x="0" y="11"/>
                  </a:cubicBezTo>
                  <a:cubicBezTo>
                    <a:pt x="0" y="11"/>
                    <a:pt x="0" y="11"/>
                    <a:pt x="0" y="11"/>
                  </a:cubicBezTo>
                  <a:cubicBezTo>
                    <a:pt x="0" y="10"/>
                    <a:pt x="0" y="10"/>
                    <a:pt x="0" y="10"/>
                  </a:cubicBezTo>
                  <a:cubicBezTo>
                    <a:pt x="1" y="5"/>
                    <a:pt x="5" y="0"/>
                    <a:pt x="8" y="0"/>
                  </a:cubicBezTo>
                  <a:cubicBezTo>
                    <a:pt x="10" y="0"/>
                    <a:pt x="17" y="4"/>
                    <a:pt x="21" y="7"/>
                  </a:cubicBezTo>
                  <a:cubicBezTo>
                    <a:pt x="21" y="7"/>
                    <a:pt x="21" y="7"/>
                    <a:pt x="21" y="7"/>
                  </a:cubicBezTo>
                  <a:cubicBezTo>
                    <a:pt x="21" y="7"/>
                    <a:pt x="21" y="7"/>
                    <a:pt x="21" y="7"/>
                  </a:cubicBezTo>
                  <a:cubicBezTo>
                    <a:pt x="19" y="12"/>
                    <a:pt x="18" y="19"/>
                    <a:pt x="19" y="22"/>
                  </a:cubicBezTo>
                  <a:cubicBezTo>
                    <a:pt x="20" y="25"/>
                    <a:pt x="23" y="28"/>
                    <a:pt x="27" y="31"/>
                  </a:cubicBezTo>
                  <a:cubicBezTo>
                    <a:pt x="28" y="31"/>
                    <a:pt x="28" y="31"/>
                    <a:pt x="28" y="31"/>
                  </a:cubicBezTo>
                  <a:cubicBezTo>
                    <a:pt x="27" y="32"/>
                    <a:pt x="27" y="32"/>
                    <a:pt x="27" y="32"/>
                  </a:cubicBezTo>
                  <a:cubicBezTo>
                    <a:pt x="27" y="32"/>
                    <a:pt x="27" y="32"/>
                    <a:pt x="27" y="32"/>
                  </a:cubicBezTo>
                  <a:cubicBezTo>
                    <a:pt x="27" y="34"/>
                    <a:pt x="24" y="38"/>
                    <a:pt x="22" y="40"/>
                  </a:cubicBezTo>
                  <a:cubicBezTo>
                    <a:pt x="21" y="41"/>
                    <a:pt x="21" y="42"/>
                    <a:pt x="21" y="43"/>
                  </a:cubicBezTo>
                  <a:cubicBezTo>
                    <a:pt x="21" y="44"/>
                    <a:pt x="20" y="46"/>
                    <a:pt x="18" y="46"/>
                  </a:cubicBezTo>
                  <a:cubicBezTo>
                    <a:pt x="17" y="46"/>
                    <a:pt x="16" y="49"/>
                    <a:pt x="15" y="52"/>
                  </a:cubicBezTo>
                  <a:cubicBezTo>
                    <a:pt x="15" y="52"/>
                    <a:pt x="15" y="53"/>
                    <a:pt x="14" y="54"/>
                  </a:cubicBezTo>
                  <a:close/>
                  <a:moveTo>
                    <a:pt x="1" y="10"/>
                  </a:moveTo>
                  <a:cubicBezTo>
                    <a:pt x="5" y="12"/>
                    <a:pt x="7" y="14"/>
                    <a:pt x="7" y="16"/>
                  </a:cubicBezTo>
                  <a:cubicBezTo>
                    <a:pt x="7" y="17"/>
                    <a:pt x="7" y="18"/>
                    <a:pt x="5" y="20"/>
                  </a:cubicBezTo>
                  <a:cubicBezTo>
                    <a:pt x="3" y="22"/>
                    <a:pt x="1" y="27"/>
                    <a:pt x="2" y="33"/>
                  </a:cubicBezTo>
                  <a:cubicBezTo>
                    <a:pt x="2" y="36"/>
                    <a:pt x="3" y="39"/>
                    <a:pt x="4" y="41"/>
                  </a:cubicBezTo>
                  <a:cubicBezTo>
                    <a:pt x="7" y="42"/>
                    <a:pt x="8" y="45"/>
                    <a:pt x="9" y="47"/>
                  </a:cubicBezTo>
                  <a:cubicBezTo>
                    <a:pt x="11" y="49"/>
                    <a:pt x="12" y="52"/>
                    <a:pt x="14" y="53"/>
                  </a:cubicBezTo>
                  <a:cubicBezTo>
                    <a:pt x="14" y="52"/>
                    <a:pt x="14" y="52"/>
                    <a:pt x="14" y="52"/>
                  </a:cubicBezTo>
                  <a:cubicBezTo>
                    <a:pt x="15" y="48"/>
                    <a:pt x="16" y="45"/>
                    <a:pt x="18" y="45"/>
                  </a:cubicBezTo>
                  <a:cubicBezTo>
                    <a:pt x="19" y="45"/>
                    <a:pt x="20" y="44"/>
                    <a:pt x="20" y="43"/>
                  </a:cubicBezTo>
                  <a:cubicBezTo>
                    <a:pt x="20" y="42"/>
                    <a:pt x="20" y="41"/>
                    <a:pt x="21" y="40"/>
                  </a:cubicBezTo>
                  <a:cubicBezTo>
                    <a:pt x="23" y="37"/>
                    <a:pt x="26" y="33"/>
                    <a:pt x="26" y="32"/>
                  </a:cubicBezTo>
                  <a:cubicBezTo>
                    <a:pt x="26" y="31"/>
                    <a:pt x="26" y="31"/>
                    <a:pt x="26" y="31"/>
                  </a:cubicBezTo>
                  <a:cubicBezTo>
                    <a:pt x="22" y="28"/>
                    <a:pt x="19" y="26"/>
                    <a:pt x="18" y="22"/>
                  </a:cubicBezTo>
                  <a:cubicBezTo>
                    <a:pt x="17" y="19"/>
                    <a:pt x="18" y="12"/>
                    <a:pt x="20" y="7"/>
                  </a:cubicBezTo>
                  <a:cubicBezTo>
                    <a:pt x="14" y="3"/>
                    <a:pt x="9" y="1"/>
                    <a:pt x="8" y="1"/>
                  </a:cubicBezTo>
                  <a:cubicBezTo>
                    <a:pt x="6" y="1"/>
                    <a:pt x="2" y="5"/>
                    <a:pt x="1" y="1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4" name="Freeform 71"/>
            <p:cNvSpPr>
              <a:spLocks noEditPoints="1"/>
            </p:cNvSpPr>
            <p:nvPr/>
          </p:nvSpPr>
          <p:spPr>
            <a:xfrm>
              <a:off x="5019676" y="2478088"/>
              <a:ext cx="185738" cy="85725"/>
            </a:xfrm>
            <a:custGeom>
              <a:gdLst>
                <a:gd name="T0" fmla="*/ 65 w 109"/>
                <a:gd name="T1" fmla="*/ 48 h 50"/>
                <a:gd name="T2" fmla="*/ 41 w 109"/>
                <a:gd name="T3" fmla="*/ 45 h 50"/>
                <a:gd name="T4" fmla="*/ 39 w 109"/>
                <a:gd name="T5" fmla="*/ 39 h 50"/>
                <a:gd name="T6" fmla="*/ 20 w 109"/>
                <a:gd name="T7" fmla="*/ 44 h 50"/>
                <a:gd name="T8" fmla="*/ 9 w 109"/>
                <a:gd name="T9" fmla="*/ 41 h 50"/>
                <a:gd name="T10" fmla="*/ 1 w 109"/>
                <a:gd name="T11" fmla="*/ 37 h 50"/>
                <a:gd name="T12" fmla="*/ 3 w 109"/>
                <a:gd name="T13" fmla="*/ 29 h 50"/>
                <a:gd name="T14" fmla="*/ 10 w 109"/>
                <a:gd name="T15" fmla="*/ 32 h 50"/>
                <a:gd name="T16" fmla="*/ 16 w 109"/>
                <a:gd name="T17" fmla="*/ 28 h 50"/>
                <a:gd name="T18" fmla="*/ 25 w 109"/>
                <a:gd name="T19" fmla="*/ 31 h 50"/>
                <a:gd name="T20" fmla="*/ 41 w 109"/>
                <a:gd name="T21" fmla="*/ 26 h 50"/>
                <a:gd name="T22" fmla="*/ 48 w 109"/>
                <a:gd name="T23" fmla="*/ 27 h 50"/>
                <a:gd name="T24" fmla="*/ 49 w 109"/>
                <a:gd name="T25" fmla="*/ 22 h 50"/>
                <a:gd name="T26" fmla="*/ 55 w 109"/>
                <a:gd name="T27" fmla="*/ 13 h 50"/>
                <a:gd name="T28" fmla="*/ 63 w 109"/>
                <a:gd name="T29" fmla="*/ 8 h 50"/>
                <a:gd name="T30" fmla="*/ 63 w 109"/>
                <a:gd name="T31" fmla="*/ 7 h 50"/>
                <a:gd name="T32" fmla="*/ 75 w 109"/>
                <a:gd name="T33" fmla="*/ 7 h 50"/>
                <a:gd name="T34" fmla="*/ 78 w 109"/>
                <a:gd name="T35" fmla="*/ 0 h 50"/>
                <a:gd name="T36" fmla="*/ 92 w 109"/>
                <a:gd name="T37" fmla="*/ 4 h 50"/>
                <a:gd name="T38" fmla="*/ 103 w 109"/>
                <a:gd name="T39" fmla="*/ 6 h 50"/>
                <a:gd name="T40" fmla="*/ 103 w 109"/>
                <a:gd name="T41" fmla="*/ 6 h 50"/>
                <a:gd name="T42" fmla="*/ 109 w 109"/>
                <a:gd name="T43" fmla="*/ 18 h 50"/>
                <a:gd name="T44" fmla="*/ 107 w 109"/>
                <a:gd name="T45" fmla="*/ 22 h 50"/>
                <a:gd name="T46" fmla="*/ 100 w 109"/>
                <a:gd name="T47" fmla="*/ 26 h 50"/>
                <a:gd name="T48" fmla="*/ 99 w 109"/>
                <a:gd name="T49" fmla="*/ 28 h 50"/>
                <a:gd name="T50" fmla="*/ 98 w 109"/>
                <a:gd name="T51" fmla="*/ 35 h 50"/>
                <a:gd name="T52" fmla="*/ 94 w 109"/>
                <a:gd name="T53" fmla="*/ 41 h 50"/>
                <a:gd name="T54" fmla="*/ 93 w 109"/>
                <a:gd name="T55" fmla="*/ 42 h 50"/>
                <a:gd name="T56" fmla="*/ 84 w 109"/>
                <a:gd name="T57" fmla="*/ 45 h 50"/>
                <a:gd name="T58" fmla="*/ 71 w 109"/>
                <a:gd name="T59" fmla="*/ 50 h 50"/>
                <a:gd name="T60" fmla="*/ 40 w 109"/>
                <a:gd name="T61" fmla="*/ 40 h 50"/>
                <a:gd name="T62" fmla="*/ 55 w 109"/>
                <a:gd name="T63" fmla="*/ 46 h 50"/>
                <a:gd name="T64" fmla="*/ 71 w 109"/>
                <a:gd name="T65" fmla="*/ 49 h 50"/>
                <a:gd name="T66" fmla="*/ 84 w 109"/>
                <a:gd name="T67" fmla="*/ 44 h 50"/>
                <a:gd name="T68" fmla="*/ 93 w 109"/>
                <a:gd name="T69" fmla="*/ 41 h 50"/>
                <a:gd name="T70" fmla="*/ 97 w 109"/>
                <a:gd name="T71" fmla="*/ 35 h 50"/>
                <a:gd name="T72" fmla="*/ 98 w 109"/>
                <a:gd name="T73" fmla="*/ 28 h 50"/>
                <a:gd name="T74" fmla="*/ 100 w 109"/>
                <a:gd name="T75" fmla="*/ 25 h 50"/>
                <a:gd name="T76" fmla="*/ 106 w 109"/>
                <a:gd name="T77" fmla="*/ 22 h 50"/>
                <a:gd name="T78" fmla="*/ 102 w 109"/>
                <a:gd name="T79" fmla="*/ 7 h 50"/>
                <a:gd name="T80" fmla="*/ 91 w 109"/>
                <a:gd name="T81" fmla="*/ 5 h 50"/>
                <a:gd name="T82" fmla="*/ 76 w 109"/>
                <a:gd name="T83" fmla="*/ 7 h 50"/>
                <a:gd name="T84" fmla="*/ 63 w 109"/>
                <a:gd name="T85" fmla="*/ 8 h 50"/>
                <a:gd name="T86" fmla="*/ 56 w 109"/>
                <a:gd name="T87" fmla="*/ 13 h 50"/>
                <a:gd name="T88" fmla="*/ 50 w 109"/>
                <a:gd name="T89" fmla="*/ 22 h 50"/>
                <a:gd name="T90" fmla="*/ 48 w 109"/>
                <a:gd name="T91" fmla="*/ 28 h 50"/>
                <a:gd name="T92" fmla="*/ 41 w 109"/>
                <a:gd name="T93" fmla="*/ 27 h 50"/>
                <a:gd name="T94" fmla="*/ 25 w 109"/>
                <a:gd name="T95" fmla="*/ 32 h 50"/>
                <a:gd name="T96" fmla="*/ 16 w 109"/>
                <a:gd name="T97" fmla="*/ 29 h 50"/>
                <a:gd name="T98" fmla="*/ 10 w 109"/>
                <a:gd name="T99" fmla="*/ 33 h 50"/>
                <a:gd name="T100" fmla="*/ 3 w 109"/>
                <a:gd name="T101" fmla="*/ 30 h 50"/>
                <a:gd name="T102" fmla="*/ 2 w 109"/>
                <a:gd name="T103" fmla="*/ 37 h 50"/>
                <a:gd name="T104" fmla="*/ 9 w 109"/>
                <a:gd name="T105" fmla="*/ 40 h 50"/>
                <a:gd name="T106" fmla="*/ 20 w 109"/>
                <a:gd name="T107" fmla="*/ 43 h 50"/>
                <a:gd name="T108" fmla="*/ 39 w 109"/>
                <a:gd name="T109" fmla="*/ 38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50">
                  <a:moveTo>
                    <a:pt x="71" y="50"/>
                  </a:moveTo>
                  <a:cubicBezTo>
                    <a:pt x="70" y="50"/>
                    <a:pt x="68" y="49"/>
                    <a:pt x="65" y="48"/>
                  </a:cubicBezTo>
                  <a:cubicBezTo>
                    <a:pt x="62" y="48"/>
                    <a:pt x="58" y="47"/>
                    <a:pt x="55" y="47"/>
                  </a:cubicBezTo>
                  <a:cubicBezTo>
                    <a:pt x="52" y="46"/>
                    <a:pt x="44" y="46"/>
                    <a:pt x="41" y="45"/>
                  </a:cubicBezTo>
                  <a:cubicBezTo>
                    <a:pt x="40" y="44"/>
                    <a:pt x="40" y="42"/>
                    <a:pt x="39" y="41"/>
                  </a:cubicBezTo>
                  <a:cubicBezTo>
                    <a:pt x="39" y="40"/>
                    <a:pt x="39" y="39"/>
                    <a:pt x="39" y="39"/>
                  </a:cubicBezTo>
                  <a:cubicBezTo>
                    <a:pt x="33" y="39"/>
                    <a:pt x="28" y="39"/>
                    <a:pt x="28" y="40"/>
                  </a:cubicBezTo>
                  <a:cubicBezTo>
                    <a:pt x="26" y="41"/>
                    <a:pt x="23" y="44"/>
                    <a:pt x="20" y="44"/>
                  </a:cubicBezTo>
                  <a:cubicBezTo>
                    <a:pt x="19" y="44"/>
                    <a:pt x="19" y="43"/>
                    <a:pt x="18" y="43"/>
                  </a:cubicBezTo>
                  <a:cubicBezTo>
                    <a:pt x="14" y="41"/>
                    <a:pt x="12" y="40"/>
                    <a:pt x="9" y="41"/>
                  </a:cubicBezTo>
                  <a:cubicBezTo>
                    <a:pt x="8" y="41"/>
                    <a:pt x="8" y="41"/>
                    <a:pt x="8" y="41"/>
                  </a:cubicBezTo>
                  <a:cubicBezTo>
                    <a:pt x="5" y="41"/>
                    <a:pt x="1" y="38"/>
                    <a:pt x="1" y="37"/>
                  </a:cubicBezTo>
                  <a:cubicBezTo>
                    <a:pt x="1" y="36"/>
                    <a:pt x="1" y="36"/>
                    <a:pt x="1" y="36"/>
                  </a:cubicBezTo>
                  <a:cubicBezTo>
                    <a:pt x="1" y="33"/>
                    <a:pt x="0" y="29"/>
                    <a:pt x="3" y="29"/>
                  </a:cubicBezTo>
                  <a:cubicBezTo>
                    <a:pt x="5" y="28"/>
                    <a:pt x="6" y="29"/>
                    <a:pt x="7" y="30"/>
                  </a:cubicBezTo>
                  <a:cubicBezTo>
                    <a:pt x="8" y="31"/>
                    <a:pt x="10" y="32"/>
                    <a:pt x="10" y="32"/>
                  </a:cubicBezTo>
                  <a:cubicBezTo>
                    <a:pt x="11" y="32"/>
                    <a:pt x="11" y="32"/>
                    <a:pt x="11" y="31"/>
                  </a:cubicBezTo>
                  <a:cubicBezTo>
                    <a:pt x="12" y="29"/>
                    <a:pt x="14" y="28"/>
                    <a:pt x="16" y="28"/>
                  </a:cubicBezTo>
                  <a:cubicBezTo>
                    <a:pt x="18" y="28"/>
                    <a:pt x="19" y="29"/>
                    <a:pt x="21" y="30"/>
                  </a:cubicBezTo>
                  <a:cubicBezTo>
                    <a:pt x="22" y="30"/>
                    <a:pt x="23" y="31"/>
                    <a:pt x="25" y="31"/>
                  </a:cubicBezTo>
                  <a:cubicBezTo>
                    <a:pt x="26" y="31"/>
                    <a:pt x="27" y="30"/>
                    <a:pt x="28" y="29"/>
                  </a:cubicBezTo>
                  <a:cubicBezTo>
                    <a:pt x="31" y="27"/>
                    <a:pt x="37" y="26"/>
                    <a:pt x="41" y="26"/>
                  </a:cubicBezTo>
                  <a:cubicBezTo>
                    <a:pt x="42" y="26"/>
                    <a:pt x="43" y="26"/>
                    <a:pt x="44" y="26"/>
                  </a:cubicBezTo>
                  <a:cubicBezTo>
                    <a:pt x="45" y="26"/>
                    <a:pt x="47" y="27"/>
                    <a:pt x="48" y="27"/>
                  </a:cubicBezTo>
                  <a:cubicBezTo>
                    <a:pt x="49" y="27"/>
                    <a:pt x="49" y="27"/>
                    <a:pt x="49" y="27"/>
                  </a:cubicBezTo>
                  <a:cubicBezTo>
                    <a:pt x="50" y="26"/>
                    <a:pt x="50" y="25"/>
                    <a:pt x="49" y="22"/>
                  </a:cubicBezTo>
                  <a:cubicBezTo>
                    <a:pt x="47" y="17"/>
                    <a:pt x="50" y="16"/>
                    <a:pt x="53" y="15"/>
                  </a:cubicBezTo>
                  <a:cubicBezTo>
                    <a:pt x="54" y="14"/>
                    <a:pt x="55" y="14"/>
                    <a:pt x="55" y="13"/>
                  </a:cubicBezTo>
                  <a:cubicBezTo>
                    <a:pt x="55" y="11"/>
                    <a:pt x="58" y="10"/>
                    <a:pt x="60" y="9"/>
                  </a:cubicBezTo>
                  <a:cubicBezTo>
                    <a:pt x="61" y="9"/>
                    <a:pt x="62" y="8"/>
                    <a:pt x="63" y="8"/>
                  </a:cubicBezTo>
                  <a:cubicBezTo>
                    <a:pt x="63" y="7"/>
                    <a:pt x="63" y="7"/>
                    <a:pt x="63" y="7"/>
                  </a:cubicBezTo>
                  <a:cubicBezTo>
                    <a:pt x="63" y="7"/>
                    <a:pt x="63" y="7"/>
                    <a:pt x="63" y="7"/>
                  </a:cubicBezTo>
                  <a:cubicBezTo>
                    <a:pt x="65" y="8"/>
                    <a:pt x="68" y="8"/>
                    <a:pt x="70" y="8"/>
                  </a:cubicBezTo>
                  <a:cubicBezTo>
                    <a:pt x="73" y="8"/>
                    <a:pt x="75" y="8"/>
                    <a:pt x="75" y="7"/>
                  </a:cubicBezTo>
                  <a:cubicBezTo>
                    <a:pt x="77" y="5"/>
                    <a:pt x="78" y="0"/>
                    <a:pt x="78" y="0"/>
                  </a:cubicBezTo>
                  <a:cubicBezTo>
                    <a:pt x="78" y="0"/>
                    <a:pt x="78" y="0"/>
                    <a:pt x="78" y="0"/>
                  </a:cubicBezTo>
                  <a:cubicBezTo>
                    <a:pt x="78" y="0"/>
                    <a:pt x="78" y="0"/>
                    <a:pt x="78" y="0"/>
                  </a:cubicBezTo>
                  <a:cubicBezTo>
                    <a:pt x="79" y="0"/>
                    <a:pt x="88" y="0"/>
                    <a:pt x="92" y="4"/>
                  </a:cubicBezTo>
                  <a:cubicBezTo>
                    <a:pt x="93" y="6"/>
                    <a:pt x="95" y="7"/>
                    <a:pt x="98" y="7"/>
                  </a:cubicBezTo>
                  <a:cubicBezTo>
                    <a:pt x="100" y="7"/>
                    <a:pt x="103" y="6"/>
                    <a:pt x="103" y="6"/>
                  </a:cubicBezTo>
                  <a:cubicBezTo>
                    <a:pt x="103" y="5"/>
                    <a:pt x="103" y="5"/>
                    <a:pt x="103" y="5"/>
                  </a:cubicBezTo>
                  <a:cubicBezTo>
                    <a:pt x="103" y="6"/>
                    <a:pt x="103" y="6"/>
                    <a:pt x="103" y="6"/>
                  </a:cubicBezTo>
                  <a:cubicBezTo>
                    <a:pt x="103" y="6"/>
                    <a:pt x="106" y="13"/>
                    <a:pt x="109" y="18"/>
                  </a:cubicBezTo>
                  <a:cubicBezTo>
                    <a:pt x="109" y="18"/>
                    <a:pt x="109" y="18"/>
                    <a:pt x="109" y="18"/>
                  </a:cubicBezTo>
                  <a:cubicBezTo>
                    <a:pt x="109" y="19"/>
                    <a:pt x="109" y="19"/>
                    <a:pt x="109" y="19"/>
                  </a:cubicBezTo>
                  <a:cubicBezTo>
                    <a:pt x="108" y="20"/>
                    <a:pt x="107" y="21"/>
                    <a:pt x="107" y="22"/>
                  </a:cubicBezTo>
                  <a:cubicBezTo>
                    <a:pt x="107" y="25"/>
                    <a:pt x="106" y="26"/>
                    <a:pt x="103" y="26"/>
                  </a:cubicBezTo>
                  <a:cubicBezTo>
                    <a:pt x="102" y="26"/>
                    <a:pt x="101" y="26"/>
                    <a:pt x="100" y="26"/>
                  </a:cubicBezTo>
                  <a:cubicBezTo>
                    <a:pt x="99" y="26"/>
                    <a:pt x="99" y="26"/>
                    <a:pt x="99" y="26"/>
                  </a:cubicBezTo>
                  <a:cubicBezTo>
                    <a:pt x="99" y="27"/>
                    <a:pt x="99" y="27"/>
                    <a:pt x="99" y="28"/>
                  </a:cubicBezTo>
                  <a:cubicBezTo>
                    <a:pt x="100" y="29"/>
                    <a:pt x="100" y="31"/>
                    <a:pt x="99" y="32"/>
                  </a:cubicBezTo>
                  <a:cubicBezTo>
                    <a:pt x="98" y="33"/>
                    <a:pt x="98" y="34"/>
                    <a:pt x="98" y="35"/>
                  </a:cubicBezTo>
                  <a:cubicBezTo>
                    <a:pt x="98" y="36"/>
                    <a:pt x="98" y="38"/>
                    <a:pt x="96" y="38"/>
                  </a:cubicBezTo>
                  <a:cubicBezTo>
                    <a:pt x="95" y="39"/>
                    <a:pt x="95" y="40"/>
                    <a:pt x="94" y="41"/>
                  </a:cubicBezTo>
                  <a:cubicBezTo>
                    <a:pt x="94" y="42"/>
                    <a:pt x="94" y="42"/>
                    <a:pt x="94" y="42"/>
                  </a:cubicBezTo>
                  <a:cubicBezTo>
                    <a:pt x="93" y="42"/>
                    <a:pt x="93" y="42"/>
                    <a:pt x="93" y="42"/>
                  </a:cubicBezTo>
                  <a:cubicBezTo>
                    <a:pt x="93" y="42"/>
                    <a:pt x="93" y="42"/>
                    <a:pt x="92" y="42"/>
                  </a:cubicBezTo>
                  <a:cubicBezTo>
                    <a:pt x="90" y="43"/>
                    <a:pt x="88" y="45"/>
                    <a:pt x="84" y="45"/>
                  </a:cubicBezTo>
                  <a:cubicBezTo>
                    <a:pt x="80" y="45"/>
                    <a:pt x="77" y="47"/>
                    <a:pt x="75" y="48"/>
                  </a:cubicBezTo>
                  <a:cubicBezTo>
                    <a:pt x="74" y="49"/>
                    <a:pt x="72" y="50"/>
                    <a:pt x="71" y="50"/>
                  </a:cubicBezTo>
                  <a:close/>
                  <a:moveTo>
                    <a:pt x="39" y="38"/>
                  </a:moveTo>
                  <a:cubicBezTo>
                    <a:pt x="40" y="38"/>
                    <a:pt x="40" y="39"/>
                    <a:pt x="40" y="40"/>
                  </a:cubicBezTo>
                  <a:cubicBezTo>
                    <a:pt x="41" y="42"/>
                    <a:pt x="41" y="43"/>
                    <a:pt x="42" y="44"/>
                  </a:cubicBezTo>
                  <a:cubicBezTo>
                    <a:pt x="43" y="44"/>
                    <a:pt x="48" y="45"/>
                    <a:pt x="55" y="46"/>
                  </a:cubicBezTo>
                  <a:cubicBezTo>
                    <a:pt x="58" y="46"/>
                    <a:pt x="62" y="47"/>
                    <a:pt x="65" y="47"/>
                  </a:cubicBezTo>
                  <a:cubicBezTo>
                    <a:pt x="68" y="48"/>
                    <a:pt x="70" y="49"/>
                    <a:pt x="71" y="49"/>
                  </a:cubicBezTo>
                  <a:cubicBezTo>
                    <a:pt x="72" y="49"/>
                    <a:pt x="73" y="48"/>
                    <a:pt x="75" y="47"/>
                  </a:cubicBezTo>
                  <a:cubicBezTo>
                    <a:pt x="77" y="46"/>
                    <a:pt x="80" y="44"/>
                    <a:pt x="84" y="44"/>
                  </a:cubicBezTo>
                  <a:cubicBezTo>
                    <a:pt x="87" y="44"/>
                    <a:pt x="90" y="43"/>
                    <a:pt x="92" y="42"/>
                  </a:cubicBezTo>
                  <a:cubicBezTo>
                    <a:pt x="92" y="41"/>
                    <a:pt x="93" y="41"/>
                    <a:pt x="93" y="41"/>
                  </a:cubicBezTo>
                  <a:cubicBezTo>
                    <a:pt x="94" y="39"/>
                    <a:pt x="95" y="38"/>
                    <a:pt x="96" y="37"/>
                  </a:cubicBezTo>
                  <a:cubicBezTo>
                    <a:pt x="97" y="37"/>
                    <a:pt x="97" y="37"/>
                    <a:pt x="97" y="35"/>
                  </a:cubicBezTo>
                  <a:cubicBezTo>
                    <a:pt x="97" y="34"/>
                    <a:pt x="97" y="32"/>
                    <a:pt x="98" y="31"/>
                  </a:cubicBezTo>
                  <a:cubicBezTo>
                    <a:pt x="99" y="30"/>
                    <a:pt x="99" y="29"/>
                    <a:pt x="98" y="28"/>
                  </a:cubicBezTo>
                  <a:cubicBezTo>
                    <a:pt x="98" y="27"/>
                    <a:pt x="98" y="26"/>
                    <a:pt x="99" y="26"/>
                  </a:cubicBezTo>
                  <a:cubicBezTo>
                    <a:pt x="99" y="25"/>
                    <a:pt x="99" y="25"/>
                    <a:pt x="100" y="25"/>
                  </a:cubicBezTo>
                  <a:cubicBezTo>
                    <a:pt x="101" y="25"/>
                    <a:pt x="102" y="25"/>
                    <a:pt x="103" y="25"/>
                  </a:cubicBezTo>
                  <a:cubicBezTo>
                    <a:pt x="105" y="25"/>
                    <a:pt x="106" y="24"/>
                    <a:pt x="106" y="22"/>
                  </a:cubicBezTo>
                  <a:cubicBezTo>
                    <a:pt x="106" y="21"/>
                    <a:pt x="107" y="19"/>
                    <a:pt x="108" y="18"/>
                  </a:cubicBezTo>
                  <a:cubicBezTo>
                    <a:pt x="105" y="14"/>
                    <a:pt x="103" y="8"/>
                    <a:pt x="102" y="7"/>
                  </a:cubicBezTo>
                  <a:cubicBezTo>
                    <a:pt x="102" y="7"/>
                    <a:pt x="100" y="8"/>
                    <a:pt x="98" y="8"/>
                  </a:cubicBezTo>
                  <a:cubicBezTo>
                    <a:pt x="95" y="8"/>
                    <a:pt x="93" y="7"/>
                    <a:pt x="91" y="5"/>
                  </a:cubicBezTo>
                  <a:cubicBezTo>
                    <a:pt x="88" y="1"/>
                    <a:pt x="80" y="1"/>
                    <a:pt x="79" y="1"/>
                  </a:cubicBezTo>
                  <a:cubicBezTo>
                    <a:pt x="78" y="2"/>
                    <a:pt x="77" y="5"/>
                    <a:pt x="76" y="7"/>
                  </a:cubicBezTo>
                  <a:cubicBezTo>
                    <a:pt x="75" y="9"/>
                    <a:pt x="72" y="9"/>
                    <a:pt x="70" y="9"/>
                  </a:cubicBezTo>
                  <a:cubicBezTo>
                    <a:pt x="68" y="9"/>
                    <a:pt x="65" y="9"/>
                    <a:pt x="63" y="8"/>
                  </a:cubicBezTo>
                  <a:cubicBezTo>
                    <a:pt x="63" y="9"/>
                    <a:pt x="61" y="10"/>
                    <a:pt x="60" y="10"/>
                  </a:cubicBezTo>
                  <a:cubicBezTo>
                    <a:pt x="58" y="11"/>
                    <a:pt x="56" y="12"/>
                    <a:pt x="56" y="13"/>
                  </a:cubicBezTo>
                  <a:cubicBezTo>
                    <a:pt x="55" y="15"/>
                    <a:pt x="54" y="15"/>
                    <a:pt x="53" y="16"/>
                  </a:cubicBezTo>
                  <a:cubicBezTo>
                    <a:pt x="51" y="17"/>
                    <a:pt x="49" y="17"/>
                    <a:pt x="50" y="22"/>
                  </a:cubicBezTo>
                  <a:cubicBezTo>
                    <a:pt x="51" y="25"/>
                    <a:pt x="51" y="26"/>
                    <a:pt x="50" y="27"/>
                  </a:cubicBezTo>
                  <a:cubicBezTo>
                    <a:pt x="49" y="28"/>
                    <a:pt x="49" y="28"/>
                    <a:pt x="48" y="28"/>
                  </a:cubicBezTo>
                  <a:cubicBezTo>
                    <a:pt x="46" y="28"/>
                    <a:pt x="45" y="27"/>
                    <a:pt x="44" y="27"/>
                  </a:cubicBezTo>
                  <a:cubicBezTo>
                    <a:pt x="43" y="27"/>
                    <a:pt x="43" y="27"/>
                    <a:pt x="41" y="27"/>
                  </a:cubicBezTo>
                  <a:cubicBezTo>
                    <a:pt x="37" y="27"/>
                    <a:pt x="31" y="28"/>
                    <a:pt x="29" y="30"/>
                  </a:cubicBezTo>
                  <a:cubicBezTo>
                    <a:pt x="28" y="31"/>
                    <a:pt x="26" y="32"/>
                    <a:pt x="25" y="32"/>
                  </a:cubicBezTo>
                  <a:cubicBezTo>
                    <a:pt x="23" y="32"/>
                    <a:pt x="22" y="31"/>
                    <a:pt x="20" y="30"/>
                  </a:cubicBezTo>
                  <a:cubicBezTo>
                    <a:pt x="19" y="30"/>
                    <a:pt x="18" y="29"/>
                    <a:pt x="16" y="29"/>
                  </a:cubicBezTo>
                  <a:cubicBezTo>
                    <a:pt x="15" y="29"/>
                    <a:pt x="13" y="30"/>
                    <a:pt x="12" y="32"/>
                  </a:cubicBezTo>
                  <a:cubicBezTo>
                    <a:pt x="12" y="32"/>
                    <a:pt x="11" y="33"/>
                    <a:pt x="10" y="33"/>
                  </a:cubicBezTo>
                  <a:cubicBezTo>
                    <a:pt x="9" y="33"/>
                    <a:pt x="8" y="32"/>
                    <a:pt x="7" y="31"/>
                  </a:cubicBezTo>
                  <a:cubicBezTo>
                    <a:pt x="6" y="30"/>
                    <a:pt x="4" y="29"/>
                    <a:pt x="3" y="30"/>
                  </a:cubicBezTo>
                  <a:cubicBezTo>
                    <a:pt x="2" y="30"/>
                    <a:pt x="2" y="34"/>
                    <a:pt x="2" y="36"/>
                  </a:cubicBezTo>
                  <a:cubicBezTo>
                    <a:pt x="2" y="37"/>
                    <a:pt x="2" y="37"/>
                    <a:pt x="2" y="37"/>
                  </a:cubicBezTo>
                  <a:cubicBezTo>
                    <a:pt x="2" y="37"/>
                    <a:pt x="5" y="40"/>
                    <a:pt x="8" y="40"/>
                  </a:cubicBezTo>
                  <a:cubicBezTo>
                    <a:pt x="9" y="40"/>
                    <a:pt x="9" y="40"/>
                    <a:pt x="9" y="40"/>
                  </a:cubicBezTo>
                  <a:cubicBezTo>
                    <a:pt x="11" y="39"/>
                    <a:pt x="15" y="40"/>
                    <a:pt x="18" y="42"/>
                  </a:cubicBezTo>
                  <a:cubicBezTo>
                    <a:pt x="19" y="42"/>
                    <a:pt x="19" y="43"/>
                    <a:pt x="20" y="43"/>
                  </a:cubicBezTo>
                  <a:cubicBezTo>
                    <a:pt x="22" y="43"/>
                    <a:pt x="26" y="41"/>
                    <a:pt x="27" y="39"/>
                  </a:cubicBezTo>
                  <a:cubicBezTo>
                    <a:pt x="28" y="38"/>
                    <a:pt x="36" y="38"/>
                    <a:pt x="39"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5" name="Freeform 72"/>
            <p:cNvSpPr>
              <a:spLocks noEditPoints="1"/>
            </p:cNvSpPr>
            <p:nvPr/>
          </p:nvSpPr>
          <p:spPr>
            <a:xfrm>
              <a:off x="5178426" y="2489200"/>
              <a:ext cx="160338" cy="90488"/>
            </a:xfrm>
            <a:custGeom>
              <a:gdLst>
                <a:gd name="T0" fmla="*/ 16 w 95"/>
                <a:gd name="T1" fmla="*/ 50 h 54"/>
                <a:gd name="T2" fmla="*/ 3 w 95"/>
                <a:gd name="T3" fmla="*/ 41 h 54"/>
                <a:gd name="T4" fmla="*/ 1 w 95"/>
                <a:gd name="T5" fmla="*/ 36 h 54"/>
                <a:gd name="T6" fmla="*/ 0 w 95"/>
                <a:gd name="T7" fmla="*/ 35 h 54"/>
                <a:gd name="T8" fmla="*/ 4 w 95"/>
                <a:gd name="T9" fmla="*/ 29 h 54"/>
                <a:gd name="T10" fmla="*/ 5 w 95"/>
                <a:gd name="T11" fmla="*/ 22 h 54"/>
                <a:gd name="T12" fmla="*/ 7 w 95"/>
                <a:gd name="T13" fmla="*/ 19 h 54"/>
                <a:gd name="T14" fmla="*/ 13 w 95"/>
                <a:gd name="T15" fmla="*/ 16 h 54"/>
                <a:gd name="T16" fmla="*/ 16 w 95"/>
                <a:gd name="T17" fmla="*/ 11 h 54"/>
                <a:gd name="T18" fmla="*/ 18 w 95"/>
                <a:gd name="T19" fmla="*/ 14 h 54"/>
                <a:gd name="T20" fmla="*/ 37 w 95"/>
                <a:gd name="T21" fmla="*/ 15 h 54"/>
                <a:gd name="T22" fmla="*/ 60 w 95"/>
                <a:gd name="T23" fmla="*/ 4 h 54"/>
                <a:gd name="T24" fmla="*/ 68 w 95"/>
                <a:gd name="T25" fmla="*/ 1 h 54"/>
                <a:gd name="T26" fmla="*/ 89 w 95"/>
                <a:gd name="T27" fmla="*/ 8 h 54"/>
                <a:gd name="T28" fmla="*/ 89 w 95"/>
                <a:gd name="T29" fmla="*/ 8 h 54"/>
                <a:gd name="T30" fmla="*/ 95 w 95"/>
                <a:gd name="T31" fmla="*/ 13 h 54"/>
                <a:gd name="T32" fmla="*/ 87 w 95"/>
                <a:gd name="T33" fmla="*/ 20 h 54"/>
                <a:gd name="T34" fmla="*/ 79 w 95"/>
                <a:gd name="T35" fmla="*/ 30 h 54"/>
                <a:gd name="T36" fmla="*/ 64 w 95"/>
                <a:gd name="T37" fmla="*/ 49 h 54"/>
                <a:gd name="T38" fmla="*/ 62 w 95"/>
                <a:gd name="T39" fmla="*/ 50 h 54"/>
                <a:gd name="T40" fmla="*/ 57 w 95"/>
                <a:gd name="T41" fmla="*/ 50 h 54"/>
                <a:gd name="T42" fmla="*/ 31 w 95"/>
                <a:gd name="T43" fmla="*/ 54 h 54"/>
                <a:gd name="T44" fmla="*/ 5 w 95"/>
                <a:gd name="T45" fmla="*/ 41 h 54"/>
                <a:gd name="T46" fmla="*/ 27 w 95"/>
                <a:gd name="T47" fmla="*/ 53 h 54"/>
                <a:gd name="T48" fmla="*/ 51 w 95"/>
                <a:gd name="T49" fmla="*/ 47 h 54"/>
                <a:gd name="T50" fmla="*/ 51 w 95"/>
                <a:gd name="T51" fmla="*/ 47 h 54"/>
                <a:gd name="T52" fmla="*/ 61 w 95"/>
                <a:gd name="T53" fmla="*/ 49 h 54"/>
                <a:gd name="T54" fmla="*/ 70 w 95"/>
                <a:gd name="T55" fmla="*/ 43 h 54"/>
                <a:gd name="T56" fmla="*/ 83 w 95"/>
                <a:gd name="T57" fmla="*/ 21 h 54"/>
                <a:gd name="T58" fmla="*/ 93 w 95"/>
                <a:gd name="T59" fmla="*/ 15 h 54"/>
                <a:gd name="T60" fmla="*/ 92 w 95"/>
                <a:gd name="T61" fmla="*/ 11 h 54"/>
                <a:gd name="T62" fmla="*/ 79 w 95"/>
                <a:gd name="T63" fmla="*/ 6 h 54"/>
                <a:gd name="T64" fmla="*/ 66 w 95"/>
                <a:gd name="T65" fmla="*/ 2 h 54"/>
                <a:gd name="T66" fmla="*/ 53 w 95"/>
                <a:gd name="T67" fmla="*/ 10 h 54"/>
                <a:gd name="T68" fmla="*/ 28 w 95"/>
                <a:gd name="T69" fmla="*/ 18 h 54"/>
                <a:gd name="T70" fmla="*/ 15 w 95"/>
                <a:gd name="T71" fmla="*/ 13 h 54"/>
                <a:gd name="T72" fmla="*/ 10 w 95"/>
                <a:gd name="T73" fmla="*/ 20 h 54"/>
                <a:gd name="T74" fmla="*/ 6 w 95"/>
                <a:gd name="T75" fmla="*/ 20 h 54"/>
                <a:gd name="T76" fmla="*/ 6 w 95"/>
                <a:gd name="T77" fmla="*/ 26 h 54"/>
                <a:gd name="T78" fmla="*/ 3 w 95"/>
                <a:gd name="T79" fmla="*/ 32 h 54"/>
                <a:gd name="T80" fmla="*/ 5 w 95"/>
                <a:gd name="T81" fmla="*/ 41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 h="54">
                  <a:moveTo>
                    <a:pt x="27" y="54"/>
                  </a:moveTo>
                  <a:cubicBezTo>
                    <a:pt x="23" y="54"/>
                    <a:pt x="18" y="53"/>
                    <a:pt x="16" y="50"/>
                  </a:cubicBezTo>
                  <a:cubicBezTo>
                    <a:pt x="13" y="48"/>
                    <a:pt x="7" y="43"/>
                    <a:pt x="4" y="41"/>
                  </a:cubicBezTo>
                  <a:cubicBezTo>
                    <a:pt x="3" y="41"/>
                    <a:pt x="3" y="41"/>
                    <a:pt x="3" y="41"/>
                  </a:cubicBezTo>
                  <a:cubicBezTo>
                    <a:pt x="4" y="41"/>
                    <a:pt x="4" y="41"/>
                    <a:pt x="4" y="41"/>
                  </a:cubicBezTo>
                  <a:cubicBezTo>
                    <a:pt x="2" y="38"/>
                    <a:pt x="1" y="36"/>
                    <a:pt x="1" y="36"/>
                  </a:cubicBezTo>
                  <a:cubicBezTo>
                    <a:pt x="0" y="36"/>
                    <a:pt x="0" y="36"/>
                    <a:pt x="0" y="36"/>
                  </a:cubicBezTo>
                  <a:cubicBezTo>
                    <a:pt x="0" y="35"/>
                    <a:pt x="0" y="35"/>
                    <a:pt x="0" y="35"/>
                  </a:cubicBezTo>
                  <a:cubicBezTo>
                    <a:pt x="1" y="33"/>
                    <a:pt x="2" y="32"/>
                    <a:pt x="3" y="31"/>
                  </a:cubicBezTo>
                  <a:cubicBezTo>
                    <a:pt x="4" y="31"/>
                    <a:pt x="4" y="31"/>
                    <a:pt x="4" y="29"/>
                  </a:cubicBezTo>
                  <a:cubicBezTo>
                    <a:pt x="4" y="28"/>
                    <a:pt x="4" y="26"/>
                    <a:pt x="5" y="25"/>
                  </a:cubicBezTo>
                  <a:cubicBezTo>
                    <a:pt x="6" y="24"/>
                    <a:pt x="6" y="23"/>
                    <a:pt x="5" y="22"/>
                  </a:cubicBezTo>
                  <a:cubicBezTo>
                    <a:pt x="5" y="21"/>
                    <a:pt x="5" y="20"/>
                    <a:pt x="6" y="20"/>
                  </a:cubicBezTo>
                  <a:cubicBezTo>
                    <a:pt x="6" y="19"/>
                    <a:pt x="6" y="19"/>
                    <a:pt x="7" y="19"/>
                  </a:cubicBezTo>
                  <a:cubicBezTo>
                    <a:pt x="8" y="19"/>
                    <a:pt x="9" y="19"/>
                    <a:pt x="10" y="19"/>
                  </a:cubicBezTo>
                  <a:cubicBezTo>
                    <a:pt x="12" y="19"/>
                    <a:pt x="13" y="18"/>
                    <a:pt x="13" y="16"/>
                  </a:cubicBezTo>
                  <a:cubicBezTo>
                    <a:pt x="13" y="15"/>
                    <a:pt x="14" y="13"/>
                    <a:pt x="15" y="12"/>
                  </a:cubicBezTo>
                  <a:cubicBezTo>
                    <a:pt x="16" y="11"/>
                    <a:pt x="16" y="11"/>
                    <a:pt x="16" y="11"/>
                  </a:cubicBezTo>
                  <a:cubicBezTo>
                    <a:pt x="16" y="12"/>
                    <a:pt x="16" y="12"/>
                    <a:pt x="16" y="12"/>
                  </a:cubicBezTo>
                  <a:cubicBezTo>
                    <a:pt x="17" y="13"/>
                    <a:pt x="17" y="14"/>
                    <a:pt x="18" y="14"/>
                  </a:cubicBezTo>
                  <a:cubicBezTo>
                    <a:pt x="20" y="16"/>
                    <a:pt x="24" y="17"/>
                    <a:pt x="28" y="17"/>
                  </a:cubicBezTo>
                  <a:cubicBezTo>
                    <a:pt x="34" y="17"/>
                    <a:pt x="37" y="16"/>
                    <a:pt x="37" y="15"/>
                  </a:cubicBezTo>
                  <a:cubicBezTo>
                    <a:pt x="37" y="10"/>
                    <a:pt x="51" y="9"/>
                    <a:pt x="53" y="9"/>
                  </a:cubicBezTo>
                  <a:cubicBezTo>
                    <a:pt x="54" y="9"/>
                    <a:pt x="57" y="6"/>
                    <a:pt x="60" y="4"/>
                  </a:cubicBezTo>
                  <a:cubicBezTo>
                    <a:pt x="64" y="2"/>
                    <a:pt x="65" y="0"/>
                    <a:pt x="66" y="1"/>
                  </a:cubicBezTo>
                  <a:cubicBezTo>
                    <a:pt x="66" y="1"/>
                    <a:pt x="67" y="1"/>
                    <a:pt x="68" y="1"/>
                  </a:cubicBezTo>
                  <a:cubicBezTo>
                    <a:pt x="72" y="2"/>
                    <a:pt x="78" y="3"/>
                    <a:pt x="80" y="5"/>
                  </a:cubicBezTo>
                  <a:cubicBezTo>
                    <a:pt x="81" y="6"/>
                    <a:pt x="84" y="7"/>
                    <a:pt x="89" y="8"/>
                  </a:cubicBezTo>
                  <a:cubicBezTo>
                    <a:pt x="89" y="8"/>
                    <a:pt x="89" y="8"/>
                    <a:pt x="89" y="8"/>
                  </a:cubicBezTo>
                  <a:cubicBezTo>
                    <a:pt x="89" y="8"/>
                    <a:pt x="89" y="8"/>
                    <a:pt x="89" y="8"/>
                  </a:cubicBezTo>
                  <a:cubicBezTo>
                    <a:pt x="90" y="9"/>
                    <a:pt x="91" y="10"/>
                    <a:pt x="92" y="10"/>
                  </a:cubicBezTo>
                  <a:cubicBezTo>
                    <a:pt x="94" y="11"/>
                    <a:pt x="95" y="12"/>
                    <a:pt x="95" y="13"/>
                  </a:cubicBezTo>
                  <a:cubicBezTo>
                    <a:pt x="95" y="14"/>
                    <a:pt x="95" y="15"/>
                    <a:pt x="93" y="16"/>
                  </a:cubicBezTo>
                  <a:cubicBezTo>
                    <a:pt x="92" y="17"/>
                    <a:pt x="89" y="19"/>
                    <a:pt x="87" y="20"/>
                  </a:cubicBezTo>
                  <a:cubicBezTo>
                    <a:pt x="85" y="21"/>
                    <a:pt x="84" y="22"/>
                    <a:pt x="84" y="22"/>
                  </a:cubicBezTo>
                  <a:cubicBezTo>
                    <a:pt x="83" y="23"/>
                    <a:pt x="81" y="26"/>
                    <a:pt x="79" y="30"/>
                  </a:cubicBezTo>
                  <a:cubicBezTo>
                    <a:pt x="76" y="35"/>
                    <a:pt x="73" y="41"/>
                    <a:pt x="70" y="44"/>
                  </a:cubicBezTo>
                  <a:cubicBezTo>
                    <a:pt x="68" y="47"/>
                    <a:pt x="66" y="48"/>
                    <a:pt x="64" y="49"/>
                  </a:cubicBezTo>
                  <a:cubicBezTo>
                    <a:pt x="63" y="49"/>
                    <a:pt x="62" y="50"/>
                    <a:pt x="62" y="50"/>
                  </a:cubicBezTo>
                  <a:cubicBezTo>
                    <a:pt x="62" y="50"/>
                    <a:pt x="62" y="50"/>
                    <a:pt x="62" y="50"/>
                  </a:cubicBezTo>
                  <a:cubicBezTo>
                    <a:pt x="61" y="50"/>
                    <a:pt x="61" y="50"/>
                    <a:pt x="61" y="50"/>
                  </a:cubicBezTo>
                  <a:cubicBezTo>
                    <a:pt x="60" y="50"/>
                    <a:pt x="58" y="50"/>
                    <a:pt x="57" y="50"/>
                  </a:cubicBezTo>
                  <a:cubicBezTo>
                    <a:pt x="55" y="49"/>
                    <a:pt x="52" y="48"/>
                    <a:pt x="51" y="48"/>
                  </a:cubicBezTo>
                  <a:cubicBezTo>
                    <a:pt x="49" y="48"/>
                    <a:pt x="35" y="53"/>
                    <a:pt x="31" y="54"/>
                  </a:cubicBezTo>
                  <a:cubicBezTo>
                    <a:pt x="30" y="54"/>
                    <a:pt x="28" y="54"/>
                    <a:pt x="27" y="54"/>
                  </a:cubicBezTo>
                  <a:close/>
                  <a:moveTo>
                    <a:pt x="5" y="41"/>
                  </a:moveTo>
                  <a:cubicBezTo>
                    <a:pt x="8" y="43"/>
                    <a:pt x="14" y="47"/>
                    <a:pt x="16" y="50"/>
                  </a:cubicBezTo>
                  <a:cubicBezTo>
                    <a:pt x="18" y="52"/>
                    <a:pt x="23" y="53"/>
                    <a:pt x="27" y="53"/>
                  </a:cubicBezTo>
                  <a:cubicBezTo>
                    <a:pt x="28" y="53"/>
                    <a:pt x="30" y="53"/>
                    <a:pt x="31" y="53"/>
                  </a:cubicBezTo>
                  <a:cubicBezTo>
                    <a:pt x="35" y="52"/>
                    <a:pt x="51" y="47"/>
                    <a:pt x="51" y="47"/>
                  </a:cubicBezTo>
                  <a:cubicBezTo>
                    <a:pt x="51" y="47"/>
                    <a:pt x="51" y="47"/>
                    <a:pt x="51" y="47"/>
                  </a:cubicBezTo>
                  <a:cubicBezTo>
                    <a:pt x="51" y="47"/>
                    <a:pt x="51" y="47"/>
                    <a:pt x="51" y="47"/>
                  </a:cubicBezTo>
                  <a:cubicBezTo>
                    <a:pt x="51" y="47"/>
                    <a:pt x="55" y="48"/>
                    <a:pt x="57" y="49"/>
                  </a:cubicBezTo>
                  <a:cubicBezTo>
                    <a:pt x="58" y="49"/>
                    <a:pt x="59" y="49"/>
                    <a:pt x="61" y="49"/>
                  </a:cubicBezTo>
                  <a:cubicBezTo>
                    <a:pt x="62" y="49"/>
                    <a:pt x="62" y="48"/>
                    <a:pt x="63" y="48"/>
                  </a:cubicBezTo>
                  <a:cubicBezTo>
                    <a:pt x="65" y="47"/>
                    <a:pt x="67" y="46"/>
                    <a:pt x="70" y="43"/>
                  </a:cubicBezTo>
                  <a:cubicBezTo>
                    <a:pt x="72" y="41"/>
                    <a:pt x="75" y="34"/>
                    <a:pt x="78" y="29"/>
                  </a:cubicBezTo>
                  <a:cubicBezTo>
                    <a:pt x="81" y="25"/>
                    <a:pt x="82" y="22"/>
                    <a:pt x="83" y="21"/>
                  </a:cubicBezTo>
                  <a:cubicBezTo>
                    <a:pt x="84" y="21"/>
                    <a:pt x="85" y="20"/>
                    <a:pt x="86" y="19"/>
                  </a:cubicBezTo>
                  <a:cubicBezTo>
                    <a:pt x="88" y="18"/>
                    <a:pt x="91" y="16"/>
                    <a:pt x="93" y="15"/>
                  </a:cubicBezTo>
                  <a:cubicBezTo>
                    <a:pt x="94" y="14"/>
                    <a:pt x="94" y="14"/>
                    <a:pt x="94" y="13"/>
                  </a:cubicBezTo>
                  <a:cubicBezTo>
                    <a:pt x="94" y="12"/>
                    <a:pt x="93" y="12"/>
                    <a:pt x="92" y="11"/>
                  </a:cubicBezTo>
                  <a:cubicBezTo>
                    <a:pt x="91" y="11"/>
                    <a:pt x="89" y="10"/>
                    <a:pt x="88" y="9"/>
                  </a:cubicBezTo>
                  <a:cubicBezTo>
                    <a:pt x="85" y="8"/>
                    <a:pt x="80" y="7"/>
                    <a:pt x="79" y="6"/>
                  </a:cubicBezTo>
                  <a:cubicBezTo>
                    <a:pt x="77" y="4"/>
                    <a:pt x="71" y="3"/>
                    <a:pt x="68" y="2"/>
                  </a:cubicBezTo>
                  <a:cubicBezTo>
                    <a:pt x="67" y="2"/>
                    <a:pt x="66" y="2"/>
                    <a:pt x="66" y="2"/>
                  </a:cubicBezTo>
                  <a:cubicBezTo>
                    <a:pt x="65" y="2"/>
                    <a:pt x="63" y="3"/>
                    <a:pt x="61" y="5"/>
                  </a:cubicBezTo>
                  <a:cubicBezTo>
                    <a:pt x="58" y="8"/>
                    <a:pt x="54" y="10"/>
                    <a:pt x="53" y="10"/>
                  </a:cubicBezTo>
                  <a:cubicBezTo>
                    <a:pt x="49" y="10"/>
                    <a:pt x="38" y="12"/>
                    <a:pt x="38" y="15"/>
                  </a:cubicBezTo>
                  <a:cubicBezTo>
                    <a:pt x="38" y="17"/>
                    <a:pt x="33" y="18"/>
                    <a:pt x="28" y="18"/>
                  </a:cubicBezTo>
                  <a:cubicBezTo>
                    <a:pt x="25" y="18"/>
                    <a:pt x="19" y="17"/>
                    <a:pt x="17" y="15"/>
                  </a:cubicBezTo>
                  <a:cubicBezTo>
                    <a:pt x="17" y="14"/>
                    <a:pt x="16" y="14"/>
                    <a:pt x="15" y="13"/>
                  </a:cubicBezTo>
                  <a:cubicBezTo>
                    <a:pt x="14" y="14"/>
                    <a:pt x="14" y="15"/>
                    <a:pt x="14" y="16"/>
                  </a:cubicBezTo>
                  <a:cubicBezTo>
                    <a:pt x="14" y="19"/>
                    <a:pt x="13" y="20"/>
                    <a:pt x="10" y="20"/>
                  </a:cubicBezTo>
                  <a:cubicBezTo>
                    <a:pt x="9" y="20"/>
                    <a:pt x="8" y="20"/>
                    <a:pt x="7" y="20"/>
                  </a:cubicBezTo>
                  <a:cubicBezTo>
                    <a:pt x="6" y="20"/>
                    <a:pt x="6" y="20"/>
                    <a:pt x="6" y="20"/>
                  </a:cubicBezTo>
                  <a:cubicBezTo>
                    <a:pt x="6" y="21"/>
                    <a:pt x="6" y="21"/>
                    <a:pt x="6" y="22"/>
                  </a:cubicBezTo>
                  <a:cubicBezTo>
                    <a:pt x="7" y="23"/>
                    <a:pt x="7" y="25"/>
                    <a:pt x="6" y="26"/>
                  </a:cubicBezTo>
                  <a:cubicBezTo>
                    <a:pt x="5" y="27"/>
                    <a:pt x="5" y="28"/>
                    <a:pt x="5" y="29"/>
                  </a:cubicBezTo>
                  <a:cubicBezTo>
                    <a:pt x="5" y="30"/>
                    <a:pt x="5" y="32"/>
                    <a:pt x="3" y="32"/>
                  </a:cubicBezTo>
                  <a:cubicBezTo>
                    <a:pt x="2" y="32"/>
                    <a:pt x="2" y="33"/>
                    <a:pt x="1" y="35"/>
                  </a:cubicBezTo>
                  <a:cubicBezTo>
                    <a:pt x="2" y="36"/>
                    <a:pt x="4" y="39"/>
                    <a:pt x="5" y="41"/>
                  </a:cubicBezTo>
                  <a:cubicBezTo>
                    <a:pt x="5" y="41"/>
                    <a:pt x="5" y="41"/>
                    <a:pt x="5" y="4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6" name="Freeform 73"/>
            <p:cNvSpPr>
              <a:spLocks noEditPoints="1"/>
            </p:cNvSpPr>
            <p:nvPr/>
          </p:nvSpPr>
          <p:spPr>
            <a:xfrm>
              <a:off x="5086351" y="2413000"/>
              <a:ext cx="155575" cy="82550"/>
            </a:xfrm>
            <a:custGeom>
              <a:gdLst>
                <a:gd name="T0" fmla="*/ 64 w 92"/>
                <a:gd name="T1" fmla="*/ 48 h 49"/>
                <a:gd name="T2" fmla="*/ 59 w 92"/>
                <a:gd name="T3" fmla="*/ 47 h 49"/>
                <a:gd name="T4" fmla="*/ 40 w 92"/>
                <a:gd name="T5" fmla="*/ 40 h 49"/>
                <a:gd name="T6" fmla="*/ 31 w 92"/>
                <a:gd name="T7" fmla="*/ 48 h 49"/>
                <a:gd name="T8" fmla="*/ 23 w 92"/>
                <a:gd name="T9" fmla="*/ 47 h 49"/>
                <a:gd name="T10" fmla="*/ 24 w 92"/>
                <a:gd name="T11" fmla="*/ 46 h 49"/>
                <a:gd name="T12" fmla="*/ 9 w 92"/>
                <a:gd name="T13" fmla="*/ 35 h 49"/>
                <a:gd name="T14" fmla="*/ 4 w 92"/>
                <a:gd name="T15" fmla="*/ 22 h 49"/>
                <a:gd name="T16" fmla="*/ 1 w 92"/>
                <a:gd name="T17" fmla="*/ 16 h 49"/>
                <a:gd name="T18" fmla="*/ 4 w 92"/>
                <a:gd name="T19" fmla="*/ 14 h 49"/>
                <a:gd name="T20" fmla="*/ 26 w 92"/>
                <a:gd name="T21" fmla="*/ 5 h 49"/>
                <a:gd name="T22" fmla="*/ 32 w 92"/>
                <a:gd name="T23" fmla="*/ 2 h 49"/>
                <a:gd name="T24" fmla="*/ 37 w 92"/>
                <a:gd name="T25" fmla="*/ 3 h 49"/>
                <a:gd name="T26" fmla="*/ 39 w 92"/>
                <a:gd name="T27" fmla="*/ 1 h 49"/>
                <a:gd name="T28" fmla="*/ 39 w 92"/>
                <a:gd name="T29" fmla="*/ 1 h 49"/>
                <a:gd name="T30" fmla="*/ 58 w 92"/>
                <a:gd name="T31" fmla="*/ 13 h 49"/>
                <a:gd name="T32" fmla="*/ 64 w 92"/>
                <a:gd name="T33" fmla="*/ 16 h 49"/>
                <a:gd name="T34" fmla="*/ 71 w 92"/>
                <a:gd name="T35" fmla="*/ 14 h 49"/>
                <a:gd name="T36" fmla="*/ 77 w 92"/>
                <a:gd name="T37" fmla="*/ 19 h 49"/>
                <a:gd name="T38" fmla="*/ 81 w 92"/>
                <a:gd name="T39" fmla="*/ 21 h 49"/>
                <a:gd name="T40" fmla="*/ 90 w 92"/>
                <a:gd name="T41" fmla="*/ 26 h 49"/>
                <a:gd name="T42" fmla="*/ 92 w 92"/>
                <a:gd name="T43" fmla="*/ 30 h 49"/>
                <a:gd name="T44" fmla="*/ 83 w 92"/>
                <a:gd name="T45" fmla="*/ 37 h 49"/>
                <a:gd name="T46" fmla="*/ 69 w 92"/>
                <a:gd name="T47" fmla="*/ 44 h 49"/>
                <a:gd name="T48" fmla="*/ 65 w 92"/>
                <a:gd name="T49" fmla="*/ 49 h 49"/>
                <a:gd name="T50" fmla="*/ 31 w 92"/>
                <a:gd name="T51" fmla="*/ 47 h 49"/>
                <a:gd name="T52" fmla="*/ 39 w 92"/>
                <a:gd name="T53" fmla="*/ 39 h 49"/>
                <a:gd name="T54" fmla="*/ 39 w 92"/>
                <a:gd name="T55" fmla="*/ 39 h 49"/>
                <a:gd name="T56" fmla="*/ 59 w 92"/>
                <a:gd name="T57" fmla="*/ 46 h 49"/>
                <a:gd name="T58" fmla="*/ 64 w 92"/>
                <a:gd name="T59" fmla="*/ 44 h 49"/>
                <a:gd name="T60" fmla="*/ 65 w 92"/>
                <a:gd name="T61" fmla="*/ 47 h 49"/>
                <a:gd name="T62" fmla="*/ 69 w 92"/>
                <a:gd name="T63" fmla="*/ 43 h 49"/>
                <a:gd name="T64" fmla="*/ 90 w 92"/>
                <a:gd name="T65" fmla="*/ 29 h 49"/>
                <a:gd name="T66" fmla="*/ 86 w 92"/>
                <a:gd name="T67" fmla="*/ 23 h 49"/>
                <a:gd name="T68" fmla="*/ 76 w 92"/>
                <a:gd name="T69" fmla="*/ 20 h 49"/>
                <a:gd name="T70" fmla="*/ 73 w 92"/>
                <a:gd name="T71" fmla="*/ 15 h 49"/>
                <a:gd name="T72" fmla="*/ 68 w 92"/>
                <a:gd name="T73" fmla="*/ 15 h 49"/>
                <a:gd name="T74" fmla="*/ 63 w 92"/>
                <a:gd name="T75" fmla="*/ 18 h 49"/>
                <a:gd name="T76" fmla="*/ 47 w 92"/>
                <a:gd name="T77" fmla="*/ 7 h 49"/>
                <a:gd name="T78" fmla="*/ 39 w 92"/>
                <a:gd name="T79" fmla="*/ 3 h 49"/>
                <a:gd name="T80" fmla="*/ 35 w 92"/>
                <a:gd name="T81" fmla="*/ 4 h 49"/>
                <a:gd name="T82" fmla="*/ 31 w 92"/>
                <a:gd name="T83" fmla="*/ 4 h 49"/>
                <a:gd name="T84" fmla="*/ 19 w 92"/>
                <a:gd name="T85" fmla="*/ 9 h 49"/>
                <a:gd name="T86" fmla="*/ 4 w 92"/>
                <a:gd name="T87" fmla="*/ 15 h 49"/>
                <a:gd name="T88" fmla="*/ 4 w 92"/>
                <a:gd name="T89" fmla="*/ 20 h 49"/>
                <a:gd name="T90" fmla="*/ 6 w 92"/>
                <a:gd name="T91" fmla="*/ 27 h 49"/>
                <a:gd name="T92" fmla="*/ 12 w 92"/>
                <a:gd name="T93" fmla="*/ 36 h 49"/>
                <a:gd name="T94" fmla="*/ 25 w 92"/>
                <a:gd name="T95" fmla="*/ 47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49">
                  <a:moveTo>
                    <a:pt x="65" y="49"/>
                  </a:moveTo>
                  <a:cubicBezTo>
                    <a:pt x="64" y="48"/>
                    <a:pt x="64" y="48"/>
                    <a:pt x="64" y="48"/>
                  </a:cubicBezTo>
                  <a:cubicBezTo>
                    <a:pt x="64" y="47"/>
                    <a:pt x="64" y="46"/>
                    <a:pt x="63" y="46"/>
                  </a:cubicBezTo>
                  <a:cubicBezTo>
                    <a:pt x="63" y="46"/>
                    <a:pt x="61" y="47"/>
                    <a:pt x="59" y="47"/>
                  </a:cubicBezTo>
                  <a:cubicBezTo>
                    <a:pt x="56" y="47"/>
                    <a:pt x="54" y="46"/>
                    <a:pt x="52" y="44"/>
                  </a:cubicBezTo>
                  <a:cubicBezTo>
                    <a:pt x="49" y="40"/>
                    <a:pt x="41" y="40"/>
                    <a:pt x="40" y="40"/>
                  </a:cubicBezTo>
                  <a:cubicBezTo>
                    <a:pt x="39" y="41"/>
                    <a:pt x="38" y="44"/>
                    <a:pt x="37" y="46"/>
                  </a:cubicBezTo>
                  <a:cubicBezTo>
                    <a:pt x="36" y="48"/>
                    <a:pt x="33" y="48"/>
                    <a:pt x="31" y="48"/>
                  </a:cubicBezTo>
                  <a:cubicBezTo>
                    <a:pt x="29" y="48"/>
                    <a:pt x="26" y="48"/>
                    <a:pt x="24" y="47"/>
                  </a:cubicBezTo>
                  <a:cubicBezTo>
                    <a:pt x="23" y="47"/>
                    <a:pt x="23" y="47"/>
                    <a:pt x="23" y="47"/>
                  </a:cubicBezTo>
                  <a:cubicBezTo>
                    <a:pt x="24" y="47"/>
                    <a:pt x="24" y="47"/>
                    <a:pt x="24" y="47"/>
                  </a:cubicBezTo>
                  <a:cubicBezTo>
                    <a:pt x="24" y="46"/>
                    <a:pt x="24" y="46"/>
                    <a:pt x="24" y="46"/>
                  </a:cubicBezTo>
                  <a:cubicBezTo>
                    <a:pt x="23" y="44"/>
                    <a:pt x="16" y="40"/>
                    <a:pt x="12" y="37"/>
                  </a:cubicBezTo>
                  <a:cubicBezTo>
                    <a:pt x="11" y="36"/>
                    <a:pt x="10" y="35"/>
                    <a:pt x="9" y="35"/>
                  </a:cubicBezTo>
                  <a:cubicBezTo>
                    <a:pt x="7" y="33"/>
                    <a:pt x="6" y="30"/>
                    <a:pt x="5" y="27"/>
                  </a:cubicBezTo>
                  <a:cubicBezTo>
                    <a:pt x="5" y="25"/>
                    <a:pt x="4" y="23"/>
                    <a:pt x="4" y="22"/>
                  </a:cubicBezTo>
                  <a:cubicBezTo>
                    <a:pt x="3" y="21"/>
                    <a:pt x="3" y="21"/>
                    <a:pt x="3" y="21"/>
                  </a:cubicBezTo>
                  <a:cubicBezTo>
                    <a:pt x="2" y="19"/>
                    <a:pt x="0" y="17"/>
                    <a:pt x="1" y="16"/>
                  </a:cubicBezTo>
                  <a:cubicBezTo>
                    <a:pt x="1" y="15"/>
                    <a:pt x="2" y="14"/>
                    <a:pt x="3" y="14"/>
                  </a:cubicBezTo>
                  <a:cubicBezTo>
                    <a:pt x="4" y="14"/>
                    <a:pt x="4" y="14"/>
                    <a:pt x="4" y="14"/>
                  </a:cubicBezTo>
                  <a:cubicBezTo>
                    <a:pt x="8" y="13"/>
                    <a:pt x="15" y="11"/>
                    <a:pt x="18" y="8"/>
                  </a:cubicBezTo>
                  <a:cubicBezTo>
                    <a:pt x="20" y="6"/>
                    <a:pt x="23" y="5"/>
                    <a:pt x="26" y="5"/>
                  </a:cubicBezTo>
                  <a:cubicBezTo>
                    <a:pt x="28" y="4"/>
                    <a:pt x="29" y="4"/>
                    <a:pt x="30" y="3"/>
                  </a:cubicBezTo>
                  <a:cubicBezTo>
                    <a:pt x="31" y="2"/>
                    <a:pt x="31" y="2"/>
                    <a:pt x="32" y="2"/>
                  </a:cubicBezTo>
                  <a:cubicBezTo>
                    <a:pt x="33" y="2"/>
                    <a:pt x="34" y="2"/>
                    <a:pt x="35" y="3"/>
                  </a:cubicBezTo>
                  <a:cubicBezTo>
                    <a:pt x="36" y="3"/>
                    <a:pt x="36" y="3"/>
                    <a:pt x="37" y="3"/>
                  </a:cubicBezTo>
                  <a:cubicBezTo>
                    <a:pt x="38" y="3"/>
                    <a:pt x="38" y="3"/>
                    <a:pt x="38" y="3"/>
                  </a:cubicBezTo>
                  <a:cubicBezTo>
                    <a:pt x="38" y="2"/>
                    <a:pt x="38" y="2"/>
                    <a:pt x="39" y="1"/>
                  </a:cubicBezTo>
                  <a:cubicBezTo>
                    <a:pt x="39" y="0"/>
                    <a:pt x="39" y="0"/>
                    <a:pt x="39" y="0"/>
                  </a:cubicBezTo>
                  <a:cubicBezTo>
                    <a:pt x="39" y="1"/>
                    <a:pt x="39" y="1"/>
                    <a:pt x="39" y="1"/>
                  </a:cubicBezTo>
                  <a:cubicBezTo>
                    <a:pt x="43" y="3"/>
                    <a:pt x="45" y="5"/>
                    <a:pt x="48" y="6"/>
                  </a:cubicBezTo>
                  <a:cubicBezTo>
                    <a:pt x="54" y="8"/>
                    <a:pt x="57" y="10"/>
                    <a:pt x="58" y="13"/>
                  </a:cubicBezTo>
                  <a:cubicBezTo>
                    <a:pt x="58" y="14"/>
                    <a:pt x="61" y="17"/>
                    <a:pt x="63" y="17"/>
                  </a:cubicBezTo>
                  <a:cubicBezTo>
                    <a:pt x="64" y="17"/>
                    <a:pt x="64" y="17"/>
                    <a:pt x="64" y="16"/>
                  </a:cubicBezTo>
                  <a:cubicBezTo>
                    <a:pt x="65" y="15"/>
                    <a:pt x="66" y="14"/>
                    <a:pt x="68" y="14"/>
                  </a:cubicBezTo>
                  <a:cubicBezTo>
                    <a:pt x="69" y="14"/>
                    <a:pt x="70" y="14"/>
                    <a:pt x="71" y="14"/>
                  </a:cubicBezTo>
                  <a:cubicBezTo>
                    <a:pt x="71" y="14"/>
                    <a:pt x="72" y="14"/>
                    <a:pt x="73" y="14"/>
                  </a:cubicBezTo>
                  <a:cubicBezTo>
                    <a:pt x="76" y="14"/>
                    <a:pt x="77" y="17"/>
                    <a:pt x="77" y="19"/>
                  </a:cubicBezTo>
                  <a:cubicBezTo>
                    <a:pt x="77" y="20"/>
                    <a:pt x="77" y="20"/>
                    <a:pt x="77" y="20"/>
                  </a:cubicBezTo>
                  <a:cubicBezTo>
                    <a:pt x="77" y="21"/>
                    <a:pt x="80" y="21"/>
                    <a:pt x="81" y="21"/>
                  </a:cubicBezTo>
                  <a:cubicBezTo>
                    <a:pt x="83" y="21"/>
                    <a:pt x="85" y="21"/>
                    <a:pt x="87" y="22"/>
                  </a:cubicBezTo>
                  <a:cubicBezTo>
                    <a:pt x="88" y="23"/>
                    <a:pt x="89" y="24"/>
                    <a:pt x="90" y="26"/>
                  </a:cubicBezTo>
                  <a:cubicBezTo>
                    <a:pt x="90" y="27"/>
                    <a:pt x="91" y="28"/>
                    <a:pt x="92" y="29"/>
                  </a:cubicBezTo>
                  <a:cubicBezTo>
                    <a:pt x="92" y="30"/>
                    <a:pt x="92" y="30"/>
                    <a:pt x="92" y="30"/>
                  </a:cubicBezTo>
                  <a:cubicBezTo>
                    <a:pt x="91" y="30"/>
                    <a:pt x="91" y="30"/>
                    <a:pt x="91" y="30"/>
                  </a:cubicBezTo>
                  <a:cubicBezTo>
                    <a:pt x="89" y="31"/>
                    <a:pt x="85" y="34"/>
                    <a:pt x="83" y="37"/>
                  </a:cubicBezTo>
                  <a:cubicBezTo>
                    <a:pt x="79" y="42"/>
                    <a:pt x="74" y="43"/>
                    <a:pt x="69" y="44"/>
                  </a:cubicBezTo>
                  <a:cubicBezTo>
                    <a:pt x="69" y="44"/>
                    <a:pt x="69" y="44"/>
                    <a:pt x="69" y="44"/>
                  </a:cubicBezTo>
                  <a:cubicBezTo>
                    <a:pt x="68" y="44"/>
                    <a:pt x="66" y="46"/>
                    <a:pt x="65" y="48"/>
                  </a:cubicBezTo>
                  <a:lnTo>
                    <a:pt x="65" y="49"/>
                  </a:lnTo>
                  <a:close/>
                  <a:moveTo>
                    <a:pt x="25" y="47"/>
                  </a:moveTo>
                  <a:cubicBezTo>
                    <a:pt x="27" y="47"/>
                    <a:pt x="29" y="47"/>
                    <a:pt x="31" y="47"/>
                  </a:cubicBezTo>
                  <a:cubicBezTo>
                    <a:pt x="34" y="47"/>
                    <a:pt x="36" y="47"/>
                    <a:pt x="36" y="46"/>
                  </a:cubicBezTo>
                  <a:cubicBezTo>
                    <a:pt x="38" y="44"/>
                    <a:pt x="39" y="39"/>
                    <a:pt x="39" y="39"/>
                  </a:cubicBezTo>
                  <a:cubicBezTo>
                    <a:pt x="39" y="39"/>
                    <a:pt x="39" y="39"/>
                    <a:pt x="39" y="39"/>
                  </a:cubicBezTo>
                  <a:cubicBezTo>
                    <a:pt x="39" y="39"/>
                    <a:pt x="39" y="39"/>
                    <a:pt x="39" y="39"/>
                  </a:cubicBezTo>
                  <a:cubicBezTo>
                    <a:pt x="40" y="39"/>
                    <a:pt x="49" y="39"/>
                    <a:pt x="53" y="43"/>
                  </a:cubicBezTo>
                  <a:cubicBezTo>
                    <a:pt x="54" y="45"/>
                    <a:pt x="56" y="46"/>
                    <a:pt x="59" y="46"/>
                  </a:cubicBezTo>
                  <a:cubicBezTo>
                    <a:pt x="61" y="46"/>
                    <a:pt x="64" y="45"/>
                    <a:pt x="64" y="45"/>
                  </a:cubicBezTo>
                  <a:cubicBezTo>
                    <a:pt x="64" y="44"/>
                    <a:pt x="64" y="44"/>
                    <a:pt x="64" y="44"/>
                  </a:cubicBezTo>
                  <a:cubicBezTo>
                    <a:pt x="64" y="45"/>
                    <a:pt x="64" y="45"/>
                    <a:pt x="64" y="45"/>
                  </a:cubicBezTo>
                  <a:cubicBezTo>
                    <a:pt x="64" y="45"/>
                    <a:pt x="64" y="46"/>
                    <a:pt x="65" y="47"/>
                  </a:cubicBezTo>
                  <a:cubicBezTo>
                    <a:pt x="66" y="44"/>
                    <a:pt x="67" y="43"/>
                    <a:pt x="69" y="43"/>
                  </a:cubicBezTo>
                  <a:cubicBezTo>
                    <a:pt x="69" y="43"/>
                    <a:pt x="69" y="43"/>
                    <a:pt x="69" y="43"/>
                  </a:cubicBezTo>
                  <a:cubicBezTo>
                    <a:pt x="73" y="42"/>
                    <a:pt x="79" y="41"/>
                    <a:pt x="82" y="36"/>
                  </a:cubicBezTo>
                  <a:cubicBezTo>
                    <a:pt x="84" y="33"/>
                    <a:pt x="88" y="31"/>
                    <a:pt x="90" y="29"/>
                  </a:cubicBezTo>
                  <a:cubicBezTo>
                    <a:pt x="90" y="28"/>
                    <a:pt x="89" y="27"/>
                    <a:pt x="89" y="26"/>
                  </a:cubicBezTo>
                  <a:cubicBezTo>
                    <a:pt x="88" y="25"/>
                    <a:pt x="87" y="24"/>
                    <a:pt x="86" y="23"/>
                  </a:cubicBezTo>
                  <a:cubicBezTo>
                    <a:pt x="85" y="22"/>
                    <a:pt x="83" y="22"/>
                    <a:pt x="81" y="22"/>
                  </a:cubicBezTo>
                  <a:cubicBezTo>
                    <a:pt x="79" y="22"/>
                    <a:pt x="77" y="22"/>
                    <a:pt x="76" y="20"/>
                  </a:cubicBezTo>
                  <a:cubicBezTo>
                    <a:pt x="76" y="20"/>
                    <a:pt x="76" y="20"/>
                    <a:pt x="76" y="20"/>
                  </a:cubicBezTo>
                  <a:cubicBezTo>
                    <a:pt x="76" y="17"/>
                    <a:pt x="75" y="15"/>
                    <a:pt x="73" y="15"/>
                  </a:cubicBezTo>
                  <a:cubicBezTo>
                    <a:pt x="72" y="15"/>
                    <a:pt x="71" y="15"/>
                    <a:pt x="70" y="15"/>
                  </a:cubicBezTo>
                  <a:cubicBezTo>
                    <a:pt x="70" y="15"/>
                    <a:pt x="69" y="15"/>
                    <a:pt x="68" y="15"/>
                  </a:cubicBezTo>
                  <a:cubicBezTo>
                    <a:pt x="67" y="15"/>
                    <a:pt x="66" y="15"/>
                    <a:pt x="65" y="16"/>
                  </a:cubicBezTo>
                  <a:cubicBezTo>
                    <a:pt x="65" y="17"/>
                    <a:pt x="64" y="18"/>
                    <a:pt x="63" y="18"/>
                  </a:cubicBezTo>
                  <a:cubicBezTo>
                    <a:pt x="60" y="18"/>
                    <a:pt x="57" y="15"/>
                    <a:pt x="57" y="13"/>
                  </a:cubicBezTo>
                  <a:cubicBezTo>
                    <a:pt x="56" y="11"/>
                    <a:pt x="53" y="9"/>
                    <a:pt x="47" y="7"/>
                  </a:cubicBezTo>
                  <a:cubicBezTo>
                    <a:pt x="45" y="6"/>
                    <a:pt x="42" y="4"/>
                    <a:pt x="39" y="2"/>
                  </a:cubicBezTo>
                  <a:cubicBezTo>
                    <a:pt x="39" y="3"/>
                    <a:pt x="39" y="3"/>
                    <a:pt x="39" y="3"/>
                  </a:cubicBezTo>
                  <a:cubicBezTo>
                    <a:pt x="38" y="4"/>
                    <a:pt x="38" y="4"/>
                    <a:pt x="37" y="4"/>
                  </a:cubicBezTo>
                  <a:cubicBezTo>
                    <a:pt x="36" y="4"/>
                    <a:pt x="35" y="4"/>
                    <a:pt x="35" y="4"/>
                  </a:cubicBezTo>
                  <a:cubicBezTo>
                    <a:pt x="34" y="3"/>
                    <a:pt x="33" y="3"/>
                    <a:pt x="32" y="3"/>
                  </a:cubicBezTo>
                  <a:cubicBezTo>
                    <a:pt x="32" y="3"/>
                    <a:pt x="31" y="3"/>
                    <a:pt x="31" y="4"/>
                  </a:cubicBezTo>
                  <a:cubicBezTo>
                    <a:pt x="30" y="4"/>
                    <a:pt x="28" y="5"/>
                    <a:pt x="26" y="6"/>
                  </a:cubicBezTo>
                  <a:cubicBezTo>
                    <a:pt x="24" y="6"/>
                    <a:pt x="21" y="7"/>
                    <a:pt x="19" y="9"/>
                  </a:cubicBezTo>
                  <a:cubicBezTo>
                    <a:pt x="15" y="12"/>
                    <a:pt x="8" y="14"/>
                    <a:pt x="4" y="15"/>
                  </a:cubicBezTo>
                  <a:cubicBezTo>
                    <a:pt x="4" y="15"/>
                    <a:pt x="4" y="15"/>
                    <a:pt x="4" y="15"/>
                  </a:cubicBezTo>
                  <a:cubicBezTo>
                    <a:pt x="3" y="15"/>
                    <a:pt x="2" y="15"/>
                    <a:pt x="2" y="16"/>
                  </a:cubicBezTo>
                  <a:cubicBezTo>
                    <a:pt x="2" y="17"/>
                    <a:pt x="3" y="19"/>
                    <a:pt x="4" y="20"/>
                  </a:cubicBezTo>
                  <a:cubicBezTo>
                    <a:pt x="4" y="21"/>
                    <a:pt x="4" y="21"/>
                    <a:pt x="5" y="22"/>
                  </a:cubicBezTo>
                  <a:cubicBezTo>
                    <a:pt x="5" y="23"/>
                    <a:pt x="6" y="25"/>
                    <a:pt x="6" y="27"/>
                  </a:cubicBezTo>
                  <a:cubicBezTo>
                    <a:pt x="7" y="29"/>
                    <a:pt x="8" y="33"/>
                    <a:pt x="9" y="34"/>
                  </a:cubicBezTo>
                  <a:cubicBezTo>
                    <a:pt x="10" y="35"/>
                    <a:pt x="11" y="35"/>
                    <a:pt x="12" y="36"/>
                  </a:cubicBezTo>
                  <a:cubicBezTo>
                    <a:pt x="18" y="40"/>
                    <a:pt x="24" y="44"/>
                    <a:pt x="25" y="46"/>
                  </a:cubicBezTo>
                  <a:cubicBezTo>
                    <a:pt x="25" y="46"/>
                    <a:pt x="25" y="46"/>
                    <a:pt x="25" y="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7" name="Freeform 74"/>
            <p:cNvSpPr>
              <a:spLocks noEditPoints="1"/>
            </p:cNvSpPr>
            <p:nvPr/>
          </p:nvSpPr>
          <p:spPr>
            <a:xfrm>
              <a:off x="5194301" y="2462213"/>
              <a:ext cx="141288" cy="57150"/>
            </a:xfrm>
            <a:custGeom>
              <a:gdLst>
                <a:gd name="T0" fmla="*/ 18 w 83"/>
                <a:gd name="T1" fmla="*/ 34 h 34"/>
                <a:gd name="T2" fmla="*/ 7 w 83"/>
                <a:gd name="T3" fmla="*/ 31 h 34"/>
                <a:gd name="T4" fmla="*/ 0 w 83"/>
                <a:gd name="T5" fmla="*/ 19 h 34"/>
                <a:gd name="T6" fmla="*/ 0 w 83"/>
                <a:gd name="T7" fmla="*/ 19 h 34"/>
                <a:gd name="T8" fmla="*/ 0 w 83"/>
                <a:gd name="T9" fmla="*/ 19 h 34"/>
                <a:gd name="T10" fmla="*/ 5 w 83"/>
                <a:gd name="T11" fmla="*/ 14 h 34"/>
                <a:gd name="T12" fmla="*/ 5 w 83"/>
                <a:gd name="T13" fmla="*/ 14 h 34"/>
                <a:gd name="T14" fmla="*/ 18 w 83"/>
                <a:gd name="T15" fmla="*/ 7 h 34"/>
                <a:gd name="T16" fmla="*/ 27 w 83"/>
                <a:gd name="T17" fmla="*/ 0 h 34"/>
                <a:gd name="T18" fmla="*/ 27 w 83"/>
                <a:gd name="T19" fmla="*/ 0 h 34"/>
                <a:gd name="T20" fmla="*/ 28 w 83"/>
                <a:gd name="T21" fmla="*/ 0 h 34"/>
                <a:gd name="T22" fmla="*/ 29 w 83"/>
                <a:gd name="T23" fmla="*/ 2 h 34"/>
                <a:gd name="T24" fmla="*/ 34 w 83"/>
                <a:gd name="T25" fmla="*/ 1 h 34"/>
                <a:gd name="T26" fmla="*/ 37 w 83"/>
                <a:gd name="T27" fmla="*/ 0 h 34"/>
                <a:gd name="T28" fmla="*/ 38 w 83"/>
                <a:gd name="T29" fmla="*/ 1 h 34"/>
                <a:gd name="T30" fmla="*/ 46 w 83"/>
                <a:gd name="T31" fmla="*/ 3 h 34"/>
                <a:gd name="T32" fmla="*/ 50 w 83"/>
                <a:gd name="T33" fmla="*/ 2 h 34"/>
                <a:gd name="T34" fmla="*/ 52 w 83"/>
                <a:gd name="T35" fmla="*/ 2 h 34"/>
                <a:gd name="T36" fmla="*/ 56 w 83"/>
                <a:gd name="T37" fmla="*/ 2 h 34"/>
                <a:gd name="T38" fmla="*/ 61 w 83"/>
                <a:gd name="T39" fmla="*/ 3 h 34"/>
                <a:gd name="T40" fmla="*/ 63 w 83"/>
                <a:gd name="T41" fmla="*/ 3 h 34"/>
                <a:gd name="T42" fmla="*/ 74 w 83"/>
                <a:gd name="T43" fmla="*/ 6 h 34"/>
                <a:gd name="T44" fmla="*/ 82 w 83"/>
                <a:gd name="T45" fmla="*/ 8 h 34"/>
                <a:gd name="T46" fmla="*/ 83 w 83"/>
                <a:gd name="T47" fmla="*/ 8 h 34"/>
                <a:gd name="T48" fmla="*/ 83 w 83"/>
                <a:gd name="T49" fmla="*/ 9 h 34"/>
                <a:gd name="T50" fmla="*/ 82 w 83"/>
                <a:gd name="T51" fmla="*/ 9 h 34"/>
                <a:gd name="T52" fmla="*/ 76 w 83"/>
                <a:gd name="T53" fmla="*/ 20 h 34"/>
                <a:gd name="T54" fmla="*/ 79 w 83"/>
                <a:gd name="T55" fmla="*/ 24 h 34"/>
                <a:gd name="T56" fmla="*/ 80 w 83"/>
                <a:gd name="T57" fmla="*/ 26 h 34"/>
                <a:gd name="T58" fmla="*/ 78 w 83"/>
                <a:gd name="T59" fmla="*/ 25 h 34"/>
                <a:gd name="T60" fmla="*/ 69 w 83"/>
                <a:gd name="T61" fmla="*/ 22 h 34"/>
                <a:gd name="T62" fmla="*/ 58 w 83"/>
                <a:gd name="T63" fmla="*/ 18 h 34"/>
                <a:gd name="T64" fmla="*/ 56 w 83"/>
                <a:gd name="T65" fmla="*/ 18 h 34"/>
                <a:gd name="T66" fmla="*/ 51 w 83"/>
                <a:gd name="T67" fmla="*/ 21 h 34"/>
                <a:gd name="T68" fmla="*/ 43 w 83"/>
                <a:gd name="T69" fmla="*/ 26 h 34"/>
                <a:gd name="T70" fmla="*/ 28 w 83"/>
                <a:gd name="T71" fmla="*/ 31 h 34"/>
                <a:gd name="T72" fmla="*/ 18 w 83"/>
                <a:gd name="T73" fmla="*/ 34 h 34"/>
                <a:gd name="T74" fmla="*/ 1 w 83"/>
                <a:gd name="T75" fmla="*/ 19 h 34"/>
                <a:gd name="T76" fmla="*/ 8 w 83"/>
                <a:gd name="T77" fmla="*/ 30 h 34"/>
                <a:gd name="T78" fmla="*/ 18 w 83"/>
                <a:gd name="T79" fmla="*/ 33 h 34"/>
                <a:gd name="T80" fmla="*/ 27 w 83"/>
                <a:gd name="T81" fmla="*/ 31 h 34"/>
                <a:gd name="T82" fmla="*/ 43 w 83"/>
                <a:gd name="T83" fmla="*/ 25 h 34"/>
                <a:gd name="T84" fmla="*/ 50 w 83"/>
                <a:gd name="T85" fmla="*/ 20 h 34"/>
                <a:gd name="T86" fmla="*/ 56 w 83"/>
                <a:gd name="T87" fmla="*/ 17 h 34"/>
                <a:gd name="T88" fmla="*/ 58 w 83"/>
                <a:gd name="T89" fmla="*/ 17 h 34"/>
                <a:gd name="T90" fmla="*/ 70 w 83"/>
                <a:gd name="T91" fmla="*/ 21 h 34"/>
                <a:gd name="T92" fmla="*/ 77 w 83"/>
                <a:gd name="T93" fmla="*/ 24 h 34"/>
                <a:gd name="T94" fmla="*/ 75 w 83"/>
                <a:gd name="T95" fmla="*/ 20 h 34"/>
                <a:gd name="T96" fmla="*/ 81 w 83"/>
                <a:gd name="T97" fmla="*/ 9 h 34"/>
                <a:gd name="T98" fmla="*/ 73 w 83"/>
                <a:gd name="T99" fmla="*/ 7 h 34"/>
                <a:gd name="T100" fmla="*/ 61 w 83"/>
                <a:gd name="T101" fmla="*/ 4 h 34"/>
                <a:gd name="T102" fmla="*/ 56 w 83"/>
                <a:gd name="T103" fmla="*/ 3 h 34"/>
                <a:gd name="T104" fmla="*/ 50 w 83"/>
                <a:gd name="T105" fmla="*/ 3 h 34"/>
                <a:gd name="T106" fmla="*/ 46 w 83"/>
                <a:gd name="T107" fmla="*/ 4 h 34"/>
                <a:gd name="T108" fmla="*/ 37 w 83"/>
                <a:gd name="T109" fmla="*/ 2 h 34"/>
                <a:gd name="T110" fmla="*/ 34 w 83"/>
                <a:gd name="T111" fmla="*/ 2 h 34"/>
                <a:gd name="T112" fmla="*/ 31 w 83"/>
                <a:gd name="T113" fmla="*/ 3 h 34"/>
                <a:gd name="T114" fmla="*/ 29 w 83"/>
                <a:gd name="T115" fmla="*/ 3 h 34"/>
                <a:gd name="T116" fmla="*/ 27 w 83"/>
                <a:gd name="T117" fmla="*/ 1 h 34"/>
                <a:gd name="T118" fmla="*/ 19 w 83"/>
                <a:gd name="T119" fmla="*/ 8 h 34"/>
                <a:gd name="T120" fmla="*/ 5 w 83"/>
                <a:gd name="T121" fmla="*/ 15 h 34"/>
                <a:gd name="T122" fmla="*/ 5 w 83"/>
                <a:gd name="T123" fmla="*/ 15 h 34"/>
                <a:gd name="T124" fmla="*/ 1 w 83"/>
                <a:gd name="T125" fmla="*/ 19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 h="34">
                  <a:moveTo>
                    <a:pt x="18" y="34"/>
                  </a:moveTo>
                  <a:cubicBezTo>
                    <a:pt x="15" y="34"/>
                    <a:pt x="9" y="33"/>
                    <a:pt x="7" y="31"/>
                  </a:cubicBezTo>
                  <a:cubicBezTo>
                    <a:pt x="4" y="28"/>
                    <a:pt x="2" y="23"/>
                    <a:pt x="0" y="19"/>
                  </a:cubicBezTo>
                  <a:cubicBezTo>
                    <a:pt x="0" y="19"/>
                    <a:pt x="0" y="19"/>
                    <a:pt x="0" y="19"/>
                  </a:cubicBezTo>
                  <a:cubicBezTo>
                    <a:pt x="0" y="19"/>
                    <a:pt x="0" y="19"/>
                    <a:pt x="0" y="19"/>
                  </a:cubicBezTo>
                  <a:cubicBezTo>
                    <a:pt x="2" y="16"/>
                    <a:pt x="3" y="14"/>
                    <a:pt x="5" y="14"/>
                  </a:cubicBezTo>
                  <a:cubicBezTo>
                    <a:pt x="5" y="14"/>
                    <a:pt x="5" y="14"/>
                    <a:pt x="5" y="14"/>
                  </a:cubicBezTo>
                  <a:cubicBezTo>
                    <a:pt x="9" y="13"/>
                    <a:pt x="15" y="12"/>
                    <a:pt x="18" y="7"/>
                  </a:cubicBezTo>
                  <a:cubicBezTo>
                    <a:pt x="21" y="4"/>
                    <a:pt x="24" y="2"/>
                    <a:pt x="27" y="0"/>
                  </a:cubicBezTo>
                  <a:cubicBezTo>
                    <a:pt x="27" y="0"/>
                    <a:pt x="27" y="0"/>
                    <a:pt x="27" y="0"/>
                  </a:cubicBezTo>
                  <a:cubicBezTo>
                    <a:pt x="28" y="0"/>
                    <a:pt x="28" y="0"/>
                    <a:pt x="28" y="0"/>
                  </a:cubicBezTo>
                  <a:cubicBezTo>
                    <a:pt x="28" y="1"/>
                    <a:pt x="29" y="1"/>
                    <a:pt x="29" y="2"/>
                  </a:cubicBezTo>
                  <a:cubicBezTo>
                    <a:pt x="31" y="3"/>
                    <a:pt x="32" y="2"/>
                    <a:pt x="34" y="1"/>
                  </a:cubicBezTo>
                  <a:cubicBezTo>
                    <a:pt x="35" y="1"/>
                    <a:pt x="36" y="0"/>
                    <a:pt x="37" y="0"/>
                  </a:cubicBezTo>
                  <a:cubicBezTo>
                    <a:pt x="38" y="1"/>
                    <a:pt x="38" y="1"/>
                    <a:pt x="38" y="1"/>
                  </a:cubicBezTo>
                  <a:cubicBezTo>
                    <a:pt x="40" y="2"/>
                    <a:pt x="43" y="3"/>
                    <a:pt x="46" y="3"/>
                  </a:cubicBezTo>
                  <a:cubicBezTo>
                    <a:pt x="48" y="3"/>
                    <a:pt x="49" y="3"/>
                    <a:pt x="50" y="2"/>
                  </a:cubicBezTo>
                  <a:cubicBezTo>
                    <a:pt x="51" y="2"/>
                    <a:pt x="52" y="2"/>
                    <a:pt x="52" y="2"/>
                  </a:cubicBezTo>
                  <a:cubicBezTo>
                    <a:pt x="54" y="2"/>
                    <a:pt x="55" y="2"/>
                    <a:pt x="56" y="2"/>
                  </a:cubicBezTo>
                  <a:cubicBezTo>
                    <a:pt x="57" y="3"/>
                    <a:pt x="59" y="3"/>
                    <a:pt x="61" y="3"/>
                  </a:cubicBezTo>
                  <a:cubicBezTo>
                    <a:pt x="62" y="3"/>
                    <a:pt x="62" y="3"/>
                    <a:pt x="63" y="3"/>
                  </a:cubicBezTo>
                  <a:cubicBezTo>
                    <a:pt x="67" y="3"/>
                    <a:pt x="73" y="5"/>
                    <a:pt x="74" y="6"/>
                  </a:cubicBezTo>
                  <a:cubicBezTo>
                    <a:pt x="74" y="6"/>
                    <a:pt x="76" y="7"/>
                    <a:pt x="82" y="8"/>
                  </a:cubicBezTo>
                  <a:cubicBezTo>
                    <a:pt x="83" y="8"/>
                    <a:pt x="83" y="8"/>
                    <a:pt x="83" y="8"/>
                  </a:cubicBezTo>
                  <a:cubicBezTo>
                    <a:pt x="83" y="9"/>
                    <a:pt x="83" y="9"/>
                    <a:pt x="83" y="9"/>
                  </a:cubicBezTo>
                  <a:cubicBezTo>
                    <a:pt x="82" y="9"/>
                    <a:pt x="82" y="9"/>
                    <a:pt x="82" y="9"/>
                  </a:cubicBezTo>
                  <a:cubicBezTo>
                    <a:pt x="81" y="11"/>
                    <a:pt x="76" y="17"/>
                    <a:pt x="76" y="20"/>
                  </a:cubicBezTo>
                  <a:cubicBezTo>
                    <a:pt x="76" y="21"/>
                    <a:pt x="77" y="23"/>
                    <a:pt x="79" y="24"/>
                  </a:cubicBezTo>
                  <a:cubicBezTo>
                    <a:pt x="80" y="26"/>
                    <a:pt x="80" y="26"/>
                    <a:pt x="80" y="26"/>
                  </a:cubicBezTo>
                  <a:cubicBezTo>
                    <a:pt x="78" y="25"/>
                    <a:pt x="78" y="25"/>
                    <a:pt x="78" y="25"/>
                  </a:cubicBezTo>
                  <a:cubicBezTo>
                    <a:pt x="75" y="24"/>
                    <a:pt x="70" y="23"/>
                    <a:pt x="69" y="22"/>
                  </a:cubicBezTo>
                  <a:cubicBezTo>
                    <a:pt x="67" y="20"/>
                    <a:pt x="61" y="19"/>
                    <a:pt x="58" y="18"/>
                  </a:cubicBezTo>
                  <a:cubicBezTo>
                    <a:pt x="57" y="18"/>
                    <a:pt x="56" y="18"/>
                    <a:pt x="56" y="18"/>
                  </a:cubicBezTo>
                  <a:cubicBezTo>
                    <a:pt x="55" y="18"/>
                    <a:pt x="53" y="19"/>
                    <a:pt x="51" y="21"/>
                  </a:cubicBezTo>
                  <a:cubicBezTo>
                    <a:pt x="48" y="24"/>
                    <a:pt x="44" y="26"/>
                    <a:pt x="43" y="26"/>
                  </a:cubicBezTo>
                  <a:cubicBezTo>
                    <a:pt x="39" y="26"/>
                    <a:pt x="28" y="28"/>
                    <a:pt x="28" y="31"/>
                  </a:cubicBezTo>
                  <a:cubicBezTo>
                    <a:pt x="28" y="33"/>
                    <a:pt x="23" y="34"/>
                    <a:pt x="18" y="34"/>
                  </a:cubicBezTo>
                  <a:close/>
                  <a:moveTo>
                    <a:pt x="1" y="19"/>
                  </a:moveTo>
                  <a:cubicBezTo>
                    <a:pt x="3" y="23"/>
                    <a:pt x="5" y="28"/>
                    <a:pt x="8" y="30"/>
                  </a:cubicBezTo>
                  <a:cubicBezTo>
                    <a:pt x="10" y="32"/>
                    <a:pt x="14" y="33"/>
                    <a:pt x="18" y="33"/>
                  </a:cubicBezTo>
                  <a:cubicBezTo>
                    <a:pt x="24" y="33"/>
                    <a:pt x="27" y="32"/>
                    <a:pt x="27" y="31"/>
                  </a:cubicBezTo>
                  <a:cubicBezTo>
                    <a:pt x="27" y="26"/>
                    <a:pt x="41" y="25"/>
                    <a:pt x="43" y="25"/>
                  </a:cubicBezTo>
                  <a:cubicBezTo>
                    <a:pt x="44" y="25"/>
                    <a:pt x="47" y="22"/>
                    <a:pt x="50" y="20"/>
                  </a:cubicBezTo>
                  <a:cubicBezTo>
                    <a:pt x="54" y="18"/>
                    <a:pt x="55" y="16"/>
                    <a:pt x="56" y="17"/>
                  </a:cubicBezTo>
                  <a:cubicBezTo>
                    <a:pt x="56" y="17"/>
                    <a:pt x="57" y="17"/>
                    <a:pt x="58" y="17"/>
                  </a:cubicBezTo>
                  <a:cubicBezTo>
                    <a:pt x="62" y="18"/>
                    <a:pt x="68" y="19"/>
                    <a:pt x="70" y="21"/>
                  </a:cubicBezTo>
                  <a:cubicBezTo>
                    <a:pt x="71" y="22"/>
                    <a:pt x="73" y="23"/>
                    <a:pt x="77" y="24"/>
                  </a:cubicBezTo>
                  <a:cubicBezTo>
                    <a:pt x="76" y="22"/>
                    <a:pt x="75" y="21"/>
                    <a:pt x="75" y="20"/>
                  </a:cubicBezTo>
                  <a:cubicBezTo>
                    <a:pt x="75" y="17"/>
                    <a:pt x="79" y="11"/>
                    <a:pt x="81" y="9"/>
                  </a:cubicBezTo>
                  <a:cubicBezTo>
                    <a:pt x="75" y="8"/>
                    <a:pt x="74" y="7"/>
                    <a:pt x="73" y="7"/>
                  </a:cubicBezTo>
                  <a:cubicBezTo>
                    <a:pt x="72" y="6"/>
                    <a:pt x="66" y="4"/>
                    <a:pt x="61" y="4"/>
                  </a:cubicBezTo>
                  <a:cubicBezTo>
                    <a:pt x="59" y="4"/>
                    <a:pt x="57" y="4"/>
                    <a:pt x="56" y="3"/>
                  </a:cubicBezTo>
                  <a:cubicBezTo>
                    <a:pt x="54" y="3"/>
                    <a:pt x="52" y="2"/>
                    <a:pt x="50" y="3"/>
                  </a:cubicBezTo>
                  <a:cubicBezTo>
                    <a:pt x="49" y="4"/>
                    <a:pt x="48" y="4"/>
                    <a:pt x="46" y="4"/>
                  </a:cubicBezTo>
                  <a:cubicBezTo>
                    <a:pt x="43" y="4"/>
                    <a:pt x="39" y="3"/>
                    <a:pt x="37" y="2"/>
                  </a:cubicBezTo>
                  <a:cubicBezTo>
                    <a:pt x="37" y="1"/>
                    <a:pt x="35" y="2"/>
                    <a:pt x="34" y="2"/>
                  </a:cubicBezTo>
                  <a:cubicBezTo>
                    <a:pt x="33" y="3"/>
                    <a:pt x="32" y="3"/>
                    <a:pt x="31" y="3"/>
                  </a:cubicBezTo>
                  <a:cubicBezTo>
                    <a:pt x="30" y="3"/>
                    <a:pt x="29" y="3"/>
                    <a:pt x="29" y="3"/>
                  </a:cubicBezTo>
                  <a:cubicBezTo>
                    <a:pt x="28" y="2"/>
                    <a:pt x="28" y="2"/>
                    <a:pt x="27" y="1"/>
                  </a:cubicBezTo>
                  <a:cubicBezTo>
                    <a:pt x="24" y="3"/>
                    <a:pt x="21" y="5"/>
                    <a:pt x="19" y="8"/>
                  </a:cubicBezTo>
                  <a:cubicBezTo>
                    <a:pt x="15" y="13"/>
                    <a:pt x="10" y="14"/>
                    <a:pt x="5" y="15"/>
                  </a:cubicBezTo>
                  <a:cubicBezTo>
                    <a:pt x="5" y="15"/>
                    <a:pt x="5" y="15"/>
                    <a:pt x="5" y="15"/>
                  </a:cubicBezTo>
                  <a:cubicBezTo>
                    <a:pt x="4" y="15"/>
                    <a:pt x="2" y="16"/>
                    <a:pt x="1" y="1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8" name="Freeform 75"/>
            <p:cNvSpPr>
              <a:spLocks noEditPoints="1"/>
            </p:cNvSpPr>
            <p:nvPr/>
          </p:nvSpPr>
          <p:spPr>
            <a:xfrm>
              <a:off x="4545014" y="2693988"/>
              <a:ext cx="84138" cy="150813"/>
            </a:xfrm>
            <a:custGeom>
              <a:gdLst>
                <a:gd name="T0" fmla="*/ 10 w 50"/>
                <a:gd name="T1" fmla="*/ 86 h 89"/>
                <a:gd name="T2" fmla="*/ 8 w 50"/>
                <a:gd name="T3" fmla="*/ 62 h 89"/>
                <a:gd name="T4" fmla="*/ 0 w 50"/>
                <a:gd name="T5" fmla="*/ 54 h 89"/>
                <a:gd name="T6" fmla="*/ 12 w 50"/>
                <a:gd name="T7" fmla="*/ 14 h 89"/>
                <a:gd name="T8" fmla="*/ 11 w 50"/>
                <a:gd name="T9" fmla="*/ 3 h 89"/>
                <a:gd name="T10" fmla="*/ 15 w 50"/>
                <a:gd name="T11" fmla="*/ 2 h 89"/>
                <a:gd name="T12" fmla="*/ 21 w 50"/>
                <a:gd name="T13" fmla="*/ 3 h 89"/>
                <a:gd name="T14" fmla="*/ 25 w 50"/>
                <a:gd name="T15" fmla="*/ 5 h 89"/>
                <a:gd name="T16" fmla="*/ 30 w 50"/>
                <a:gd name="T17" fmla="*/ 4 h 89"/>
                <a:gd name="T18" fmla="*/ 33 w 50"/>
                <a:gd name="T19" fmla="*/ 6 h 89"/>
                <a:gd name="T20" fmla="*/ 40 w 50"/>
                <a:gd name="T21" fmla="*/ 3 h 89"/>
                <a:gd name="T22" fmla="*/ 47 w 50"/>
                <a:gd name="T23" fmla="*/ 8 h 89"/>
                <a:gd name="T24" fmla="*/ 48 w 50"/>
                <a:gd name="T25" fmla="*/ 13 h 89"/>
                <a:gd name="T26" fmla="*/ 39 w 50"/>
                <a:gd name="T27" fmla="*/ 21 h 89"/>
                <a:gd name="T28" fmla="*/ 40 w 50"/>
                <a:gd name="T29" fmla="*/ 35 h 89"/>
                <a:gd name="T30" fmla="*/ 39 w 50"/>
                <a:gd name="T31" fmla="*/ 44 h 89"/>
                <a:gd name="T32" fmla="*/ 32 w 50"/>
                <a:gd name="T33" fmla="*/ 46 h 89"/>
                <a:gd name="T34" fmla="*/ 39 w 50"/>
                <a:gd name="T35" fmla="*/ 57 h 89"/>
                <a:gd name="T36" fmla="*/ 34 w 50"/>
                <a:gd name="T37" fmla="*/ 61 h 89"/>
                <a:gd name="T38" fmla="*/ 35 w 50"/>
                <a:gd name="T39" fmla="*/ 66 h 89"/>
                <a:gd name="T40" fmla="*/ 37 w 50"/>
                <a:gd name="T41" fmla="*/ 73 h 89"/>
                <a:gd name="T42" fmla="*/ 34 w 50"/>
                <a:gd name="T43" fmla="*/ 86 h 89"/>
                <a:gd name="T44" fmla="*/ 33 w 50"/>
                <a:gd name="T45" fmla="*/ 87 h 89"/>
                <a:gd name="T46" fmla="*/ 22 w 50"/>
                <a:gd name="T47" fmla="*/ 89 h 89"/>
                <a:gd name="T48" fmla="*/ 16 w 50"/>
                <a:gd name="T49" fmla="*/ 89 h 89"/>
                <a:gd name="T50" fmla="*/ 12 w 50"/>
                <a:gd name="T51" fmla="*/ 4 h 89"/>
                <a:gd name="T52" fmla="*/ 3 w 50"/>
                <a:gd name="T53" fmla="*/ 49 h 89"/>
                <a:gd name="T54" fmla="*/ 6 w 50"/>
                <a:gd name="T55" fmla="*/ 59 h 89"/>
                <a:gd name="T56" fmla="*/ 11 w 50"/>
                <a:gd name="T57" fmla="*/ 82 h 89"/>
                <a:gd name="T58" fmla="*/ 16 w 50"/>
                <a:gd name="T59" fmla="*/ 88 h 89"/>
                <a:gd name="T60" fmla="*/ 22 w 50"/>
                <a:gd name="T61" fmla="*/ 88 h 89"/>
                <a:gd name="T62" fmla="*/ 33 w 50"/>
                <a:gd name="T63" fmla="*/ 86 h 89"/>
                <a:gd name="T64" fmla="*/ 37 w 50"/>
                <a:gd name="T65" fmla="*/ 72 h 89"/>
                <a:gd name="T66" fmla="*/ 35 w 50"/>
                <a:gd name="T67" fmla="*/ 67 h 89"/>
                <a:gd name="T68" fmla="*/ 33 w 50"/>
                <a:gd name="T69" fmla="*/ 61 h 89"/>
                <a:gd name="T70" fmla="*/ 38 w 50"/>
                <a:gd name="T71" fmla="*/ 57 h 89"/>
                <a:gd name="T72" fmla="*/ 31 w 50"/>
                <a:gd name="T73" fmla="*/ 46 h 89"/>
                <a:gd name="T74" fmla="*/ 38 w 50"/>
                <a:gd name="T75" fmla="*/ 43 h 89"/>
                <a:gd name="T76" fmla="*/ 39 w 50"/>
                <a:gd name="T77" fmla="*/ 34 h 89"/>
                <a:gd name="T78" fmla="*/ 38 w 50"/>
                <a:gd name="T79" fmla="*/ 21 h 89"/>
                <a:gd name="T80" fmla="*/ 48 w 50"/>
                <a:gd name="T81" fmla="*/ 12 h 89"/>
                <a:gd name="T82" fmla="*/ 47 w 50"/>
                <a:gd name="T83" fmla="*/ 9 h 89"/>
                <a:gd name="T84" fmla="*/ 40 w 50"/>
                <a:gd name="T85" fmla="*/ 4 h 89"/>
                <a:gd name="T86" fmla="*/ 33 w 50"/>
                <a:gd name="T87" fmla="*/ 7 h 89"/>
                <a:gd name="T88" fmla="*/ 30 w 50"/>
                <a:gd name="T89" fmla="*/ 5 h 89"/>
                <a:gd name="T90" fmla="*/ 25 w 50"/>
                <a:gd name="T91" fmla="*/ 6 h 89"/>
                <a:gd name="T92" fmla="*/ 20 w 50"/>
                <a:gd name="T93" fmla="*/ 3 h 89"/>
                <a:gd name="T94" fmla="*/ 16 w 50"/>
                <a:gd name="T95" fmla="*/ 3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89">
                  <a:moveTo>
                    <a:pt x="16" y="89"/>
                  </a:moveTo>
                  <a:cubicBezTo>
                    <a:pt x="14" y="89"/>
                    <a:pt x="10" y="89"/>
                    <a:pt x="10" y="86"/>
                  </a:cubicBezTo>
                  <a:cubicBezTo>
                    <a:pt x="10" y="85"/>
                    <a:pt x="10" y="84"/>
                    <a:pt x="10" y="82"/>
                  </a:cubicBezTo>
                  <a:cubicBezTo>
                    <a:pt x="11" y="76"/>
                    <a:pt x="13" y="65"/>
                    <a:pt x="8" y="62"/>
                  </a:cubicBezTo>
                  <a:cubicBezTo>
                    <a:pt x="7" y="61"/>
                    <a:pt x="6" y="60"/>
                    <a:pt x="6" y="60"/>
                  </a:cubicBezTo>
                  <a:cubicBezTo>
                    <a:pt x="3" y="58"/>
                    <a:pt x="0" y="56"/>
                    <a:pt x="0" y="54"/>
                  </a:cubicBezTo>
                  <a:cubicBezTo>
                    <a:pt x="0" y="52"/>
                    <a:pt x="1" y="50"/>
                    <a:pt x="3" y="48"/>
                  </a:cubicBezTo>
                  <a:cubicBezTo>
                    <a:pt x="8" y="42"/>
                    <a:pt x="14" y="18"/>
                    <a:pt x="12" y="14"/>
                  </a:cubicBezTo>
                  <a:cubicBezTo>
                    <a:pt x="10" y="12"/>
                    <a:pt x="11" y="8"/>
                    <a:pt x="11" y="4"/>
                  </a:cubicBezTo>
                  <a:cubicBezTo>
                    <a:pt x="11" y="3"/>
                    <a:pt x="11" y="3"/>
                    <a:pt x="11" y="3"/>
                  </a:cubicBezTo>
                  <a:cubicBezTo>
                    <a:pt x="12" y="3"/>
                    <a:pt x="12" y="3"/>
                    <a:pt x="12" y="3"/>
                  </a:cubicBezTo>
                  <a:cubicBezTo>
                    <a:pt x="13" y="3"/>
                    <a:pt x="15" y="3"/>
                    <a:pt x="15" y="2"/>
                  </a:cubicBezTo>
                  <a:cubicBezTo>
                    <a:pt x="16" y="0"/>
                    <a:pt x="18" y="0"/>
                    <a:pt x="19" y="0"/>
                  </a:cubicBezTo>
                  <a:cubicBezTo>
                    <a:pt x="20" y="0"/>
                    <a:pt x="21" y="1"/>
                    <a:pt x="21" y="3"/>
                  </a:cubicBezTo>
                  <a:cubicBezTo>
                    <a:pt x="22" y="4"/>
                    <a:pt x="22" y="4"/>
                    <a:pt x="22" y="4"/>
                  </a:cubicBezTo>
                  <a:cubicBezTo>
                    <a:pt x="23" y="4"/>
                    <a:pt x="24" y="5"/>
                    <a:pt x="25" y="5"/>
                  </a:cubicBezTo>
                  <a:cubicBezTo>
                    <a:pt x="26" y="5"/>
                    <a:pt x="27" y="4"/>
                    <a:pt x="28" y="4"/>
                  </a:cubicBezTo>
                  <a:cubicBezTo>
                    <a:pt x="28" y="4"/>
                    <a:pt x="29" y="4"/>
                    <a:pt x="30" y="4"/>
                  </a:cubicBezTo>
                  <a:cubicBezTo>
                    <a:pt x="31" y="4"/>
                    <a:pt x="32" y="5"/>
                    <a:pt x="32" y="5"/>
                  </a:cubicBezTo>
                  <a:cubicBezTo>
                    <a:pt x="33" y="5"/>
                    <a:pt x="33" y="6"/>
                    <a:pt x="33" y="6"/>
                  </a:cubicBezTo>
                  <a:cubicBezTo>
                    <a:pt x="33" y="6"/>
                    <a:pt x="34" y="5"/>
                    <a:pt x="35" y="4"/>
                  </a:cubicBezTo>
                  <a:cubicBezTo>
                    <a:pt x="37" y="3"/>
                    <a:pt x="38" y="3"/>
                    <a:pt x="40" y="3"/>
                  </a:cubicBezTo>
                  <a:cubicBezTo>
                    <a:pt x="43" y="3"/>
                    <a:pt x="45" y="4"/>
                    <a:pt x="45" y="6"/>
                  </a:cubicBezTo>
                  <a:cubicBezTo>
                    <a:pt x="45" y="7"/>
                    <a:pt x="46" y="8"/>
                    <a:pt x="47" y="8"/>
                  </a:cubicBezTo>
                  <a:cubicBezTo>
                    <a:pt x="48" y="9"/>
                    <a:pt x="49" y="9"/>
                    <a:pt x="50" y="10"/>
                  </a:cubicBezTo>
                  <a:cubicBezTo>
                    <a:pt x="50" y="11"/>
                    <a:pt x="49" y="11"/>
                    <a:pt x="48" y="13"/>
                  </a:cubicBezTo>
                  <a:cubicBezTo>
                    <a:pt x="47" y="14"/>
                    <a:pt x="45" y="15"/>
                    <a:pt x="43" y="17"/>
                  </a:cubicBezTo>
                  <a:cubicBezTo>
                    <a:pt x="41" y="18"/>
                    <a:pt x="39" y="19"/>
                    <a:pt x="39" y="21"/>
                  </a:cubicBezTo>
                  <a:cubicBezTo>
                    <a:pt x="39" y="21"/>
                    <a:pt x="40" y="23"/>
                    <a:pt x="40" y="24"/>
                  </a:cubicBezTo>
                  <a:cubicBezTo>
                    <a:pt x="41" y="28"/>
                    <a:pt x="43" y="32"/>
                    <a:pt x="40" y="35"/>
                  </a:cubicBezTo>
                  <a:cubicBezTo>
                    <a:pt x="38" y="36"/>
                    <a:pt x="39" y="39"/>
                    <a:pt x="39" y="41"/>
                  </a:cubicBezTo>
                  <a:cubicBezTo>
                    <a:pt x="39" y="42"/>
                    <a:pt x="39" y="43"/>
                    <a:pt x="39" y="44"/>
                  </a:cubicBezTo>
                  <a:cubicBezTo>
                    <a:pt x="38" y="44"/>
                    <a:pt x="38" y="45"/>
                    <a:pt x="37" y="45"/>
                  </a:cubicBezTo>
                  <a:cubicBezTo>
                    <a:pt x="35" y="45"/>
                    <a:pt x="33" y="45"/>
                    <a:pt x="32" y="46"/>
                  </a:cubicBezTo>
                  <a:cubicBezTo>
                    <a:pt x="32" y="47"/>
                    <a:pt x="33" y="49"/>
                    <a:pt x="34" y="49"/>
                  </a:cubicBezTo>
                  <a:cubicBezTo>
                    <a:pt x="38" y="54"/>
                    <a:pt x="40" y="56"/>
                    <a:pt x="39" y="57"/>
                  </a:cubicBezTo>
                  <a:cubicBezTo>
                    <a:pt x="39" y="58"/>
                    <a:pt x="38" y="58"/>
                    <a:pt x="38" y="58"/>
                  </a:cubicBezTo>
                  <a:cubicBezTo>
                    <a:pt x="36" y="58"/>
                    <a:pt x="35" y="60"/>
                    <a:pt x="34" y="61"/>
                  </a:cubicBezTo>
                  <a:cubicBezTo>
                    <a:pt x="34" y="63"/>
                    <a:pt x="34" y="65"/>
                    <a:pt x="34" y="65"/>
                  </a:cubicBezTo>
                  <a:cubicBezTo>
                    <a:pt x="35" y="66"/>
                    <a:pt x="35" y="66"/>
                    <a:pt x="35" y="66"/>
                  </a:cubicBezTo>
                  <a:cubicBezTo>
                    <a:pt x="38" y="68"/>
                    <a:pt x="40" y="70"/>
                    <a:pt x="40" y="72"/>
                  </a:cubicBezTo>
                  <a:cubicBezTo>
                    <a:pt x="39" y="73"/>
                    <a:pt x="39" y="73"/>
                    <a:pt x="37" y="73"/>
                  </a:cubicBezTo>
                  <a:cubicBezTo>
                    <a:pt x="32" y="74"/>
                    <a:pt x="32" y="79"/>
                    <a:pt x="32" y="82"/>
                  </a:cubicBezTo>
                  <a:cubicBezTo>
                    <a:pt x="32" y="83"/>
                    <a:pt x="32" y="84"/>
                    <a:pt x="34" y="86"/>
                  </a:cubicBezTo>
                  <a:cubicBezTo>
                    <a:pt x="34" y="87"/>
                    <a:pt x="34" y="87"/>
                    <a:pt x="34" y="87"/>
                  </a:cubicBezTo>
                  <a:cubicBezTo>
                    <a:pt x="33" y="87"/>
                    <a:pt x="33" y="87"/>
                    <a:pt x="33" y="87"/>
                  </a:cubicBezTo>
                  <a:cubicBezTo>
                    <a:pt x="32" y="87"/>
                    <a:pt x="30" y="88"/>
                    <a:pt x="29" y="88"/>
                  </a:cubicBezTo>
                  <a:cubicBezTo>
                    <a:pt x="26" y="89"/>
                    <a:pt x="24" y="89"/>
                    <a:pt x="22" y="89"/>
                  </a:cubicBezTo>
                  <a:cubicBezTo>
                    <a:pt x="21" y="89"/>
                    <a:pt x="20" y="89"/>
                    <a:pt x="18" y="89"/>
                  </a:cubicBezTo>
                  <a:cubicBezTo>
                    <a:pt x="18" y="89"/>
                    <a:pt x="17" y="89"/>
                    <a:pt x="16" y="89"/>
                  </a:cubicBezTo>
                  <a:close/>
                  <a:moveTo>
                    <a:pt x="12" y="4"/>
                  </a:moveTo>
                  <a:cubicBezTo>
                    <a:pt x="12" y="4"/>
                    <a:pt x="12" y="4"/>
                    <a:pt x="12" y="4"/>
                  </a:cubicBezTo>
                  <a:cubicBezTo>
                    <a:pt x="12" y="8"/>
                    <a:pt x="11" y="12"/>
                    <a:pt x="12" y="13"/>
                  </a:cubicBezTo>
                  <a:cubicBezTo>
                    <a:pt x="15" y="18"/>
                    <a:pt x="9" y="42"/>
                    <a:pt x="3" y="49"/>
                  </a:cubicBezTo>
                  <a:cubicBezTo>
                    <a:pt x="2" y="51"/>
                    <a:pt x="1" y="52"/>
                    <a:pt x="1" y="54"/>
                  </a:cubicBezTo>
                  <a:cubicBezTo>
                    <a:pt x="1" y="55"/>
                    <a:pt x="3" y="57"/>
                    <a:pt x="6" y="59"/>
                  </a:cubicBezTo>
                  <a:cubicBezTo>
                    <a:pt x="7" y="59"/>
                    <a:pt x="8" y="60"/>
                    <a:pt x="9" y="61"/>
                  </a:cubicBezTo>
                  <a:cubicBezTo>
                    <a:pt x="14" y="65"/>
                    <a:pt x="12" y="75"/>
                    <a:pt x="11" y="82"/>
                  </a:cubicBezTo>
                  <a:cubicBezTo>
                    <a:pt x="11" y="84"/>
                    <a:pt x="11" y="85"/>
                    <a:pt x="11" y="86"/>
                  </a:cubicBezTo>
                  <a:cubicBezTo>
                    <a:pt x="11" y="88"/>
                    <a:pt x="12" y="88"/>
                    <a:pt x="16" y="88"/>
                  </a:cubicBezTo>
                  <a:cubicBezTo>
                    <a:pt x="17" y="88"/>
                    <a:pt x="18" y="88"/>
                    <a:pt x="18" y="88"/>
                  </a:cubicBezTo>
                  <a:cubicBezTo>
                    <a:pt x="19" y="88"/>
                    <a:pt x="21" y="88"/>
                    <a:pt x="22" y="88"/>
                  </a:cubicBezTo>
                  <a:cubicBezTo>
                    <a:pt x="24" y="88"/>
                    <a:pt x="26" y="88"/>
                    <a:pt x="29" y="87"/>
                  </a:cubicBezTo>
                  <a:cubicBezTo>
                    <a:pt x="30" y="87"/>
                    <a:pt x="31" y="86"/>
                    <a:pt x="33" y="86"/>
                  </a:cubicBezTo>
                  <a:cubicBezTo>
                    <a:pt x="31" y="84"/>
                    <a:pt x="31" y="83"/>
                    <a:pt x="31" y="82"/>
                  </a:cubicBezTo>
                  <a:cubicBezTo>
                    <a:pt x="31" y="79"/>
                    <a:pt x="31" y="74"/>
                    <a:pt x="37" y="72"/>
                  </a:cubicBezTo>
                  <a:cubicBezTo>
                    <a:pt x="38" y="72"/>
                    <a:pt x="39" y="72"/>
                    <a:pt x="39" y="71"/>
                  </a:cubicBezTo>
                  <a:cubicBezTo>
                    <a:pt x="39" y="70"/>
                    <a:pt x="36" y="68"/>
                    <a:pt x="35" y="67"/>
                  </a:cubicBezTo>
                  <a:cubicBezTo>
                    <a:pt x="34" y="67"/>
                    <a:pt x="34" y="66"/>
                    <a:pt x="33" y="66"/>
                  </a:cubicBezTo>
                  <a:cubicBezTo>
                    <a:pt x="32" y="65"/>
                    <a:pt x="33" y="63"/>
                    <a:pt x="33" y="61"/>
                  </a:cubicBezTo>
                  <a:cubicBezTo>
                    <a:pt x="34" y="59"/>
                    <a:pt x="36" y="57"/>
                    <a:pt x="38" y="57"/>
                  </a:cubicBezTo>
                  <a:cubicBezTo>
                    <a:pt x="38" y="57"/>
                    <a:pt x="38" y="57"/>
                    <a:pt x="38" y="57"/>
                  </a:cubicBezTo>
                  <a:cubicBezTo>
                    <a:pt x="38" y="57"/>
                    <a:pt x="38" y="55"/>
                    <a:pt x="33" y="50"/>
                  </a:cubicBezTo>
                  <a:cubicBezTo>
                    <a:pt x="31" y="49"/>
                    <a:pt x="31" y="47"/>
                    <a:pt x="31" y="46"/>
                  </a:cubicBezTo>
                  <a:cubicBezTo>
                    <a:pt x="32" y="44"/>
                    <a:pt x="35" y="44"/>
                    <a:pt x="37" y="44"/>
                  </a:cubicBezTo>
                  <a:cubicBezTo>
                    <a:pt x="38" y="44"/>
                    <a:pt x="38" y="43"/>
                    <a:pt x="38" y="43"/>
                  </a:cubicBezTo>
                  <a:cubicBezTo>
                    <a:pt x="38" y="43"/>
                    <a:pt x="38" y="42"/>
                    <a:pt x="38" y="41"/>
                  </a:cubicBezTo>
                  <a:cubicBezTo>
                    <a:pt x="38" y="39"/>
                    <a:pt x="37" y="36"/>
                    <a:pt x="39" y="34"/>
                  </a:cubicBezTo>
                  <a:cubicBezTo>
                    <a:pt x="42" y="32"/>
                    <a:pt x="40" y="28"/>
                    <a:pt x="39" y="25"/>
                  </a:cubicBezTo>
                  <a:cubicBezTo>
                    <a:pt x="39" y="23"/>
                    <a:pt x="38" y="22"/>
                    <a:pt x="38" y="21"/>
                  </a:cubicBezTo>
                  <a:cubicBezTo>
                    <a:pt x="38" y="18"/>
                    <a:pt x="40" y="17"/>
                    <a:pt x="42" y="16"/>
                  </a:cubicBezTo>
                  <a:cubicBezTo>
                    <a:pt x="44" y="15"/>
                    <a:pt x="46" y="14"/>
                    <a:pt x="48" y="12"/>
                  </a:cubicBezTo>
                  <a:cubicBezTo>
                    <a:pt x="49" y="11"/>
                    <a:pt x="49" y="10"/>
                    <a:pt x="49" y="10"/>
                  </a:cubicBezTo>
                  <a:cubicBezTo>
                    <a:pt x="49" y="10"/>
                    <a:pt x="48" y="9"/>
                    <a:pt x="47" y="9"/>
                  </a:cubicBezTo>
                  <a:cubicBezTo>
                    <a:pt x="46" y="9"/>
                    <a:pt x="44" y="8"/>
                    <a:pt x="44" y="6"/>
                  </a:cubicBezTo>
                  <a:cubicBezTo>
                    <a:pt x="44" y="5"/>
                    <a:pt x="42" y="4"/>
                    <a:pt x="40" y="4"/>
                  </a:cubicBezTo>
                  <a:cubicBezTo>
                    <a:pt x="38" y="4"/>
                    <a:pt x="37" y="4"/>
                    <a:pt x="36" y="5"/>
                  </a:cubicBezTo>
                  <a:cubicBezTo>
                    <a:pt x="34" y="6"/>
                    <a:pt x="34" y="7"/>
                    <a:pt x="33" y="7"/>
                  </a:cubicBezTo>
                  <a:cubicBezTo>
                    <a:pt x="32" y="7"/>
                    <a:pt x="32" y="6"/>
                    <a:pt x="32" y="6"/>
                  </a:cubicBezTo>
                  <a:cubicBezTo>
                    <a:pt x="31" y="6"/>
                    <a:pt x="31" y="5"/>
                    <a:pt x="30" y="5"/>
                  </a:cubicBezTo>
                  <a:cubicBezTo>
                    <a:pt x="29" y="5"/>
                    <a:pt x="28" y="5"/>
                    <a:pt x="28" y="5"/>
                  </a:cubicBezTo>
                  <a:cubicBezTo>
                    <a:pt x="27" y="5"/>
                    <a:pt x="26" y="6"/>
                    <a:pt x="25" y="6"/>
                  </a:cubicBezTo>
                  <a:cubicBezTo>
                    <a:pt x="24" y="6"/>
                    <a:pt x="23" y="5"/>
                    <a:pt x="22" y="5"/>
                  </a:cubicBezTo>
                  <a:cubicBezTo>
                    <a:pt x="21" y="5"/>
                    <a:pt x="20" y="3"/>
                    <a:pt x="20" y="3"/>
                  </a:cubicBezTo>
                  <a:cubicBezTo>
                    <a:pt x="20" y="1"/>
                    <a:pt x="20" y="1"/>
                    <a:pt x="19" y="1"/>
                  </a:cubicBezTo>
                  <a:cubicBezTo>
                    <a:pt x="18" y="1"/>
                    <a:pt x="17" y="1"/>
                    <a:pt x="16" y="3"/>
                  </a:cubicBezTo>
                  <a:cubicBezTo>
                    <a:pt x="15" y="3"/>
                    <a:pt x="14" y="4"/>
                    <a:pt x="12"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49" name="Freeform 76"/>
            <p:cNvSpPr>
              <a:spLocks noEditPoints="1"/>
            </p:cNvSpPr>
            <p:nvPr/>
          </p:nvSpPr>
          <p:spPr>
            <a:xfrm>
              <a:off x="4860926" y="2332038"/>
              <a:ext cx="103188" cy="90488"/>
            </a:xfrm>
            <a:custGeom>
              <a:gdLst>
                <a:gd name="T0" fmla="*/ 43 w 61"/>
                <a:gd name="T1" fmla="*/ 53 h 53"/>
                <a:gd name="T2" fmla="*/ 34 w 61"/>
                <a:gd name="T3" fmla="*/ 46 h 53"/>
                <a:gd name="T4" fmla="*/ 24 w 61"/>
                <a:gd name="T5" fmla="*/ 40 h 53"/>
                <a:gd name="T6" fmla="*/ 6 w 61"/>
                <a:gd name="T7" fmla="*/ 46 h 53"/>
                <a:gd name="T8" fmla="*/ 0 w 61"/>
                <a:gd name="T9" fmla="*/ 44 h 53"/>
                <a:gd name="T10" fmla="*/ 3 w 61"/>
                <a:gd name="T11" fmla="*/ 42 h 53"/>
                <a:gd name="T12" fmla="*/ 18 w 61"/>
                <a:gd name="T13" fmla="*/ 22 h 53"/>
                <a:gd name="T14" fmla="*/ 22 w 61"/>
                <a:gd name="T15" fmla="*/ 13 h 53"/>
                <a:gd name="T16" fmla="*/ 29 w 61"/>
                <a:gd name="T17" fmla="*/ 14 h 53"/>
                <a:gd name="T18" fmla="*/ 35 w 61"/>
                <a:gd name="T19" fmla="*/ 14 h 53"/>
                <a:gd name="T20" fmla="*/ 34 w 61"/>
                <a:gd name="T21" fmla="*/ 8 h 53"/>
                <a:gd name="T22" fmla="*/ 42 w 61"/>
                <a:gd name="T23" fmla="*/ 2 h 53"/>
                <a:gd name="T24" fmla="*/ 56 w 61"/>
                <a:gd name="T25" fmla="*/ 2 h 53"/>
                <a:gd name="T26" fmla="*/ 59 w 61"/>
                <a:gd name="T27" fmla="*/ 1 h 53"/>
                <a:gd name="T28" fmla="*/ 60 w 61"/>
                <a:gd name="T29" fmla="*/ 1 h 53"/>
                <a:gd name="T30" fmla="*/ 54 w 61"/>
                <a:gd name="T31" fmla="*/ 17 h 53"/>
                <a:gd name="T32" fmla="*/ 54 w 61"/>
                <a:gd name="T33" fmla="*/ 19 h 53"/>
                <a:gd name="T34" fmla="*/ 56 w 61"/>
                <a:gd name="T35" fmla="*/ 27 h 53"/>
                <a:gd name="T36" fmla="*/ 46 w 61"/>
                <a:gd name="T37" fmla="*/ 35 h 53"/>
                <a:gd name="T38" fmla="*/ 46 w 61"/>
                <a:gd name="T39" fmla="*/ 37 h 53"/>
                <a:gd name="T40" fmla="*/ 44 w 61"/>
                <a:gd name="T41" fmla="*/ 50 h 53"/>
                <a:gd name="T42" fmla="*/ 44 w 61"/>
                <a:gd name="T43" fmla="*/ 53 h 53"/>
                <a:gd name="T44" fmla="*/ 30 w 61"/>
                <a:gd name="T45" fmla="*/ 42 h 53"/>
                <a:gd name="T46" fmla="*/ 41 w 61"/>
                <a:gd name="T47" fmla="*/ 49 h 53"/>
                <a:gd name="T48" fmla="*/ 43 w 61"/>
                <a:gd name="T49" fmla="*/ 49 h 53"/>
                <a:gd name="T50" fmla="*/ 45 w 61"/>
                <a:gd name="T51" fmla="*/ 37 h 53"/>
                <a:gd name="T52" fmla="*/ 46 w 61"/>
                <a:gd name="T53" fmla="*/ 34 h 53"/>
                <a:gd name="T54" fmla="*/ 55 w 61"/>
                <a:gd name="T55" fmla="*/ 27 h 53"/>
                <a:gd name="T56" fmla="*/ 53 w 61"/>
                <a:gd name="T57" fmla="*/ 20 h 53"/>
                <a:gd name="T58" fmla="*/ 52 w 61"/>
                <a:gd name="T59" fmla="*/ 17 h 53"/>
                <a:gd name="T60" fmla="*/ 59 w 61"/>
                <a:gd name="T61" fmla="*/ 11 h 53"/>
                <a:gd name="T62" fmla="*/ 55 w 61"/>
                <a:gd name="T63" fmla="*/ 3 h 53"/>
                <a:gd name="T64" fmla="*/ 42 w 61"/>
                <a:gd name="T65" fmla="*/ 3 h 53"/>
                <a:gd name="T66" fmla="*/ 35 w 61"/>
                <a:gd name="T67" fmla="*/ 9 h 53"/>
                <a:gd name="T68" fmla="*/ 36 w 61"/>
                <a:gd name="T69" fmla="*/ 15 h 53"/>
                <a:gd name="T70" fmla="*/ 28 w 61"/>
                <a:gd name="T71" fmla="*/ 14 h 53"/>
                <a:gd name="T72" fmla="*/ 23 w 61"/>
                <a:gd name="T73" fmla="*/ 14 h 53"/>
                <a:gd name="T74" fmla="*/ 19 w 61"/>
                <a:gd name="T75" fmla="*/ 23 h 53"/>
                <a:gd name="T76" fmla="*/ 4 w 61"/>
                <a:gd name="T77" fmla="*/ 43 h 53"/>
                <a:gd name="T78" fmla="*/ 6 w 61"/>
                <a:gd name="T79" fmla="*/ 45 h 53"/>
                <a:gd name="T80" fmla="*/ 24 w 61"/>
                <a:gd name="T81" fmla="*/ 39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53">
                  <a:moveTo>
                    <a:pt x="44" y="53"/>
                  </a:moveTo>
                  <a:cubicBezTo>
                    <a:pt x="43" y="53"/>
                    <a:pt x="43" y="53"/>
                    <a:pt x="43" y="53"/>
                  </a:cubicBezTo>
                  <a:cubicBezTo>
                    <a:pt x="42" y="52"/>
                    <a:pt x="41" y="51"/>
                    <a:pt x="40" y="50"/>
                  </a:cubicBezTo>
                  <a:cubicBezTo>
                    <a:pt x="38" y="48"/>
                    <a:pt x="36" y="47"/>
                    <a:pt x="34" y="46"/>
                  </a:cubicBezTo>
                  <a:cubicBezTo>
                    <a:pt x="32" y="45"/>
                    <a:pt x="31" y="44"/>
                    <a:pt x="29" y="43"/>
                  </a:cubicBezTo>
                  <a:cubicBezTo>
                    <a:pt x="28" y="41"/>
                    <a:pt x="26" y="40"/>
                    <a:pt x="24" y="40"/>
                  </a:cubicBezTo>
                  <a:cubicBezTo>
                    <a:pt x="22" y="40"/>
                    <a:pt x="21" y="40"/>
                    <a:pt x="20" y="41"/>
                  </a:cubicBezTo>
                  <a:cubicBezTo>
                    <a:pt x="17" y="44"/>
                    <a:pt x="10" y="46"/>
                    <a:pt x="6" y="46"/>
                  </a:cubicBezTo>
                  <a:cubicBezTo>
                    <a:pt x="5" y="46"/>
                    <a:pt x="4" y="45"/>
                    <a:pt x="1" y="44"/>
                  </a:cubicBezTo>
                  <a:cubicBezTo>
                    <a:pt x="0" y="44"/>
                    <a:pt x="0" y="44"/>
                    <a:pt x="0" y="44"/>
                  </a:cubicBezTo>
                  <a:cubicBezTo>
                    <a:pt x="1" y="43"/>
                    <a:pt x="1" y="43"/>
                    <a:pt x="1" y="43"/>
                  </a:cubicBezTo>
                  <a:cubicBezTo>
                    <a:pt x="2" y="43"/>
                    <a:pt x="2" y="42"/>
                    <a:pt x="3" y="42"/>
                  </a:cubicBezTo>
                  <a:cubicBezTo>
                    <a:pt x="8" y="39"/>
                    <a:pt x="15" y="34"/>
                    <a:pt x="14" y="29"/>
                  </a:cubicBezTo>
                  <a:cubicBezTo>
                    <a:pt x="14" y="26"/>
                    <a:pt x="16" y="24"/>
                    <a:pt x="18" y="22"/>
                  </a:cubicBezTo>
                  <a:cubicBezTo>
                    <a:pt x="20" y="20"/>
                    <a:pt x="21" y="19"/>
                    <a:pt x="21" y="17"/>
                  </a:cubicBezTo>
                  <a:cubicBezTo>
                    <a:pt x="21" y="16"/>
                    <a:pt x="21" y="14"/>
                    <a:pt x="22" y="13"/>
                  </a:cubicBezTo>
                  <a:cubicBezTo>
                    <a:pt x="23" y="12"/>
                    <a:pt x="25" y="11"/>
                    <a:pt x="26" y="11"/>
                  </a:cubicBezTo>
                  <a:cubicBezTo>
                    <a:pt x="28" y="11"/>
                    <a:pt x="28" y="12"/>
                    <a:pt x="29" y="14"/>
                  </a:cubicBezTo>
                  <a:cubicBezTo>
                    <a:pt x="29" y="15"/>
                    <a:pt x="31" y="15"/>
                    <a:pt x="32" y="15"/>
                  </a:cubicBezTo>
                  <a:cubicBezTo>
                    <a:pt x="34" y="15"/>
                    <a:pt x="35" y="15"/>
                    <a:pt x="35" y="14"/>
                  </a:cubicBezTo>
                  <a:cubicBezTo>
                    <a:pt x="35" y="14"/>
                    <a:pt x="35" y="14"/>
                    <a:pt x="35" y="14"/>
                  </a:cubicBezTo>
                  <a:cubicBezTo>
                    <a:pt x="34" y="12"/>
                    <a:pt x="33" y="10"/>
                    <a:pt x="34" y="8"/>
                  </a:cubicBezTo>
                  <a:cubicBezTo>
                    <a:pt x="35" y="5"/>
                    <a:pt x="38" y="3"/>
                    <a:pt x="41" y="3"/>
                  </a:cubicBezTo>
                  <a:cubicBezTo>
                    <a:pt x="42" y="2"/>
                    <a:pt x="42" y="2"/>
                    <a:pt x="42" y="2"/>
                  </a:cubicBezTo>
                  <a:cubicBezTo>
                    <a:pt x="45" y="2"/>
                    <a:pt x="48" y="1"/>
                    <a:pt x="51" y="1"/>
                  </a:cubicBezTo>
                  <a:cubicBezTo>
                    <a:pt x="53" y="1"/>
                    <a:pt x="55" y="1"/>
                    <a:pt x="56" y="2"/>
                  </a:cubicBezTo>
                  <a:cubicBezTo>
                    <a:pt x="57" y="3"/>
                    <a:pt x="57" y="3"/>
                    <a:pt x="57" y="3"/>
                  </a:cubicBezTo>
                  <a:cubicBezTo>
                    <a:pt x="58" y="3"/>
                    <a:pt x="59" y="2"/>
                    <a:pt x="59" y="1"/>
                  </a:cubicBezTo>
                  <a:cubicBezTo>
                    <a:pt x="59" y="0"/>
                    <a:pt x="59" y="0"/>
                    <a:pt x="59" y="0"/>
                  </a:cubicBezTo>
                  <a:cubicBezTo>
                    <a:pt x="60" y="1"/>
                    <a:pt x="60" y="1"/>
                    <a:pt x="60" y="1"/>
                  </a:cubicBezTo>
                  <a:cubicBezTo>
                    <a:pt x="61" y="6"/>
                    <a:pt x="61" y="10"/>
                    <a:pt x="60" y="11"/>
                  </a:cubicBezTo>
                  <a:cubicBezTo>
                    <a:pt x="58" y="14"/>
                    <a:pt x="56" y="16"/>
                    <a:pt x="54" y="17"/>
                  </a:cubicBezTo>
                  <a:cubicBezTo>
                    <a:pt x="54" y="17"/>
                    <a:pt x="53" y="17"/>
                    <a:pt x="53" y="18"/>
                  </a:cubicBezTo>
                  <a:cubicBezTo>
                    <a:pt x="53" y="18"/>
                    <a:pt x="54" y="18"/>
                    <a:pt x="54" y="19"/>
                  </a:cubicBezTo>
                  <a:cubicBezTo>
                    <a:pt x="56" y="21"/>
                    <a:pt x="59" y="24"/>
                    <a:pt x="58" y="26"/>
                  </a:cubicBezTo>
                  <a:cubicBezTo>
                    <a:pt x="57" y="27"/>
                    <a:pt x="56" y="27"/>
                    <a:pt x="56" y="27"/>
                  </a:cubicBezTo>
                  <a:cubicBezTo>
                    <a:pt x="55" y="28"/>
                    <a:pt x="55" y="28"/>
                    <a:pt x="55" y="30"/>
                  </a:cubicBezTo>
                  <a:cubicBezTo>
                    <a:pt x="55" y="35"/>
                    <a:pt x="48" y="35"/>
                    <a:pt x="46" y="35"/>
                  </a:cubicBezTo>
                  <a:cubicBezTo>
                    <a:pt x="46" y="35"/>
                    <a:pt x="46" y="35"/>
                    <a:pt x="46" y="35"/>
                  </a:cubicBezTo>
                  <a:cubicBezTo>
                    <a:pt x="46" y="35"/>
                    <a:pt x="46" y="36"/>
                    <a:pt x="46" y="37"/>
                  </a:cubicBezTo>
                  <a:cubicBezTo>
                    <a:pt x="46" y="38"/>
                    <a:pt x="46" y="40"/>
                    <a:pt x="46" y="41"/>
                  </a:cubicBezTo>
                  <a:cubicBezTo>
                    <a:pt x="45" y="43"/>
                    <a:pt x="45" y="47"/>
                    <a:pt x="44" y="50"/>
                  </a:cubicBezTo>
                  <a:cubicBezTo>
                    <a:pt x="44" y="51"/>
                    <a:pt x="44" y="52"/>
                    <a:pt x="44" y="52"/>
                  </a:cubicBezTo>
                  <a:lnTo>
                    <a:pt x="44" y="53"/>
                  </a:lnTo>
                  <a:close/>
                  <a:moveTo>
                    <a:pt x="24" y="39"/>
                  </a:moveTo>
                  <a:cubicBezTo>
                    <a:pt x="26" y="39"/>
                    <a:pt x="28" y="40"/>
                    <a:pt x="30" y="42"/>
                  </a:cubicBezTo>
                  <a:cubicBezTo>
                    <a:pt x="31" y="43"/>
                    <a:pt x="33" y="44"/>
                    <a:pt x="34" y="45"/>
                  </a:cubicBezTo>
                  <a:cubicBezTo>
                    <a:pt x="36" y="46"/>
                    <a:pt x="38" y="47"/>
                    <a:pt x="41" y="49"/>
                  </a:cubicBezTo>
                  <a:cubicBezTo>
                    <a:pt x="41" y="50"/>
                    <a:pt x="42" y="51"/>
                    <a:pt x="43" y="51"/>
                  </a:cubicBezTo>
                  <a:cubicBezTo>
                    <a:pt x="43" y="51"/>
                    <a:pt x="43" y="50"/>
                    <a:pt x="43" y="49"/>
                  </a:cubicBezTo>
                  <a:cubicBezTo>
                    <a:pt x="44" y="47"/>
                    <a:pt x="44" y="43"/>
                    <a:pt x="45" y="41"/>
                  </a:cubicBezTo>
                  <a:cubicBezTo>
                    <a:pt x="45" y="40"/>
                    <a:pt x="45" y="38"/>
                    <a:pt x="45" y="37"/>
                  </a:cubicBezTo>
                  <a:cubicBezTo>
                    <a:pt x="45" y="36"/>
                    <a:pt x="45" y="35"/>
                    <a:pt x="45" y="34"/>
                  </a:cubicBezTo>
                  <a:cubicBezTo>
                    <a:pt x="46" y="34"/>
                    <a:pt x="46" y="34"/>
                    <a:pt x="46" y="34"/>
                  </a:cubicBezTo>
                  <a:cubicBezTo>
                    <a:pt x="49" y="34"/>
                    <a:pt x="54" y="33"/>
                    <a:pt x="54" y="30"/>
                  </a:cubicBezTo>
                  <a:cubicBezTo>
                    <a:pt x="54" y="28"/>
                    <a:pt x="54" y="27"/>
                    <a:pt x="55" y="27"/>
                  </a:cubicBezTo>
                  <a:cubicBezTo>
                    <a:pt x="56" y="26"/>
                    <a:pt x="56" y="26"/>
                    <a:pt x="57" y="25"/>
                  </a:cubicBezTo>
                  <a:cubicBezTo>
                    <a:pt x="58" y="24"/>
                    <a:pt x="55" y="21"/>
                    <a:pt x="53" y="20"/>
                  </a:cubicBezTo>
                  <a:cubicBezTo>
                    <a:pt x="53" y="19"/>
                    <a:pt x="52" y="19"/>
                    <a:pt x="52" y="18"/>
                  </a:cubicBezTo>
                  <a:cubicBezTo>
                    <a:pt x="52" y="18"/>
                    <a:pt x="52" y="18"/>
                    <a:pt x="52" y="17"/>
                  </a:cubicBezTo>
                  <a:cubicBezTo>
                    <a:pt x="52" y="17"/>
                    <a:pt x="53" y="16"/>
                    <a:pt x="54" y="16"/>
                  </a:cubicBezTo>
                  <a:cubicBezTo>
                    <a:pt x="55" y="15"/>
                    <a:pt x="58" y="14"/>
                    <a:pt x="59" y="11"/>
                  </a:cubicBezTo>
                  <a:cubicBezTo>
                    <a:pt x="60" y="10"/>
                    <a:pt x="61" y="8"/>
                    <a:pt x="59" y="3"/>
                  </a:cubicBezTo>
                  <a:cubicBezTo>
                    <a:pt x="58" y="4"/>
                    <a:pt x="57" y="4"/>
                    <a:pt x="55" y="3"/>
                  </a:cubicBezTo>
                  <a:cubicBezTo>
                    <a:pt x="54" y="2"/>
                    <a:pt x="53" y="2"/>
                    <a:pt x="51" y="2"/>
                  </a:cubicBezTo>
                  <a:cubicBezTo>
                    <a:pt x="49" y="2"/>
                    <a:pt x="45" y="3"/>
                    <a:pt x="42" y="3"/>
                  </a:cubicBezTo>
                  <a:cubicBezTo>
                    <a:pt x="41" y="4"/>
                    <a:pt x="41" y="4"/>
                    <a:pt x="41" y="4"/>
                  </a:cubicBezTo>
                  <a:cubicBezTo>
                    <a:pt x="38" y="4"/>
                    <a:pt x="36" y="6"/>
                    <a:pt x="35" y="9"/>
                  </a:cubicBezTo>
                  <a:cubicBezTo>
                    <a:pt x="34" y="10"/>
                    <a:pt x="35" y="12"/>
                    <a:pt x="35" y="13"/>
                  </a:cubicBezTo>
                  <a:cubicBezTo>
                    <a:pt x="36" y="14"/>
                    <a:pt x="36" y="14"/>
                    <a:pt x="36" y="15"/>
                  </a:cubicBezTo>
                  <a:cubicBezTo>
                    <a:pt x="35" y="16"/>
                    <a:pt x="34" y="16"/>
                    <a:pt x="32" y="16"/>
                  </a:cubicBezTo>
                  <a:cubicBezTo>
                    <a:pt x="30" y="16"/>
                    <a:pt x="28" y="16"/>
                    <a:pt x="28" y="14"/>
                  </a:cubicBezTo>
                  <a:cubicBezTo>
                    <a:pt x="28" y="13"/>
                    <a:pt x="27" y="12"/>
                    <a:pt x="26" y="12"/>
                  </a:cubicBezTo>
                  <a:cubicBezTo>
                    <a:pt x="25" y="12"/>
                    <a:pt x="24" y="13"/>
                    <a:pt x="23" y="14"/>
                  </a:cubicBezTo>
                  <a:cubicBezTo>
                    <a:pt x="23" y="15"/>
                    <a:pt x="22" y="16"/>
                    <a:pt x="22" y="17"/>
                  </a:cubicBezTo>
                  <a:cubicBezTo>
                    <a:pt x="22" y="19"/>
                    <a:pt x="21" y="21"/>
                    <a:pt x="19" y="23"/>
                  </a:cubicBezTo>
                  <a:cubicBezTo>
                    <a:pt x="17" y="24"/>
                    <a:pt x="15" y="26"/>
                    <a:pt x="15" y="29"/>
                  </a:cubicBezTo>
                  <a:cubicBezTo>
                    <a:pt x="16" y="34"/>
                    <a:pt x="9" y="40"/>
                    <a:pt x="4" y="43"/>
                  </a:cubicBezTo>
                  <a:cubicBezTo>
                    <a:pt x="3" y="43"/>
                    <a:pt x="3" y="43"/>
                    <a:pt x="2" y="44"/>
                  </a:cubicBezTo>
                  <a:cubicBezTo>
                    <a:pt x="5" y="45"/>
                    <a:pt x="6" y="45"/>
                    <a:pt x="6" y="45"/>
                  </a:cubicBezTo>
                  <a:cubicBezTo>
                    <a:pt x="10" y="45"/>
                    <a:pt x="17" y="43"/>
                    <a:pt x="20" y="41"/>
                  </a:cubicBezTo>
                  <a:cubicBezTo>
                    <a:pt x="21" y="40"/>
                    <a:pt x="22" y="39"/>
                    <a:pt x="24"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0" name="Freeform 77"/>
            <p:cNvSpPr>
              <a:spLocks noEditPoints="1"/>
            </p:cNvSpPr>
            <p:nvPr/>
          </p:nvSpPr>
          <p:spPr>
            <a:xfrm>
              <a:off x="4924426" y="2443163"/>
              <a:ext cx="20638" cy="25400"/>
            </a:xfrm>
            <a:custGeom>
              <a:gdLst>
                <a:gd name="T0" fmla="*/ 12 w 12"/>
                <a:gd name="T1" fmla="*/ 15 h 15"/>
                <a:gd name="T2" fmla="*/ 11 w 12"/>
                <a:gd name="T3" fmla="*/ 15 h 15"/>
                <a:gd name="T4" fmla="*/ 2 w 12"/>
                <a:gd name="T5" fmla="*/ 14 h 15"/>
                <a:gd name="T6" fmla="*/ 1 w 12"/>
                <a:gd name="T7" fmla="*/ 14 h 15"/>
                <a:gd name="T8" fmla="*/ 1 w 12"/>
                <a:gd name="T9" fmla="*/ 14 h 15"/>
                <a:gd name="T10" fmla="*/ 1 w 12"/>
                <a:gd name="T11" fmla="*/ 13 h 15"/>
                <a:gd name="T12" fmla="*/ 6 w 12"/>
                <a:gd name="T13" fmla="*/ 1 h 15"/>
                <a:gd name="T14" fmla="*/ 8 w 12"/>
                <a:gd name="T15" fmla="*/ 0 h 15"/>
                <a:gd name="T16" fmla="*/ 7 w 12"/>
                <a:gd name="T17" fmla="*/ 1 h 15"/>
                <a:gd name="T18" fmla="*/ 7 w 12"/>
                <a:gd name="T19" fmla="*/ 2 h 15"/>
                <a:gd name="T20" fmla="*/ 8 w 12"/>
                <a:gd name="T21" fmla="*/ 3 h 15"/>
                <a:gd name="T22" fmla="*/ 11 w 12"/>
                <a:gd name="T23" fmla="*/ 14 h 15"/>
                <a:gd name="T24" fmla="*/ 12 w 12"/>
                <a:gd name="T25" fmla="*/ 15 h 15"/>
                <a:gd name="T26" fmla="*/ 2 w 12"/>
                <a:gd name="T27" fmla="*/ 13 h 15"/>
                <a:gd name="T28" fmla="*/ 10 w 12"/>
                <a:gd name="T29" fmla="*/ 14 h 15"/>
                <a:gd name="T30" fmla="*/ 7 w 12"/>
                <a:gd name="T31" fmla="*/ 4 h 15"/>
                <a:gd name="T32" fmla="*/ 6 w 12"/>
                <a:gd name="T33" fmla="*/ 3 h 15"/>
                <a:gd name="T34" fmla="*/ 6 w 12"/>
                <a:gd name="T35" fmla="*/ 2 h 15"/>
                <a:gd name="T36" fmla="*/ 2 w 12"/>
                <a:gd name="T37" fmla="*/ 13 h 15"/>
                <a:gd name="T38" fmla="*/ 2 w 12"/>
                <a:gd name="T39" fmla="*/ 13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5">
                  <a:moveTo>
                    <a:pt x="12" y="15"/>
                  </a:moveTo>
                  <a:cubicBezTo>
                    <a:pt x="11" y="15"/>
                    <a:pt x="11" y="15"/>
                    <a:pt x="11" y="15"/>
                  </a:cubicBezTo>
                  <a:cubicBezTo>
                    <a:pt x="8" y="14"/>
                    <a:pt x="5" y="14"/>
                    <a:pt x="2" y="14"/>
                  </a:cubicBezTo>
                  <a:cubicBezTo>
                    <a:pt x="2" y="14"/>
                    <a:pt x="2" y="14"/>
                    <a:pt x="1" y="14"/>
                  </a:cubicBezTo>
                  <a:cubicBezTo>
                    <a:pt x="1" y="14"/>
                    <a:pt x="1" y="14"/>
                    <a:pt x="1" y="14"/>
                  </a:cubicBezTo>
                  <a:cubicBezTo>
                    <a:pt x="1" y="13"/>
                    <a:pt x="1" y="13"/>
                    <a:pt x="1" y="13"/>
                  </a:cubicBezTo>
                  <a:cubicBezTo>
                    <a:pt x="0" y="5"/>
                    <a:pt x="4" y="2"/>
                    <a:pt x="6" y="1"/>
                  </a:cubicBezTo>
                  <a:cubicBezTo>
                    <a:pt x="8" y="0"/>
                    <a:pt x="8" y="0"/>
                    <a:pt x="8" y="0"/>
                  </a:cubicBezTo>
                  <a:cubicBezTo>
                    <a:pt x="7" y="1"/>
                    <a:pt x="7" y="1"/>
                    <a:pt x="7" y="1"/>
                  </a:cubicBezTo>
                  <a:cubicBezTo>
                    <a:pt x="7" y="2"/>
                    <a:pt x="7" y="2"/>
                    <a:pt x="7" y="2"/>
                  </a:cubicBezTo>
                  <a:cubicBezTo>
                    <a:pt x="7" y="2"/>
                    <a:pt x="7" y="3"/>
                    <a:pt x="8" y="3"/>
                  </a:cubicBezTo>
                  <a:cubicBezTo>
                    <a:pt x="9" y="5"/>
                    <a:pt x="11" y="8"/>
                    <a:pt x="11" y="14"/>
                  </a:cubicBezTo>
                  <a:lnTo>
                    <a:pt x="12" y="15"/>
                  </a:lnTo>
                  <a:close/>
                  <a:moveTo>
                    <a:pt x="2" y="13"/>
                  </a:moveTo>
                  <a:cubicBezTo>
                    <a:pt x="4" y="13"/>
                    <a:pt x="8" y="13"/>
                    <a:pt x="10" y="14"/>
                  </a:cubicBezTo>
                  <a:cubicBezTo>
                    <a:pt x="10" y="8"/>
                    <a:pt x="8" y="5"/>
                    <a:pt x="7" y="4"/>
                  </a:cubicBezTo>
                  <a:cubicBezTo>
                    <a:pt x="6" y="3"/>
                    <a:pt x="6" y="3"/>
                    <a:pt x="6" y="3"/>
                  </a:cubicBezTo>
                  <a:cubicBezTo>
                    <a:pt x="6" y="2"/>
                    <a:pt x="6" y="2"/>
                    <a:pt x="6" y="2"/>
                  </a:cubicBezTo>
                  <a:cubicBezTo>
                    <a:pt x="3" y="4"/>
                    <a:pt x="2" y="8"/>
                    <a:pt x="2" y="13"/>
                  </a:cubicBezTo>
                  <a:cubicBezTo>
                    <a:pt x="2" y="13"/>
                    <a:pt x="2" y="13"/>
                    <a:pt x="2"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1" name="Freeform 78"/>
            <p:cNvSpPr>
              <a:spLocks noEditPoints="1"/>
            </p:cNvSpPr>
            <p:nvPr/>
          </p:nvSpPr>
          <p:spPr>
            <a:xfrm>
              <a:off x="4843464" y="2398713"/>
              <a:ext cx="98425" cy="68263"/>
            </a:xfrm>
            <a:custGeom>
              <a:gdLst>
                <a:gd name="T0" fmla="*/ 43 w 58"/>
                <a:gd name="T1" fmla="*/ 37 h 40"/>
                <a:gd name="T2" fmla="*/ 35 w 58"/>
                <a:gd name="T3" fmla="*/ 28 h 40"/>
                <a:gd name="T4" fmla="*/ 33 w 58"/>
                <a:gd name="T5" fmla="*/ 29 h 40"/>
                <a:gd name="T6" fmla="*/ 28 w 58"/>
                <a:gd name="T7" fmla="*/ 32 h 40"/>
                <a:gd name="T8" fmla="*/ 19 w 58"/>
                <a:gd name="T9" fmla="*/ 23 h 40"/>
                <a:gd name="T10" fmla="*/ 12 w 58"/>
                <a:gd name="T11" fmla="*/ 19 h 40"/>
                <a:gd name="T12" fmla="*/ 9 w 58"/>
                <a:gd name="T13" fmla="*/ 17 h 40"/>
                <a:gd name="T14" fmla="*/ 8 w 58"/>
                <a:gd name="T15" fmla="*/ 17 h 40"/>
                <a:gd name="T16" fmla="*/ 2 w 58"/>
                <a:gd name="T17" fmla="*/ 10 h 40"/>
                <a:gd name="T18" fmla="*/ 0 w 58"/>
                <a:gd name="T19" fmla="*/ 9 h 40"/>
                <a:gd name="T20" fmla="*/ 11 w 58"/>
                <a:gd name="T21" fmla="*/ 4 h 40"/>
                <a:gd name="T22" fmla="*/ 11 w 58"/>
                <a:gd name="T23" fmla="*/ 4 h 40"/>
                <a:gd name="T24" fmla="*/ 30 w 58"/>
                <a:gd name="T25" fmla="*/ 2 h 40"/>
                <a:gd name="T26" fmla="*/ 40 w 58"/>
                <a:gd name="T27" fmla="*/ 3 h 40"/>
                <a:gd name="T28" fmla="*/ 51 w 58"/>
                <a:gd name="T29" fmla="*/ 10 h 40"/>
                <a:gd name="T30" fmla="*/ 54 w 58"/>
                <a:gd name="T31" fmla="*/ 13 h 40"/>
                <a:gd name="T32" fmla="*/ 54 w 58"/>
                <a:gd name="T33" fmla="*/ 14 h 40"/>
                <a:gd name="T34" fmla="*/ 58 w 58"/>
                <a:gd name="T35" fmla="*/ 23 h 40"/>
                <a:gd name="T36" fmla="*/ 55 w 58"/>
                <a:gd name="T37" fmla="*/ 27 h 40"/>
                <a:gd name="T38" fmla="*/ 55 w 58"/>
                <a:gd name="T39" fmla="*/ 27 h 40"/>
                <a:gd name="T40" fmla="*/ 50 w 58"/>
                <a:gd name="T41" fmla="*/ 40 h 40"/>
                <a:gd name="T42" fmla="*/ 47 w 58"/>
                <a:gd name="T43" fmla="*/ 40 h 40"/>
                <a:gd name="T44" fmla="*/ 40 w 58"/>
                <a:gd name="T45" fmla="*/ 34 h 40"/>
                <a:gd name="T46" fmla="*/ 47 w 58"/>
                <a:gd name="T47" fmla="*/ 39 h 40"/>
                <a:gd name="T48" fmla="*/ 54 w 58"/>
                <a:gd name="T49" fmla="*/ 27 h 40"/>
                <a:gd name="T50" fmla="*/ 57 w 58"/>
                <a:gd name="T51" fmla="*/ 23 h 40"/>
                <a:gd name="T52" fmla="*/ 53 w 58"/>
                <a:gd name="T53" fmla="*/ 14 h 40"/>
                <a:gd name="T54" fmla="*/ 50 w 58"/>
                <a:gd name="T55" fmla="*/ 11 h 40"/>
                <a:gd name="T56" fmla="*/ 39 w 58"/>
                <a:gd name="T57" fmla="*/ 4 h 40"/>
                <a:gd name="T58" fmla="*/ 30 w 58"/>
                <a:gd name="T59" fmla="*/ 2 h 40"/>
                <a:gd name="T60" fmla="*/ 11 w 58"/>
                <a:gd name="T61" fmla="*/ 5 h 40"/>
                <a:gd name="T62" fmla="*/ 4 w 58"/>
                <a:gd name="T63" fmla="*/ 11 h 40"/>
                <a:gd name="T64" fmla="*/ 8 w 58"/>
                <a:gd name="T65" fmla="*/ 16 h 40"/>
                <a:gd name="T66" fmla="*/ 9 w 58"/>
                <a:gd name="T67" fmla="*/ 15 h 40"/>
                <a:gd name="T68" fmla="*/ 16 w 58"/>
                <a:gd name="T69" fmla="*/ 20 h 40"/>
                <a:gd name="T70" fmla="*/ 25 w 58"/>
                <a:gd name="T71" fmla="*/ 26 h 40"/>
                <a:gd name="T72" fmla="*/ 29 w 58"/>
                <a:gd name="T73" fmla="*/ 31 h 40"/>
                <a:gd name="T74" fmla="*/ 35 w 58"/>
                <a:gd name="T75" fmla="*/ 27 h 40"/>
                <a:gd name="T76" fmla="*/ 40 w 58"/>
                <a:gd name="T77" fmla="*/ 34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40">
                  <a:moveTo>
                    <a:pt x="47" y="40"/>
                  </a:moveTo>
                  <a:cubicBezTo>
                    <a:pt x="45" y="40"/>
                    <a:pt x="44" y="39"/>
                    <a:pt x="43" y="37"/>
                  </a:cubicBezTo>
                  <a:cubicBezTo>
                    <a:pt x="42" y="36"/>
                    <a:pt x="41" y="35"/>
                    <a:pt x="40" y="35"/>
                  </a:cubicBezTo>
                  <a:cubicBezTo>
                    <a:pt x="36" y="36"/>
                    <a:pt x="35" y="31"/>
                    <a:pt x="35" y="28"/>
                  </a:cubicBezTo>
                  <a:cubicBezTo>
                    <a:pt x="35" y="28"/>
                    <a:pt x="35" y="28"/>
                    <a:pt x="35" y="28"/>
                  </a:cubicBezTo>
                  <a:cubicBezTo>
                    <a:pt x="35" y="28"/>
                    <a:pt x="34" y="29"/>
                    <a:pt x="33" y="29"/>
                  </a:cubicBezTo>
                  <a:cubicBezTo>
                    <a:pt x="32" y="30"/>
                    <a:pt x="30" y="31"/>
                    <a:pt x="29" y="32"/>
                  </a:cubicBezTo>
                  <a:cubicBezTo>
                    <a:pt x="28" y="32"/>
                    <a:pt x="28" y="32"/>
                    <a:pt x="28" y="32"/>
                  </a:cubicBezTo>
                  <a:cubicBezTo>
                    <a:pt x="27" y="32"/>
                    <a:pt x="25" y="31"/>
                    <a:pt x="24" y="26"/>
                  </a:cubicBezTo>
                  <a:cubicBezTo>
                    <a:pt x="24" y="25"/>
                    <a:pt x="21" y="24"/>
                    <a:pt x="19" y="23"/>
                  </a:cubicBezTo>
                  <a:cubicBezTo>
                    <a:pt x="17" y="22"/>
                    <a:pt x="16" y="22"/>
                    <a:pt x="15" y="21"/>
                  </a:cubicBezTo>
                  <a:cubicBezTo>
                    <a:pt x="14" y="21"/>
                    <a:pt x="13" y="20"/>
                    <a:pt x="12" y="19"/>
                  </a:cubicBezTo>
                  <a:cubicBezTo>
                    <a:pt x="11" y="17"/>
                    <a:pt x="10" y="16"/>
                    <a:pt x="9" y="16"/>
                  </a:cubicBezTo>
                  <a:cubicBezTo>
                    <a:pt x="9" y="16"/>
                    <a:pt x="9" y="16"/>
                    <a:pt x="9" y="17"/>
                  </a:cubicBezTo>
                  <a:cubicBezTo>
                    <a:pt x="8" y="17"/>
                    <a:pt x="8" y="17"/>
                    <a:pt x="8" y="17"/>
                  </a:cubicBezTo>
                  <a:cubicBezTo>
                    <a:pt x="8" y="17"/>
                    <a:pt x="8" y="17"/>
                    <a:pt x="8" y="17"/>
                  </a:cubicBezTo>
                  <a:cubicBezTo>
                    <a:pt x="6" y="17"/>
                    <a:pt x="3" y="13"/>
                    <a:pt x="3" y="11"/>
                  </a:cubicBezTo>
                  <a:cubicBezTo>
                    <a:pt x="3" y="10"/>
                    <a:pt x="2" y="10"/>
                    <a:pt x="2" y="10"/>
                  </a:cubicBezTo>
                  <a:cubicBezTo>
                    <a:pt x="2" y="10"/>
                    <a:pt x="1" y="10"/>
                    <a:pt x="1" y="9"/>
                  </a:cubicBezTo>
                  <a:cubicBezTo>
                    <a:pt x="0" y="9"/>
                    <a:pt x="0" y="9"/>
                    <a:pt x="0" y="9"/>
                  </a:cubicBezTo>
                  <a:cubicBezTo>
                    <a:pt x="1" y="8"/>
                    <a:pt x="1" y="8"/>
                    <a:pt x="1" y="8"/>
                  </a:cubicBezTo>
                  <a:cubicBezTo>
                    <a:pt x="5" y="8"/>
                    <a:pt x="8" y="6"/>
                    <a:pt x="11" y="4"/>
                  </a:cubicBezTo>
                  <a:cubicBezTo>
                    <a:pt x="11" y="4"/>
                    <a:pt x="11" y="4"/>
                    <a:pt x="11" y="4"/>
                  </a:cubicBezTo>
                  <a:cubicBezTo>
                    <a:pt x="11" y="4"/>
                    <a:pt x="11" y="4"/>
                    <a:pt x="11" y="4"/>
                  </a:cubicBezTo>
                  <a:cubicBezTo>
                    <a:pt x="14" y="6"/>
                    <a:pt x="16" y="6"/>
                    <a:pt x="16" y="6"/>
                  </a:cubicBezTo>
                  <a:cubicBezTo>
                    <a:pt x="20" y="6"/>
                    <a:pt x="27" y="4"/>
                    <a:pt x="30" y="2"/>
                  </a:cubicBezTo>
                  <a:cubicBezTo>
                    <a:pt x="31" y="1"/>
                    <a:pt x="32" y="0"/>
                    <a:pt x="34" y="0"/>
                  </a:cubicBezTo>
                  <a:cubicBezTo>
                    <a:pt x="36" y="0"/>
                    <a:pt x="38" y="1"/>
                    <a:pt x="40" y="3"/>
                  </a:cubicBezTo>
                  <a:cubicBezTo>
                    <a:pt x="41" y="4"/>
                    <a:pt x="43" y="5"/>
                    <a:pt x="44" y="6"/>
                  </a:cubicBezTo>
                  <a:cubicBezTo>
                    <a:pt x="46" y="7"/>
                    <a:pt x="48" y="8"/>
                    <a:pt x="51" y="10"/>
                  </a:cubicBezTo>
                  <a:cubicBezTo>
                    <a:pt x="52" y="11"/>
                    <a:pt x="53" y="12"/>
                    <a:pt x="54" y="13"/>
                  </a:cubicBezTo>
                  <a:cubicBezTo>
                    <a:pt x="54" y="13"/>
                    <a:pt x="54" y="13"/>
                    <a:pt x="54" y="13"/>
                  </a:cubicBezTo>
                  <a:cubicBezTo>
                    <a:pt x="54" y="13"/>
                    <a:pt x="54" y="13"/>
                    <a:pt x="54" y="13"/>
                  </a:cubicBezTo>
                  <a:cubicBezTo>
                    <a:pt x="54" y="14"/>
                    <a:pt x="54" y="14"/>
                    <a:pt x="54" y="14"/>
                  </a:cubicBezTo>
                  <a:cubicBezTo>
                    <a:pt x="54" y="15"/>
                    <a:pt x="55" y="17"/>
                    <a:pt x="56" y="18"/>
                  </a:cubicBezTo>
                  <a:cubicBezTo>
                    <a:pt x="57" y="20"/>
                    <a:pt x="58" y="22"/>
                    <a:pt x="58" y="23"/>
                  </a:cubicBezTo>
                  <a:cubicBezTo>
                    <a:pt x="58" y="24"/>
                    <a:pt x="57" y="25"/>
                    <a:pt x="56" y="26"/>
                  </a:cubicBezTo>
                  <a:cubicBezTo>
                    <a:pt x="55" y="27"/>
                    <a:pt x="55" y="27"/>
                    <a:pt x="55" y="27"/>
                  </a:cubicBezTo>
                  <a:cubicBezTo>
                    <a:pt x="55" y="27"/>
                    <a:pt x="55" y="27"/>
                    <a:pt x="55" y="27"/>
                  </a:cubicBezTo>
                  <a:cubicBezTo>
                    <a:pt x="55" y="27"/>
                    <a:pt x="55" y="27"/>
                    <a:pt x="55" y="27"/>
                  </a:cubicBezTo>
                  <a:cubicBezTo>
                    <a:pt x="51" y="29"/>
                    <a:pt x="50" y="33"/>
                    <a:pt x="50" y="39"/>
                  </a:cubicBezTo>
                  <a:cubicBezTo>
                    <a:pt x="50" y="40"/>
                    <a:pt x="50" y="40"/>
                    <a:pt x="50" y="40"/>
                  </a:cubicBezTo>
                  <a:cubicBezTo>
                    <a:pt x="49" y="40"/>
                    <a:pt x="49" y="40"/>
                    <a:pt x="49" y="40"/>
                  </a:cubicBezTo>
                  <a:cubicBezTo>
                    <a:pt x="48" y="40"/>
                    <a:pt x="48" y="40"/>
                    <a:pt x="47" y="40"/>
                  </a:cubicBezTo>
                  <a:cubicBezTo>
                    <a:pt x="47" y="40"/>
                    <a:pt x="47" y="40"/>
                    <a:pt x="47" y="40"/>
                  </a:cubicBezTo>
                  <a:close/>
                  <a:moveTo>
                    <a:pt x="40" y="34"/>
                  </a:moveTo>
                  <a:cubicBezTo>
                    <a:pt x="42" y="34"/>
                    <a:pt x="43" y="36"/>
                    <a:pt x="44" y="37"/>
                  </a:cubicBezTo>
                  <a:cubicBezTo>
                    <a:pt x="45" y="38"/>
                    <a:pt x="46" y="39"/>
                    <a:pt x="47" y="39"/>
                  </a:cubicBezTo>
                  <a:cubicBezTo>
                    <a:pt x="47" y="39"/>
                    <a:pt x="48" y="39"/>
                    <a:pt x="49" y="39"/>
                  </a:cubicBezTo>
                  <a:cubicBezTo>
                    <a:pt x="49" y="31"/>
                    <a:pt x="51" y="28"/>
                    <a:pt x="54" y="27"/>
                  </a:cubicBezTo>
                  <a:cubicBezTo>
                    <a:pt x="54" y="26"/>
                    <a:pt x="55" y="26"/>
                    <a:pt x="55" y="25"/>
                  </a:cubicBezTo>
                  <a:cubicBezTo>
                    <a:pt x="56" y="24"/>
                    <a:pt x="57" y="23"/>
                    <a:pt x="57" y="23"/>
                  </a:cubicBezTo>
                  <a:cubicBezTo>
                    <a:pt x="57" y="22"/>
                    <a:pt x="56" y="20"/>
                    <a:pt x="55" y="19"/>
                  </a:cubicBezTo>
                  <a:cubicBezTo>
                    <a:pt x="54" y="17"/>
                    <a:pt x="53" y="15"/>
                    <a:pt x="53" y="14"/>
                  </a:cubicBezTo>
                  <a:cubicBezTo>
                    <a:pt x="53" y="14"/>
                    <a:pt x="53" y="14"/>
                    <a:pt x="53" y="14"/>
                  </a:cubicBezTo>
                  <a:cubicBezTo>
                    <a:pt x="52" y="13"/>
                    <a:pt x="51" y="12"/>
                    <a:pt x="50" y="11"/>
                  </a:cubicBezTo>
                  <a:cubicBezTo>
                    <a:pt x="48" y="9"/>
                    <a:pt x="46" y="8"/>
                    <a:pt x="44" y="7"/>
                  </a:cubicBezTo>
                  <a:cubicBezTo>
                    <a:pt x="42" y="6"/>
                    <a:pt x="41" y="5"/>
                    <a:pt x="39" y="4"/>
                  </a:cubicBezTo>
                  <a:cubicBezTo>
                    <a:pt x="38" y="2"/>
                    <a:pt x="36" y="1"/>
                    <a:pt x="34" y="1"/>
                  </a:cubicBezTo>
                  <a:cubicBezTo>
                    <a:pt x="32" y="1"/>
                    <a:pt x="31" y="1"/>
                    <a:pt x="30" y="2"/>
                  </a:cubicBezTo>
                  <a:cubicBezTo>
                    <a:pt x="27" y="5"/>
                    <a:pt x="20" y="7"/>
                    <a:pt x="16" y="7"/>
                  </a:cubicBezTo>
                  <a:cubicBezTo>
                    <a:pt x="15" y="7"/>
                    <a:pt x="14" y="7"/>
                    <a:pt x="11" y="5"/>
                  </a:cubicBezTo>
                  <a:cubicBezTo>
                    <a:pt x="8" y="7"/>
                    <a:pt x="5" y="8"/>
                    <a:pt x="2" y="9"/>
                  </a:cubicBezTo>
                  <a:cubicBezTo>
                    <a:pt x="3" y="9"/>
                    <a:pt x="3" y="10"/>
                    <a:pt x="4" y="11"/>
                  </a:cubicBezTo>
                  <a:cubicBezTo>
                    <a:pt x="4" y="13"/>
                    <a:pt x="6" y="16"/>
                    <a:pt x="8" y="16"/>
                  </a:cubicBezTo>
                  <a:cubicBezTo>
                    <a:pt x="8" y="16"/>
                    <a:pt x="8" y="16"/>
                    <a:pt x="8" y="16"/>
                  </a:cubicBezTo>
                  <a:cubicBezTo>
                    <a:pt x="8" y="16"/>
                    <a:pt x="8" y="16"/>
                    <a:pt x="8" y="16"/>
                  </a:cubicBezTo>
                  <a:cubicBezTo>
                    <a:pt x="8" y="15"/>
                    <a:pt x="9" y="15"/>
                    <a:pt x="9" y="15"/>
                  </a:cubicBezTo>
                  <a:cubicBezTo>
                    <a:pt x="10" y="15"/>
                    <a:pt x="11" y="16"/>
                    <a:pt x="13" y="18"/>
                  </a:cubicBezTo>
                  <a:cubicBezTo>
                    <a:pt x="14" y="19"/>
                    <a:pt x="15" y="20"/>
                    <a:pt x="16" y="20"/>
                  </a:cubicBezTo>
                  <a:cubicBezTo>
                    <a:pt x="17" y="21"/>
                    <a:pt x="18" y="21"/>
                    <a:pt x="19" y="22"/>
                  </a:cubicBezTo>
                  <a:cubicBezTo>
                    <a:pt x="22" y="23"/>
                    <a:pt x="25" y="25"/>
                    <a:pt x="25" y="26"/>
                  </a:cubicBezTo>
                  <a:cubicBezTo>
                    <a:pt x="26" y="28"/>
                    <a:pt x="26" y="31"/>
                    <a:pt x="28" y="31"/>
                  </a:cubicBezTo>
                  <a:cubicBezTo>
                    <a:pt x="28" y="31"/>
                    <a:pt x="28" y="31"/>
                    <a:pt x="29" y="31"/>
                  </a:cubicBezTo>
                  <a:cubicBezTo>
                    <a:pt x="30" y="30"/>
                    <a:pt x="31" y="29"/>
                    <a:pt x="32" y="28"/>
                  </a:cubicBezTo>
                  <a:cubicBezTo>
                    <a:pt x="33" y="27"/>
                    <a:pt x="34" y="27"/>
                    <a:pt x="35" y="27"/>
                  </a:cubicBezTo>
                  <a:cubicBezTo>
                    <a:pt x="35" y="27"/>
                    <a:pt x="36" y="27"/>
                    <a:pt x="36" y="28"/>
                  </a:cubicBezTo>
                  <a:cubicBezTo>
                    <a:pt x="36" y="31"/>
                    <a:pt x="37" y="35"/>
                    <a:pt x="40" y="34"/>
                  </a:cubicBezTo>
                  <a:cubicBezTo>
                    <a:pt x="40" y="34"/>
                    <a:pt x="40" y="34"/>
                    <a:pt x="40"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2" name="Freeform 79"/>
            <p:cNvSpPr>
              <a:spLocks noEditPoints="1"/>
            </p:cNvSpPr>
            <p:nvPr/>
          </p:nvSpPr>
          <p:spPr>
            <a:xfrm>
              <a:off x="5280026" y="2498725"/>
              <a:ext cx="225425" cy="147638"/>
            </a:xfrm>
            <a:custGeom>
              <a:gdLst>
                <a:gd name="T0" fmla="*/ 108 w 133"/>
                <a:gd name="T1" fmla="*/ 82 h 87"/>
                <a:gd name="T2" fmla="*/ 80 w 133"/>
                <a:gd name="T3" fmla="*/ 82 h 87"/>
                <a:gd name="T4" fmla="*/ 54 w 133"/>
                <a:gd name="T5" fmla="*/ 86 h 87"/>
                <a:gd name="T6" fmla="*/ 38 w 133"/>
                <a:gd name="T7" fmla="*/ 84 h 87"/>
                <a:gd name="T8" fmla="*/ 29 w 133"/>
                <a:gd name="T9" fmla="*/ 79 h 87"/>
                <a:gd name="T10" fmla="*/ 29 w 133"/>
                <a:gd name="T11" fmla="*/ 72 h 87"/>
                <a:gd name="T12" fmla="*/ 12 w 133"/>
                <a:gd name="T13" fmla="*/ 63 h 87"/>
                <a:gd name="T14" fmla="*/ 6 w 133"/>
                <a:gd name="T15" fmla="*/ 53 h 87"/>
                <a:gd name="T16" fmla="*/ 3 w 133"/>
                <a:gd name="T17" fmla="*/ 42 h 87"/>
                <a:gd name="T18" fmla="*/ 23 w 133"/>
                <a:gd name="T19" fmla="*/ 15 h 87"/>
                <a:gd name="T20" fmla="*/ 34 w 133"/>
                <a:gd name="T21" fmla="*/ 7 h 87"/>
                <a:gd name="T22" fmla="*/ 40 w 133"/>
                <a:gd name="T23" fmla="*/ 5 h 87"/>
                <a:gd name="T24" fmla="*/ 64 w 133"/>
                <a:gd name="T25" fmla="*/ 11 h 87"/>
                <a:gd name="T26" fmla="*/ 73 w 133"/>
                <a:gd name="T27" fmla="*/ 8 h 87"/>
                <a:gd name="T28" fmla="*/ 85 w 133"/>
                <a:gd name="T29" fmla="*/ 4 h 87"/>
                <a:gd name="T30" fmla="*/ 93 w 133"/>
                <a:gd name="T31" fmla="*/ 1 h 87"/>
                <a:gd name="T32" fmla="*/ 110 w 133"/>
                <a:gd name="T33" fmla="*/ 44 h 87"/>
                <a:gd name="T34" fmla="*/ 114 w 133"/>
                <a:gd name="T35" fmla="*/ 55 h 87"/>
                <a:gd name="T36" fmla="*/ 119 w 133"/>
                <a:gd name="T37" fmla="*/ 57 h 87"/>
                <a:gd name="T38" fmla="*/ 127 w 133"/>
                <a:gd name="T39" fmla="*/ 54 h 87"/>
                <a:gd name="T40" fmla="*/ 132 w 133"/>
                <a:gd name="T41" fmla="*/ 58 h 87"/>
                <a:gd name="T42" fmla="*/ 125 w 133"/>
                <a:gd name="T43" fmla="*/ 67 h 87"/>
                <a:gd name="T44" fmla="*/ 118 w 133"/>
                <a:gd name="T45" fmla="*/ 82 h 87"/>
                <a:gd name="T46" fmla="*/ 94 w 133"/>
                <a:gd name="T47" fmla="*/ 78 h 87"/>
                <a:gd name="T48" fmla="*/ 117 w 133"/>
                <a:gd name="T49" fmla="*/ 86 h 87"/>
                <a:gd name="T50" fmla="*/ 124 w 133"/>
                <a:gd name="T51" fmla="*/ 66 h 87"/>
                <a:gd name="T52" fmla="*/ 131 w 133"/>
                <a:gd name="T53" fmla="*/ 59 h 87"/>
                <a:gd name="T54" fmla="*/ 123 w 133"/>
                <a:gd name="T55" fmla="*/ 57 h 87"/>
                <a:gd name="T56" fmla="*/ 112 w 133"/>
                <a:gd name="T57" fmla="*/ 56 h 87"/>
                <a:gd name="T58" fmla="*/ 109 w 133"/>
                <a:gd name="T59" fmla="*/ 44 h 87"/>
                <a:gd name="T60" fmla="*/ 92 w 133"/>
                <a:gd name="T61" fmla="*/ 1 h 87"/>
                <a:gd name="T62" fmla="*/ 75 w 133"/>
                <a:gd name="T63" fmla="*/ 9 h 87"/>
                <a:gd name="T64" fmla="*/ 65 w 133"/>
                <a:gd name="T65" fmla="*/ 12 h 87"/>
                <a:gd name="T66" fmla="*/ 46 w 133"/>
                <a:gd name="T67" fmla="*/ 8 h 87"/>
                <a:gd name="T68" fmla="*/ 33 w 133"/>
                <a:gd name="T69" fmla="*/ 10 h 87"/>
                <a:gd name="T70" fmla="*/ 19 w 133"/>
                <a:gd name="T71" fmla="*/ 24 h 87"/>
                <a:gd name="T72" fmla="*/ 1 w 133"/>
                <a:gd name="T73" fmla="*/ 45 h 87"/>
                <a:gd name="T74" fmla="*/ 11 w 133"/>
                <a:gd name="T75" fmla="*/ 57 h 87"/>
                <a:gd name="T76" fmla="*/ 13 w 133"/>
                <a:gd name="T77" fmla="*/ 67 h 87"/>
                <a:gd name="T78" fmla="*/ 30 w 133"/>
                <a:gd name="T79" fmla="*/ 75 h 87"/>
                <a:gd name="T80" fmla="*/ 38 w 133"/>
                <a:gd name="T81" fmla="*/ 83 h 87"/>
                <a:gd name="T82" fmla="*/ 54 w 133"/>
                <a:gd name="T83" fmla="*/ 85 h 87"/>
                <a:gd name="T84" fmla="*/ 79 w 133"/>
                <a:gd name="T85" fmla="*/ 81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87">
                  <a:moveTo>
                    <a:pt x="118" y="87"/>
                  </a:moveTo>
                  <a:cubicBezTo>
                    <a:pt x="117" y="87"/>
                    <a:pt x="117" y="87"/>
                    <a:pt x="117" y="87"/>
                  </a:cubicBezTo>
                  <a:cubicBezTo>
                    <a:pt x="114" y="86"/>
                    <a:pt x="109" y="84"/>
                    <a:pt x="108" y="82"/>
                  </a:cubicBezTo>
                  <a:cubicBezTo>
                    <a:pt x="107" y="80"/>
                    <a:pt x="100" y="80"/>
                    <a:pt x="97" y="79"/>
                  </a:cubicBezTo>
                  <a:cubicBezTo>
                    <a:pt x="96" y="79"/>
                    <a:pt x="95" y="79"/>
                    <a:pt x="94" y="79"/>
                  </a:cubicBezTo>
                  <a:cubicBezTo>
                    <a:pt x="89" y="79"/>
                    <a:pt x="82" y="80"/>
                    <a:pt x="80" y="82"/>
                  </a:cubicBezTo>
                  <a:cubicBezTo>
                    <a:pt x="77" y="85"/>
                    <a:pt x="73" y="87"/>
                    <a:pt x="69" y="86"/>
                  </a:cubicBezTo>
                  <a:cubicBezTo>
                    <a:pt x="67" y="86"/>
                    <a:pt x="61" y="86"/>
                    <a:pt x="57" y="86"/>
                  </a:cubicBezTo>
                  <a:cubicBezTo>
                    <a:pt x="55" y="86"/>
                    <a:pt x="54" y="86"/>
                    <a:pt x="54" y="86"/>
                  </a:cubicBezTo>
                  <a:cubicBezTo>
                    <a:pt x="53" y="86"/>
                    <a:pt x="49" y="86"/>
                    <a:pt x="45" y="85"/>
                  </a:cubicBezTo>
                  <a:cubicBezTo>
                    <a:pt x="43" y="85"/>
                    <a:pt x="40" y="84"/>
                    <a:pt x="39" y="84"/>
                  </a:cubicBezTo>
                  <a:cubicBezTo>
                    <a:pt x="38" y="84"/>
                    <a:pt x="38" y="84"/>
                    <a:pt x="38" y="84"/>
                  </a:cubicBezTo>
                  <a:cubicBezTo>
                    <a:pt x="37" y="84"/>
                    <a:pt x="36" y="84"/>
                    <a:pt x="35" y="82"/>
                  </a:cubicBezTo>
                  <a:cubicBezTo>
                    <a:pt x="34" y="81"/>
                    <a:pt x="32" y="79"/>
                    <a:pt x="30" y="79"/>
                  </a:cubicBezTo>
                  <a:cubicBezTo>
                    <a:pt x="29" y="79"/>
                    <a:pt x="29" y="79"/>
                    <a:pt x="29" y="79"/>
                  </a:cubicBezTo>
                  <a:cubicBezTo>
                    <a:pt x="29" y="78"/>
                    <a:pt x="29" y="78"/>
                    <a:pt x="29" y="78"/>
                  </a:cubicBezTo>
                  <a:cubicBezTo>
                    <a:pt x="30" y="77"/>
                    <a:pt x="29" y="76"/>
                    <a:pt x="29" y="75"/>
                  </a:cubicBezTo>
                  <a:cubicBezTo>
                    <a:pt x="29" y="74"/>
                    <a:pt x="29" y="73"/>
                    <a:pt x="29" y="72"/>
                  </a:cubicBezTo>
                  <a:cubicBezTo>
                    <a:pt x="29" y="70"/>
                    <a:pt x="20" y="69"/>
                    <a:pt x="16" y="68"/>
                  </a:cubicBezTo>
                  <a:cubicBezTo>
                    <a:pt x="15" y="68"/>
                    <a:pt x="13" y="68"/>
                    <a:pt x="13" y="67"/>
                  </a:cubicBezTo>
                  <a:cubicBezTo>
                    <a:pt x="11" y="67"/>
                    <a:pt x="12" y="65"/>
                    <a:pt x="12" y="63"/>
                  </a:cubicBezTo>
                  <a:cubicBezTo>
                    <a:pt x="12" y="61"/>
                    <a:pt x="12" y="59"/>
                    <a:pt x="12" y="59"/>
                  </a:cubicBezTo>
                  <a:cubicBezTo>
                    <a:pt x="11" y="58"/>
                    <a:pt x="11" y="58"/>
                    <a:pt x="11" y="58"/>
                  </a:cubicBezTo>
                  <a:cubicBezTo>
                    <a:pt x="7" y="58"/>
                    <a:pt x="6" y="56"/>
                    <a:pt x="6" y="53"/>
                  </a:cubicBezTo>
                  <a:cubicBezTo>
                    <a:pt x="6" y="52"/>
                    <a:pt x="4" y="50"/>
                    <a:pt x="3" y="48"/>
                  </a:cubicBezTo>
                  <a:cubicBezTo>
                    <a:pt x="1" y="47"/>
                    <a:pt x="0" y="45"/>
                    <a:pt x="1" y="44"/>
                  </a:cubicBezTo>
                  <a:cubicBezTo>
                    <a:pt x="1" y="43"/>
                    <a:pt x="2" y="43"/>
                    <a:pt x="3" y="42"/>
                  </a:cubicBezTo>
                  <a:cubicBezTo>
                    <a:pt x="5" y="41"/>
                    <a:pt x="7" y="40"/>
                    <a:pt x="10" y="37"/>
                  </a:cubicBezTo>
                  <a:cubicBezTo>
                    <a:pt x="12" y="35"/>
                    <a:pt x="15" y="28"/>
                    <a:pt x="18" y="23"/>
                  </a:cubicBezTo>
                  <a:cubicBezTo>
                    <a:pt x="21" y="19"/>
                    <a:pt x="22" y="16"/>
                    <a:pt x="23" y="15"/>
                  </a:cubicBezTo>
                  <a:cubicBezTo>
                    <a:pt x="24" y="15"/>
                    <a:pt x="25" y="14"/>
                    <a:pt x="26" y="13"/>
                  </a:cubicBezTo>
                  <a:cubicBezTo>
                    <a:pt x="28" y="12"/>
                    <a:pt x="31" y="10"/>
                    <a:pt x="33" y="9"/>
                  </a:cubicBezTo>
                  <a:cubicBezTo>
                    <a:pt x="33" y="9"/>
                    <a:pt x="34" y="8"/>
                    <a:pt x="34" y="7"/>
                  </a:cubicBezTo>
                  <a:cubicBezTo>
                    <a:pt x="34" y="6"/>
                    <a:pt x="34" y="6"/>
                    <a:pt x="34" y="6"/>
                  </a:cubicBezTo>
                  <a:cubicBezTo>
                    <a:pt x="34" y="6"/>
                    <a:pt x="34" y="6"/>
                    <a:pt x="34" y="6"/>
                  </a:cubicBezTo>
                  <a:cubicBezTo>
                    <a:pt x="37" y="6"/>
                    <a:pt x="39" y="5"/>
                    <a:pt x="40" y="5"/>
                  </a:cubicBezTo>
                  <a:cubicBezTo>
                    <a:pt x="41" y="5"/>
                    <a:pt x="43" y="6"/>
                    <a:pt x="46" y="7"/>
                  </a:cubicBezTo>
                  <a:cubicBezTo>
                    <a:pt x="49" y="7"/>
                    <a:pt x="53" y="8"/>
                    <a:pt x="55" y="8"/>
                  </a:cubicBezTo>
                  <a:cubicBezTo>
                    <a:pt x="58" y="8"/>
                    <a:pt x="62" y="9"/>
                    <a:pt x="64" y="11"/>
                  </a:cubicBezTo>
                  <a:cubicBezTo>
                    <a:pt x="64" y="11"/>
                    <a:pt x="64" y="11"/>
                    <a:pt x="65" y="11"/>
                  </a:cubicBezTo>
                  <a:cubicBezTo>
                    <a:pt x="66" y="11"/>
                    <a:pt x="68" y="10"/>
                    <a:pt x="69" y="9"/>
                  </a:cubicBezTo>
                  <a:cubicBezTo>
                    <a:pt x="70" y="8"/>
                    <a:pt x="71" y="8"/>
                    <a:pt x="73" y="8"/>
                  </a:cubicBezTo>
                  <a:cubicBezTo>
                    <a:pt x="73" y="8"/>
                    <a:pt x="74" y="8"/>
                    <a:pt x="75" y="8"/>
                  </a:cubicBezTo>
                  <a:cubicBezTo>
                    <a:pt x="76" y="8"/>
                    <a:pt x="76" y="8"/>
                    <a:pt x="77" y="8"/>
                  </a:cubicBezTo>
                  <a:cubicBezTo>
                    <a:pt x="79" y="8"/>
                    <a:pt x="84" y="6"/>
                    <a:pt x="85" y="4"/>
                  </a:cubicBezTo>
                  <a:cubicBezTo>
                    <a:pt x="85" y="4"/>
                    <a:pt x="86" y="2"/>
                    <a:pt x="92" y="0"/>
                  </a:cubicBezTo>
                  <a:cubicBezTo>
                    <a:pt x="92" y="0"/>
                    <a:pt x="92" y="0"/>
                    <a:pt x="92" y="0"/>
                  </a:cubicBezTo>
                  <a:cubicBezTo>
                    <a:pt x="93" y="1"/>
                    <a:pt x="93" y="1"/>
                    <a:pt x="93" y="1"/>
                  </a:cubicBezTo>
                  <a:cubicBezTo>
                    <a:pt x="97" y="10"/>
                    <a:pt x="101" y="15"/>
                    <a:pt x="102" y="17"/>
                  </a:cubicBezTo>
                  <a:cubicBezTo>
                    <a:pt x="105" y="20"/>
                    <a:pt x="115" y="34"/>
                    <a:pt x="111" y="38"/>
                  </a:cubicBezTo>
                  <a:cubicBezTo>
                    <a:pt x="110" y="39"/>
                    <a:pt x="110" y="41"/>
                    <a:pt x="110" y="44"/>
                  </a:cubicBezTo>
                  <a:cubicBezTo>
                    <a:pt x="110" y="47"/>
                    <a:pt x="111" y="52"/>
                    <a:pt x="114" y="54"/>
                  </a:cubicBezTo>
                  <a:cubicBezTo>
                    <a:pt x="114" y="54"/>
                    <a:pt x="114" y="54"/>
                    <a:pt x="114" y="54"/>
                  </a:cubicBezTo>
                  <a:cubicBezTo>
                    <a:pt x="114" y="55"/>
                    <a:pt x="114" y="55"/>
                    <a:pt x="114" y="55"/>
                  </a:cubicBezTo>
                  <a:cubicBezTo>
                    <a:pt x="114" y="55"/>
                    <a:pt x="114" y="55"/>
                    <a:pt x="113" y="55"/>
                  </a:cubicBezTo>
                  <a:cubicBezTo>
                    <a:pt x="113" y="55"/>
                    <a:pt x="113" y="55"/>
                    <a:pt x="113" y="55"/>
                  </a:cubicBezTo>
                  <a:cubicBezTo>
                    <a:pt x="114" y="56"/>
                    <a:pt x="116" y="57"/>
                    <a:pt x="119" y="57"/>
                  </a:cubicBezTo>
                  <a:cubicBezTo>
                    <a:pt x="119" y="57"/>
                    <a:pt x="119" y="57"/>
                    <a:pt x="119" y="57"/>
                  </a:cubicBezTo>
                  <a:cubicBezTo>
                    <a:pt x="119" y="57"/>
                    <a:pt x="121" y="57"/>
                    <a:pt x="122" y="56"/>
                  </a:cubicBezTo>
                  <a:cubicBezTo>
                    <a:pt x="124" y="55"/>
                    <a:pt x="126" y="54"/>
                    <a:pt x="127" y="54"/>
                  </a:cubicBezTo>
                  <a:cubicBezTo>
                    <a:pt x="127" y="54"/>
                    <a:pt x="128" y="54"/>
                    <a:pt x="132" y="58"/>
                  </a:cubicBezTo>
                  <a:cubicBezTo>
                    <a:pt x="132" y="58"/>
                    <a:pt x="132" y="58"/>
                    <a:pt x="132" y="58"/>
                  </a:cubicBezTo>
                  <a:cubicBezTo>
                    <a:pt x="132" y="58"/>
                    <a:pt x="132" y="58"/>
                    <a:pt x="132" y="58"/>
                  </a:cubicBezTo>
                  <a:cubicBezTo>
                    <a:pt x="132" y="58"/>
                    <a:pt x="132" y="58"/>
                    <a:pt x="132" y="59"/>
                  </a:cubicBezTo>
                  <a:cubicBezTo>
                    <a:pt x="132" y="59"/>
                    <a:pt x="132" y="59"/>
                    <a:pt x="132" y="59"/>
                  </a:cubicBezTo>
                  <a:cubicBezTo>
                    <a:pt x="133" y="67"/>
                    <a:pt x="129" y="67"/>
                    <a:pt x="125" y="67"/>
                  </a:cubicBezTo>
                  <a:cubicBezTo>
                    <a:pt x="124" y="67"/>
                    <a:pt x="124" y="67"/>
                    <a:pt x="124" y="67"/>
                  </a:cubicBezTo>
                  <a:cubicBezTo>
                    <a:pt x="120" y="68"/>
                    <a:pt x="118" y="74"/>
                    <a:pt x="118" y="79"/>
                  </a:cubicBezTo>
                  <a:cubicBezTo>
                    <a:pt x="118" y="80"/>
                    <a:pt x="118" y="81"/>
                    <a:pt x="118" y="82"/>
                  </a:cubicBezTo>
                  <a:cubicBezTo>
                    <a:pt x="118" y="84"/>
                    <a:pt x="118" y="85"/>
                    <a:pt x="118" y="86"/>
                  </a:cubicBezTo>
                  <a:lnTo>
                    <a:pt x="118" y="87"/>
                  </a:lnTo>
                  <a:close/>
                  <a:moveTo>
                    <a:pt x="94" y="78"/>
                  </a:moveTo>
                  <a:cubicBezTo>
                    <a:pt x="95" y="78"/>
                    <a:pt x="96" y="78"/>
                    <a:pt x="97" y="78"/>
                  </a:cubicBezTo>
                  <a:cubicBezTo>
                    <a:pt x="102" y="79"/>
                    <a:pt x="107" y="80"/>
                    <a:pt x="109" y="82"/>
                  </a:cubicBezTo>
                  <a:cubicBezTo>
                    <a:pt x="109" y="82"/>
                    <a:pt x="111" y="84"/>
                    <a:pt x="117" y="86"/>
                  </a:cubicBezTo>
                  <a:cubicBezTo>
                    <a:pt x="117" y="85"/>
                    <a:pt x="117" y="83"/>
                    <a:pt x="117" y="82"/>
                  </a:cubicBezTo>
                  <a:cubicBezTo>
                    <a:pt x="117" y="81"/>
                    <a:pt x="117" y="80"/>
                    <a:pt x="117" y="79"/>
                  </a:cubicBezTo>
                  <a:cubicBezTo>
                    <a:pt x="117" y="74"/>
                    <a:pt x="119" y="67"/>
                    <a:pt x="124" y="66"/>
                  </a:cubicBezTo>
                  <a:cubicBezTo>
                    <a:pt x="125" y="66"/>
                    <a:pt x="125" y="66"/>
                    <a:pt x="125" y="66"/>
                  </a:cubicBezTo>
                  <a:cubicBezTo>
                    <a:pt x="129" y="66"/>
                    <a:pt x="132" y="66"/>
                    <a:pt x="131" y="59"/>
                  </a:cubicBezTo>
                  <a:cubicBezTo>
                    <a:pt x="131" y="59"/>
                    <a:pt x="131" y="59"/>
                    <a:pt x="131" y="59"/>
                  </a:cubicBezTo>
                  <a:cubicBezTo>
                    <a:pt x="131" y="58"/>
                    <a:pt x="131" y="58"/>
                    <a:pt x="131" y="58"/>
                  </a:cubicBezTo>
                  <a:cubicBezTo>
                    <a:pt x="128" y="55"/>
                    <a:pt x="127" y="55"/>
                    <a:pt x="127" y="55"/>
                  </a:cubicBezTo>
                  <a:cubicBezTo>
                    <a:pt x="126" y="55"/>
                    <a:pt x="124" y="56"/>
                    <a:pt x="123" y="57"/>
                  </a:cubicBezTo>
                  <a:cubicBezTo>
                    <a:pt x="121" y="58"/>
                    <a:pt x="120" y="58"/>
                    <a:pt x="119" y="58"/>
                  </a:cubicBezTo>
                  <a:cubicBezTo>
                    <a:pt x="119" y="58"/>
                    <a:pt x="119" y="58"/>
                    <a:pt x="119" y="58"/>
                  </a:cubicBezTo>
                  <a:cubicBezTo>
                    <a:pt x="118" y="58"/>
                    <a:pt x="113" y="58"/>
                    <a:pt x="112" y="56"/>
                  </a:cubicBezTo>
                  <a:cubicBezTo>
                    <a:pt x="112" y="55"/>
                    <a:pt x="112" y="55"/>
                    <a:pt x="113" y="54"/>
                  </a:cubicBezTo>
                  <a:cubicBezTo>
                    <a:pt x="113" y="54"/>
                    <a:pt x="113" y="54"/>
                    <a:pt x="113" y="54"/>
                  </a:cubicBezTo>
                  <a:cubicBezTo>
                    <a:pt x="110" y="52"/>
                    <a:pt x="109" y="47"/>
                    <a:pt x="109" y="44"/>
                  </a:cubicBezTo>
                  <a:cubicBezTo>
                    <a:pt x="109" y="41"/>
                    <a:pt x="109" y="38"/>
                    <a:pt x="111" y="37"/>
                  </a:cubicBezTo>
                  <a:cubicBezTo>
                    <a:pt x="113" y="35"/>
                    <a:pt x="106" y="23"/>
                    <a:pt x="101" y="18"/>
                  </a:cubicBezTo>
                  <a:cubicBezTo>
                    <a:pt x="99" y="15"/>
                    <a:pt x="95" y="8"/>
                    <a:pt x="92" y="1"/>
                  </a:cubicBezTo>
                  <a:cubicBezTo>
                    <a:pt x="87" y="3"/>
                    <a:pt x="86" y="4"/>
                    <a:pt x="86" y="4"/>
                  </a:cubicBezTo>
                  <a:cubicBezTo>
                    <a:pt x="84" y="7"/>
                    <a:pt x="80" y="9"/>
                    <a:pt x="77" y="9"/>
                  </a:cubicBezTo>
                  <a:cubicBezTo>
                    <a:pt x="76" y="9"/>
                    <a:pt x="75" y="9"/>
                    <a:pt x="75" y="9"/>
                  </a:cubicBezTo>
                  <a:cubicBezTo>
                    <a:pt x="74" y="9"/>
                    <a:pt x="73" y="9"/>
                    <a:pt x="73" y="9"/>
                  </a:cubicBezTo>
                  <a:cubicBezTo>
                    <a:pt x="72" y="9"/>
                    <a:pt x="71" y="9"/>
                    <a:pt x="70" y="10"/>
                  </a:cubicBezTo>
                  <a:cubicBezTo>
                    <a:pt x="68" y="11"/>
                    <a:pt x="66" y="12"/>
                    <a:pt x="65" y="12"/>
                  </a:cubicBezTo>
                  <a:cubicBezTo>
                    <a:pt x="64" y="12"/>
                    <a:pt x="63" y="12"/>
                    <a:pt x="63" y="11"/>
                  </a:cubicBezTo>
                  <a:cubicBezTo>
                    <a:pt x="62" y="10"/>
                    <a:pt x="57" y="9"/>
                    <a:pt x="55" y="9"/>
                  </a:cubicBezTo>
                  <a:cubicBezTo>
                    <a:pt x="53" y="9"/>
                    <a:pt x="49" y="8"/>
                    <a:pt x="46" y="8"/>
                  </a:cubicBezTo>
                  <a:cubicBezTo>
                    <a:pt x="43" y="7"/>
                    <a:pt x="41" y="6"/>
                    <a:pt x="40" y="6"/>
                  </a:cubicBezTo>
                  <a:cubicBezTo>
                    <a:pt x="39" y="6"/>
                    <a:pt x="37" y="7"/>
                    <a:pt x="35" y="7"/>
                  </a:cubicBezTo>
                  <a:cubicBezTo>
                    <a:pt x="35" y="8"/>
                    <a:pt x="35" y="9"/>
                    <a:pt x="33" y="10"/>
                  </a:cubicBezTo>
                  <a:cubicBezTo>
                    <a:pt x="32" y="11"/>
                    <a:pt x="29" y="13"/>
                    <a:pt x="27" y="14"/>
                  </a:cubicBezTo>
                  <a:cubicBezTo>
                    <a:pt x="25" y="15"/>
                    <a:pt x="24" y="16"/>
                    <a:pt x="24" y="16"/>
                  </a:cubicBezTo>
                  <a:cubicBezTo>
                    <a:pt x="23" y="17"/>
                    <a:pt x="21" y="20"/>
                    <a:pt x="19" y="24"/>
                  </a:cubicBezTo>
                  <a:cubicBezTo>
                    <a:pt x="16" y="29"/>
                    <a:pt x="13" y="35"/>
                    <a:pt x="10" y="38"/>
                  </a:cubicBezTo>
                  <a:cubicBezTo>
                    <a:pt x="8" y="41"/>
                    <a:pt x="6" y="42"/>
                    <a:pt x="4" y="43"/>
                  </a:cubicBezTo>
                  <a:cubicBezTo>
                    <a:pt x="3" y="43"/>
                    <a:pt x="2" y="44"/>
                    <a:pt x="1" y="45"/>
                  </a:cubicBezTo>
                  <a:cubicBezTo>
                    <a:pt x="1" y="45"/>
                    <a:pt x="3" y="47"/>
                    <a:pt x="4" y="48"/>
                  </a:cubicBezTo>
                  <a:cubicBezTo>
                    <a:pt x="5" y="49"/>
                    <a:pt x="7" y="51"/>
                    <a:pt x="7" y="53"/>
                  </a:cubicBezTo>
                  <a:cubicBezTo>
                    <a:pt x="7" y="54"/>
                    <a:pt x="7" y="57"/>
                    <a:pt x="11" y="57"/>
                  </a:cubicBezTo>
                  <a:cubicBezTo>
                    <a:pt x="12" y="57"/>
                    <a:pt x="12" y="58"/>
                    <a:pt x="12" y="58"/>
                  </a:cubicBezTo>
                  <a:cubicBezTo>
                    <a:pt x="13" y="59"/>
                    <a:pt x="13" y="61"/>
                    <a:pt x="13" y="63"/>
                  </a:cubicBezTo>
                  <a:cubicBezTo>
                    <a:pt x="13" y="64"/>
                    <a:pt x="12" y="66"/>
                    <a:pt x="13" y="67"/>
                  </a:cubicBezTo>
                  <a:cubicBezTo>
                    <a:pt x="14" y="67"/>
                    <a:pt x="15" y="67"/>
                    <a:pt x="16" y="67"/>
                  </a:cubicBezTo>
                  <a:cubicBezTo>
                    <a:pt x="23" y="68"/>
                    <a:pt x="30" y="69"/>
                    <a:pt x="30" y="72"/>
                  </a:cubicBezTo>
                  <a:cubicBezTo>
                    <a:pt x="30" y="73"/>
                    <a:pt x="30" y="74"/>
                    <a:pt x="30" y="75"/>
                  </a:cubicBezTo>
                  <a:cubicBezTo>
                    <a:pt x="30" y="76"/>
                    <a:pt x="31" y="77"/>
                    <a:pt x="31" y="78"/>
                  </a:cubicBezTo>
                  <a:cubicBezTo>
                    <a:pt x="33" y="78"/>
                    <a:pt x="34" y="80"/>
                    <a:pt x="36" y="82"/>
                  </a:cubicBezTo>
                  <a:cubicBezTo>
                    <a:pt x="37" y="82"/>
                    <a:pt x="38" y="83"/>
                    <a:pt x="38" y="83"/>
                  </a:cubicBezTo>
                  <a:cubicBezTo>
                    <a:pt x="38" y="83"/>
                    <a:pt x="38" y="83"/>
                    <a:pt x="39" y="83"/>
                  </a:cubicBezTo>
                  <a:cubicBezTo>
                    <a:pt x="40" y="83"/>
                    <a:pt x="43" y="84"/>
                    <a:pt x="46" y="84"/>
                  </a:cubicBezTo>
                  <a:cubicBezTo>
                    <a:pt x="49" y="85"/>
                    <a:pt x="53" y="85"/>
                    <a:pt x="54" y="85"/>
                  </a:cubicBezTo>
                  <a:cubicBezTo>
                    <a:pt x="54" y="85"/>
                    <a:pt x="55" y="85"/>
                    <a:pt x="57" y="85"/>
                  </a:cubicBezTo>
                  <a:cubicBezTo>
                    <a:pt x="61" y="85"/>
                    <a:pt x="67" y="85"/>
                    <a:pt x="69" y="85"/>
                  </a:cubicBezTo>
                  <a:cubicBezTo>
                    <a:pt x="72" y="86"/>
                    <a:pt x="76" y="84"/>
                    <a:pt x="79" y="81"/>
                  </a:cubicBezTo>
                  <a:cubicBezTo>
                    <a:pt x="82" y="78"/>
                    <a:pt x="93" y="78"/>
                    <a:pt x="94" y="7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3" name="Freeform 80"/>
            <p:cNvSpPr>
              <a:spLocks noEditPoints="1"/>
            </p:cNvSpPr>
            <p:nvPr/>
          </p:nvSpPr>
          <p:spPr>
            <a:xfrm>
              <a:off x="5434014" y="2493963"/>
              <a:ext cx="79375" cy="98425"/>
            </a:xfrm>
            <a:custGeom>
              <a:gdLst>
                <a:gd name="T0" fmla="*/ 23 w 47"/>
                <a:gd name="T1" fmla="*/ 58 h 58"/>
                <a:gd name="T2" fmla="*/ 22 w 47"/>
                <a:gd name="T3" fmla="*/ 57 h 58"/>
                <a:gd name="T4" fmla="*/ 18 w 47"/>
                <a:gd name="T5" fmla="*/ 47 h 58"/>
                <a:gd name="T6" fmla="*/ 20 w 47"/>
                <a:gd name="T7" fmla="*/ 40 h 58"/>
                <a:gd name="T8" fmla="*/ 10 w 47"/>
                <a:gd name="T9" fmla="*/ 21 h 58"/>
                <a:gd name="T10" fmla="*/ 1 w 47"/>
                <a:gd name="T11" fmla="*/ 4 h 58"/>
                <a:gd name="T12" fmla="*/ 0 w 47"/>
                <a:gd name="T13" fmla="*/ 4 h 58"/>
                <a:gd name="T14" fmla="*/ 1 w 47"/>
                <a:gd name="T15" fmla="*/ 3 h 58"/>
                <a:gd name="T16" fmla="*/ 12 w 47"/>
                <a:gd name="T17" fmla="*/ 1 h 58"/>
                <a:gd name="T18" fmla="*/ 18 w 47"/>
                <a:gd name="T19" fmla="*/ 4 h 58"/>
                <a:gd name="T20" fmla="*/ 23 w 47"/>
                <a:gd name="T21" fmla="*/ 7 h 58"/>
                <a:gd name="T22" fmla="*/ 34 w 47"/>
                <a:gd name="T23" fmla="*/ 15 h 58"/>
                <a:gd name="T24" fmla="*/ 43 w 47"/>
                <a:gd name="T25" fmla="*/ 30 h 58"/>
                <a:gd name="T26" fmla="*/ 47 w 47"/>
                <a:gd name="T27" fmla="*/ 39 h 58"/>
                <a:gd name="T28" fmla="*/ 46 w 47"/>
                <a:gd name="T29" fmla="*/ 40 h 58"/>
                <a:gd name="T30" fmla="*/ 45 w 47"/>
                <a:gd name="T31" fmla="*/ 41 h 58"/>
                <a:gd name="T32" fmla="*/ 45 w 47"/>
                <a:gd name="T33" fmla="*/ 41 h 58"/>
                <a:gd name="T34" fmla="*/ 40 w 47"/>
                <a:gd name="T35" fmla="*/ 39 h 58"/>
                <a:gd name="T36" fmla="*/ 36 w 47"/>
                <a:gd name="T37" fmla="*/ 38 h 58"/>
                <a:gd name="T38" fmla="*/ 31 w 47"/>
                <a:gd name="T39" fmla="*/ 44 h 58"/>
                <a:gd name="T40" fmla="*/ 23 w 47"/>
                <a:gd name="T41" fmla="*/ 57 h 58"/>
                <a:gd name="T42" fmla="*/ 23 w 47"/>
                <a:gd name="T43" fmla="*/ 58 h 58"/>
                <a:gd name="T44" fmla="*/ 2 w 47"/>
                <a:gd name="T45" fmla="*/ 4 h 58"/>
                <a:gd name="T46" fmla="*/ 11 w 47"/>
                <a:gd name="T47" fmla="*/ 20 h 58"/>
                <a:gd name="T48" fmla="*/ 20 w 47"/>
                <a:gd name="T49" fmla="*/ 41 h 58"/>
                <a:gd name="T50" fmla="*/ 19 w 47"/>
                <a:gd name="T51" fmla="*/ 47 h 58"/>
                <a:gd name="T52" fmla="*/ 22 w 47"/>
                <a:gd name="T53" fmla="*/ 56 h 58"/>
                <a:gd name="T54" fmla="*/ 23 w 47"/>
                <a:gd name="T55" fmla="*/ 56 h 58"/>
                <a:gd name="T56" fmla="*/ 30 w 47"/>
                <a:gd name="T57" fmla="*/ 44 h 58"/>
                <a:gd name="T58" fmla="*/ 35 w 47"/>
                <a:gd name="T59" fmla="*/ 37 h 58"/>
                <a:gd name="T60" fmla="*/ 36 w 47"/>
                <a:gd name="T61" fmla="*/ 37 h 58"/>
                <a:gd name="T62" fmla="*/ 41 w 47"/>
                <a:gd name="T63" fmla="*/ 39 h 58"/>
                <a:gd name="T64" fmla="*/ 45 w 47"/>
                <a:gd name="T65" fmla="*/ 40 h 58"/>
                <a:gd name="T66" fmla="*/ 46 w 47"/>
                <a:gd name="T67" fmla="*/ 40 h 58"/>
                <a:gd name="T68" fmla="*/ 42 w 47"/>
                <a:gd name="T69" fmla="*/ 30 h 58"/>
                <a:gd name="T70" fmla="*/ 33 w 47"/>
                <a:gd name="T71" fmla="*/ 16 h 58"/>
                <a:gd name="T72" fmla="*/ 23 w 47"/>
                <a:gd name="T73" fmla="*/ 8 h 58"/>
                <a:gd name="T74" fmla="*/ 18 w 47"/>
                <a:gd name="T75" fmla="*/ 5 h 58"/>
                <a:gd name="T76" fmla="*/ 12 w 47"/>
                <a:gd name="T77" fmla="*/ 2 h 58"/>
                <a:gd name="T78" fmla="*/ 2 w 47"/>
                <a:gd name="T79" fmla="*/ 4 h 5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8">
                  <a:moveTo>
                    <a:pt x="23" y="58"/>
                  </a:moveTo>
                  <a:cubicBezTo>
                    <a:pt x="22" y="57"/>
                    <a:pt x="22" y="57"/>
                    <a:pt x="22" y="57"/>
                  </a:cubicBezTo>
                  <a:cubicBezTo>
                    <a:pt x="19" y="55"/>
                    <a:pt x="18" y="50"/>
                    <a:pt x="18" y="47"/>
                  </a:cubicBezTo>
                  <a:cubicBezTo>
                    <a:pt x="18" y="44"/>
                    <a:pt x="18" y="41"/>
                    <a:pt x="20" y="40"/>
                  </a:cubicBezTo>
                  <a:cubicBezTo>
                    <a:pt x="22" y="38"/>
                    <a:pt x="15" y="26"/>
                    <a:pt x="10" y="21"/>
                  </a:cubicBezTo>
                  <a:cubicBezTo>
                    <a:pt x="8" y="18"/>
                    <a:pt x="4" y="10"/>
                    <a:pt x="1" y="4"/>
                  </a:cubicBezTo>
                  <a:cubicBezTo>
                    <a:pt x="0" y="4"/>
                    <a:pt x="0" y="4"/>
                    <a:pt x="0" y="4"/>
                  </a:cubicBezTo>
                  <a:cubicBezTo>
                    <a:pt x="1" y="3"/>
                    <a:pt x="1" y="3"/>
                    <a:pt x="1" y="3"/>
                  </a:cubicBezTo>
                  <a:cubicBezTo>
                    <a:pt x="5" y="2"/>
                    <a:pt x="10" y="1"/>
                    <a:pt x="12" y="1"/>
                  </a:cubicBezTo>
                  <a:cubicBezTo>
                    <a:pt x="14" y="0"/>
                    <a:pt x="16" y="2"/>
                    <a:pt x="18" y="4"/>
                  </a:cubicBezTo>
                  <a:cubicBezTo>
                    <a:pt x="20" y="6"/>
                    <a:pt x="22" y="7"/>
                    <a:pt x="23" y="7"/>
                  </a:cubicBezTo>
                  <a:cubicBezTo>
                    <a:pt x="27" y="7"/>
                    <a:pt x="32" y="10"/>
                    <a:pt x="34" y="15"/>
                  </a:cubicBezTo>
                  <a:cubicBezTo>
                    <a:pt x="36" y="21"/>
                    <a:pt x="41" y="28"/>
                    <a:pt x="43" y="30"/>
                  </a:cubicBezTo>
                  <a:cubicBezTo>
                    <a:pt x="45" y="32"/>
                    <a:pt x="47" y="38"/>
                    <a:pt x="47" y="39"/>
                  </a:cubicBezTo>
                  <a:cubicBezTo>
                    <a:pt x="47" y="40"/>
                    <a:pt x="46" y="40"/>
                    <a:pt x="46" y="40"/>
                  </a:cubicBezTo>
                  <a:cubicBezTo>
                    <a:pt x="46" y="41"/>
                    <a:pt x="46" y="41"/>
                    <a:pt x="45" y="41"/>
                  </a:cubicBezTo>
                  <a:cubicBezTo>
                    <a:pt x="45" y="41"/>
                    <a:pt x="45" y="41"/>
                    <a:pt x="45" y="41"/>
                  </a:cubicBezTo>
                  <a:cubicBezTo>
                    <a:pt x="44" y="41"/>
                    <a:pt x="42" y="40"/>
                    <a:pt x="40" y="39"/>
                  </a:cubicBezTo>
                  <a:cubicBezTo>
                    <a:pt x="39" y="39"/>
                    <a:pt x="38" y="39"/>
                    <a:pt x="36" y="38"/>
                  </a:cubicBezTo>
                  <a:cubicBezTo>
                    <a:pt x="33" y="37"/>
                    <a:pt x="31" y="39"/>
                    <a:pt x="31" y="44"/>
                  </a:cubicBezTo>
                  <a:cubicBezTo>
                    <a:pt x="31" y="46"/>
                    <a:pt x="27" y="52"/>
                    <a:pt x="23" y="57"/>
                  </a:cubicBezTo>
                  <a:lnTo>
                    <a:pt x="23" y="58"/>
                  </a:lnTo>
                  <a:close/>
                  <a:moveTo>
                    <a:pt x="2" y="4"/>
                  </a:moveTo>
                  <a:cubicBezTo>
                    <a:pt x="6" y="13"/>
                    <a:pt x="10" y="18"/>
                    <a:pt x="11" y="20"/>
                  </a:cubicBezTo>
                  <a:cubicBezTo>
                    <a:pt x="14" y="23"/>
                    <a:pt x="24" y="37"/>
                    <a:pt x="20" y="41"/>
                  </a:cubicBezTo>
                  <a:cubicBezTo>
                    <a:pt x="19" y="42"/>
                    <a:pt x="19" y="44"/>
                    <a:pt x="19" y="47"/>
                  </a:cubicBezTo>
                  <a:cubicBezTo>
                    <a:pt x="19" y="50"/>
                    <a:pt x="20" y="54"/>
                    <a:pt x="22" y="56"/>
                  </a:cubicBezTo>
                  <a:cubicBezTo>
                    <a:pt x="23" y="56"/>
                    <a:pt x="23" y="56"/>
                    <a:pt x="23" y="56"/>
                  </a:cubicBezTo>
                  <a:cubicBezTo>
                    <a:pt x="25" y="53"/>
                    <a:pt x="30" y="46"/>
                    <a:pt x="30" y="44"/>
                  </a:cubicBezTo>
                  <a:cubicBezTo>
                    <a:pt x="30" y="38"/>
                    <a:pt x="33" y="37"/>
                    <a:pt x="35" y="37"/>
                  </a:cubicBezTo>
                  <a:cubicBezTo>
                    <a:pt x="36" y="37"/>
                    <a:pt x="36" y="37"/>
                    <a:pt x="36" y="37"/>
                  </a:cubicBezTo>
                  <a:cubicBezTo>
                    <a:pt x="38" y="38"/>
                    <a:pt x="39" y="38"/>
                    <a:pt x="41" y="39"/>
                  </a:cubicBezTo>
                  <a:cubicBezTo>
                    <a:pt x="43" y="39"/>
                    <a:pt x="44" y="40"/>
                    <a:pt x="45" y="40"/>
                  </a:cubicBezTo>
                  <a:cubicBezTo>
                    <a:pt x="46" y="40"/>
                    <a:pt x="46" y="40"/>
                    <a:pt x="46" y="40"/>
                  </a:cubicBezTo>
                  <a:cubicBezTo>
                    <a:pt x="46" y="38"/>
                    <a:pt x="44" y="32"/>
                    <a:pt x="42" y="30"/>
                  </a:cubicBezTo>
                  <a:cubicBezTo>
                    <a:pt x="40" y="28"/>
                    <a:pt x="35" y="21"/>
                    <a:pt x="33" y="16"/>
                  </a:cubicBezTo>
                  <a:cubicBezTo>
                    <a:pt x="32" y="10"/>
                    <a:pt x="26" y="8"/>
                    <a:pt x="23" y="8"/>
                  </a:cubicBezTo>
                  <a:cubicBezTo>
                    <a:pt x="22" y="8"/>
                    <a:pt x="20" y="7"/>
                    <a:pt x="18" y="5"/>
                  </a:cubicBezTo>
                  <a:cubicBezTo>
                    <a:pt x="16" y="3"/>
                    <a:pt x="13" y="1"/>
                    <a:pt x="12" y="2"/>
                  </a:cubicBezTo>
                  <a:cubicBezTo>
                    <a:pt x="10" y="2"/>
                    <a:pt x="6" y="3"/>
                    <a:pt x="2"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4" name="Freeform 81"/>
            <p:cNvSpPr>
              <a:spLocks noEditPoints="1"/>
            </p:cNvSpPr>
            <p:nvPr/>
          </p:nvSpPr>
          <p:spPr>
            <a:xfrm>
              <a:off x="5322889" y="2630488"/>
              <a:ext cx="157163" cy="87313"/>
            </a:xfrm>
            <a:custGeom>
              <a:gdLst>
                <a:gd name="T0" fmla="*/ 48 w 92"/>
                <a:gd name="T1" fmla="*/ 51 h 51"/>
                <a:gd name="T2" fmla="*/ 25 w 92"/>
                <a:gd name="T3" fmla="*/ 47 h 51"/>
                <a:gd name="T4" fmla="*/ 13 w 92"/>
                <a:gd name="T5" fmla="*/ 48 h 51"/>
                <a:gd name="T6" fmla="*/ 12 w 92"/>
                <a:gd name="T7" fmla="*/ 46 h 51"/>
                <a:gd name="T8" fmla="*/ 2 w 92"/>
                <a:gd name="T9" fmla="*/ 35 h 51"/>
                <a:gd name="T10" fmla="*/ 2 w 92"/>
                <a:gd name="T11" fmla="*/ 30 h 51"/>
                <a:gd name="T12" fmla="*/ 4 w 92"/>
                <a:gd name="T13" fmla="*/ 22 h 51"/>
                <a:gd name="T14" fmla="*/ 8 w 92"/>
                <a:gd name="T15" fmla="*/ 20 h 51"/>
                <a:gd name="T16" fmla="*/ 0 w 92"/>
                <a:gd name="T17" fmla="*/ 6 h 51"/>
                <a:gd name="T18" fmla="*/ 3 w 92"/>
                <a:gd name="T19" fmla="*/ 0 h 51"/>
                <a:gd name="T20" fmla="*/ 4 w 92"/>
                <a:gd name="T21" fmla="*/ 0 h 51"/>
                <a:gd name="T22" fmla="*/ 12 w 92"/>
                <a:gd name="T23" fmla="*/ 5 h 51"/>
                <a:gd name="T24" fmla="*/ 20 w 92"/>
                <a:gd name="T25" fmla="*/ 6 h 51"/>
                <a:gd name="T26" fmla="*/ 31 w 92"/>
                <a:gd name="T27" fmla="*/ 7 h 51"/>
                <a:gd name="T28" fmla="*/ 53 w 92"/>
                <a:gd name="T29" fmla="*/ 3 h 51"/>
                <a:gd name="T30" fmla="*/ 71 w 92"/>
                <a:gd name="T31" fmla="*/ 0 h 51"/>
                <a:gd name="T32" fmla="*/ 91 w 92"/>
                <a:gd name="T33" fmla="*/ 8 h 51"/>
                <a:gd name="T34" fmla="*/ 92 w 92"/>
                <a:gd name="T35" fmla="*/ 8 h 51"/>
                <a:gd name="T36" fmla="*/ 82 w 92"/>
                <a:gd name="T37" fmla="*/ 19 h 51"/>
                <a:gd name="T38" fmla="*/ 76 w 92"/>
                <a:gd name="T39" fmla="*/ 26 h 51"/>
                <a:gd name="T40" fmla="*/ 82 w 92"/>
                <a:gd name="T41" fmla="*/ 38 h 51"/>
                <a:gd name="T42" fmla="*/ 82 w 92"/>
                <a:gd name="T43" fmla="*/ 39 h 51"/>
                <a:gd name="T44" fmla="*/ 77 w 92"/>
                <a:gd name="T45" fmla="*/ 40 h 51"/>
                <a:gd name="T46" fmla="*/ 69 w 92"/>
                <a:gd name="T47" fmla="*/ 39 h 51"/>
                <a:gd name="T48" fmla="*/ 61 w 92"/>
                <a:gd name="T49" fmla="*/ 43 h 51"/>
                <a:gd name="T50" fmla="*/ 61 w 92"/>
                <a:gd name="T51" fmla="*/ 44 h 51"/>
                <a:gd name="T52" fmla="*/ 54 w 92"/>
                <a:gd name="T53" fmla="*/ 46 h 51"/>
                <a:gd name="T54" fmla="*/ 48 w 92"/>
                <a:gd name="T55" fmla="*/ 51 h 51"/>
                <a:gd name="T56" fmla="*/ 33 w 92"/>
                <a:gd name="T57" fmla="*/ 47 h 51"/>
                <a:gd name="T58" fmla="*/ 53 w 92"/>
                <a:gd name="T59" fmla="*/ 48 h 51"/>
                <a:gd name="T60" fmla="*/ 54 w 92"/>
                <a:gd name="T61" fmla="*/ 45 h 51"/>
                <a:gd name="T62" fmla="*/ 61 w 92"/>
                <a:gd name="T63" fmla="*/ 39 h 51"/>
                <a:gd name="T64" fmla="*/ 76 w 92"/>
                <a:gd name="T65" fmla="*/ 39 h 51"/>
                <a:gd name="T66" fmla="*/ 77 w 92"/>
                <a:gd name="T67" fmla="*/ 39 h 51"/>
                <a:gd name="T68" fmla="*/ 79 w 92"/>
                <a:gd name="T69" fmla="*/ 35 h 51"/>
                <a:gd name="T70" fmla="*/ 76 w 92"/>
                <a:gd name="T71" fmla="*/ 23 h 51"/>
                <a:gd name="T72" fmla="*/ 88 w 92"/>
                <a:gd name="T73" fmla="*/ 11 h 51"/>
                <a:gd name="T74" fmla="*/ 82 w 92"/>
                <a:gd name="T75" fmla="*/ 4 h 51"/>
                <a:gd name="T76" fmla="*/ 68 w 92"/>
                <a:gd name="T77" fmla="*/ 1 h 51"/>
                <a:gd name="T78" fmla="*/ 43 w 92"/>
                <a:gd name="T79" fmla="*/ 8 h 51"/>
                <a:gd name="T80" fmla="*/ 28 w 92"/>
                <a:gd name="T81" fmla="*/ 8 h 51"/>
                <a:gd name="T82" fmla="*/ 13 w 92"/>
                <a:gd name="T83" fmla="*/ 6 h 51"/>
                <a:gd name="T84" fmla="*/ 9 w 92"/>
                <a:gd name="T85" fmla="*/ 4 h 51"/>
                <a:gd name="T86" fmla="*/ 3 w 92"/>
                <a:gd name="T87" fmla="*/ 2 h 51"/>
                <a:gd name="T88" fmla="*/ 3 w 92"/>
                <a:gd name="T89" fmla="*/ 11 h 51"/>
                <a:gd name="T90" fmla="*/ 7 w 92"/>
                <a:gd name="T91" fmla="*/ 21 h 51"/>
                <a:gd name="T92" fmla="*/ 3 w 92"/>
                <a:gd name="T93" fmla="*/ 27 h 51"/>
                <a:gd name="T94" fmla="*/ 3 w 92"/>
                <a:gd name="T95" fmla="*/ 33 h 51"/>
                <a:gd name="T96" fmla="*/ 11 w 92"/>
                <a:gd name="T97" fmla="*/ 43 h 51"/>
                <a:gd name="T98" fmla="*/ 14 w 92"/>
                <a:gd name="T99" fmla="*/ 47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1">
                  <a:moveTo>
                    <a:pt x="48" y="51"/>
                  </a:moveTo>
                  <a:cubicBezTo>
                    <a:pt x="48" y="51"/>
                    <a:pt x="48" y="51"/>
                    <a:pt x="48" y="51"/>
                  </a:cubicBezTo>
                  <a:cubicBezTo>
                    <a:pt x="48" y="51"/>
                    <a:pt x="36" y="50"/>
                    <a:pt x="33" y="48"/>
                  </a:cubicBezTo>
                  <a:cubicBezTo>
                    <a:pt x="32" y="48"/>
                    <a:pt x="30" y="47"/>
                    <a:pt x="25" y="47"/>
                  </a:cubicBezTo>
                  <a:cubicBezTo>
                    <a:pt x="21" y="47"/>
                    <a:pt x="16" y="48"/>
                    <a:pt x="13" y="48"/>
                  </a:cubicBezTo>
                  <a:cubicBezTo>
                    <a:pt x="13" y="48"/>
                    <a:pt x="13" y="48"/>
                    <a:pt x="13" y="48"/>
                  </a:cubicBezTo>
                  <a:cubicBezTo>
                    <a:pt x="13" y="47"/>
                    <a:pt x="13" y="47"/>
                    <a:pt x="13" y="47"/>
                  </a:cubicBezTo>
                  <a:cubicBezTo>
                    <a:pt x="12" y="46"/>
                    <a:pt x="12" y="46"/>
                    <a:pt x="12" y="46"/>
                  </a:cubicBezTo>
                  <a:cubicBezTo>
                    <a:pt x="11" y="45"/>
                    <a:pt x="10" y="44"/>
                    <a:pt x="10" y="43"/>
                  </a:cubicBezTo>
                  <a:cubicBezTo>
                    <a:pt x="10" y="43"/>
                    <a:pt x="9" y="41"/>
                    <a:pt x="2" y="35"/>
                  </a:cubicBezTo>
                  <a:cubicBezTo>
                    <a:pt x="2" y="34"/>
                    <a:pt x="2" y="34"/>
                    <a:pt x="2" y="34"/>
                  </a:cubicBezTo>
                  <a:cubicBezTo>
                    <a:pt x="1" y="33"/>
                    <a:pt x="2" y="32"/>
                    <a:pt x="2" y="30"/>
                  </a:cubicBezTo>
                  <a:cubicBezTo>
                    <a:pt x="2" y="29"/>
                    <a:pt x="2" y="28"/>
                    <a:pt x="2" y="27"/>
                  </a:cubicBezTo>
                  <a:cubicBezTo>
                    <a:pt x="2" y="26"/>
                    <a:pt x="2" y="24"/>
                    <a:pt x="4" y="22"/>
                  </a:cubicBezTo>
                  <a:cubicBezTo>
                    <a:pt x="5" y="21"/>
                    <a:pt x="6" y="20"/>
                    <a:pt x="7" y="20"/>
                  </a:cubicBezTo>
                  <a:cubicBezTo>
                    <a:pt x="8" y="20"/>
                    <a:pt x="8" y="20"/>
                    <a:pt x="8" y="20"/>
                  </a:cubicBezTo>
                  <a:cubicBezTo>
                    <a:pt x="8" y="19"/>
                    <a:pt x="5" y="15"/>
                    <a:pt x="2" y="12"/>
                  </a:cubicBezTo>
                  <a:cubicBezTo>
                    <a:pt x="1" y="10"/>
                    <a:pt x="0" y="8"/>
                    <a:pt x="0" y="6"/>
                  </a:cubicBezTo>
                  <a:cubicBezTo>
                    <a:pt x="0" y="4"/>
                    <a:pt x="1" y="2"/>
                    <a:pt x="2" y="1"/>
                  </a:cubicBezTo>
                  <a:cubicBezTo>
                    <a:pt x="3" y="1"/>
                    <a:pt x="3" y="0"/>
                    <a:pt x="3" y="0"/>
                  </a:cubicBezTo>
                  <a:cubicBezTo>
                    <a:pt x="4" y="0"/>
                    <a:pt x="4" y="0"/>
                    <a:pt x="4" y="0"/>
                  </a:cubicBezTo>
                  <a:cubicBezTo>
                    <a:pt x="4" y="0"/>
                    <a:pt x="4" y="0"/>
                    <a:pt x="4" y="0"/>
                  </a:cubicBezTo>
                  <a:cubicBezTo>
                    <a:pt x="6" y="0"/>
                    <a:pt x="8" y="2"/>
                    <a:pt x="10" y="4"/>
                  </a:cubicBezTo>
                  <a:cubicBezTo>
                    <a:pt x="11" y="4"/>
                    <a:pt x="12" y="5"/>
                    <a:pt x="12" y="5"/>
                  </a:cubicBezTo>
                  <a:cubicBezTo>
                    <a:pt x="12" y="5"/>
                    <a:pt x="12" y="5"/>
                    <a:pt x="13" y="5"/>
                  </a:cubicBezTo>
                  <a:cubicBezTo>
                    <a:pt x="14" y="5"/>
                    <a:pt x="17" y="6"/>
                    <a:pt x="20" y="6"/>
                  </a:cubicBezTo>
                  <a:cubicBezTo>
                    <a:pt x="23" y="7"/>
                    <a:pt x="27" y="7"/>
                    <a:pt x="28" y="7"/>
                  </a:cubicBezTo>
                  <a:cubicBezTo>
                    <a:pt x="28" y="7"/>
                    <a:pt x="29" y="7"/>
                    <a:pt x="31" y="7"/>
                  </a:cubicBezTo>
                  <a:cubicBezTo>
                    <a:pt x="35" y="7"/>
                    <a:pt x="41" y="7"/>
                    <a:pt x="43" y="7"/>
                  </a:cubicBezTo>
                  <a:cubicBezTo>
                    <a:pt x="46" y="8"/>
                    <a:pt x="50" y="6"/>
                    <a:pt x="53" y="3"/>
                  </a:cubicBezTo>
                  <a:cubicBezTo>
                    <a:pt x="56" y="0"/>
                    <a:pt x="67" y="0"/>
                    <a:pt x="68" y="0"/>
                  </a:cubicBezTo>
                  <a:cubicBezTo>
                    <a:pt x="69" y="0"/>
                    <a:pt x="70" y="0"/>
                    <a:pt x="71" y="0"/>
                  </a:cubicBezTo>
                  <a:cubicBezTo>
                    <a:pt x="76" y="1"/>
                    <a:pt x="81" y="2"/>
                    <a:pt x="83" y="4"/>
                  </a:cubicBezTo>
                  <a:cubicBezTo>
                    <a:pt x="83" y="4"/>
                    <a:pt x="86" y="6"/>
                    <a:pt x="91" y="8"/>
                  </a:cubicBezTo>
                  <a:cubicBezTo>
                    <a:pt x="92" y="8"/>
                    <a:pt x="92" y="8"/>
                    <a:pt x="92" y="8"/>
                  </a:cubicBezTo>
                  <a:cubicBezTo>
                    <a:pt x="92" y="8"/>
                    <a:pt x="92" y="8"/>
                    <a:pt x="92" y="8"/>
                  </a:cubicBezTo>
                  <a:cubicBezTo>
                    <a:pt x="91" y="10"/>
                    <a:pt x="90" y="11"/>
                    <a:pt x="88" y="12"/>
                  </a:cubicBezTo>
                  <a:cubicBezTo>
                    <a:pt x="86" y="13"/>
                    <a:pt x="84" y="16"/>
                    <a:pt x="82" y="19"/>
                  </a:cubicBezTo>
                  <a:cubicBezTo>
                    <a:pt x="80" y="22"/>
                    <a:pt x="78" y="24"/>
                    <a:pt x="77" y="24"/>
                  </a:cubicBezTo>
                  <a:cubicBezTo>
                    <a:pt x="76" y="24"/>
                    <a:pt x="76" y="25"/>
                    <a:pt x="76" y="26"/>
                  </a:cubicBezTo>
                  <a:cubicBezTo>
                    <a:pt x="76" y="29"/>
                    <a:pt x="78" y="34"/>
                    <a:pt x="80" y="34"/>
                  </a:cubicBezTo>
                  <a:cubicBezTo>
                    <a:pt x="81" y="35"/>
                    <a:pt x="81" y="36"/>
                    <a:pt x="82" y="38"/>
                  </a:cubicBezTo>
                  <a:cubicBezTo>
                    <a:pt x="82" y="38"/>
                    <a:pt x="82" y="38"/>
                    <a:pt x="82" y="38"/>
                  </a:cubicBezTo>
                  <a:cubicBezTo>
                    <a:pt x="82" y="39"/>
                    <a:pt x="82" y="39"/>
                    <a:pt x="82" y="39"/>
                  </a:cubicBezTo>
                  <a:cubicBezTo>
                    <a:pt x="80" y="40"/>
                    <a:pt x="79" y="40"/>
                    <a:pt x="77" y="40"/>
                  </a:cubicBezTo>
                  <a:cubicBezTo>
                    <a:pt x="77" y="40"/>
                    <a:pt x="77" y="40"/>
                    <a:pt x="77" y="40"/>
                  </a:cubicBezTo>
                  <a:cubicBezTo>
                    <a:pt x="77" y="40"/>
                    <a:pt x="76" y="40"/>
                    <a:pt x="75" y="40"/>
                  </a:cubicBezTo>
                  <a:cubicBezTo>
                    <a:pt x="74" y="39"/>
                    <a:pt x="72" y="39"/>
                    <a:pt x="69" y="39"/>
                  </a:cubicBezTo>
                  <a:cubicBezTo>
                    <a:pt x="66" y="39"/>
                    <a:pt x="62" y="39"/>
                    <a:pt x="61" y="40"/>
                  </a:cubicBezTo>
                  <a:cubicBezTo>
                    <a:pt x="61" y="40"/>
                    <a:pt x="61" y="42"/>
                    <a:pt x="61" y="43"/>
                  </a:cubicBezTo>
                  <a:cubicBezTo>
                    <a:pt x="62" y="44"/>
                    <a:pt x="62" y="44"/>
                    <a:pt x="62" y="44"/>
                  </a:cubicBezTo>
                  <a:cubicBezTo>
                    <a:pt x="61" y="44"/>
                    <a:pt x="61" y="44"/>
                    <a:pt x="61" y="44"/>
                  </a:cubicBezTo>
                  <a:cubicBezTo>
                    <a:pt x="58" y="44"/>
                    <a:pt x="55" y="45"/>
                    <a:pt x="54" y="46"/>
                  </a:cubicBezTo>
                  <a:cubicBezTo>
                    <a:pt x="54" y="46"/>
                    <a:pt x="54" y="46"/>
                    <a:pt x="54" y="46"/>
                  </a:cubicBezTo>
                  <a:cubicBezTo>
                    <a:pt x="55" y="47"/>
                    <a:pt x="55" y="48"/>
                    <a:pt x="54" y="49"/>
                  </a:cubicBezTo>
                  <a:cubicBezTo>
                    <a:pt x="53" y="50"/>
                    <a:pt x="51" y="51"/>
                    <a:pt x="48" y="51"/>
                  </a:cubicBezTo>
                  <a:close/>
                  <a:moveTo>
                    <a:pt x="25" y="46"/>
                  </a:moveTo>
                  <a:cubicBezTo>
                    <a:pt x="29" y="46"/>
                    <a:pt x="32" y="47"/>
                    <a:pt x="33" y="47"/>
                  </a:cubicBezTo>
                  <a:cubicBezTo>
                    <a:pt x="36" y="49"/>
                    <a:pt x="48" y="50"/>
                    <a:pt x="48" y="50"/>
                  </a:cubicBezTo>
                  <a:cubicBezTo>
                    <a:pt x="51" y="50"/>
                    <a:pt x="53" y="49"/>
                    <a:pt x="53" y="48"/>
                  </a:cubicBezTo>
                  <a:cubicBezTo>
                    <a:pt x="54" y="48"/>
                    <a:pt x="54" y="47"/>
                    <a:pt x="53" y="47"/>
                  </a:cubicBezTo>
                  <a:cubicBezTo>
                    <a:pt x="53" y="46"/>
                    <a:pt x="53" y="46"/>
                    <a:pt x="54" y="45"/>
                  </a:cubicBezTo>
                  <a:cubicBezTo>
                    <a:pt x="55" y="44"/>
                    <a:pt x="59" y="43"/>
                    <a:pt x="60" y="43"/>
                  </a:cubicBezTo>
                  <a:cubicBezTo>
                    <a:pt x="60" y="41"/>
                    <a:pt x="59" y="39"/>
                    <a:pt x="61" y="39"/>
                  </a:cubicBezTo>
                  <a:cubicBezTo>
                    <a:pt x="62" y="38"/>
                    <a:pt x="66" y="38"/>
                    <a:pt x="69" y="38"/>
                  </a:cubicBezTo>
                  <a:cubicBezTo>
                    <a:pt x="72" y="38"/>
                    <a:pt x="74" y="38"/>
                    <a:pt x="76" y="39"/>
                  </a:cubicBezTo>
                  <a:cubicBezTo>
                    <a:pt x="77" y="39"/>
                    <a:pt x="77" y="39"/>
                    <a:pt x="77" y="39"/>
                  </a:cubicBezTo>
                  <a:cubicBezTo>
                    <a:pt x="77" y="39"/>
                    <a:pt x="77" y="39"/>
                    <a:pt x="77" y="39"/>
                  </a:cubicBezTo>
                  <a:cubicBezTo>
                    <a:pt x="78" y="39"/>
                    <a:pt x="80" y="39"/>
                    <a:pt x="81" y="38"/>
                  </a:cubicBezTo>
                  <a:cubicBezTo>
                    <a:pt x="81" y="37"/>
                    <a:pt x="80" y="35"/>
                    <a:pt x="79" y="35"/>
                  </a:cubicBezTo>
                  <a:cubicBezTo>
                    <a:pt x="77" y="35"/>
                    <a:pt x="75" y="29"/>
                    <a:pt x="75" y="26"/>
                  </a:cubicBezTo>
                  <a:cubicBezTo>
                    <a:pt x="75" y="24"/>
                    <a:pt x="76" y="23"/>
                    <a:pt x="76" y="23"/>
                  </a:cubicBezTo>
                  <a:cubicBezTo>
                    <a:pt x="78" y="23"/>
                    <a:pt x="79" y="21"/>
                    <a:pt x="81" y="18"/>
                  </a:cubicBezTo>
                  <a:cubicBezTo>
                    <a:pt x="83" y="15"/>
                    <a:pt x="85" y="12"/>
                    <a:pt x="88" y="11"/>
                  </a:cubicBezTo>
                  <a:cubicBezTo>
                    <a:pt x="89" y="10"/>
                    <a:pt x="90" y="10"/>
                    <a:pt x="91" y="9"/>
                  </a:cubicBezTo>
                  <a:cubicBezTo>
                    <a:pt x="87" y="8"/>
                    <a:pt x="83" y="6"/>
                    <a:pt x="82" y="4"/>
                  </a:cubicBezTo>
                  <a:cubicBezTo>
                    <a:pt x="81" y="2"/>
                    <a:pt x="74" y="2"/>
                    <a:pt x="71" y="1"/>
                  </a:cubicBezTo>
                  <a:cubicBezTo>
                    <a:pt x="70" y="1"/>
                    <a:pt x="69" y="1"/>
                    <a:pt x="68" y="1"/>
                  </a:cubicBezTo>
                  <a:cubicBezTo>
                    <a:pt x="63" y="1"/>
                    <a:pt x="56" y="2"/>
                    <a:pt x="54" y="4"/>
                  </a:cubicBezTo>
                  <a:cubicBezTo>
                    <a:pt x="51" y="7"/>
                    <a:pt x="47" y="9"/>
                    <a:pt x="43" y="8"/>
                  </a:cubicBezTo>
                  <a:cubicBezTo>
                    <a:pt x="41" y="8"/>
                    <a:pt x="35" y="8"/>
                    <a:pt x="31" y="8"/>
                  </a:cubicBezTo>
                  <a:cubicBezTo>
                    <a:pt x="29" y="8"/>
                    <a:pt x="28" y="8"/>
                    <a:pt x="28" y="8"/>
                  </a:cubicBezTo>
                  <a:cubicBezTo>
                    <a:pt x="27" y="8"/>
                    <a:pt x="23" y="8"/>
                    <a:pt x="19" y="7"/>
                  </a:cubicBezTo>
                  <a:cubicBezTo>
                    <a:pt x="17" y="7"/>
                    <a:pt x="14" y="6"/>
                    <a:pt x="13" y="6"/>
                  </a:cubicBezTo>
                  <a:cubicBezTo>
                    <a:pt x="12" y="6"/>
                    <a:pt x="12" y="6"/>
                    <a:pt x="12" y="6"/>
                  </a:cubicBezTo>
                  <a:cubicBezTo>
                    <a:pt x="11" y="6"/>
                    <a:pt x="10" y="6"/>
                    <a:pt x="9" y="4"/>
                  </a:cubicBezTo>
                  <a:cubicBezTo>
                    <a:pt x="8" y="3"/>
                    <a:pt x="6" y="1"/>
                    <a:pt x="4" y="1"/>
                  </a:cubicBezTo>
                  <a:cubicBezTo>
                    <a:pt x="4" y="1"/>
                    <a:pt x="4" y="2"/>
                    <a:pt x="3" y="2"/>
                  </a:cubicBezTo>
                  <a:cubicBezTo>
                    <a:pt x="2" y="3"/>
                    <a:pt x="1" y="4"/>
                    <a:pt x="1" y="6"/>
                  </a:cubicBezTo>
                  <a:cubicBezTo>
                    <a:pt x="1" y="8"/>
                    <a:pt x="2" y="10"/>
                    <a:pt x="3" y="11"/>
                  </a:cubicBezTo>
                  <a:cubicBezTo>
                    <a:pt x="5" y="13"/>
                    <a:pt x="9" y="19"/>
                    <a:pt x="9" y="21"/>
                  </a:cubicBezTo>
                  <a:cubicBezTo>
                    <a:pt x="9" y="21"/>
                    <a:pt x="8" y="21"/>
                    <a:pt x="7" y="21"/>
                  </a:cubicBezTo>
                  <a:cubicBezTo>
                    <a:pt x="6" y="21"/>
                    <a:pt x="5" y="22"/>
                    <a:pt x="4" y="23"/>
                  </a:cubicBezTo>
                  <a:cubicBezTo>
                    <a:pt x="3" y="24"/>
                    <a:pt x="3" y="26"/>
                    <a:pt x="3" y="27"/>
                  </a:cubicBezTo>
                  <a:cubicBezTo>
                    <a:pt x="3" y="28"/>
                    <a:pt x="3" y="29"/>
                    <a:pt x="3" y="30"/>
                  </a:cubicBezTo>
                  <a:cubicBezTo>
                    <a:pt x="3" y="31"/>
                    <a:pt x="2" y="33"/>
                    <a:pt x="3" y="33"/>
                  </a:cubicBezTo>
                  <a:cubicBezTo>
                    <a:pt x="3" y="34"/>
                    <a:pt x="3" y="34"/>
                    <a:pt x="3" y="34"/>
                  </a:cubicBezTo>
                  <a:cubicBezTo>
                    <a:pt x="8" y="39"/>
                    <a:pt x="11" y="42"/>
                    <a:pt x="11" y="43"/>
                  </a:cubicBezTo>
                  <a:cubicBezTo>
                    <a:pt x="11" y="44"/>
                    <a:pt x="12" y="44"/>
                    <a:pt x="12" y="45"/>
                  </a:cubicBezTo>
                  <a:cubicBezTo>
                    <a:pt x="13" y="45"/>
                    <a:pt x="14" y="46"/>
                    <a:pt x="14" y="47"/>
                  </a:cubicBezTo>
                  <a:cubicBezTo>
                    <a:pt x="17" y="47"/>
                    <a:pt x="21" y="46"/>
                    <a:pt x="25"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5" name="Freeform 82"/>
            <p:cNvSpPr>
              <a:spLocks noEditPoints="1"/>
            </p:cNvSpPr>
            <p:nvPr/>
          </p:nvSpPr>
          <p:spPr>
            <a:xfrm>
              <a:off x="5278439" y="2684463"/>
              <a:ext cx="68263" cy="49213"/>
            </a:xfrm>
            <a:custGeom>
              <a:gdLst>
                <a:gd name="T0" fmla="*/ 10 w 41"/>
                <a:gd name="T1" fmla="*/ 29 h 29"/>
                <a:gd name="T2" fmla="*/ 10 w 41"/>
                <a:gd name="T3" fmla="*/ 29 h 29"/>
                <a:gd name="T4" fmla="*/ 1 w 41"/>
                <a:gd name="T5" fmla="*/ 19 h 29"/>
                <a:gd name="T6" fmla="*/ 3 w 41"/>
                <a:gd name="T7" fmla="*/ 4 h 29"/>
                <a:gd name="T8" fmla="*/ 3 w 41"/>
                <a:gd name="T9" fmla="*/ 3 h 29"/>
                <a:gd name="T10" fmla="*/ 4 w 41"/>
                <a:gd name="T11" fmla="*/ 4 h 29"/>
                <a:gd name="T12" fmla="*/ 29 w 41"/>
                <a:gd name="T13" fmla="*/ 0 h 29"/>
                <a:gd name="T14" fmla="*/ 30 w 41"/>
                <a:gd name="T15" fmla="*/ 0 h 29"/>
                <a:gd name="T16" fmla="*/ 30 w 41"/>
                <a:gd name="T17" fmla="*/ 0 h 29"/>
                <a:gd name="T18" fmla="*/ 30 w 41"/>
                <a:gd name="T19" fmla="*/ 2 h 29"/>
                <a:gd name="T20" fmla="*/ 30 w 41"/>
                <a:gd name="T21" fmla="*/ 2 h 29"/>
                <a:gd name="T22" fmla="*/ 30 w 41"/>
                <a:gd name="T23" fmla="*/ 2 h 29"/>
                <a:gd name="T24" fmla="*/ 30 w 41"/>
                <a:gd name="T25" fmla="*/ 3 h 29"/>
                <a:gd name="T26" fmla="*/ 38 w 41"/>
                <a:gd name="T27" fmla="*/ 12 h 29"/>
                <a:gd name="T28" fmla="*/ 39 w 41"/>
                <a:gd name="T29" fmla="*/ 14 h 29"/>
                <a:gd name="T30" fmla="*/ 41 w 41"/>
                <a:gd name="T31" fmla="*/ 16 h 29"/>
                <a:gd name="T32" fmla="*/ 40 w 41"/>
                <a:gd name="T33" fmla="*/ 17 h 29"/>
                <a:gd name="T34" fmla="*/ 27 w 41"/>
                <a:gd name="T35" fmla="*/ 24 h 29"/>
                <a:gd name="T36" fmla="*/ 26 w 41"/>
                <a:gd name="T37" fmla="*/ 24 h 29"/>
                <a:gd name="T38" fmla="*/ 24 w 41"/>
                <a:gd name="T39" fmla="*/ 25 h 29"/>
                <a:gd name="T40" fmla="*/ 20 w 41"/>
                <a:gd name="T41" fmla="*/ 28 h 29"/>
                <a:gd name="T42" fmla="*/ 18 w 41"/>
                <a:gd name="T43" fmla="*/ 28 h 29"/>
                <a:gd name="T44" fmla="*/ 18 w 41"/>
                <a:gd name="T45" fmla="*/ 28 h 29"/>
                <a:gd name="T46" fmla="*/ 18 w 41"/>
                <a:gd name="T47" fmla="*/ 28 h 29"/>
                <a:gd name="T48" fmla="*/ 17 w 41"/>
                <a:gd name="T49" fmla="*/ 28 h 29"/>
                <a:gd name="T50" fmla="*/ 16 w 41"/>
                <a:gd name="T51" fmla="*/ 28 h 29"/>
                <a:gd name="T52" fmla="*/ 14 w 41"/>
                <a:gd name="T53" fmla="*/ 28 h 29"/>
                <a:gd name="T54" fmla="*/ 14 w 41"/>
                <a:gd name="T55" fmla="*/ 28 h 29"/>
                <a:gd name="T56" fmla="*/ 12 w 41"/>
                <a:gd name="T57" fmla="*/ 28 h 29"/>
                <a:gd name="T58" fmla="*/ 11 w 41"/>
                <a:gd name="T59" fmla="*/ 28 h 29"/>
                <a:gd name="T60" fmla="*/ 11 w 41"/>
                <a:gd name="T61" fmla="*/ 29 h 29"/>
                <a:gd name="T62" fmla="*/ 10 w 41"/>
                <a:gd name="T63" fmla="*/ 29 h 29"/>
                <a:gd name="T64" fmla="*/ 4 w 41"/>
                <a:gd name="T65" fmla="*/ 5 h 29"/>
                <a:gd name="T66" fmla="*/ 2 w 41"/>
                <a:gd name="T67" fmla="*/ 19 h 29"/>
                <a:gd name="T68" fmla="*/ 10 w 41"/>
                <a:gd name="T69" fmla="*/ 28 h 29"/>
                <a:gd name="T70" fmla="*/ 10 w 41"/>
                <a:gd name="T71" fmla="*/ 28 h 29"/>
                <a:gd name="T72" fmla="*/ 11 w 41"/>
                <a:gd name="T73" fmla="*/ 27 h 29"/>
                <a:gd name="T74" fmla="*/ 11 w 41"/>
                <a:gd name="T75" fmla="*/ 27 h 29"/>
                <a:gd name="T76" fmla="*/ 11 w 41"/>
                <a:gd name="T77" fmla="*/ 27 h 29"/>
                <a:gd name="T78" fmla="*/ 12 w 41"/>
                <a:gd name="T79" fmla="*/ 27 h 29"/>
                <a:gd name="T80" fmla="*/ 14 w 41"/>
                <a:gd name="T81" fmla="*/ 27 h 29"/>
                <a:gd name="T82" fmla="*/ 14 w 41"/>
                <a:gd name="T83" fmla="*/ 27 h 29"/>
                <a:gd name="T84" fmla="*/ 16 w 41"/>
                <a:gd name="T85" fmla="*/ 27 h 29"/>
                <a:gd name="T86" fmla="*/ 17 w 41"/>
                <a:gd name="T87" fmla="*/ 27 h 29"/>
                <a:gd name="T88" fmla="*/ 18 w 41"/>
                <a:gd name="T89" fmla="*/ 27 h 29"/>
                <a:gd name="T90" fmla="*/ 18 w 41"/>
                <a:gd name="T91" fmla="*/ 27 h 29"/>
                <a:gd name="T92" fmla="*/ 18 w 41"/>
                <a:gd name="T93" fmla="*/ 27 h 29"/>
                <a:gd name="T94" fmla="*/ 20 w 41"/>
                <a:gd name="T95" fmla="*/ 27 h 29"/>
                <a:gd name="T96" fmla="*/ 24 w 41"/>
                <a:gd name="T97" fmla="*/ 24 h 29"/>
                <a:gd name="T98" fmla="*/ 26 w 41"/>
                <a:gd name="T99" fmla="*/ 23 h 29"/>
                <a:gd name="T100" fmla="*/ 27 w 41"/>
                <a:gd name="T101" fmla="*/ 23 h 29"/>
                <a:gd name="T102" fmla="*/ 27 w 41"/>
                <a:gd name="T103" fmla="*/ 23 h 29"/>
                <a:gd name="T104" fmla="*/ 40 w 41"/>
                <a:gd name="T105" fmla="*/ 17 h 29"/>
                <a:gd name="T106" fmla="*/ 40 w 41"/>
                <a:gd name="T107" fmla="*/ 16 h 29"/>
                <a:gd name="T108" fmla="*/ 39 w 41"/>
                <a:gd name="T109" fmla="*/ 15 h 29"/>
                <a:gd name="T110" fmla="*/ 37 w 41"/>
                <a:gd name="T111" fmla="*/ 12 h 29"/>
                <a:gd name="T112" fmla="*/ 29 w 41"/>
                <a:gd name="T113" fmla="*/ 4 h 29"/>
                <a:gd name="T114" fmla="*/ 29 w 41"/>
                <a:gd name="T115" fmla="*/ 3 h 29"/>
                <a:gd name="T116" fmla="*/ 29 w 41"/>
                <a:gd name="T117" fmla="*/ 2 h 29"/>
                <a:gd name="T118" fmla="*/ 29 w 41"/>
                <a:gd name="T119" fmla="*/ 2 h 29"/>
                <a:gd name="T120" fmla="*/ 29 w 41"/>
                <a:gd name="T121" fmla="*/ 1 h 29"/>
                <a:gd name="T122" fmla="*/ 4 w 41"/>
                <a:gd name="T123" fmla="*/ 5 h 29"/>
                <a:gd name="T124" fmla="*/ 4 w 41"/>
                <a:gd name="T125" fmla="*/ 5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29">
                  <a:moveTo>
                    <a:pt x="10" y="29"/>
                  </a:moveTo>
                  <a:cubicBezTo>
                    <a:pt x="10" y="29"/>
                    <a:pt x="10" y="29"/>
                    <a:pt x="10" y="29"/>
                  </a:cubicBezTo>
                  <a:cubicBezTo>
                    <a:pt x="6" y="25"/>
                    <a:pt x="2" y="23"/>
                    <a:pt x="1" y="19"/>
                  </a:cubicBezTo>
                  <a:cubicBezTo>
                    <a:pt x="0" y="16"/>
                    <a:pt x="1" y="9"/>
                    <a:pt x="3" y="4"/>
                  </a:cubicBezTo>
                  <a:cubicBezTo>
                    <a:pt x="3" y="3"/>
                    <a:pt x="3" y="3"/>
                    <a:pt x="3" y="3"/>
                  </a:cubicBezTo>
                  <a:cubicBezTo>
                    <a:pt x="4" y="4"/>
                    <a:pt x="4" y="4"/>
                    <a:pt x="4" y="4"/>
                  </a:cubicBezTo>
                  <a:cubicBezTo>
                    <a:pt x="6" y="4"/>
                    <a:pt x="20" y="1"/>
                    <a:pt x="29" y="0"/>
                  </a:cubicBezTo>
                  <a:cubicBezTo>
                    <a:pt x="30" y="0"/>
                    <a:pt x="30" y="0"/>
                    <a:pt x="30" y="0"/>
                  </a:cubicBezTo>
                  <a:cubicBezTo>
                    <a:pt x="30" y="0"/>
                    <a:pt x="30" y="0"/>
                    <a:pt x="30" y="0"/>
                  </a:cubicBezTo>
                  <a:cubicBezTo>
                    <a:pt x="30" y="1"/>
                    <a:pt x="30" y="1"/>
                    <a:pt x="30" y="2"/>
                  </a:cubicBezTo>
                  <a:cubicBezTo>
                    <a:pt x="30" y="2"/>
                    <a:pt x="30" y="2"/>
                    <a:pt x="30" y="2"/>
                  </a:cubicBezTo>
                  <a:cubicBezTo>
                    <a:pt x="30" y="2"/>
                    <a:pt x="30" y="2"/>
                    <a:pt x="30" y="2"/>
                  </a:cubicBezTo>
                  <a:cubicBezTo>
                    <a:pt x="30" y="3"/>
                    <a:pt x="30" y="3"/>
                    <a:pt x="30" y="3"/>
                  </a:cubicBezTo>
                  <a:cubicBezTo>
                    <a:pt x="35" y="8"/>
                    <a:pt x="38" y="11"/>
                    <a:pt x="38" y="12"/>
                  </a:cubicBezTo>
                  <a:cubicBezTo>
                    <a:pt x="38" y="13"/>
                    <a:pt x="39" y="13"/>
                    <a:pt x="39" y="14"/>
                  </a:cubicBezTo>
                  <a:cubicBezTo>
                    <a:pt x="40" y="15"/>
                    <a:pt x="41" y="15"/>
                    <a:pt x="41" y="16"/>
                  </a:cubicBezTo>
                  <a:cubicBezTo>
                    <a:pt x="41" y="17"/>
                    <a:pt x="41" y="17"/>
                    <a:pt x="40" y="17"/>
                  </a:cubicBezTo>
                  <a:cubicBezTo>
                    <a:pt x="39" y="19"/>
                    <a:pt x="30" y="24"/>
                    <a:pt x="27" y="24"/>
                  </a:cubicBezTo>
                  <a:cubicBezTo>
                    <a:pt x="27" y="24"/>
                    <a:pt x="27" y="24"/>
                    <a:pt x="26" y="24"/>
                  </a:cubicBezTo>
                  <a:cubicBezTo>
                    <a:pt x="26" y="23"/>
                    <a:pt x="25" y="24"/>
                    <a:pt x="24" y="25"/>
                  </a:cubicBezTo>
                  <a:cubicBezTo>
                    <a:pt x="23" y="26"/>
                    <a:pt x="22" y="27"/>
                    <a:pt x="20" y="28"/>
                  </a:cubicBezTo>
                  <a:cubicBezTo>
                    <a:pt x="19" y="28"/>
                    <a:pt x="19" y="28"/>
                    <a:pt x="18" y="28"/>
                  </a:cubicBezTo>
                  <a:cubicBezTo>
                    <a:pt x="18" y="28"/>
                    <a:pt x="18" y="28"/>
                    <a:pt x="18" y="28"/>
                  </a:cubicBezTo>
                  <a:cubicBezTo>
                    <a:pt x="18" y="28"/>
                    <a:pt x="18" y="28"/>
                    <a:pt x="18" y="28"/>
                  </a:cubicBezTo>
                  <a:cubicBezTo>
                    <a:pt x="17" y="28"/>
                    <a:pt x="17" y="28"/>
                    <a:pt x="17" y="28"/>
                  </a:cubicBezTo>
                  <a:cubicBezTo>
                    <a:pt x="16" y="28"/>
                    <a:pt x="16" y="28"/>
                    <a:pt x="16" y="28"/>
                  </a:cubicBezTo>
                  <a:cubicBezTo>
                    <a:pt x="16" y="28"/>
                    <a:pt x="15" y="28"/>
                    <a:pt x="14" y="28"/>
                  </a:cubicBezTo>
                  <a:cubicBezTo>
                    <a:pt x="14" y="28"/>
                    <a:pt x="14" y="28"/>
                    <a:pt x="14" y="28"/>
                  </a:cubicBezTo>
                  <a:cubicBezTo>
                    <a:pt x="13" y="28"/>
                    <a:pt x="12" y="28"/>
                    <a:pt x="12" y="28"/>
                  </a:cubicBezTo>
                  <a:cubicBezTo>
                    <a:pt x="11" y="28"/>
                    <a:pt x="11" y="28"/>
                    <a:pt x="11" y="28"/>
                  </a:cubicBezTo>
                  <a:cubicBezTo>
                    <a:pt x="11" y="28"/>
                    <a:pt x="11" y="28"/>
                    <a:pt x="11" y="29"/>
                  </a:cubicBezTo>
                  <a:cubicBezTo>
                    <a:pt x="10" y="29"/>
                    <a:pt x="10" y="29"/>
                    <a:pt x="10" y="29"/>
                  </a:cubicBezTo>
                  <a:close/>
                  <a:moveTo>
                    <a:pt x="4" y="5"/>
                  </a:moveTo>
                  <a:cubicBezTo>
                    <a:pt x="2" y="10"/>
                    <a:pt x="1" y="16"/>
                    <a:pt x="2" y="19"/>
                  </a:cubicBezTo>
                  <a:cubicBezTo>
                    <a:pt x="3" y="22"/>
                    <a:pt x="6" y="25"/>
                    <a:pt x="10" y="28"/>
                  </a:cubicBezTo>
                  <a:cubicBezTo>
                    <a:pt x="10" y="28"/>
                    <a:pt x="10" y="28"/>
                    <a:pt x="10" y="28"/>
                  </a:cubicBezTo>
                  <a:cubicBezTo>
                    <a:pt x="11" y="27"/>
                    <a:pt x="11" y="27"/>
                    <a:pt x="11" y="27"/>
                  </a:cubicBezTo>
                  <a:cubicBezTo>
                    <a:pt x="11" y="27"/>
                    <a:pt x="11" y="27"/>
                    <a:pt x="11" y="27"/>
                  </a:cubicBezTo>
                  <a:cubicBezTo>
                    <a:pt x="11" y="27"/>
                    <a:pt x="11" y="27"/>
                    <a:pt x="11" y="27"/>
                  </a:cubicBezTo>
                  <a:cubicBezTo>
                    <a:pt x="12" y="27"/>
                    <a:pt x="12" y="27"/>
                    <a:pt x="12" y="27"/>
                  </a:cubicBezTo>
                  <a:cubicBezTo>
                    <a:pt x="12" y="27"/>
                    <a:pt x="13" y="27"/>
                    <a:pt x="14" y="27"/>
                  </a:cubicBezTo>
                  <a:cubicBezTo>
                    <a:pt x="14" y="27"/>
                    <a:pt x="14" y="27"/>
                    <a:pt x="14" y="27"/>
                  </a:cubicBezTo>
                  <a:cubicBezTo>
                    <a:pt x="15" y="27"/>
                    <a:pt x="16" y="27"/>
                    <a:pt x="16" y="27"/>
                  </a:cubicBezTo>
                  <a:cubicBezTo>
                    <a:pt x="17" y="27"/>
                    <a:pt x="17" y="27"/>
                    <a:pt x="17" y="27"/>
                  </a:cubicBezTo>
                  <a:cubicBezTo>
                    <a:pt x="17" y="27"/>
                    <a:pt x="17" y="27"/>
                    <a:pt x="18" y="27"/>
                  </a:cubicBezTo>
                  <a:cubicBezTo>
                    <a:pt x="18" y="27"/>
                    <a:pt x="18" y="27"/>
                    <a:pt x="18" y="27"/>
                  </a:cubicBezTo>
                  <a:cubicBezTo>
                    <a:pt x="18" y="27"/>
                    <a:pt x="18" y="27"/>
                    <a:pt x="18" y="27"/>
                  </a:cubicBezTo>
                  <a:cubicBezTo>
                    <a:pt x="19" y="27"/>
                    <a:pt x="19" y="27"/>
                    <a:pt x="20" y="27"/>
                  </a:cubicBezTo>
                  <a:cubicBezTo>
                    <a:pt x="21" y="26"/>
                    <a:pt x="23" y="25"/>
                    <a:pt x="24" y="24"/>
                  </a:cubicBezTo>
                  <a:cubicBezTo>
                    <a:pt x="24" y="23"/>
                    <a:pt x="25" y="23"/>
                    <a:pt x="26" y="23"/>
                  </a:cubicBezTo>
                  <a:cubicBezTo>
                    <a:pt x="26" y="23"/>
                    <a:pt x="26" y="23"/>
                    <a:pt x="27" y="23"/>
                  </a:cubicBezTo>
                  <a:cubicBezTo>
                    <a:pt x="27" y="23"/>
                    <a:pt x="27" y="23"/>
                    <a:pt x="27" y="23"/>
                  </a:cubicBezTo>
                  <a:cubicBezTo>
                    <a:pt x="30" y="23"/>
                    <a:pt x="39" y="18"/>
                    <a:pt x="40" y="17"/>
                  </a:cubicBezTo>
                  <a:cubicBezTo>
                    <a:pt x="40" y="16"/>
                    <a:pt x="40" y="16"/>
                    <a:pt x="40" y="16"/>
                  </a:cubicBezTo>
                  <a:cubicBezTo>
                    <a:pt x="39" y="15"/>
                    <a:pt x="39" y="15"/>
                    <a:pt x="39" y="15"/>
                  </a:cubicBezTo>
                  <a:cubicBezTo>
                    <a:pt x="38" y="14"/>
                    <a:pt x="37" y="13"/>
                    <a:pt x="37" y="12"/>
                  </a:cubicBezTo>
                  <a:cubicBezTo>
                    <a:pt x="37" y="12"/>
                    <a:pt x="36" y="10"/>
                    <a:pt x="29" y="4"/>
                  </a:cubicBezTo>
                  <a:cubicBezTo>
                    <a:pt x="29" y="3"/>
                    <a:pt x="29" y="3"/>
                    <a:pt x="29" y="3"/>
                  </a:cubicBezTo>
                  <a:cubicBezTo>
                    <a:pt x="29" y="2"/>
                    <a:pt x="29" y="2"/>
                    <a:pt x="29" y="2"/>
                  </a:cubicBezTo>
                  <a:cubicBezTo>
                    <a:pt x="29" y="2"/>
                    <a:pt x="29" y="2"/>
                    <a:pt x="29" y="2"/>
                  </a:cubicBezTo>
                  <a:cubicBezTo>
                    <a:pt x="29" y="1"/>
                    <a:pt x="29" y="1"/>
                    <a:pt x="29" y="1"/>
                  </a:cubicBezTo>
                  <a:cubicBezTo>
                    <a:pt x="19" y="2"/>
                    <a:pt x="4" y="5"/>
                    <a:pt x="4" y="5"/>
                  </a:cubicBezTo>
                  <a:cubicBezTo>
                    <a:pt x="4" y="5"/>
                    <a:pt x="4" y="5"/>
                    <a:pt x="4"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6" name="Freeform 83"/>
            <p:cNvSpPr>
              <a:spLocks noEditPoints="1"/>
            </p:cNvSpPr>
            <p:nvPr/>
          </p:nvSpPr>
          <p:spPr>
            <a:xfrm>
              <a:off x="5321301" y="2368550"/>
              <a:ext cx="441325" cy="254000"/>
            </a:xfrm>
            <a:custGeom>
              <a:gdLst>
                <a:gd name="T0" fmla="*/ 156 w 260"/>
                <a:gd name="T1" fmla="*/ 135 h 150"/>
                <a:gd name="T2" fmla="*/ 156 w 260"/>
                <a:gd name="T3" fmla="*/ 118 h 150"/>
                <a:gd name="T4" fmla="*/ 145 w 260"/>
                <a:gd name="T5" fmla="*/ 109 h 150"/>
                <a:gd name="T6" fmla="*/ 120 w 260"/>
                <a:gd name="T7" fmla="*/ 117 h 150"/>
                <a:gd name="T8" fmla="*/ 107 w 260"/>
                <a:gd name="T9" fmla="*/ 136 h 150"/>
                <a:gd name="T10" fmla="*/ 87 w 260"/>
                <a:gd name="T11" fmla="*/ 133 h 150"/>
                <a:gd name="T12" fmla="*/ 102 w 260"/>
                <a:gd name="T13" fmla="*/ 111 h 150"/>
                <a:gd name="T14" fmla="*/ 99 w 260"/>
                <a:gd name="T15" fmla="*/ 90 h 150"/>
                <a:gd name="T16" fmla="*/ 52 w 260"/>
                <a:gd name="T17" fmla="*/ 86 h 150"/>
                <a:gd name="T18" fmla="*/ 38 w 260"/>
                <a:gd name="T19" fmla="*/ 88 h 150"/>
                <a:gd name="T20" fmla="*/ 9 w 260"/>
                <a:gd name="T21" fmla="*/ 84 h 150"/>
                <a:gd name="T22" fmla="*/ 7 w 260"/>
                <a:gd name="T23" fmla="*/ 57 h 150"/>
                <a:gd name="T24" fmla="*/ 26 w 260"/>
                <a:gd name="T25" fmla="*/ 35 h 150"/>
                <a:gd name="T26" fmla="*/ 21 w 260"/>
                <a:gd name="T27" fmla="*/ 15 h 150"/>
                <a:gd name="T28" fmla="*/ 62 w 260"/>
                <a:gd name="T29" fmla="*/ 11 h 150"/>
                <a:gd name="T30" fmla="*/ 83 w 260"/>
                <a:gd name="T31" fmla="*/ 15 h 150"/>
                <a:gd name="T32" fmla="*/ 94 w 260"/>
                <a:gd name="T33" fmla="*/ 15 h 150"/>
                <a:gd name="T34" fmla="*/ 118 w 260"/>
                <a:gd name="T35" fmla="*/ 19 h 150"/>
                <a:gd name="T36" fmla="*/ 128 w 260"/>
                <a:gd name="T37" fmla="*/ 5 h 150"/>
                <a:gd name="T38" fmla="*/ 146 w 260"/>
                <a:gd name="T39" fmla="*/ 3 h 150"/>
                <a:gd name="T40" fmla="*/ 163 w 260"/>
                <a:gd name="T41" fmla="*/ 0 h 150"/>
                <a:gd name="T42" fmla="*/ 182 w 260"/>
                <a:gd name="T43" fmla="*/ 23 h 150"/>
                <a:gd name="T44" fmla="*/ 198 w 260"/>
                <a:gd name="T45" fmla="*/ 38 h 150"/>
                <a:gd name="T46" fmla="*/ 218 w 260"/>
                <a:gd name="T47" fmla="*/ 39 h 150"/>
                <a:gd name="T48" fmla="*/ 239 w 260"/>
                <a:gd name="T49" fmla="*/ 50 h 150"/>
                <a:gd name="T50" fmla="*/ 257 w 260"/>
                <a:gd name="T51" fmla="*/ 63 h 150"/>
                <a:gd name="T52" fmla="*/ 254 w 260"/>
                <a:gd name="T53" fmla="*/ 73 h 150"/>
                <a:gd name="T54" fmla="*/ 252 w 260"/>
                <a:gd name="T55" fmla="*/ 88 h 150"/>
                <a:gd name="T56" fmla="*/ 231 w 260"/>
                <a:gd name="T57" fmla="*/ 95 h 150"/>
                <a:gd name="T58" fmla="*/ 201 w 260"/>
                <a:gd name="T59" fmla="*/ 110 h 150"/>
                <a:gd name="T60" fmla="*/ 209 w 260"/>
                <a:gd name="T61" fmla="*/ 135 h 150"/>
                <a:gd name="T62" fmla="*/ 182 w 260"/>
                <a:gd name="T63" fmla="*/ 144 h 150"/>
                <a:gd name="T64" fmla="*/ 156 w 260"/>
                <a:gd name="T65" fmla="*/ 128 h 150"/>
                <a:gd name="T66" fmla="*/ 164 w 260"/>
                <a:gd name="T67" fmla="*/ 148 h 150"/>
                <a:gd name="T68" fmla="*/ 199 w 260"/>
                <a:gd name="T69" fmla="*/ 137 h 150"/>
                <a:gd name="T70" fmla="*/ 199 w 260"/>
                <a:gd name="T71" fmla="*/ 134 h 150"/>
                <a:gd name="T72" fmla="*/ 230 w 260"/>
                <a:gd name="T73" fmla="*/ 101 h 150"/>
                <a:gd name="T74" fmla="*/ 246 w 260"/>
                <a:gd name="T75" fmla="*/ 86 h 150"/>
                <a:gd name="T76" fmla="*/ 255 w 260"/>
                <a:gd name="T77" fmla="*/ 76 h 150"/>
                <a:gd name="T78" fmla="*/ 255 w 260"/>
                <a:gd name="T79" fmla="*/ 65 h 150"/>
                <a:gd name="T80" fmla="*/ 245 w 260"/>
                <a:gd name="T81" fmla="*/ 52 h 150"/>
                <a:gd name="T82" fmla="*/ 220 w 260"/>
                <a:gd name="T83" fmla="*/ 41 h 150"/>
                <a:gd name="T84" fmla="*/ 203 w 260"/>
                <a:gd name="T85" fmla="*/ 41 h 150"/>
                <a:gd name="T86" fmla="*/ 186 w 260"/>
                <a:gd name="T87" fmla="*/ 25 h 150"/>
                <a:gd name="T88" fmla="*/ 170 w 260"/>
                <a:gd name="T89" fmla="*/ 3 h 150"/>
                <a:gd name="T90" fmla="*/ 151 w 260"/>
                <a:gd name="T91" fmla="*/ 2 h 150"/>
                <a:gd name="T92" fmla="*/ 129 w 260"/>
                <a:gd name="T93" fmla="*/ 6 h 150"/>
                <a:gd name="T94" fmla="*/ 104 w 260"/>
                <a:gd name="T95" fmla="*/ 19 h 150"/>
                <a:gd name="T96" fmla="*/ 92 w 260"/>
                <a:gd name="T97" fmla="*/ 17 h 150"/>
                <a:gd name="T98" fmla="*/ 75 w 260"/>
                <a:gd name="T99" fmla="*/ 14 h 150"/>
                <a:gd name="T100" fmla="*/ 37 w 260"/>
                <a:gd name="T101" fmla="*/ 9 h 150"/>
                <a:gd name="T102" fmla="*/ 20 w 260"/>
                <a:gd name="T103" fmla="*/ 16 h 150"/>
                <a:gd name="T104" fmla="*/ 16 w 260"/>
                <a:gd name="T105" fmla="*/ 45 h 150"/>
                <a:gd name="T106" fmla="*/ 7 w 260"/>
                <a:gd name="T107" fmla="*/ 81 h 150"/>
                <a:gd name="T108" fmla="*/ 39 w 260"/>
                <a:gd name="T109" fmla="*/ 88 h 150"/>
                <a:gd name="T110" fmla="*/ 52 w 260"/>
                <a:gd name="T111" fmla="*/ 85 h 150"/>
                <a:gd name="T112" fmla="*/ 100 w 260"/>
                <a:gd name="T113" fmla="*/ 89 h 150"/>
                <a:gd name="T114" fmla="*/ 102 w 260"/>
                <a:gd name="T115" fmla="*/ 112 h 150"/>
                <a:gd name="T116" fmla="*/ 94 w 260"/>
                <a:gd name="T117" fmla="*/ 134 h 150"/>
                <a:gd name="T118" fmla="*/ 111 w 260"/>
                <a:gd name="T119" fmla="*/ 126 h 150"/>
                <a:gd name="T120" fmla="*/ 138 w 260"/>
                <a:gd name="T121" fmla="*/ 106 h 150"/>
                <a:gd name="T122" fmla="*/ 144 w 260"/>
                <a:gd name="T123" fmla="*/ 116 h 1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 h="150">
                  <a:moveTo>
                    <a:pt x="166" y="150"/>
                  </a:moveTo>
                  <a:cubicBezTo>
                    <a:pt x="165" y="150"/>
                    <a:pt x="164" y="150"/>
                    <a:pt x="163" y="149"/>
                  </a:cubicBezTo>
                  <a:cubicBezTo>
                    <a:pt x="162" y="148"/>
                    <a:pt x="163" y="146"/>
                    <a:pt x="163" y="144"/>
                  </a:cubicBezTo>
                  <a:cubicBezTo>
                    <a:pt x="164" y="142"/>
                    <a:pt x="164" y="139"/>
                    <a:pt x="163" y="138"/>
                  </a:cubicBezTo>
                  <a:cubicBezTo>
                    <a:pt x="161" y="137"/>
                    <a:pt x="158" y="136"/>
                    <a:pt x="156" y="135"/>
                  </a:cubicBezTo>
                  <a:cubicBezTo>
                    <a:pt x="151" y="133"/>
                    <a:pt x="148" y="132"/>
                    <a:pt x="148" y="131"/>
                  </a:cubicBezTo>
                  <a:cubicBezTo>
                    <a:pt x="148" y="130"/>
                    <a:pt x="150" y="129"/>
                    <a:pt x="155" y="127"/>
                  </a:cubicBezTo>
                  <a:cubicBezTo>
                    <a:pt x="160" y="125"/>
                    <a:pt x="168" y="122"/>
                    <a:pt x="167" y="120"/>
                  </a:cubicBezTo>
                  <a:cubicBezTo>
                    <a:pt x="167" y="119"/>
                    <a:pt x="163" y="118"/>
                    <a:pt x="159" y="118"/>
                  </a:cubicBezTo>
                  <a:cubicBezTo>
                    <a:pt x="158" y="118"/>
                    <a:pt x="157" y="118"/>
                    <a:pt x="156" y="118"/>
                  </a:cubicBezTo>
                  <a:cubicBezTo>
                    <a:pt x="155" y="118"/>
                    <a:pt x="154" y="118"/>
                    <a:pt x="153" y="118"/>
                  </a:cubicBezTo>
                  <a:cubicBezTo>
                    <a:pt x="150" y="118"/>
                    <a:pt x="146" y="118"/>
                    <a:pt x="144" y="117"/>
                  </a:cubicBezTo>
                  <a:cubicBezTo>
                    <a:pt x="143" y="117"/>
                    <a:pt x="142" y="116"/>
                    <a:pt x="142" y="115"/>
                  </a:cubicBezTo>
                  <a:cubicBezTo>
                    <a:pt x="142" y="114"/>
                    <a:pt x="143" y="112"/>
                    <a:pt x="144" y="111"/>
                  </a:cubicBezTo>
                  <a:cubicBezTo>
                    <a:pt x="144" y="110"/>
                    <a:pt x="145" y="109"/>
                    <a:pt x="145" y="109"/>
                  </a:cubicBezTo>
                  <a:cubicBezTo>
                    <a:pt x="145" y="108"/>
                    <a:pt x="144" y="108"/>
                    <a:pt x="142" y="108"/>
                  </a:cubicBezTo>
                  <a:cubicBezTo>
                    <a:pt x="141" y="107"/>
                    <a:pt x="140" y="107"/>
                    <a:pt x="138" y="107"/>
                  </a:cubicBezTo>
                  <a:cubicBezTo>
                    <a:pt x="135" y="107"/>
                    <a:pt x="133" y="108"/>
                    <a:pt x="131" y="109"/>
                  </a:cubicBezTo>
                  <a:cubicBezTo>
                    <a:pt x="130" y="109"/>
                    <a:pt x="128" y="110"/>
                    <a:pt x="126" y="110"/>
                  </a:cubicBezTo>
                  <a:cubicBezTo>
                    <a:pt x="124" y="111"/>
                    <a:pt x="122" y="113"/>
                    <a:pt x="120" y="117"/>
                  </a:cubicBezTo>
                  <a:cubicBezTo>
                    <a:pt x="119" y="119"/>
                    <a:pt x="117" y="122"/>
                    <a:pt x="114" y="125"/>
                  </a:cubicBezTo>
                  <a:cubicBezTo>
                    <a:pt x="113" y="125"/>
                    <a:pt x="112" y="126"/>
                    <a:pt x="112" y="127"/>
                  </a:cubicBezTo>
                  <a:cubicBezTo>
                    <a:pt x="108" y="129"/>
                    <a:pt x="107" y="130"/>
                    <a:pt x="107" y="135"/>
                  </a:cubicBezTo>
                  <a:cubicBezTo>
                    <a:pt x="108" y="136"/>
                    <a:pt x="108" y="136"/>
                    <a:pt x="108" y="136"/>
                  </a:cubicBezTo>
                  <a:cubicBezTo>
                    <a:pt x="107" y="136"/>
                    <a:pt x="107" y="136"/>
                    <a:pt x="107" y="136"/>
                  </a:cubicBezTo>
                  <a:cubicBezTo>
                    <a:pt x="103" y="132"/>
                    <a:pt x="102" y="132"/>
                    <a:pt x="102" y="132"/>
                  </a:cubicBezTo>
                  <a:cubicBezTo>
                    <a:pt x="101" y="132"/>
                    <a:pt x="99" y="133"/>
                    <a:pt x="98" y="134"/>
                  </a:cubicBezTo>
                  <a:cubicBezTo>
                    <a:pt x="96" y="135"/>
                    <a:pt x="95" y="135"/>
                    <a:pt x="94" y="135"/>
                  </a:cubicBezTo>
                  <a:cubicBezTo>
                    <a:pt x="94" y="135"/>
                    <a:pt x="94" y="135"/>
                    <a:pt x="94" y="135"/>
                  </a:cubicBezTo>
                  <a:cubicBezTo>
                    <a:pt x="93" y="135"/>
                    <a:pt x="88" y="135"/>
                    <a:pt x="87" y="133"/>
                  </a:cubicBezTo>
                  <a:cubicBezTo>
                    <a:pt x="87" y="132"/>
                    <a:pt x="87" y="132"/>
                    <a:pt x="88" y="131"/>
                  </a:cubicBezTo>
                  <a:cubicBezTo>
                    <a:pt x="88" y="131"/>
                    <a:pt x="88" y="131"/>
                    <a:pt x="88" y="130"/>
                  </a:cubicBezTo>
                  <a:cubicBezTo>
                    <a:pt x="91" y="127"/>
                    <a:pt x="96" y="120"/>
                    <a:pt x="96" y="118"/>
                  </a:cubicBezTo>
                  <a:cubicBezTo>
                    <a:pt x="96" y="112"/>
                    <a:pt x="99" y="111"/>
                    <a:pt x="101" y="111"/>
                  </a:cubicBezTo>
                  <a:cubicBezTo>
                    <a:pt x="102" y="111"/>
                    <a:pt x="102" y="111"/>
                    <a:pt x="102" y="111"/>
                  </a:cubicBezTo>
                  <a:cubicBezTo>
                    <a:pt x="104" y="112"/>
                    <a:pt x="105" y="112"/>
                    <a:pt x="107" y="113"/>
                  </a:cubicBezTo>
                  <a:cubicBezTo>
                    <a:pt x="109" y="113"/>
                    <a:pt x="110" y="114"/>
                    <a:pt x="111" y="114"/>
                  </a:cubicBezTo>
                  <a:cubicBezTo>
                    <a:pt x="112" y="114"/>
                    <a:pt x="112" y="114"/>
                    <a:pt x="112" y="114"/>
                  </a:cubicBezTo>
                  <a:cubicBezTo>
                    <a:pt x="112" y="112"/>
                    <a:pt x="110" y="106"/>
                    <a:pt x="108" y="104"/>
                  </a:cubicBezTo>
                  <a:cubicBezTo>
                    <a:pt x="106" y="102"/>
                    <a:pt x="101" y="95"/>
                    <a:pt x="99" y="90"/>
                  </a:cubicBezTo>
                  <a:cubicBezTo>
                    <a:pt x="98" y="84"/>
                    <a:pt x="92" y="82"/>
                    <a:pt x="89" y="82"/>
                  </a:cubicBezTo>
                  <a:cubicBezTo>
                    <a:pt x="88" y="82"/>
                    <a:pt x="86" y="81"/>
                    <a:pt x="84" y="79"/>
                  </a:cubicBezTo>
                  <a:cubicBezTo>
                    <a:pt x="82" y="77"/>
                    <a:pt x="79" y="75"/>
                    <a:pt x="78" y="76"/>
                  </a:cubicBezTo>
                  <a:cubicBezTo>
                    <a:pt x="74" y="76"/>
                    <a:pt x="62" y="80"/>
                    <a:pt x="61" y="81"/>
                  </a:cubicBezTo>
                  <a:cubicBezTo>
                    <a:pt x="59" y="84"/>
                    <a:pt x="55" y="86"/>
                    <a:pt x="52" y="86"/>
                  </a:cubicBezTo>
                  <a:cubicBezTo>
                    <a:pt x="51" y="86"/>
                    <a:pt x="50" y="86"/>
                    <a:pt x="50" y="86"/>
                  </a:cubicBezTo>
                  <a:cubicBezTo>
                    <a:pt x="49" y="86"/>
                    <a:pt x="48" y="86"/>
                    <a:pt x="48" y="86"/>
                  </a:cubicBezTo>
                  <a:cubicBezTo>
                    <a:pt x="47" y="86"/>
                    <a:pt x="46" y="86"/>
                    <a:pt x="45" y="87"/>
                  </a:cubicBezTo>
                  <a:cubicBezTo>
                    <a:pt x="43" y="88"/>
                    <a:pt x="41" y="89"/>
                    <a:pt x="40" y="89"/>
                  </a:cubicBezTo>
                  <a:cubicBezTo>
                    <a:pt x="39" y="89"/>
                    <a:pt x="38" y="89"/>
                    <a:pt x="38" y="88"/>
                  </a:cubicBezTo>
                  <a:cubicBezTo>
                    <a:pt x="37" y="87"/>
                    <a:pt x="32" y="86"/>
                    <a:pt x="30" y="86"/>
                  </a:cubicBezTo>
                  <a:cubicBezTo>
                    <a:pt x="28" y="86"/>
                    <a:pt x="24" y="85"/>
                    <a:pt x="21" y="85"/>
                  </a:cubicBezTo>
                  <a:cubicBezTo>
                    <a:pt x="18" y="84"/>
                    <a:pt x="16" y="83"/>
                    <a:pt x="15" y="83"/>
                  </a:cubicBezTo>
                  <a:cubicBezTo>
                    <a:pt x="14" y="83"/>
                    <a:pt x="12" y="84"/>
                    <a:pt x="9" y="84"/>
                  </a:cubicBezTo>
                  <a:cubicBezTo>
                    <a:pt x="9" y="84"/>
                    <a:pt x="9" y="84"/>
                    <a:pt x="9" y="84"/>
                  </a:cubicBezTo>
                  <a:cubicBezTo>
                    <a:pt x="9" y="84"/>
                    <a:pt x="9" y="84"/>
                    <a:pt x="9" y="84"/>
                  </a:cubicBezTo>
                  <a:cubicBezTo>
                    <a:pt x="9" y="83"/>
                    <a:pt x="8" y="83"/>
                    <a:pt x="7" y="82"/>
                  </a:cubicBezTo>
                  <a:cubicBezTo>
                    <a:pt x="4" y="81"/>
                    <a:pt x="0" y="78"/>
                    <a:pt x="0" y="75"/>
                  </a:cubicBezTo>
                  <a:cubicBezTo>
                    <a:pt x="0" y="72"/>
                    <a:pt x="5" y="65"/>
                    <a:pt x="7" y="64"/>
                  </a:cubicBezTo>
                  <a:cubicBezTo>
                    <a:pt x="7" y="63"/>
                    <a:pt x="7" y="60"/>
                    <a:pt x="7" y="57"/>
                  </a:cubicBezTo>
                  <a:cubicBezTo>
                    <a:pt x="6" y="56"/>
                    <a:pt x="6" y="55"/>
                    <a:pt x="6" y="54"/>
                  </a:cubicBezTo>
                  <a:cubicBezTo>
                    <a:pt x="6" y="53"/>
                    <a:pt x="10" y="49"/>
                    <a:pt x="15" y="44"/>
                  </a:cubicBezTo>
                  <a:cubicBezTo>
                    <a:pt x="17" y="42"/>
                    <a:pt x="19" y="41"/>
                    <a:pt x="20" y="40"/>
                  </a:cubicBezTo>
                  <a:cubicBezTo>
                    <a:pt x="21" y="39"/>
                    <a:pt x="22" y="38"/>
                    <a:pt x="23" y="38"/>
                  </a:cubicBezTo>
                  <a:cubicBezTo>
                    <a:pt x="24" y="37"/>
                    <a:pt x="25" y="36"/>
                    <a:pt x="26" y="35"/>
                  </a:cubicBezTo>
                  <a:cubicBezTo>
                    <a:pt x="27" y="33"/>
                    <a:pt x="25" y="28"/>
                    <a:pt x="20" y="21"/>
                  </a:cubicBezTo>
                  <a:cubicBezTo>
                    <a:pt x="20" y="20"/>
                    <a:pt x="19" y="17"/>
                    <a:pt x="19" y="16"/>
                  </a:cubicBezTo>
                  <a:cubicBezTo>
                    <a:pt x="19" y="15"/>
                    <a:pt x="19" y="15"/>
                    <a:pt x="19" y="15"/>
                  </a:cubicBezTo>
                  <a:cubicBezTo>
                    <a:pt x="20" y="15"/>
                    <a:pt x="20" y="15"/>
                    <a:pt x="20" y="15"/>
                  </a:cubicBezTo>
                  <a:cubicBezTo>
                    <a:pt x="20" y="15"/>
                    <a:pt x="20" y="15"/>
                    <a:pt x="21" y="15"/>
                  </a:cubicBezTo>
                  <a:cubicBezTo>
                    <a:pt x="22" y="15"/>
                    <a:pt x="22" y="15"/>
                    <a:pt x="22" y="15"/>
                  </a:cubicBezTo>
                  <a:cubicBezTo>
                    <a:pt x="24" y="15"/>
                    <a:pt x="26" y="15"/>
                    <a:pt x="27" y="14"/>
                  </a:cubicBezTo>
                  <a:cubicBezTo>
                    <a:pt x="28" y="13"/>
                    <a:pt x="28" y="13"/>
                    <a:pt x="28" y="12"/>
                  </a:cubicBezTo>
                  <a:cubicBezTo>
                    <a:pt x="30" y="10"/>
                    <a:pt x="32" y="8"/>
                    <a:pt x="37" y="8"/>
                  </a:cubicBezTo>
                  <a:cubicBezTo>
                    <a:pt x="47" y="8"/>
                    <a:pt x="60" y="8"/>
                    <a:pt x="62" y="11"/>
                  </a:cubicBezTo>
                  <a:cubicBezTo>
                    <a:pt x="63" y="12"/>
                    <a:pt x="65" y="13"/>
                    <a:pt x="67" y="13"/>
                  </a:cubicBezTo>
                  <a:cubicBezTo>
                    <a:pt x="68" y="13"/>
                    <a:pt x="68" y="13"/>
                    <a:pt x="69" y="13"/>
                  </a:cubicBezTo>
                  <a:cubicBezTo>
                    <a:pt x="70" y="13"/>
                    <a:pt x="70" y="13"/>
                    <a:pt x="71" y="13"/>
                  </a:cubicBezTo>
                  <a:cubicBezTo>
                    <a:pt x="72" y="13"/>
                    <a:pt x="74" y="13"/>
                    <a:pt x="75" y="13"/>
                  </a:cubicBezTo>
                  <a:cubicBezTo>
                    <a:pt x="78" y="14"/>
                    <a:pt x="81" y="15"/>
                    <a:pt x="83" y="15"/>
                  </a:cubicBezTo>
                  <a:cubicBezTo>
                    <a:pt x="84" y="15"/>
                    <a:pt x="84" y="15"/>
                    <a:pt x="85" y="15"/>
                  </a:cubicBezTo>
                  <a:cubicBezTo>
                    <a:pt x="85" y="14"/>
                    <a:pt x="85" y="14"/>
                    <a:pt x="86" y="14"/>
                  </a:cubicBezTo>
                  <a:cubicBezTo>
                    <a:pt x="86" y="14"/>
                    <a:pt x="87" y="14"/>
                    <a:pt x="88" y="15"/>
                  </a:cubicBezTo>
                  <a:cubicBezTo>
                    <a:pt x="89" y="15"/>
                    <a:pt x="91" y="16"/>
                    <a:pt x="92" y="16"/>
                  </a:cubicBezTo>
                  <a:cubicBezTo>
                    <a:pt x="93" y="16"/>
                    <a:pt x="94" y="16"/>
                    <a:pt x="94" y="15"/>
                  </a:cubicBezTo>
                  <a:cubicBezTo>
                    <a:pt x="95" y="15"/>
                    <a:pt x="96" y="15"/>
                    <a:pt x="96" y="15"/>
                  </a:cubicBezTo>
                  <a:cubicBezTo>
                    <a:pt x="98" y="15"/>
                    <a:pt x="99" y="16"/>
                    <a:pt x="101" y="17"/>
                  </a:cubicBezTo>
                  <a:cubicBezTo>
                    <a:pt x="102" y="18"/>
                    <a:pt x="103" y="19"/>
                    <a:pt x="104" y="18"/>
                  </a:cubicBezTo>
                  <a:cubicBezTo>
                    <a:pt x="105" y="18"/>
                    <a:pt x="107" y="17"/>
                    <a:pt x="110" y="17"/>
                  </a:cubicBezTo>
                  <a:cubicBezTo>
                    <a:pt x="113" y="17"/>
                    <a:pt x="116" y="18"/>
                    <a:pt x="118" y="19"/>
                  </a:cubicBezTo>
                  <a:cubicBezTo>
                    <a:pt x="118" y="20"/>
                    <a:pt x="118" y="20"/>
                    <a:pt x="118" y="20"/>
                  </a:cubicBezTo>
                  <a:cubicBezTo>
                    <a:pt x="119" y="20"/>
                    <a:pt x="119" y="18"/>
                    <a:pt x="119" y="15"/>
                  </a:cubicBezTo>
                  <a:cubicBezTo>
                    <a:pt x="119" y="12"/>
                    <a:pt x="127" y="6"/>
                    <a:pt x="128" y="5"/>
                  </a:cubicBezTo>
                  <a:cubicBezTo>
                    <a:pt x="128" y="5"/>
                    <a:pt x="128" y="5"/>
                    <a:pt x="128" y="5"/>
                  </a:cubicBezTo>
                  <a:cubicBezTo>
                    <a:pt x="128" y="5"/>
                    <a:pt x="128" y="5"/>
                    <a:pt x="128" y="5"/>
                  </a:cubicBezTo>
                  <a:cubicBezTo>
                    <a:pt x="129" y="5"/>
                    <a:pt x="134" y="5"/>
                    <a:pt x="138" y="3"/>
                  </a:cubicBezTo>
                  <a:cubicBezTo>
                    <a:pt x="138" y="3"/>
                    <a:pt x="138" y="3"/>
                    <a:pt x="138" y="3"/>
                  </a:cubicBezTo>
                  <a:cubicBezTo>
                    <a:pt x="138" y="3"/>
                    <a:pt x="138" y="3"/>
                    <a:pt x="138" y="3"/>
                  </a:cubicBezTo>
                  <a:cubicBezTo>
                    <a:pt x="139" y="5"/>
                    <a:pt x="140" y="5"/>
                    <a:pt x="142" y="5"/>
                  </a:cubicBezTo>
                  <a:cubicBezTo>
                    <a:pt x="144" y="5"/>
                    <a:pt x="145" y="4"/>
                    <a:pt x="146" y="3"/>
                  </a:cubicBezTo>
                  <a:cubicBezTo>
                    <a:pt x="147" y="2"/>
                    <a:pt x="148" y="2"/>
                    <a:pt x="148" y="1"/>
                  </a:cubicBezTo>
                  <a:cubicBezTo>
                    <a:pt x="149" y="1"/>
                    <a:pt x="150" y="1"/>
                    <a:pt x="151" y="1"/>
                  </a:cubicBezTo>
                  <a:cubicBezTo>
                    <a:pt x="152" y="1"/>
                    <a:pt x="153" y="1"/>
                    <a:pt x="154" y="1"/>
                  </a:cubicBezTo>
                  <a:cubicBezTo>
                    <a:pt x="156" y="1"/>
                    <a:pt x="157" y="1"/>
                    <a:pt x="158" y="1"/>
                  </a:cubicBezTo>
                  <a:cubicBezTo>
                    <a:pt x="159" y="1"/>
                    <a:pt x="161" y="0"/>
                    <a:pt x="163" y="0"/>
                  </a:cubicBezTo>
                  <a:cubicBezTo>
                    <a:pt x="165" y="0"/>
                    <a:pt x="169" y="0"/>
                    <a:pt x="171" y="2"/>
                  </a:cubicBezTo>
                  <a:cubicBezTo>
                    <a:pt x="172" y="5"/>
                    <a:pt x="174" y="11"/>
                    <a:pt x="173" y="14"/>
                  </a:cubicBezTo>
                  <a:cubicBezTo>
                    <a:pt x="172" y="15"/>
                    <a:pt x="173" y="17"/>
                    <a:pt x="174" y="19"/>
                  </a:cubicBezTo>
                  <a:cubicBezTo>
                    <a:pt x="175" y="20"/>
                    <a:pt x="175" y="21"/>
                    <a:pt x="176" y="22"/>
                  </a:cubicBezTo>
                  <a:cubicBezTo>
                    <a:pt x="177" y="23"/>
                    <a:pt x="180" y="23"/>
                    <a:pt x="182" y="23"/>
                  </a:cubicBezTo>
                  <a:cubicBezTo>
                    <a:pt x="184" y="23"/>
                    <a:pt x="185" y="23"/>
                    <a:pt x="186" y="24"/>
                  </a:cubicBezTo>
                  <a:cubicBezTo>
                    <a:pt x="189" y="25"/>
                    <a:pt x="194" y="32"/>
                    <a:pt x="193" y="36"/>
                  </a:cubicBezTo>
                  <a:cubicBezTo>
                    <a:pt x="193" y="37"/>
                    <a:pt x="193" y="37"/>
                    <a:pt x="193" y="37"/>
                  </a:cubicBezTo>
                  <a:cubicBezTo>
                    <a:pt x="194" y="38"/>
                    <a:pt x="195" y="38"/>
                    <a:pt x="196" y="38"/>
                  </a:cubicBezTo>
                  <a:cubicBezTo>
                    <a:pt x="196" y="38"/>
                    <a:pt x="197" y="38"/>
                    <a:pt x="198" y="38"/>
                  </a:cubicBezTo>
                  <a:cubicBezTo>
                    <a:pt x="199" y="38"/>
                    <a:pt x="199" y="38"/>
                    <a:pt x="199" y="38"/>
                  </a:cubicBezTo>
                  <a:cubicBezTo>
                    <a:pt x="200" y="38"/>
                    <a:pt x="202" y="39"/>
                    <a:pt x="203" y="40"/>
                  </a:cubicBezTo>
                  <a:cubicBezTo>
                    <a:pt x="204" y="40"/>
                    <a:pt x="205" y="41"/>
                    <a:pt x="205" y="41"/>
                  </a:cubicBezTo>
                  <a:cubicBezTo>
                    <a:pt x="207" y="43"/>
                    <a:pt x="209" y="43"/>
                    <a:pt x="212" y="41"/>
                  </a:cubicBezTo>
                  <a:cubicBezTo>
                    <a:pt x="214" y="40"/>
                    <a:pt x="216" y="39"/>
                    <a:pt x="218" y="39"/>
                  </a:cubicBezTo>
                  <a:cubicBezTo>
                    <a:pt x="219" y="39"/>
                    <a:pt x="220" y="39"/>
                    <a:pt x="221" y="40"/>
                  </a:cubicBezTo>
                  <a:cubicBezTo>
                    <a:pt x="222" y="41"/>
                    <a:pt x="223" y="43"/>
                    <a:pt x="224" y="44"/>
                  </a:cubicBezTo>
                  <a:cubicBezTo>
                    <a:pt x="226" y="46"/>
                    <a:pt x="227" y="47"/>
                    <a:pt x="227" y="48"/>
                  </a:cubicBezTo>
                  <a:cubicBezTo>
                    <a:pt x="228" y="48"/>
                    <a:pt x="230" y="48"/>
                    <a:pt x="231" y="48"/>
                  </a:cubicBezTo>
                  <a:cubicBezTo>
                    <a:pt x="234" y="48"/>
                    <a:pt x="237" y="49"/>
                    <a:pt x="239" y="50"/>
                  </a:cubicBezTo>
                  <a:cubicBezTo>
                    <a:pt x="241" y="51"/>
                    <a:pt x="243" y="51"/>
                    <a:pt x="245" y="51"/>
                  </a:cubicBezTo>
                  <a:cubicBezTo>
                    <a:pt x="247" y="51"/>
                    <a:pt x="249" y="52"/>
                    <a:pt x="251" y="53"/>
                  </a:cubicBezTo>
                  <a:cubicBezTo>
                    <a:pt x="253" y="54"/>
                    <a:pt x="254" y="54"/>
                    <a:pt x="255" y="55"/>
                  </a:cubicBezTo>
                  <a:cubicBezTo>
                    <a:pt x="258" y="56"/>
                    <a:pt x="260" y="56"/>
                    <a:pt x="260" y="58"/>
                  </a:cubicBezTo>
                  <a:cubicBezTo>
                    <a:pt x="260" y="60"/>
                    <a:pt x="259" y="62"/>
                    <a:pt x="257" y="63"/>
                  </a:cubicBezTo>
                  <a:cubicBezTo>
                    <a:pt x="257" y="64"/>
                    <a:pt x="256" y="64"/>
                    <a:pt x="256" y="65"/>
                  </a:cubicBezTo>
                  <a:cubicBezTo>
                    <a:pt x="256" y="65"/>
                    <a:pt x="257" y="65"/>
                    <a:pt x="257" y="66"/>
                  </a:cubicBezTo>
                  <a:cubicBezTo>
                    <a:pt x="258" y="67"/>
                    <a:pt x="259" y="68"/>
                    <a:pt x="259" y="69"/>
                  </a:cubicBezTo>
                  <a:cubicBezTo>
                    <a:pt x="259" y="70"/>
                    <a:pt x="258" y="71"/>
                    <a:pt x="256" y="71"/>
                  </a:cubicBezTo>
                  <a:cubicBezTo>
                    <a:pt x="256" y="72"/>
                    <a:pt x="254" y="72"/>
                    <a:pt x="254" y="73"/>
                  </a:cubicBezTo>
                  <a:cubicBezTo>
                    <a:pt x="254" y="73"/>
                    <a:pt x="255" y="74"/>
                    <a:pt x="256" y="76"/>
                  </a:cubicBezTo>
                  <a:cubicBezTo>
                    <a:pt x="257" y="76"/>
                    <a:pt x="257" y="77"/>
                    <a:pt x="257" y="78"/>
                  </a:cubicBezTo>
                  <a:cubicBezTo>
                    <a:pt x="258" y="79"/>
                    <a:pt x="257" y="81"/>
                    <a:pt x="256" y="83"/>
                  </a:cubicBezTo>
                  <a:cubicBezTo>
                    <a:pt x="255" y="85"/>
                    <a:pt x="255" y="86"/>
                    <a:pt x="255" y="87"/>
                  </a:cubicBezTo>
                  <a:cubicBezTo>
                    <a:pt x="255" y="88"/>
                    <a:pt x="253" y="88"/>
                    <a:pt x="252" y="88"/>
                  </a:cubicBezTo>
                  <a:cubicBezTo>
                    <a:pt x="251" y="88"/>
                    <a:pt x="248" y="87"/>
                    <a:pt x="246" y="87"/>
                  </a:cubicBezTo>
                  <a:cubicBezTo>
                    <a:pt x="244" y="87"/>
                    <a:pt x="243" y="87"/>
                    <a:pt x="242" y="87"/>
                  </a:cubicBezTo>
                  <a:cubicBezTo>
                    <a:pt x="241" y="87"/>
                    <a:pt x="239" y="89"/>
                    <a:pt x="237" y="91"/>
                  </a:cubicBezTo>
                  <a:cubicBezTo>
                    <a:pt x="234" y="93"/>
                    <a:pt x="232" y="94"/>
                    <a:pt x="231" y="95"/>
                  </a:cubicBezTo>
                  <a:cubicBezTo>
                    <a:pt x="231" y="95"/>
                    <a:pt x="231" y="95"/>
                    <a:pt x="231" y="95"/>
                  </a:cubicBezTo>
                  <a:cubicBezTo>
                    <a:pt x="230" y="96"/>
                    <a:pt x="231" y="98"/>
                    <a:pt x="231" y="100"/>
                  </a:cubicBezTo>
                  <a:cubicBezTo>
                    <a:pt x="231" y="101"/>
                    <a:pt x="231" y="101"/>
                    <a:pt x="231" y="101"/>
                  </a:cubicBezTo>
                  <a:cubicBezTo>
                    <a:pt x="231" y="101"/>
                    <a:pt x="231" y="101"/>
                    <a:pt x="231" y="101"/>
                  </a:cubicBezTo>
                  <a:cubicBezTo>
                    <a:pt x="226" y="102"/>
                    <a:pt x="222" y="104"/>
                    <a:pt x="219" y="105"/>
                  </a:cubicBezTo>
                  <a:cubicBezTo>
                    <a:pt x="213" y="108"/>
                    <a:pt x="207" y="110"/>
                    <a:pt x="201" y="110"/>
                  </a:cubicBezTo>
                  <a:cubicBezTo>
                    <a:pt x="194" y="111"/>
                    <a:pt x="183" y="120"/>
                    <a:pt x="183" y="121"/>
                  </a:cubicBezTo>
                  <a:cubicBezTo>
                    <a:pt x="183" y="123"/>
                    <a:pt x="183" y="133"/>
                    <a:pt x="193" y="133"/>
                  </a:cubicBezTo>
                  <a:cubicBezTo>
                    <a:pt x="194" y="133"/>
                    <a:pt x="194" y="133"/>
                    <a:pt x="194" y="133"/>
                  </a:cubicBezTo>
                  <a:cubicBezTo>
                    <a:pt x="196" y="133"/>
                    <a:pt x="197" y="133"/>
                    <a:pt x="199" y="133"/>
                  </a:cubicBezTo>
                  <a:cubicBezTo>
                    <a:pt x="204" y="133"/>
                    <a:pt x="208" y="134"/>
                    <a:pt x="209" y="135"/>
                  </a:cubicBezTo>
                  <a:cubicBezTo>
                    <a:pt x="210" y="136"/>
                    <a:pt x="210" y="137"/>
                    <a:pt x="209" y="137"/>
                  </a:cubicBezTo>
                  <a:cubicBezTo>
                    <a:pt x="208" y="139"/>
                    <a:pt x="206" y="139"/>
                    <a:pt x="202" y="138"/>
                  </a:cubicBezTo>
                  <a:cubicBezTo>
                    <a:pt x="201" y="138"/>
                    <a:pt x="200" y="138"/>
                    <a:pt x="199" y="138"/>
                  </a:cubicBezTo>
                  <a:cubicBezTo>
                    <a:pt x="196" y="138"/>
                    <a:pt x="192" y="139"/>
                    <a:pt x="190" y="140"/>
                  </a:cubicBezTo>
                  <a:cubicBezTo>
                    <a:pt x="187" y="142"/>
                    <a:pt x="184" y="143"/>
                    <a:pt x="182" y="144"/>
                  </a:cubicBezTo>
                  <a:cubicBezTo>
                    <a:pt x="180" y="144"/>
                    <a:pt x="178" y="145"/>
                    <a:pt x="176" y="146"/>
                  </a:cubicBezTo>
                  <a:cubicBezTo>
                    <a:pt x="172" y="149"/>
                    <a:pt x="169" y="150"/>
                    <a:pt x="166" y="150"/>
                  </a:cubicBezTo>
                  <a:close/>
                  <a:moveTo>
                    <a:pt x="159" y="117"/>
                  </a:moveTo>
                  <a:cubicBezTo>
                    <a:pt x="163" y="117"/>
                    <a:pt x="168" y="118"/>
                    <a:pt x="168" y="120"/>
                  </a:cubicBezTo>
                  <a:cubicBezTo>
                    <a:pt x="169" y="123"/>
                    <a:pt x="162" y="125"/>
                    <a:pt x="156" y="128"/>
                  </a:cubicBezTo>
                  <a:cubicBezTo>
                    <a:pt x="153" y="129"/>
                    <a:pt x="149" y="130"/>
                    <a:pt x="149" y="131"/>
                  </a:cubicBezTo>
                  <a:cubicBezTo>
                    <a:pt x="149" y="132"/>
                    <a:pt x="153" y="133"/>
                    <a:pt x="156" y="134"/>
                  </a:cubicBezTo>
                  <a:cubicBezTo>
                    <a:pt x="159" y="135"/>
                    <a:pt x="162" y="136"/>
                    <a:pt x="163" y="137"/>
                  </a:cubicBezTo>
                  <a:cubicBezTo>
                    <a:pt x="166" y="139"/>
                    <a:pt x="165" y="142"/>
                    <a:pt x="164" y="144"/>
                  </a:cubicBezTo>
                  <a:cubicBezTo>
                    <a:pt x="164" y="146"/>
                    <a:pt x="163" y="148"/>
                    <a:pt x="164" y="148"/>
                  </a:cubicBezTo>
                  <a:cubicBezTo>
                    <a:pt x="164" y="149"/>
                    <a:pt x="165" y="149"/>
                    <a:pt x="166" y="149"/>
                  </a:cubicBezTo>
                  <a:cubicBezTo>
                    <a:pt x="168" y="149"/>
                    <a:pt x="172" y="148"/>
                    <a:pt x="175" y="146"/>
                  </a:cubicBezTo>
                  <a:cubicBezTo>
                    <a:pt x="177" y="144"/>
                    <a:pt x="179" y="143"/>
                    <a:pt x="182" y="143"/>
                  </a:cubicBezTo>
                  <a:cubicBezTo>
                    <a:pt x="184" y="142"/>
                    <a:pt x="186" y="141"/>
                    <a:pt x="189" y="140"/>
                  </a:cubicBezTo>
                  <a:cubicBezTo>
                    <a:pt x="192" y="138"/>
                    <a:pt x="196" y="137"/>
                    <a:pt x="199" y="137"/>
                  </a:cubicBezTo>
                  <a:cubicBezTo>
                    <a:pt x="200" y="137"/>
                    <a:pt x="201" y="137"/>
                    <a:pt x="202" y="137"/>
                  </a:cubicBezTo>
                  <a:cubicBezTo>
                    <a:pt x="203" y="138"/>
                    <a:pt x="204" y="138"/>
                    <a:pt x="205" y="138"/>
                  </a:cubicBezTo>
                  <a:cubicBezTo>
                    <a:pt x="206" y="138"/>
                    <a:pt x="208" y="138"/>
                    <a:pt x="208" y="137"/>
                  </a:cubicBezTo>
                  <a:cubicBezTo>
                    <a:pt x="209" y="137"/>
                    <a:pt x="209" y="136"/>
                    <a:pt x="208" y="136"/>
                  </a:cubicBezTo>
                  <a:cubicBezTo>
                    <a:pt x="208" y="135"/>
                    <a:pt x="205" y="134"/>
                    <a:pt x="199" y="134"/>
                  </a:cubicBezTo>
                  <a:cubicBezTo>
                    <a:pt x="197" y="134"/>
                    <a:pt x="196" y="134"/>
                    <a:pt x="194" y="134"/>
                  </a:cubicBezTo>
                  <a:cubicBezTo>
                    <a:pt x="182" y="135"/>
                    <a:pt x="182" y="123"/>
                    <a:pt x="182" y="121"/>
                  </a:cubicBezTo>
                  <a:cubicBezTo>
                    <a:pt x="182" y="119"/>
                    <a:pt x="194" y="110"/>
                    <a:pt x="200" y="109"/>
                  </a:cubicBezTo>
                  <a:cubicBezTo>
                    <a:pt x="207" y="109"/>
                    <a:pt x="213" y="107"/>
                    <a:pt x="219" y="104"/>
                  </a:cubicBezTo>
                  <a:cubicBezTo>
                    <a:pt x="221" y="103"/>
                    <a:pt x="225" y="101"/>
                    <a:pt x="230" y="101"/>
                  </a:cubicBezTo>
                  <a:cubicBezTo>
                    <a:pt x="230" y="98"/>
                    <a:pt x="229" y="95"/>
                    <a:pt x="230" y="94"/>
                  </a:cubicBezTo>
                  <a:cubicBezTo>
                    <a:pt x="231" y="94"/>
                    <a:pt x="231" y="94"/>
                    <a:pt x="231" y="94"/>
                  </a:cubicBezTo>
                  <a:cubicBezTo>
                    <a:pt x="232" y="93"/>
                    <a:pt x="234" y="92"/>
                    <a:pt x="236" y="90"/>
                  </a:cubicBezTo>
                  <a:cubicBezTo>
                    <a:pt x="239" y="87"/>
                    <a:pt x="241" y="86"/>
                    <a:pt x="242" y="86"/>
                  </a:cubicBezTo>
                  <a:cubicBezTo>
                    <a:pt x="243" y="86"/>
                    <a:pt x="245" y="86"/>
                    <a:pt x="246" y="86"/>
                  </a:cubicBezTo>
                  <a:cubicBezTo>
                    <a:pt x="248" y="86"/>
                    <a:pt x="251" y="87"/>
                    <a:pt x="252" y="87"/>
                  </a:cubicBezTo>
                  <a:cubicBezTo>
                    <a:pt x="254" y="87"/>
                    <a:pt x="254" y="87"/>
                    <a:pt x="254" y="87"/>
                  </a:cubicBezTo>
                  <a:cubicBezTo>
                    <a:pt x="254" y="86"/>
                    <a:pt x="254" y="84"/>
                    <a:pt x="255" y="83"/>
                  </a:cubicBezTo>
                  <a:cubicBezTo>
                    <a:pt x="256" y="81"/>
                    <a:pt x="257" y="79"/>
                    <a:pt x="257" y="78"/>
                  </a:cubicBezTo>
                  <a:cubicBezTo>
                    <a:pt x="256" y="78"/>
                    <a:pt x="256" y="77"/>
                    <a:pt x="255" y="76"/>
                  </a:cubicBezTo>
                  <a:cubicBezTo>
                    <a:pt x="254" y="75"/>
                    <a:pt x="253" y="73"/>
                    <a:pt x="253" y="72"/>
                  </a:cubicBezTo>
                  <a:cubicBezTo>
                    <a:pt x="254" y="71"/>
                    <a:pt x="255" y="71"/>
                    <a:pt x="256" y="70"/>
                  </a:cubicBezTo>
                  <a:cubicBezTo>
                    <a:pt x="257" y="70"/>
                    <a:pt x="258" y="70"/>
                    <a:pt x="258" y="69"/>
                  </a:cubicBezTo>
                  <a:cubicBezTo>
                    <a:pt x="258" y="68"/>
                    <a:pt x="257" y="67"/>
                    <a:pt x="257" y="67"/>
                  </a:cubicBezTo>
                  <a:cubicBezTo>
                    <a:pt x="256" y="66"/>
                    <a:pt x="255" y="65"/>
                    <a:pt x="255" y="65"/>
                  </a:cubicBezTo>
                  <a:cubicBezTo>
                    <a:pt x="255" y="64"/>
                    <a:pt x="256" y="63"/>
                    <a:pt x="257" y="62"/>
                  </a:cubicBezTo>
                  <a:cubicBezTo>
                    <a:pt x="258" y="61"/>
                    <a:pt x="259" y="60"/>
                    <a:pt x="259" y="59"/>
                  </a:cubicBezTo>
                  <a:cubicBezTo>
                    <a:pt x="259" y="57"/>
                    <a:pt x="257" y="56"/>
                    <a:pt x="255" y="56"/>
                  </a:cubicBezTo>
                  <a:cubicBezTo>
                    <a:pt x="254" y="55"/>
                    <a:pt x="252" y="55"/>
                    <a:pt x="251" y="54"/>
                  </a:cubicBezTo>
                  <a:cubicBezTo>
                    <a:pt x="249" y="53"/>
                    <a:pt x="247" y="52"/>
                    <a:pt x="245" y="52"/>
                  </a:cubicBezTo>
                  <a:cubicBezTo>
                    <a:pt x="243" y="52"/>
                    <a:pt x="241" y="52"/>
                    <a:pt x="239" y="51"/>
                  </a:cubicBezTo>
                  <a:cubicBezTo>
                    <a:pt x="237" y="50"/>
                    <a:pt x="233" y="49"/>
                    <a:pt x="231" y="49"/>
                  </a:cubicBezTo>
                  <a:cubicBezTo>
                    <a:pt x="228" y="49"/>
                    <a:pt x="226" y="49"/>
                    <a:pt x="226" y="48"/>
                  </a:cubicBezTo>
                  <a:cubicBezTo>
                    <a:pt x="226" y="48"/>
                    <a:pt x="225" y="46"/>
                    <a:pt x="224" y="45"/>
                  </a:cubicBezTo>
                  <a:cubicBezTo>
                    <a:pt x="222" y="43"/>
                    <a:pt x="221" y="42"/>
                    <a:pt x="220" y="41"/>
                  </a:cubicBezTo>
                  <a:cubicBezTo>
                    <a:pt x="220" y="40"/>
                    <a:pt x="219" y="40"/>
                    <a:pt x="218" y="40"/>
                  </a:cubicBezTo>
                  <a:cubicBezTo>
                    <a:pt x="217" y="40"/>
                    <a:pt x="214" y="40"/>
                    <a:pt x="213" y="42"/>
                  </a:cubicBezTo>
                  <a:cubicBezTo>
                    <a:pt x="211" y="43"/>
                    <a:pt x="209" y="43"/>
                    <a:pt x="208" y="43"/>
                  </a:cubicBezTo>
                  <a:cubicBezTo>
                    <a:pt x="207" y="43"/>
                    <a:pt x="206" y="43"/>
                    <a:pt x="205" y="42"/>
                  </a:cubicBezTo>
                  <a:cubicBezTo>
                    <a:pt x="204" y="42"/>
                    <a:pt x="203" y="41"/>
                    <a:pt x="203" y="41"/>
                  </a:cubicBezTo>
                  <a:cubicBezTo>
                    <a:pt x="201" y="40"/>
                    <a:pt x="200" y="38"/>
                    <a:pt x="198" y="39"/>
                  </a:cubicBezTo>
                  <a:cubicBezTo>
                    <a:pt x="197" y="39"/>
                    <a:pt x="197" y="39"/>
                    <a:pt x="196" y="39"/>
                  </a:cubicBezTo>
                  <a:cubicBezTo>
                    <a:pt x="194" y="39"/>
                    <a:pt x="193" y="39"/>
                    <a:pt x="192" y="38"/>
                  </a:cubicBezTo>
                  <a:cubicBezTo>
                    <a:pt x="192" y="38"/>
                    <a:pt x="192" y="37"/>
                    <a:pt x="192" y="35"/>
                  </a:cubicBezTo>
                  <a:cubicBezTo>
                    <a:pt x="193" y="33"/>
                    <a:pt x="188" y="26"/>
                    <a:pt x="186" y="25"/>
                  </a:cubicBezTo>
                  <a:cubicBezTo>
                    <a:pt x="185" y="24"/>
                    <a:pt x="184" y="24"/>
                    <a:pt x="182" y="24"/>
                  </a:cubicBezTo>
                  <a:cubicBezTo>
                    <a:pt x="180" y="24"/>
                    <a:pt x="176" y="24"/>
                    <a:pt x="175" y="22"/>
                  </a:cubicBezTo>
                  <a:cubicBezTo>
                    <a:pt x="174" y="21"/>
                    <a:pt x="174" y="20"/>
                    <a:pt x="173" y="19"/>
                  </a:cubicBezTo>
                  <a:cubicBezTo>
                    <a:pt x="172" y="17"/>
                    <a:pt x="171" y="15"/>
                    <a:pt x="172" y="13"/>
                  </a:cubicBezTo>
                  <a:cubicBezTo>
                    <a:pt x="173" y="11"/>
                    <a:pt x="171" y="5"/>
                    <a:pt x="170" y="3"/>
                  </a:cubicBezTo>
                  <a:cubicBezTo>
                    <a:pt x="169" y="2"/>
                    <a:pt x="167" y="1"/>
                    <a:pt x="163" y="1"/>
                  </a:cubicBezTo>
                  <a:cubicBezTo>
                    <a:pt x="161" y="1"/>
                    <a:pt x="159" y="1"/>
                    <a:pt x="158" y="2"/>
                  </a:cubicBezTo>
                  <a:cubicBezTo>
                    <a:pt x="158" y="2"/>
                    <a:pt x="157" y="2"/>
                    <a:pt x="156" y="2"/>
                  </a:cubicBezTo>
                  <a:cubicBezTo>
                    <a:pt x="156" y="2"/>
                    <a:pt x="155" y="2"/>
                    <a:pt x="154" y="2"/>
                  </a:cubicBezTo>
                  <a:cubicBezTo>
                    <a:pt x="153" y="2"/>
                    <a:pt x="152" y="2"/>
                    <a:pt x="151" y="2"/>
                  </a:cubicBezTo>
                  <a:cubicBezTo>
                    <a:pt x="150" y="2"/>
                    <a:pt x="149" y="2"/>
                    <a:pt x="149" y="2"/>
                  </a:cubicBezTo>
                  <a:cubicBezTo>
                    <a:pt x="148" y="3"/>
                    <a:pt x="148" y="3"/>
                    <a:pt x="147" y="4"/>
                  </a:cubicBezTo>
                  <a:cubicBezTo>
                    <a:pt x="146" y="5"/>
                    <a:pt x="144" y="6"/>
                    <a:pt x="142" y="6"/>
                  </a:cubicBezTo>
                  <a:cubicBezTo>
                    <a:pt x="140" y="6"/>
                    <a:pt x="139" y="6"/>
                    <a:pt x="138" y="4"/>
                  </a:cubicBezTo>
                  <a:cubicBezTo>
                    <a:pt x="134" y="6"/>
                    <a:pt x="130" y="6"/>
                    <a:pt x="129" y="6"/>
                  </a:cubicBezTo>
                  <a:cubicBezTo>
                    <a:pt x="125" y="9"/>
                    <a:pt x="120" y="13"/>
                    <a:pt x="120" y="15"/>
                  </a:cubicBezTo>
                  <a:cubicBezTo>
                    <a:pt x="120" y="18"/>
                    <a:pt x="120" y="21"/>
                    <a:pt x="118" y="21"/>
                  </a:cubicBezTo>
                  <a:cubicBezTo>
                    <a:pt x="118" y="21"/>
                    <a:pt x="117" y="21"/>
                    <a:pt x="117" y="20"/>
                  </a:cubicBezTo>
                  <a:cubicBezTo>
                    <a:pt x="116" y="19"/>
                    <a:pt x="113" y="18"/>
                    <a:pt x="110" y="18"/>
                  </a:cubicBezTo>
                  <a:cubicBezTo>
                    <a:pt x="107" y="18"/>
                    <a:pt x="105" y="19"/>
                    <a:pt x="104" y="19"/>
                  </a:cubicBezTo>
                  <a:cubicBezTo>
                    <a:pt x="104" y="19"/>
                    <a:pt x="104" y="20"/>
                    <a:pt x="103" y="20"/>
                  </a:cubicBezTo>
                  <a:cubicBezTo>
                    <a:pt x="102" y="20"/>
                    <a:pt x="101" y="19"/>
                    <a:pt x="100" y="18"/>
                  </a:cubicBezTo>
                  <a:cubicBezTo>
                    <a:pt x="99" y="17"/>
                    <a:pt x="98" y="16"/>
                    <a:pt x="96" y="16"/>
                  </a:cubicBezTo>
                  <a:cubicBezTo>
                    <a:pt x="95" y="16"/>
                    <a:pt x="95" y="16"/>
                    <a:pt x="95" y="16"/>
                  </a:cubicBezTo>
                  <a:cubicBezTo>
                    <a:pt x="94" y="17"/>
                    <a:pt x="93" y="17"/>
                    <a:pt x="92" y="17"/>
                  </a:cubicBezTo>
                  <a:cubicBezTo>
                    <a:pt x="91" y="17"/>
                    <a:pt x="89" y="16"/>
                    <a:pt x="88" y="16"/>
                  </a:cubicBezTo>
                  <a:cubicBezTo>
                    <a:pt x="87" y="15"/>
                    <a:pt x="86" y="15"/>
                    <a:pt x="86" y="15"/>
                  </a:cubicBezTo>
                  <a:cubicBezTo>
                    <a:pt x="86" y="15"/>
                    <a:pt x="86" y="15"/>
                    <a:pt x="86" y="15"/>
                  </a:cubicBezTo>
                  <a:cubicBezTo>
                    <a:pt x="85" y="16"/>
                    <a:pt x="85" y="16"/>
                    <a:pt x="83" y="16"/>
                  </a:cubicBezTo>
                  <a:cubicBezTo>
                    <a:pt x="80" y="16"/>
                    <a:pt x="76" y="15"/>
                    <a:pt x="75" y="14"/>
                  </a:cubicBezTo>
                  <a:cubicBezTo>
                    <a:pt x="74" y="14"/>
                    <a:pt x="72" y="14"/>
                    <a:pt x="71" y="14"/>
                  </a:cubicBezTo>
                  <a:cubicBezTo>
                    <a:pt x="70" y="14"/>
                    <a:pt x="70" y="14"/>
                    <a:pt x="69" y="14"/>
                  </a:cubicBezTo>
                  <a:cubicBezTo>
                    <a:pt x="68" y="14"/>
                    <a:pt x="68" y="14"/>
                    <a:pt x="67" y="14"/>
                  </a:cubicBezTo>
                  <a:cubicBezTo>
                    <a:pt x="65" y="14"/>
                    <a:pt x="63" y="13"/>
                    <a:pt x="61" y="12"/>
                  </a:cubicBezTo>
                  <a:cubicBezTo>
                    <a:pt x="60" y="10"/>
                    <a:pt x="52" y="9"/>
                    <a:pt x="37" y="9"/>
                  </a:cubicBezTo>
                  <a:cubicBezTo>
                    <a:pt x="33" y="9"/>
                    <a:pt x="31" y="11"/>
                    <a:pt x="29" y="13"/>
                  </a:cubicBezTo>
                  <a:cubicBezTo>
                    <a:pt x="28" y="14"/>
                    <a:pt x="28" y="14"/>
                    <a:pt x="28" y="14"/>
                  </a:cubicBezTo>
                  <a:cubicBezTo>
                    <a:pt x="26" y="16"/>
                    <a:pt x="24" y="16"/>
                    <a:pt x="22" y="16"/>
                  </a:cubicBezTo>
                  <a:cubicBezTo>
                    <a:pt x="21" y="16"/>
                    <a:pt x="21" y="16"/>
                    <a:pt x="21" y="16"/>
                  </a:cubicBezTo>
                  <a:cubicBezTo>
                    <a:pt x="20" y="16"/>
                    <a:pt x="20" y="16"/>
                    <a:pt x="20" y="16"/>
                  </a:cubicBezTo>
                  <a:cubicBezTo>
                    <a:pt x="20" y="18"/>
                    <a:pt x="21" y="20"/>
                    <a:pt x="21" y="20"/>
                  </a:cubicBezTo>
                  <a:cubicBezTo>
                    <a:pt x="24" y="25"/>
                    <a:pt x="29" y="32"/>
                    <a:pt x="27" y="35"/>
                  </a:cubicBezTo>
                  <a:cubicBezTo>
                    <a:pt x="26" y="37"/>
                    <a:pt x="25" y="38"/>
                    <a:pt x="23" y="38"/>
                  </a:cubicBezTo>
                  <a:cubicBezTo>
                    <a:pt x="22" y="39"/>
                    <a:pt x="21" y="40"/>
                    <a:pt x="21" y="40"/>
                  </a:cubicBezTo>
                  <a:cubicBezTo>
                    <a:pt x="20" y="41"/>
                    <a:pt x="18" y="43"/>
                    <a:pt x="16" y="45"/>
                  </a:cubicBezTo>
                  <a:cubicBezTo>
                    <a:pt x="13" y="48"/>
                    <a:pt x="7" y="53"/>
                    <a:pt x="7" y="54"/>
                  </a:cubicBezTo>
                  <a:cubicBezTo>
                    <a:pt x="7" y="55"/>
                    <a:pt x="7" y="56"/>
                    <a:pt x="8" y="57"/>
                  </a:cubicBezTo>
                  <a:cubicBezTo>
                    <a:pt x="8" y="61"/>
                    <a:pt x="8" y="63"/>
                    <a:pt x="7" y="64"/>
                  </a:cubicBezTo>
                  <a:cubicBezTo>
                    <a:pt x="6" y="66"/>
                    <a:pt x="1" y="72"/>
                    <a:pt x="1" y="75"/>
                  </a:cubicBezTo>
                  <a:cubicBezTo>
                    <a:pt x="1" y="77"/>
                    <a:pt x="4" y="80"/>
                    <a:pt x="7" y="81"/>
                  </a:cubicBezTo>
                  <a:cubicBezTo>
                    <a:pt x="8" y="82"/>
                    <a:pt x="9" y="82"/>
                    <a:pt x="10" y="83"/>
                  </a:cubicBezTo>
                  <a:cubicBezTo>
                    <a:pt x="12" y="83"/>
                    <a:pt x="14" y="82"/>
                    <a:pt x="15" y="82"/>
                  </a:cubicBezTo>
                  <a:cubicBezTo>
                    <a:pt x="16" y="82"/>
                    <a:pt x="18" y="83"/>
                    <a:pt x="21" y="84"/>
                  </a:cubicBezTo>
                  <a:cubicBezTo>
                    <a:pt x="24" y="84"/>
                    <a:pt x="28" y="85"/>
                    <a:pt x="30" y="85"/>
                  </a:cubicBezTo>
                  <a:cubicBezTo>
                    <a:pt x="33" y="85"/>
                    <a:pt x="37" y="86"/>
                    <a:pt x="39" y="88"/>
                  </a:cubicBezTo>
                  <a:cubicBezTo>
                    <a:pt x="39" y="88"/>
                    <a:pt x="39" y="88"/>
                    <a:pt x="40" y="88"/>
                  </a:cubicBezTo>
                  <a:cubicBezTo>
                    <a:pt x="41" y="88"/>
                    <a:pt x="43" y="87"/>
                    <a:pt x="44" y="86"/>
                  </a:cubicBezTo>
                  <a:cubicBezTo>
                    <a:pt x="45" y="85"/>
                    <a:pt x="46" y="85"/>
                    <a:pt x="48" y="85"/>
                  </a:cubicBezTo>
                  <a:cubicBezTo>
                    <a:pt x="48" y="85"/>
                    <a:pt x="49" y="85"/>
                    <a:pt x="50" y="85"/>
                  </a:cubicBezTo>
                  <a:cubicBezTo>
                    <a:pt x="51" y="85"/>
                    <a:pt x="51" y="85"/>
                    <a:pt x="52" y="85"/>
                  </a:cubicBezTo>
                  <a:cubicBezTo>
                    <a:pt x="54" y="85"/>
                    <a:pt x="59" y="83"/>
                    <a:pt x="60" y="81"/>
                  </a:cubicBezTo>
                  <a:cubicBezTo>
                    <a:pt x="61" y="79"/>
                    <a:pt x="75" y="75"/>
                    <a:pt x="78" y="75"/>
                  </a:cubicBezTo>
                  <a:cubicBezTo>
                    <a:pt x="80" y="74"/>
                    <a:pt x="82" y="76"/>
                    <a:pt x="84" y="78"/>
                  </a:cubicBezTo>
                  <a:cubicBezTo>
                    <a:pt x="86" y="80"/>
                    <a:pt x="88" y="81"/>
                    <a:pt x="89" y="81"/>
                  </a:cubicBezTo>
                  <a:cubicBezTo>
                    <a:pt x="93" y="81"/>
                    <a:pt x="98" y="84"/>
                    <a:pt x="100" y="89"/>
                  </a:cubicBezTo>
                  <a:cubicBezTo>
                    <a:pt x="102" y="95"/>
                    <a:pt x="107" y="102"/>
                    <a:pt x="109" y="104"/>
                  </a:cubicBezTo>
                  <a:cubicBezTo>
                    <a:pt x="111" y="106"/>
                    <a:pt x="113" y="112"/>
                    <a:pt x="113" y="113"/>
                  </a:cubicBezTo>
                  <a:cubicBezTo>
                    <a:pt x="113" y="114"/>
                    <a:pt x="112" y="115"/>
                    <a:pt x="111" y="115"/>
                  </a:cubicBezTo>
                  <a:cubicBezTo>
                    <a:pt x="110" y="115"/>
                    <a:pt x="108" y="114"/>
                    <a:pt x="106" y="113"/>
                  </a:cubicBezTo>
                  <a:cubicBezTo>
                    <a:pt x="105" y="113"/>
                    <a:pt x="104" y="113"/>
                    <a:pt x="102" y="112"/>
                  </a:cubicBezTo>
                  <a:cubicBezTo>
                    <a:pt x="99" y="111"/>
                    <a:pt x="97" y="113"/>
                    <a:pt x="97" y="118"/>
                  </a:cubicBezTo>
                  <a:cubicBezTo>
                    <a:pt x="97" y="120"/>
                    <a:pt x="93" y="126"/>
                    <a:pt x="89" y="131"/>
                  </a:cubicBezTo>
                  <a:cubicBezTo>
                    <a:pt x="89" y="131"/>
                    <a:pt x="89" y="132"/>
                    <a:pt x="88" y="132"/>
                  </a:cubicBezTo>
                  <a:cubicBezTo>
                    <a:pt x="88" y="132"/>
                    <a:pt x="88" y="132"/>
                    <a:pt x="88" y="132"/>
                  </a:cubicBezTo>
                  <a:cubicBezTo>
                    <a:pt x="89" y="133"/>
                    <a:pt x="91" y="134"/>
                    <a:pt x="94" y="134"/>
                  </a:cubicBezTo>
                  <a:cubicBezTo>
                    <a:pt x="94" y="134"/>
                    <a:pt x="94" y="134"/>
                    <a:pt x="94" y="134"/>
                  </a:cubicBezTo>
                  <a:cubicBezTo>
                    <a:pt x="94" y="134"/>
                    <a:pt x="96" y="134"/>
                    <a:pt x="97" y="133"/>
                  </a:cubicBezTo>
                  <a:cubicBezTo>
                    <a:pt x="99" y="132"/>
                    <a:pt x="101" y="131"/>
                    <a:pt x="102" y="131"/>
                  </a:cubicBezTo>
                  <a:cubicBezTo>
                    <a:pt x="102" y="131"/>
                    <a:pt x="103" y="131"/>
                    <a:pt x="106" y="134"/>
                  </a:cubicBezTo>
                  <a:cubicBezTo>
                    <a:pt x="106" y="129"/>
                    <a:pt x="107" y="128"/>
                    <a:pt x="111" y="126"/>
                  </a:cubicBezTo>
                  <a:cubicBezTo>
                    <a:pt x="112" y="125"/>
                    <a:pt x="113" y="125"/>
                    <a:pt x="114" y="124"/>
                  </a:cubicBezTo>
                  <a:cubicBezTo>
                    <a:pt x="116" y="122"/>
                    <a:pt x="118" y="119"/>
                    <a:pt x="120" y="116"/>
                  </a:cubicBezTo>
                  <a:cubicBezTo>
                    <a:pt x="121" y="113"/>
                    <a:pt x="123" y="110"/>
                    <a:pt x="126" y="109"/>
                  </a:cubicBezTo>
                  <a:cubicBezTo>
                    <a:pt x="128" y="109"/>
                    <a:pt x="129" y="108"/>
                    <a:pt x="131" y="108"/>
                  </a:cubicBezTo>
                  <a:cubicBezTo>
                    <a:pt x="133" y="107"/>
                    <a:pt x="135" y="106"/>
                    <a:pt x="138" y="106"/>
                  </a:cubicBezTo>
                  <a:cubicBezTo>
                    <a:pt x="140" y="106"/>
                    <a:pt x="141" y="106"/>
                    <a:pt x="143" y="107"/>
                  </a:cubicBezTo>
                  <a:cubicBezTo>
                    <a:pt x="144" y="107"/>
                    <a:pt x="145" y="108"/>
                    <a:pt x="146" y="108"/>
                  </a:cubicBezTo>
                  <a:cubicBezTo>
                    <a:pt x="146" y="109"/>
                    <a:pt x="145" y="111"/>
                    <a:pt x="144" y="112"/>
                  </a:cubicBezTo>
                  <a:cubicBezTo>
                    <a:pt x="144" y="113"/>
                    <a:pt x="143" y="114"/>
                    <a:pt x="143" y="115"/>
                  </a:cubicBezTo>
                  <a:cubicBezTo>
                    <a:pt x="143" y="115"/>
                    <a:pt x="143" y="116"/>
                    <a:pt x="144" y="116"/>
                  </a:cubicBezTo>
                  <a:cubicBezTo>
                    <a:pt x="146" y="117"/>
                    <a:pt x="150" y="117"/>
                    <a:pt x="153" y="117"/>
                  </a:cubicBezTo>
                  <a:cubicBezTo>
                    <a:pt x="154" y="117"/>
                    <a:pt x="155" y="117"/>
                    <a:pt x="156" y="117"/>
                  </a:cubicBezTo>
                  <a:cubicBezTo>
                    <a:pt x="157" y="117"/>
                    <a:pt x="158" y="117"/>
                    <a:pt x="159" y="1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7" name="Freeform 84"/>
            <p:cNvSpPr>
              <a:spLocks noEditPoints="1"/>
            </p:cNvSpPr>
            <p:nvPr/>
          </p:nvSpPr>
          <p:spPr>
            <a:xfrm>
              <a:off x="5346701" y="2236788"/>
              <a:ext cx="233363" cy="166688"/>
            </a:xfrm>
            <a:custGeom>
              <a:gdLst>
                <a:gd name="T0" fmla="*/ 95 w 137"/>
                <a:gd name="T1" fmla="*/ 95 h 98"/>
                <a:gd name="T2" fmla="*/ 85 w 137"/>
                <a:gd name="T3" fmla="*/ 95 h 98"/>
                <a:gd name="T4" fmla="*/ 77 w 137"/>
                <a:gd name="T5" fmla="*/ 94 h 98"/>
                <a:gd name="T6" fmla="*/ 71 w 137"/>
                <a:gd name="T7" fmla="*/ 92 h 98"/>
                <a:gd name="T8" fmla="*/ 56 w 137"/>
                <a:gd name="T9" fmla="*/ 91 h 98"/>
                <a:gd name="T10" fmla="*/ 46 w 137"/>
                <a:gd name="T11" fmla="*/ 89 h 98"/>
                <a:gd name="T12" fmla="*/ 13 w 137"/>
                <a:gd name="T13" fmla="*/ 91 h 98"/>
                <a:gd name="T14" fmla="*/ 5 w 137"/>
                <a:gd name="T15" fmla="*/ 93 h 98"/>
                <a:gd name="T16" fmla="*/ 4 w 137"/>
                <a:gd name="T17" fmla="*/ 85 h 98"/>
                <a:gd name="T18" fmla="*/ 8 w 137"/>
                <a:gd name="T19" fmla="*/ 70 h 98"/>
                <a:gd name="T20" fmla="*/ 5 w 137"/>
                <a:gd name="T21" fmla="*/ 46 h 98"/>
                <a:gd name="T22" fmla="*/ 6 w 137"/>
                <a:gd name="T23" fmla="*/ 45 h 98"/>
                <a:gd name="T24" fmla="*/ 23 w 137"/>
                <a:gd name="T25" fmla="*/ 42 h 98"/>
                <a:gd name="T26" fmla="*/ 35 w 137"/>
                <a:gd name="T27" fmla="*/ 33 h 98"/>
                <a:gd name="T28" fmla="*/ 47 w 137"/>
                <a:gd name="T29" fmla="*/ 21 h 98"/>
                <a:gd name="T30" fmla="*/ 53 w 137"/>
                <a:gd name="T31" fmla="*/ 8 h 98"/>
                <a:gd name="T32" fmla="*/ 63 w 137"/>
                <a:gd name="T33" fmla="*/ 7 h 98"/>
                <a:gd name="T34" fmla="*/ 73 w 137"/>
                <a:gd name="T35" fmla="*/ 0 h 98"/>
                <a:gd name="T36" fmla="*/ 74 w 137"/>
                <a:gd name="T37" fmla="*/ 1 h 98"/>
                <a:gd name="T38" fmla="*/ 89 w 137"/>
                <a:gd name="T39" fmla="*/ 7 h 98"/>
                <a:gd name="T40" fmla="*/ 96 w 137"/>
                <a:gd name="T41" fmla="*/ 7 h 98"/>
                <a:gd name="T42" fmla="*/ 110 w 137"/>
                <a:gd name="T43" fmla="*/ 11 h 98"/>
                <a:gd name="T44" fmla="*/ 112 w 137"/>
                <a:gd name="T45" fmla="*/ 25 h 98"/>
                <a:gd name="T46" fmla="*/ 120 w 137"/>
                <a:gd name="T47" fmla="*/ 40 h 98"/>
                <a:gd name="T48" fmla="*/ 137 w 137"/>
                <a:gd name="T49" fmla="*/ 56 h 98"/>
                <a:gd name="T50" fmla="*/ 128 w 137"/>
                <a:gd name="T51" fmla="*/ 63 h 98"/>
                <a:gd name="T52" fmla="*/ 119 w 137"/>
                <a:gd name="T53" fmla="*/ 68 h 98"/>
                <a:gd name="T54" fmla="*/ 124 w 137"/>
                <a:gd name="T55" fmla="*/ 81 h 98"/>
                <a:gd name="T56" fmla="*/ 105 w 137"/>
                <a:gd name="T57" fmla="*/ 92 h 98"/>
                <a:gd name="T58" fmla="*/ 103 w 137"/>
                <a:gd name="T59" fmla="*/ 96 h 98"/>
                <a:gd name="T60" fmla="*/ 113 w 137"/>
                <a:gd name="T61" fmla="*/ 82 h 98"/>
                <a:gd name="T62" fmla="*/ 122 w 137"/>
                <a:gd name="T63" fmla="*/ 80 h 98"/>
                <a:gd name="T64" fmla="*/ 118 w 137"/>
                <a:gd name="T65" fmla="*/ 61 h 98"/>
                <a:gd name="T66" fmla="*/ 128 w 137"/>
                <a:gd name="T67" fmla="*/ 62 h 98"/>
                <a:gd name="T68" fmla="*/ 136 w 137"/>
                <a:gd name="T69" fmla="*/ 56 h 98"/>
                <a:gd name="T70" fmla="*/ 120 w 137"/>
                <a:gd name="T71" fmla="*/ 41 h 98"/>
                <a:gd name="T72" fmla="*/ 111 w 137"/>
                <a:gd name="T73" fmla="*/ 24 h 98"/>
                <a:gd name="T74" fmla="*/ 110 w 137"/>
                <a:gd name="T75" fmla="*/ 11 h 98"/>
                <a:gd name="T76" fmla="*/ 97 w 137"/>
                <a:gd name="T77" fmla="*/ 8 h 98"/>
                <a:gd name="T78" fmla="*/ 88 w 137"/>
                <a:gd name="T79" fmla="*/ 7 h 98"/>
                <a:gd name="T80" fmla="*/ 73 w 137"/>
                <a:gd name="T81" fmla="*/ 2 h 98"/>
                <a:gd name="T82" fmla="*/ 67 w 137"/>
                <a:gd name="T83" fmla="*/ 5 h 98"/>
                <a:gd name="T84" fmla="*/ 58 w 137"/>
                <a:gd name="T85" fmla="*/ 7 h 98"/>
                <a:gd name="T86" fmla="*/ 49 w 137"/>
                <a:gd name="T87" fmla="*/ 22 h 98"/>
                <a:gd name="T88" fmla="*/ 43 w 137"/>
                <a:gd name="T89" fmla="*/ 26 h 98"/>
                <a:gd name="T90" fmla="*/ 33 w 137"/>
                <a:gd name="T91" fmla="*/ 40 h 98"/>
                <a:gd name="T92" fmla="*/ 16 w 137"/>
                <a:gd name="T93" fmla="*/ 46 h 98"/>
                <a:gd name="T94" fmla="*/ 8 w 137"/>
                <a:gd name="T95" fmla="*/ 57 h 98"/>
                <a:gd name="T96" fmla="*/ 1 w 137"/>
                <a:gd name="T97" fmla="*/ 77 h 98"/>
                <a:gd name="T98" fmla="*/ 5 w 137"/>
                <a:gd name="T99" fmla="*/ 92 h 98"/>
                <a:gd name="T100" fmla="*/ 12 w 137"/>
                <a:gd name="T101" fmla="*/ 91 h 98"/>
                <a:gd name="T102" fmla="*/ 47 w 137"/>
                <a:gd name="T103" fmla="*/ 88 h 98"/>
                <a:gd name="T104" fmla="*/ 56 w 137"/>
                <a:gd name="T105" fmla="*/ 90 h 98"/>
                <a:gd name="T106" fmla="*/ 70 w 137"/>
                <a:gd name="T107" fmla="*/ 92 h 98"/>
                <a:gd name="T108" fmla="*/ 77 w 137"/>
                <a:gd name="T109" fmla="*/ 93 h 98"/>
                <a:gd name="T110" fmla="*/ 86 w 137"/>
                <a:gd name="T111" fmla="*/ 94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98">
                  <a:moveTo>
                    <a:pt x="103" y="98"/>
                  </a:moveTo>
                  <a:cubicBezTo>
                    <a:pt x="103" y="98"/>
                    <a:pt x="102" y="98"/>
                    <a:pt x="102" y="97"/>
                  </a:cubicBezTo>
                  <a:cubicBezTo>
                    <a:pt x="101" y="96"/>
                    <a:pt x="98" y="95"/>
                    <a:pt x="95" y="95"/>
                  </a:cubicBezTo>
                  <a:cubicBezTo>
                    <a:pt x="92" y="95"/>
                    <a:pt x="90" y="96"/>
                    <a:pt x="89" y="96"/>
                  </a:cubicBezTo>
                  <a:cubicBezTo>
                    <a:pt x="89" y="96"/>
                    <a:pt x="89" y="97"/>
                    <a:pt x="88" y="97"/>
                  </a:cubicBezTo>
                  <a:cubicBezTo>
                    <a:pt x="87" y="97"/>
                    <a:pt x="86" y="96"/>
                    <a:pt x="85" y="95"/>
                  </a:cubicBezTo>
                  <a:cubicBezTo>
                    <a:pt x="84" y="94"/>
                    <a:pt x="83" y="93"/>
                    <a:pt x="81" y="93"/>
                  </a:cubicBezTo>
                  <a:cubicBezTo>
                    <a:pt x="80" y="93"/>
                    <a:pt x="80" y="93"/>
                    <a:pt x="80" y="93"/>
                  </a:cubicBezTo>
                  <a:cubicBezTo>
                    <a:pt x="79" y="94"/>
                    <a:pt x="78" y="94"/>
                    <a:pt x="77" y="94"/>
                  </a:cubicBezTo>
                  <a:cubicBezTo>
                    <a:pt x="76" y="94"/>
                    <a:pt x="74" y="93"/>
                    <a:pt x="73" y="93"/>
                  </a:cubicBezTo>
                  <a:cubicBezTo>
                    <a:pt x="72" y="92"/>
                    <a:pt x="71" y="92"/>
                    <a:pt x="71" y="92"/>
                  </a:cubicBezTo>
                  <a:cubicBezTo>
                    <a:pt x="71" y="92"/>
                    <a:pt x="71" y="92"/>
                    <a:pt x="71" y="92"/>
                  </a:cubicBezTo>
                  <a:cubicBezTo>
                    <a:pt x="70" y="93"/>
                    <a:pt x="70" y="93"/>
                    <a:pt x="68" y="93"/>
                  </a:cubicBezTo>
                  <a:cubicBezTo>
                    <a:pt x="65" y="93"/>
                    <a:pt x="61" y="92"/>
                    <a:pt x="60" y="91"/>
                  </a:cubicBezTo>
                  <a:cubicBezTo>
                    <a:pt x="59" y="91"/>
                    <a:pt x="57" y="91"/>
                    <a:pt x="56" y="91"/>
                  </a:cubicBezTo>
                  <a:cubicBezTo>
                    <a:pt x="55" y="91"/>
                    <a:pt x="55" y="91"/>
                    <a:pt x="54" y="91"/>
                  </a:cubicBezTo>
                  <a:cubicBezTo>
                    <a:pt x="53" y="91"/>
                    <a:pt x="53" y="91"/>
                    <a:pt x="52" y="91"/>
                  </a:cubicBezTo>
                  <a:cubicBezTo>
                    <a:pt x="50" y="91"/>
                    <a:pt x="48" y="90"/>
                    <a:pt x="46" y="89"/>
                  </a:cubicBezTo>
                  <a:cubicBezTo>
                    <a:pt x="45" y="87"/>
                    <a:pt x="37" y="86"/>
                    <a:pt x="22" y="86"/>
                  </a:cubicBezTo>
                  <a:cubicBezTo>
                    <a:pt x="18" y="86"/>
                    <a:pt x="16" y="88"/>
                    <a:pt x="14" y="90"/>
                  </a:cubicBezTo>
                  <a:cubicBezTo>
                    <a:pt x="13" y="91"/>
                    <a:pt x="13" y="91"/>
                    <a:pt x="13" y="91"/>
                  </a:cubicBezTo>
                  <a:cubicBezTo>
                    <a:pt x="11" y="93"/>
                    <a:pt x="9" y="93"/>
                    <a:pt x="7" y="93"/>
                  </a:cubicBezTo>
                  <a:cubicBezTo>
                    <a:pt x="6" y="93"/>
                    <a:pt x="6" y="93"/>
                    <a:pt x="6" y="93"/>
                  </a:cubicBezTo>
                  <a:cubicBezTo>
                    <a:pt x="5" y="93"/>
                    <a:pt x="5" y="93"/>
                    <a:pt x="5" y="93"/>
                  </a:cubicBezTo>
                  <a:cubicBezTo>
                    <a:pt x="4" y="93"/>
                    <a:pt x="4" y="93"/>
                    <a:pt x="4" y="93"/>
                  </a:cubicBezTo>
                  <a:cubicBezTo>
                    <a:pt x="4" y="93"/>
                    <a:pt x="4" y="93"/>
                    <a:pt x="4" y="93"/>
                  </a:cubicBezTo>
                  <a:cubicBezTo>
                    <a:pt x="4" y="90"/>
                    <a:pt x="4" y="87"/>
                    <a:pt x="4" y="85"/>
                  </a:cubicBezTo>
                  <a:cubicBezTo>
                    <a:pt x="5" y="83"/>
                    <a:pt x="3" y="82"/>
                    <a:pt x="2" y="81"/>
                  </a:cubicBezTo>
                  <a:cubicBezTo>
                    <a:pt x="1" y="80"/>
                    <a:pt x="0" y="79"/>
                    <a:pt x="0" y="77"/>
                  </a:cubicBezTo>
                  <a:cubicBezTo>
                    <a:pt x="0" y="75"/>
                    <a:pt x="5" y="71"/>
                    <a:pt x="8" y="70"/>
                  </a:cubicBezTo>
                  <a:cubicBezTo>
                    <a:pt x="9" y="69"/>
                    <a:pt x="9" y="68"/>
                    <a:pt x="10" y="67"/>
                  </a:cubicBezTo>
                  <a:cubicBezTo>
                    <a:pt x="10" y="64"/>
                    <a:pt x="9" y="59"/>
                    <a:pt x="7" y="58"/>
                  </a:cubicBezTo>
                  <a:cubicBezTo>
                    <a:pt x="4" y="55"/>
                    <a:pt x="3" y="51"/>
                    <a:pt x="5" y="46"/>
                  </a:cubicBezTo>
                  <a:cubicBezTo>
                    <a:pt x="5" y="46"/>
                    <a:pt x="5" y="46"/>
                    <a:pt x="5" y="45"/>
                  </a:cubicBezTo>
                  <a:cubicBezTo>
                    <a:pt x="5" y="45"/>
                    <a:pt x="5" y="45"/>
                    <a:pt x="5" y="45"/>
                  </a:cubicBezTo>
                  <a:cubicBezTo>
                    <a:pt x="6" y="45"/>
                    <a:pt x="6" y="45"/>
                    <a:pt x="6" y="45"/>
                  </a:cubicBezTo>
                  <a:cubicBezTo>
                    <a:pt x="10" y="45"/>
                    <a:pt x="15" y="45"/>
                    <a:pt x="16" y="45"/>
                  </a:cubicBezTo>
                  <a:cubicBezTo>
                    <a:pt x="17" y="46"/>
                    <a:pt x="17" y="46"/>
                    <a:pt x="18" y="46"/>
                  </a:cubicBezTo>
                  <a:cubicBezTo>
                    <a:pt x="20" y="46"/>
                    <a:pt x="22" y="44"/>
                    <a:pt x="23" y="42"/>
                  </a:cubicBezTo>
                  <a:cubicBezTo>
                    <a:pt x="25" y="40"/>
                    <a:pt x="32" y="39"/>
                    <a:pt x="33" y="39"/>
                  </a:cubicBezTo>
                  <a:cubicBezTo>
                    <a:pt x="34" y="39"/>
                    <a:pt x="34" y="36"/>
                    <a:pt x="34" y="34"/>
                  </a:cubicBezTo>
                  <a:cubicBezTo>
                    <a:pt x="35" y="34"/>
                    <a:pt x="35" y="33"/>
                    <a:pt x="35" y="33"/>
                  </a:cubicBezTo>
                  <a:cubicBezTo>
                    <a:pt x="35" y="30"/>
                    <a:pt x="40" y="26"/>
                    <a:pt x="42" y="25"/>
                  </a:cubicBezTo>
                  <a:cubicBezTo>
                    <a:pt x="43" y="25"/>
                    <a:pt x="44" y="24"/>
                    <a:pt x="44" y="23"/>
                  </a:cubicBezTo>
                  <a:cubicBezTo>
                    <a:pt x="45" y="22"/>
                    <a:pt x="46" y="21"/>
                    <a:pt x="47" y="21"/>
                  </a:cubicBezTo>
                  <a:cubicBezTo>
                    <a:pt x="48" y="21"/>
                    <a:pt x="48" y="21"/>
                    <a:pt x="48" y="21"/>
                  </a:cubicBezTo>
                  <a:cubicBezTo>
                    <a:pt x="49" y="20"/>
                    <a:pt x="49" y="19"/>
                    <a:pt x="48" y="16"/>
                  </a:cubicBezTo>
                  <a:cubicBezTo>
                    <a:pt x="48" y="14"/>
                    <a:pt x="49" y="10"/>
                    <a:pt x="53" y="8"/>
                  </a:cubicBezTo>
                  <a:cubicBezTo>
                    <a:pt x="55" y="7"/>
                    <a:pt x="57" y="6"/>
                    <a:pt x="58" y="6"/>
                  </a:cubicBezTo>
                  <a:cubicBezTo>
                    <a:pt x="59" y="6"/>
                    <a:pt x="60" y="7"/>
                    <a:pt x="61" y="7"/>
                  </a:cubicBezTo>
                  <a:cubicBezTo>
                    <a:pt x="61" y="7"/>
                    <a:pt x="62" y="7"/>
                    <a:pt x="63" y="7"/>
                  </a:cubicBezTo>
                  <a:cubicBezTo>
                    <a:pt x="64" y="7"/>
                    <a:pt x="65" y="6"/>
                    <a:pt x="66" y="4"/>
                  </a:cubicBezTo>
                  <a:cubicBezTo>
                    <a:pt x="67" y="3"/>
                    <a:pt x="67" y="2"/>
                    <a:pt x="68" y="2"/>
                  </a:cubicBezTo>
                  <a:cubicBezTo>
                    <a:pt x="69" y="1"/>
                    <a:pt x="71" y="0"/>
                    <a:pt x="73" y="0"/>
                  </a:cubicBezTo>
                  <a:cubicBezTo>
                    <a:pt x="73" y="0"/>
                    <a:pt x="73" y="0"/>
                    <a:pt x="73" y="0"/>
                  </a:cubicBezTo>
                  <a:cubicBezTo>
                    <a:pt x="73" y="0"/>
                    <a:pt x="73" y="0"/>
                    <a:pt x="73" y="0"/>
                  </a:cubicBezTo>
                  <a:cubicBezTo>
                    <a:pt x="74" y="0"/>
                    <a:pt x="74" y="1"/>
                    <a:pt x="74" y="1"/>
                  </a:cubicBezTo>
                  <a:cubicBezTo>
                    <a:pt x="75" y="2"/>
                    <a:pt x="77" y="3"/>
                    <a:pt x="79" y="3"/>
                  </a:cubicBezTo>
                  <a:cubicBezTo>
                    <a:pt x="80" y="3"/>
                    <a:pt x="81" y="3"/>
                    <a:pt x="81" y="3"/>
                  </a:cubicBezTo>
                  <a:cubicBezTo>
                    <a:pt x="85" y="2"/>
                    <a:pt x="87" y="3"/>
                    <a:pt x="89" y="7"/>
                  </a:cubicBezTo>
                  <a:cubicBezTo>
                    <a:pt x="90" y="8"/>
                    <a:pt x="90" y="8"/>
                    <a:pt x="91" y="8"/>
                  </a:cubicBezTo>
                  <a:cubicBezTo>
                    <a:pt x="93" y="8"/>
                    <a:pt x="94" y="8"/>
                    <a:pt x="96" y="7"/>
                  </a:cubicBezTo>
                  <a:cubicBezTo>
                    <a:pt x="96" y="7"/>
                    <a:pt x="96" y="7"/>
                    <a:pt x="96" y="7"/>
                  </a:cubicBezTo>
                  <a:cubicBezTo>
                    <a:pt x="97" y="6"/>
                    <a:pt x="98" y="6"/>
                    <a:pt x="98" y="6"/>
                  </a:cubicBezTo>
                  <a:cubicBezTo>
                    <a:pt x="102" y="6"/>
                    <a:pt x="107" y="9"/>
                    <a:pt x="110" y="10"/>
                  </a:cubicBezTo>
                  <a:cubicBezTo>
                    <a:pt x="110" y="11"/>
                    <a:pt x="110" y="11"/>
                    <a:pt x="110" y="11"/>
                  </a:cubicBezTo>
                  <a:cubicBezTo>
                    <a:pt x="112" y="11"/>
                    <a:pt x="112" y="14"/>
                    <a:pt x="112" y="17"/>
                  </a:cubicBezTo>
                  <a:cubicBezTo>
                    <a:pt x="112" y="19"/>
                    <a:pt x="112" y="20"/>
                    <a:pt x="112" y="21"/>
                  </a:cubicBezTo>
                  <a:cubicBezTo>
                    <a:pt x="112" y="22"/>
                    <a:pt x="112" y="23"/>
                    <a:pt x="112" y="25"/>
                  </a:cubicBezTo>
                  <a:cubicBezTo>
                    <a:pt x="111" y="27"/>
                    <a:pt x="111" y="30"/>
                    <a:pt x="113" y="31"/>
                  </a:cubicBezTo>
                  <a:cubicBezTo>
                    <a:pt x="115" y="32"/>
                    <a:pt x="116" y="34"/>
                    <a:pt x="116" y="35"/>
                  </a:cubicBezTo>
                  <a:cubicBezTo>
                    <a:pt x="117" y="37"/>
                    <a:pt x="118" y="39"/>
                    <a:pt x="120" y="40"/>
                  </a:cubicBezTo>
                  <a:cubicBezTo>
                    <a:pt x="122" y="41"/>
                    <a:pt x="124" y="43"/>
                    <a:pt x="125" y="45"/>
                  </a:cubicBezTo>
                  <a:cubicBezTo>
                    <a:pt x="126" y="46"/>
                    <a:pt x="127" y="48"/>
                    <a:pt x="128" y="48"/>
                  </a:cubicBezTo>
                  <a:cubicBezTo>
                    <a:pt x="131" y="49"/>
                    <a:pt x="136" y="53"/>
                    <a:pt x="137" y="56"/>
                  </a:cubicBezTo>
                  <a:cubicBezTo>
                    <a:pt x="137" y="58"/>
                    <a:pt x="135" y="61"/>
                    <a:pt x="129" y="63"/>
                  </a:cubicBezTo>
                  <a:cubicBezTo>
                    <a:pt x="128" y="63"/>
                    <a:pt x="128" y="63"/>
                    <a:pt x="128" y="63"/>
                  </a:cubicBezTo>
                  <a:cubicBezTo>
                    <a:pt x="128" y="63"/>
                    <a:pt x="128" y="63"/>
                    <a:pt x="128" y="63"/>
                  </a:cubicBezTo>
                  <a:cubicBezTo>
                    <a:pt x="126" y="63"/>
                    <a:pt x="125" y="63"/>
                    <a:pt x="123" y="62"/>
                  </a:cubicBezTo>
                  <a:cubicBezTo>
                    <a:pt x="121" y="61"/>
                    <a:pt x="120" y="60"/>
                    <a:pt x="119" y="61"/>
                  </a:cubicBezTo>
                  <a:cubicBezTo>
                    <a:pt x="118" y="63"/>
                    <a:pt x="118" y="65"/>
                    <a:pt x="119" y="68"/>
                  </a:cubicBezTo>
                  <a:cubicBezTo>
                    <a:pt x="120" y="70"/>
                    <a:pt x="121" y="72"/>
                    <a:pt x="121" y="74"/>
                  </a:cubicBezTo>
                  <a:cubicBezTo>
                    <a:pt x="122" y="77"/>
                    <a:pt x="123" y="79"/>
                    <a:pt x="123" y="80"/>
                  </a:cubicBezTo>
                  <a:cubicBezTo>
                    <a:pt x="124" y="81"/>
                    <a:pt x="124" y="81"/>
                    <a:pt x="124" y="81"/>
                  </a:cubicBezTo>
                  <a:cubicBezTo>
                    <a:pt x="123" y="81"/>
                    <a:pt x="123" y="81"/>
                    <a:pt x="123" y="81"/>
                  </a:cubicBezTo>
                  <a:cubicBezTo>
                    <a:pt x="120" y="83"/>
                    <a:pt x="115" y="83"/>
                    <a:pt x="114" y="83"/>
                  </a:cubicBezTo>
                  <a:cubicBezTo>
                    <a:pt x="110" y="86"/>
                    <a:pt x="105" y="90"/>
                    <a:pt x="105" y="92"/>
                  </a:cubicBezTo>
                  <a:cubicBezTo>
                    <a:pt x="105" y="95"/>
                    <a:pt x="105" y="98"/>
                    <a:pt x="103" y="98"/>
                  </a:cubicBezTo>
                  <a:close/>
                  <a:moveTo>
                    <a:pt x="95" y="94"/>
                  </a:moveTo>
                  <a:cubicBezTo>
                    <a:pt x="98" y="94"/>
                    <a:pt x="101" y="95"/>
                    <a:pt x="103" y="96"/>
                  </a:cubicBezTo>
                  <a:cubicBezTo>
                    <a:pt x="103" y="97"/>
                    <a:pt x="103" y="97"/>
                    <a:pt x="103" y="97"/>
                  </a:cubicBezTo>
                  <a:cubicBezTo>
                    <a:pt x="104" y="97"/>
                    <a:pt x="104" y="95"/>
                    <a:pt x="104" y="92"/>
                  </a:cubicBezTo>
                  <a:cubicBezTo>
                    <a:pt x="104" y="89"/>
                    <a:pt x="112" y="83"/>
                    <a:pt x="113" y="82"/>
                  </a:cubicBezTo>
                  <a:cubicBezTo>
                    <a:pt x="113" y="82"/>
                    <a:pt x="113" y="82"/>
                    <a:pt x="113" y="82"/>
                  </a:cubicBezTo>
                  <a:cubicBezTo>
                    <a:pt x="113" y="82"/>
                    <a:pt x="113" y="82"/>
                    <a:pt x="113" y="82"/>
                  </a:cubicBezTo>
                  <a:cubicBezTo>
                    <a:pt x="114" y="82"/>
                    <a:pt x="119" y="82"/>
                    <a:pt x="122" y="80"/>
                  </a:cubicBezTo>
                  <a:cubicBezTo>
                    <a:pt x="121" y="79"/>
                    <a:pt x="121" y="77"/>
                    <a:pt x="120" y="75"/>
                  </a:cubicBezTo>
                  <a:cubicBezTo>
                    <a:pt x="120" y="72"/>
                    <a:pt x="119" y="70"/>
                    <a:pt x="119" y="69"/>
                  </a:cubicBezTo>
                  <a:cubicBezTo>
                    <a:pt x="117" y="65"/>
                    <a:pt x="117" y="62"/>
                    <a:pt x="118" y="61"/>
                  </a:cubicBezTo>
                  <a:cubicBezTo>
                    <a:pt x="118" y="60"/>
                    <a:pt x="119" y="60"/>
                    <a:pt x="120" y="60"/>
                  </a:cubicBezTo>
                  <a:cubicBezTo>
                    <a:pt x="121" y="60"/>
                    <a:pt x="122" y="60"/>
                    <a:pt x="124" y="61"/>
                  </a:cubicBezTo>
                  <a:cubicBezTo>
                    <a:pt x="125" y="62"/>
                    <a:pt x="127" y="62"/>
                    <a:pt x="128" y="62"/>
                  </a:cubicBezTo>
                  <a:cubicBezTo>
                    <a:pt x="128" y="62"/>
                    <a:pt x="128" y="62"/>
                    <a:pt x="128" y="62"/>
                  </a:cubicBezTo>
                  <a:cubicBezTo>
                    <a:pt x="128" y="62"/>
                    <a:pt x="128" y="62"/>
                    <a:pt x="129" y="62"/>
                  </a:cubicBezTo>
                  <a:cubicBezTo>
                    <a:pt x="135" y="59"/>
                    <a:pt x="136" y="57"/>
                    <a:pt x="136" y="56"/>
                  </a:cubicBezTo>
                  <a:cubicBezTo>
                    <a:pt x="135" y="53"/>
                    <a:pt x="130" y="49"/>
                    <a:pt x="128" y="49"/>
                  </a:cubicBezTo>
                  <a:cubicBezTo>
                    <a:pt x="127" y="49"/>
                    <a:pt x="126" y="47"/>
                    <a:pt x="124" y="46"/>
                  </a:cubicBezTo>
                  <a:cubicBezTo>
                    <a:pt x="123" y="44"/>
                    <a:pt x="122" y="42"/>
                    <a:pt x="120" y="41"/>
                  </a:cubicBezTo>
                  <a:cubicBezTo>
                    <a:pt x="117" y="40"/>
                    <a:pt x="116" y="38"/>
                    <a:pt x="115" y="36"/>
                  </a:cubicBezTo>
                  <a:cubicBezTo>
                    <a:pt x="115" y="34"/>
                    <a:pt x="114" y="33"/>
                    <a:pt x="113" y="32"/>
                  </a:cubicBezTo>
                  <a:cubicBezTo>
                    <a:pt x="110" y="30"/>
                    <a:pt x="110" y="27"/>
                    <a:pt x="111" y="24"/>
                  </a:cubicBezTo>
                  <a:cubicBezTo>
                    <a:pt x="111" y="23"/>
                    <a:pt x="111" y="22"/>
                    <a:pt x="111" y="21"/>
                  </a:cubicBezTo>
                  <a:cubicBezTo>
                    <a:pt x="111" y="20"/>
                    <a:pt x="111" y="19"/>
                    <a:pt x="111" y="17"/>
                  </a:cubicBezTo>
                  <a:cubicBezTo>
                    <a:pt x="111" y="15"/>
                    <a:pt x="111" y="12"/>
                    <a:pt x="110" y="11"/>
                  </a:cubicBezTo>
                  <a:cubicBezTo>
                    <a:pt x="109" y="11"/>
                    <a:pt x="109" y="11"/>
                    <a:pt x="109" y="11"/>
                  </a:cubicBezTo>
                  <a:cubicBezTo>
                    <a:pt x="107" y="10"/>
                    <a:pt x="102" y="7"/>
                    <a:pt x="98" y="7"/>
                  </a:cubicBezTo>
                  <a:cubicBezTo>
                    <a:pt x="98" y="7"/>
                    <a:pt x="97" y="7"/>
                    <a:pt x="97" y="8"/>
                  </a:cubicBezTo>
                  <a:cubicBezTo>
                    <a:pt x="96" y="8"/>
                    <a:pt x="96" y="8"/>
                    <a:pt x="96" y="8"/>
                  </a:cubicBezTo>
                  <a:cubicBezTo>
                    <a:pt x="94" y="9"/>
                    <a:pt x="93" y="9"/>
                    <a:pt x="91" y="9"/>
                  </a:cubicBezTo>
                  <a:cubicBezTo>
                    <a:pt x="90" y="9"/>
                    <a:pt x="89" y="9"/>
                    <a:pt x="88" y="7"/>
                  </a:cubicBezTo>
                  <a:cubicBezTo>
                    <a:pt x="87" y="4"/>
                    <a:pt x="84" y="3"/>
                    <a:pt x="81" y="4"/>
                  </a:cubicBezTo>
                  <a:cubicBezTo>
                    <a:pt x="81" y="4"/>
                    <a:pt x="80" y="4"/>
                    <a:pt x="79" y="4"/>
                  </a:cubicBezTo>
                  <a:cubicBezTo>
                    <a:pt x="77" y="4"/>
                    <a:pt x="75" y="3"/>
                    <a:pt x="73" y="2"/>
                  </a:cubicBezTo>
                  <a:cubicBezTo>
                    <a:pt x="73" y="1"/>
                    <a:pt x="73" y="1"/>
                    <a:pt x="73" y="1"/>
                  </a:cubicBezTo>
                  <a:cubicBezTo>
                    <a:pt x="71" y="1"/>
                    <a:pt x="70" y="2"/>
                    <a:pt x="69" y="2"/>
                  </a:cubicBezTo>
                  <a:cubicBezTo>
                    <a:pt x="68" y="3"/>
                    <a:pt x="67" y="4"/>
                    <a:pt x="67" y="5"/>
                  </a:cubicBezTo>
                  <a:cubicBezTo>
                    <a:pt x="66" y="6"/>
                    <a:pt x="65" y="8"/>
                    <a:pt x="63" y="8"/>
                  </a:cubicBezTo>
                  <a:cubicBezTo>
                    <a:pt x="62" y="8"/>
                    <a:pt x="61" y="8"/>
                    <a:pt x="60" y="8"/>
                  </a:cubicBezTo>
                  <a:cubicBezTo>
                    <a:pt x="60" y="7"/>
                    <a:pt x="59" y="7"/>
                    <a:pt x="58" y="7"/>
                  </a:cubicBezTo>
                  <a:cubicBezTo>
                    <a:pt x="56" y="7"/>
                    <a:pt x="55" y="8"/>
                    <a:pt x="53" y="9"/>
                  </a:cubicBezTo>
                  <a:cubicBezTo>
                    <a:pt x="49" y="12"/>
                    <a:pt x="49" y="15"/>
                    <a:pt x="49" y="16"/>
                  </a:cubicBezTo>
                  <a:cubicBezTo>
                    <a:pt x="50" y="18"/>
                    <a:pt x="50" y="20"/>
                    <a:pt x="49" y="22"/>
                  </a:cubicBezTo>
                  <a:cubicBezTo>
                    <a:pt x="49" y="22"/>
                    <a:pt x="48" y="22"/>
                    <a:pt x="47" y="22"/>
                  </a:cubicBezTo>
                  <a:cubicBezTo>
                    <a:pt x="46" y="22"/>
                    <a:pt x="46" y="23"/>
                    <a:pt x="45" y="24"/>
                  </a:cubicBezTo>
                  <a:cubicBezTo>
                    <a:pt x="45" y="25"/>
                    <a:pt x="44" y="26"/>
                    <a:pt x="43" y="26"/>
                  </a:cubicBezTo>
                  <a:cubicBezTo>
                    <a:pt x="40" y="27"/>
                    <a:pt x="36" y="31"/>
                    <a:pt x="36" y="33"/>
                  </a:cubicBezTo>
                  <a:cubicBezTo>
                    <a:pt x="36" y="33"/>
                    <a:pt x="36" y="34"/>
                    <a:pt x="35" y="35"/>
                  </a:cubicBezTo>
                  <a:cubicBezTo>
                    <a:pt x="35" y="37"/>
                    <a:pt x="35" y="40"/>
                    <a:pt x="33" y="40"/>
                  </a:cubicBezTo>
                  <a:cubicBezTo>
                    <a:pt x="31" y="40"/>
                    <a:pt x="26" y="41"/>
                    <a:pt x="24" y="43"/>
                  </a:cubicBezTo>
                  <a:cubicBezTo>
                    <a:pt x="22" y="45"/>
                    <a:pt x="21" y="47"/>
                    <a:pt x="18" y="47"/>
                  </a:cubicBezTo>
                  <a:cubicBezTo>
                    <a:pt x="17" y="47"/>
                    <a:pt x="17" y="47"/>
                    <a:pt x="16" y="46"/>
                  </a:cubicBezTo>
                  <a:cubicBezTo>
                    <a:pt x="15" y="46"/>
                    <a:pt x="11" y="46"/>
                    <a:pt x="6" y="46"/>
                  </a:cubicBezTo>
                  <a:cubicBezTo>
                    <a:pt x="6" y="46"/>
                    <a:pt x="6" y="46"/>
                    <a:pt x="6" y="47"/>
                  </a:cubicBezTo>
                  <a:cubicBezTo>
                    <a:pt x="5" y="51"/>
                    <a:pt x="5" y="55"/>
                    <a:pt x="8" y="57"/>
                  </a:cubicBezTo>
                  <a:cubicBezTo>
                    <a:pt x="10" y="59"/>
                    <a:pt x="11" y="64"/>
                    <a:pt x="11" y="67"/>
                  </a:cubicBezTo>
                  <a:cubicBezTo>
                    <a:pt x="10" y="69"/>
                    <a:pt x="10" y="70"/>
                    <a:pt x="9" y="70"/>
                  </a:cubicBezTo>
                  <a:cubicBezTo>
                    <a:pt x="6" y="72"/>
                    <a:pt x="1" y="76"/>
                    <a:pt x="1" y="77"/>
                  </a:cubicBezTo>
                  <a:cubicBezTo>
                    <a:pt x="1" y="78"/>
                    <a:pt x="2" y="79"/>
                    <a:pt x="3" y="80"/>
                  </a:cubicBezTo>
                  <a:cubicBezTo>
                    <a:pt x="4" y="81"/>
                    <a:pt x="6" y="83"/>
                    <a:pt x="5" y="85"/>
                  </a:cubicBezTo>
                  <a:cubicBezTo>
                    <a:pt x="5" y="87"/>
                    <a:pt x="5" y="89"/>
                    <a:pt x="5" y="92"/>
                  </a:cubicBezTo>
                  <a:cubicBezTo>
                    <a:pt x="5" y="92"/>
                    <a:pt x="5" y="92"/>
                    <a:pt x="6" y="92"/>
                  </a:cubicBezTo>
                  <a:cubicBezTo>
                    <a:pt x="7" y="92"/>
                    <a:pt x="7" y="92"/>
                    <a:pt x="7" y="92"/>
                  </a:cubicBezTo>
                  <a:cubicBezTo>
                    <a:pt x="9" y="92"/>
                    <a:pt x="11" y="92"/>
                    <a:pt x="12" y="91"/>
                  </a:cubicBezTo>
                  <a:cubicBezTo>
                    <a:pt x="13" y="90"/>
                    <a:pt x="13" y="90"/>
                    <a:pt x="13" y="89"/>
                  </a:cubicBezTo>
                  <a:cubicBezTo>
                    <a:pt x="15" y="87"/>
                    <a:pt x="17" y="85"/>
                    <a:pt x="22" y="85"/>
                  </a:cubicBezTo>
                  <a:cubicBezTo>
                    <a:pt x="32" y="85"/>
                    <a:pt x="45" y="85"/>
                    <a:pt x="47" y="88"/>
                  </a:cubicBezTo>
                  <a:cubicBezTo>
                    <a:pt x="48" y="89"/>
                    <a:pt x="50" y="90"/>
                    <a:pt x="52" y="90"/>
                  </a:cubicBezTo>
                  <a:cubicBezTo>
                    <a:pt x="53" y="90"/>
                    <a:pt x="53" y="90"/>
                    <a:pt x="54" y="90"/>
                  </a:cubicBezTo>
                  <a:cubicBezTo>
                    <a:pt x="55" y="90"/>
                    <a:pt x="55" y="90"/>
                    <a:pt x="56" y="90"/>
                  </a:cubicBezTo>
                  <a:cubicBezTo>
                    <a:pt x="57" y="90"/>
                    <a:pt x="59" y="90"/>
                    <a:pt x="60" y="90"/>
                  </a:cubicBezTo>
                  <a:cubicBezTo>
                    <a:pt x="63" y="91"/>
                    <a:pt x="66" y="92"/>
                    <a:pt x="68" y="92"/>
                  </a:cubicBezTo>
                  <a:cubicBezTo>
                    <a:pt x="69" y="92"/>
                    <a:pt x="69" y="92"/>
                    <a:pt x="70" y="92"/>
                  </a:cubicBezTo>
                  <a:cubicBezTo>
                    <a:pt x="70" y="91"/>
                    <a:pt x="70" y="91"/>
                    <a:pt x="71" y="91"/>
                  </a:cubicBezTo>
                  <a:cubicBezTo>
                    <a:pt x="71" y="91"/>
                    <a:pt x="72" y="91"/>
                    <a:pt x="73" y="92"/>
                  </a:cubicBezTo>
                  <a:cubicBezTo>
                    <a:pt x="74" y="92"/>
                    <a:pt x="76" y="93"/>
                    <a:pt x="77" y="93"/>
                  </a:cubicBezTo>
                  <a:cubicBezTo>
                    <a:pt x="78" y="93"/>
                    <a:pt x="79" y="93"/>
                    <a:pt x="79" y="92"/>
                  </a:cubicBezTo>
                  <a:cubicBezTo>
                    <a:pt x="80" y="92"/>
                    <a:pt x="81" y="92"/>
                    <a:pt x="81" y="92"/>
                  </a:cubicBezTo>
                  <a:cubicBezTo>
                    <a:pt x="83" y="92"/>
                    <a:pt x="84" y="93"/>
                    <a:pt x="86" y="94"/>
                  </a:cubicBezTo>
                  <a:cubicBezTo>
                    <a:pt x="87" y="95"/>
                    <a:pt x="88" y="96"/>
                    <a:pt x="89" y="95"/>
                  </a:cubicBezTo>
                  <a:cubicBezTo>
                    <a:pt x="90" y="95"/>
                    <a:pt x="92" y="94"/>
                    <a:pt x="95" y="9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8" name="Freeform 85"/>
            <p:cNvSpPr>
              <a:spLocks noEditPoints="1"/>
            </p:cNvSpPr>
            <p:nvPr/>
          </p:nvSpPr>
          <p:spPr>
            <a:xfrm>
              <a:off x="5286376" y="2171700"/>
              <a:ext cx="185738" cy="85725"/>
            </a:xfrm>
            <a:custGeom>
              <a:gdLst>
                <a:gd name="T0" fmla="*/ 85 w 110"/>
                <a:gd name="T1" fmla="*/ 51 h 51"/>
                <a:gd name="T2" fmla="*/ 65 w 110"/>
                <a:gd name="T3" fmla="*/ 39 h 51"/>
                <a:gd name="T4" fmla="*/ 58 w 110"/>
                <a:gd name="T5" fmla="*/ 35 h 51"/>
                <a:gd name="T6" fmla="*/ 50 w 110"/>
                <a:gd name="T7" fmla="*/ 37 h 51"/>
                <a:gd name="T8" fmla="*/ 38 w 110"/>
                <a:gd name="T9" fmla="*/ 36 h 51"/>
                <a:gd name="T10" fmla="*/ 23 w 110"/>
                <a:gd name="T11" fmla="*/ 34 h 51"/>
                <a:gd name="T12" fmla="*/ 5 w 110"/>
                <a:gd name="T13" fmla="*/ 39 h 51"/>
                <a:gd name="T14" fmla="*/ 5 w 110"/>
                <a:gd name="T15" fmla="*/ 39 h 51"/>
                <a:gd name="T16" fmla="*/ 5 w 110"/>
                <a:gd name="T17" fmla="*/ 38 h 51"/>
                <a:gd name="T18" fmla="*/ 9 w 110"/>
                <a:gd name="T19" fmla="*/ 19 h 51"/>
                <a:gd name="T20" fmla="*/ 17 w 110"/>
                <a:gd name="T21" fmla="*/ 9 h 51"/>
                <a:gd name="T22" fmla="*/ 27 w 110"/>
                <a:gd name="T23" fmla="*/ 5 h 51"/>
                <a:gd name="T24" fmla="*/ 40 w 110"/>
                <a:gd name="T25" fmla="*/ 20 h 51"/>
                <a:gd name="T26" fmla="*/ 51 w 110"/>
                <a:gd name="T27" fmla="*/ 15 h 51"/>
                <a:gd name="T28" fmla="*/ 53 w 110"/>
                <a:gd name="T29" fmla="*/ 1 h 51"/>
                <a:gd name="T30" fmla="*/ 53 w 110"/>
                <a:gd name="T31" fmla="*/ 0 h 51"/>
                <a:gd name="T32" fmla="*/ 69 w 110"/>
                <a:gd name="T33" fmla="*/ 0 h 51"/>
                <a:gd name="T34" fmla="*/ 83 w 110"/>
                <a:gd name="T35" fmla="*/ 9 h 51"/>
                <a:gd name="T36" fmla="*/ 85 w 110"/>
                <a:gd name="T37" fmla="*/ 9 h 51"/>
                <a:gd name="T38" fmla="*/ 97 w 110"/>
                <a:gd name="T39" fmla="*/ 10 h 51"/>
                <a:gd name="T40" fmla="*/ 100 w 110"/>
                <a:gd name="T41" fmla="*/ 14 h 51"/>
                <a:gd name="T42" fmla="*/ 106 w 110"/>
                <a:gd name="T43" fmla="*/ 30 h 51"/>
                <a:gd name="T44" fmla="*/ 109 w 110"/>
                <a:gd name="T45" fmla="*/ 39 h 51"/>
                <a:gd name="T46" fmla="*/ 109 w 110"/>
                <a:gd name="T47" fmla="*/ 40 h 51"/>
                <a:gd name="T48" fmla="*/ 103 w 110"/>
                <a:gd name="T49" fmla="*/ 44 h 51"/>
                <a:gd name="T50" fmla="*/ 96 w 110"/>
                <a:gd name="T51" fmla="*/ 47 h 51"/>
                <a:gd name="T52" fmla="*/ 89 w 110"/>
                <a:gd name="T53" fmla="*/ 48 h 51"/>
                <a:gd name="T54" fmla="*/ 66 w 110"/>
                <a:gd name="T55" fmla="*/ 38 h 51"/>
                <a:gd name="T56" fmla="*/ 86 w 110"/>
                <a:gd name="T57" fmla="*/ 50 h 51"/>
                <a:gd name="T58" fmla="*/ 89 w 110"/>
                <a:gd name="T59" fmla="*/ 47 h 51"/>
                <a:gd name="T60" fmla="*/ 97 w 110"/>
                <a:gd name="T61" fmla="*/ 46 h 51"/>
                <a:gd name="T62" fmla="*/ 102 w 110"/>
                <a:gd name="T63" fmla="*/ 43 h 51"/>
                <a:gd name="T64" fmla="*/ 108 w 110"/>
                <a:gd name="T65" fmla="*/ 39 h 51"/>
                <a:gd name="T66" fmla="*/ 105 w 110"/>
                <a:gd name="T67" fmla="*/ 31 h 51"/>
                <a:gd name="T68" fmla="*/ 99 w 110"/>
                <a:gd name="T69" fmla="*/ 14 h 51"/>
                <a:gd name="T70" fmla="*/ 85 w 110"/>
                <a:gd name="T71" fmla="*/ 10 h 51"/>
                <a:gd name="T72" fmla="*/ 83 w 110"/>
                <a:gd name="T73" fmla="*/ 10 h 51"/>
                <a:gd name="T74" fmla="*/ 68 w 110"/>
                <a:gd name="T75" fmla="*/ 1 h 51"/>
                <a:gd name="T76" fmla="*/ 53 w 110"/>
                <a:gd name="T77" fmla="*/ 1 h 51"/>
                <a:gd name="T78" fmla="*/ 52 w 110"/>
                <a:gd name="T79" fmla="*/ 15 h 51"/>
                <a:gd name="T80" fmla="*/ 42 w 110"/>
                <a:gd name="T81" fmla="*/ 21 h 51"/>
                <a:gd name="T82" fmla="*/ 29 w 110"/>
                <a:gd name="T83" fmla="*/ 9 h 51"/>
                <a:gd name="T84" fmla="*/ 25 w 110"/>
                <a:gd name="T85" fmla="*/ 6 h 51"/>
                <a:gd name="T86" fmla="*/ 13 w 110"/>
                <a:gd name="T87" fmla="*/ 13 h 51"/>
                <a:gd name="T88" fmla="*/ 7 w 110"/>
                <a:gd name="T89" fmla="*/ 24 h 51"/>
                <a:gd name="T90" fmla="*/ 6 w 110"/>
                <a:gd name="T91" fmla="*/ 38 h 51"/>
                <a:gd name="T92" fmla="*/ 17 w 110"/>
                <a:gd name="T93" fmla="*/ 35 h 51"/>
                <a:gd name="T94" fmla="*/ 33 w 110"/>
                <a:gd name="T95" fmla="*/ 34 h 51"/>
                <a:gd name="T96" fmla="*/ 42 w 110"/>
                <a:gd name="T97" fmla="*/ 35 h 51"/>
                <a:gd name="T98" fmla="*/ 56 w 110"/>
                <a:gd name="T99" fmla="*/ 35 h 51"/>
                <a:gd name="T100" fmla="*/ 62 w 110"/>
                <a:gd name="T101" fmla="*/ 37 h 51"/>
                <a:gd name="T102" fmla="*/ 66 w 110"/>
                <a:gd name="T103" fmla="*/ 38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51">
                  <a:moveTo>
                    <a:pt x="86" y="51"/>
                  </a:moveTo>
                  <a:cubicBezTo>
                    <a:pt x="85" y="51"/>
                    <a:pt x="85" y="51"/>
                    <a:pt x="85" y="51"/>
                  </a:cubicBezTo>
                  <a:cubicBezTo>
                    <a:pt x="83" y="49"/>
                    <a:pt x="80" y="48"/>
                    <a:pt x="78" y="46"/>
                  </a:cubicBezTo>
                  <a:cubicBezTo>
                    <a:pt x="74" y="43"/>
                    <a:pt x="68" y="39"/>
                    <a:pt x="65" y="39"/>
                  </a:cubicBezTo>
                  <a:cubicBezTo>
                    <a:pt x="63" y="39"/>
                    <a:pt x="62" y="38"/>
                    <a:pt x="61" y="37"/>
                  </a:cubicBezTo>
                  <a:cubicBezTo>
                    <a:pt x="61" y="36"/>
                    <a:pt x="60" y="35"/>
                    <a:pt x="58" y="35"/>
                  </a:cubicBezTo>
                  <a:cubicBezTo>
                    <a:pt x="58" y="35"/>
                    <a:pt x="57" y="36"/>
                    <a:pt x="56" y="36"/>
                  </a:cubicBezTo>
                  <a:cubicBezTo>
                    <a:pt x="55" y="36"/>
                    <a:pt x="53" y="37"/>
                    <a:pt x="50" y="37"/>
                  </a:cubicBezTo>
                  <a:cubicBezTo>
                    <a:pt x="47" y="37"/>
                    <a:pt x="45" y="36"/>
                    <a:pt x="42" y="36"/>
                  </a:cubicBezTo>
                  <a:cubicBezTo>
                    <a:pt x="41" y="36"/>
                    <a:pt x="39" y="36"/>
                    <a:pt x="38" y="36"/>
                  </a:cubicBezTo>
                  <a:cubicBezTo>
                    <a:pt x="37" y="36"/>
                    <a:pt x="35" y="36"/>
                    <a:pt x="33" y="35"/>
                  </a:cubicBezTo>
                  <a:cubicBezTo>
                    <a:pt x="30" y="35"/>
                    <a:pt x="27" y="34"/>
                    <a:pt x="23" y="34"/>
                  </a:cubicBezTo>
                  <a:cubicBezTo>
                    <a:pt x="21" y="34"/>
                    <a:pt x="18" y="35"/>
                    <a:pt x="17" y="36"/>
                  </a:cubicBezTo>
                  <a:cubicBezTo>
                    <a:pt x="15" y="37"/>
                    <a:pt x="11" y="38"/>
                    <a:pt x="5" y="39"/>
                  </a:cubicBezTo>
                  <a:cubicBezTo>
                    <a:pt x="5" y="39"/>
                    <a:pt x="5" y="39"/>
                    <a:pt x="5" y="39"/>
                  </a:cubicBezTo>
                  <a:cubicBezTo>
                    <a:pt x="5" y="39"/>
                    <a:pt x="5" y="39"/>
                    <a:pt x="5" y="39"/>
                  </a:cubicBezTo>
                  <a:cubicBezTo>
                    <a:pt x="5" y="38"/>
                    <a:pt x="5" y="38"/>
                    <a:pt x="5" y="38"/>
                  </a:cubicBezTo>
                  <a:cubicBezTo>
                    <a:pt x="5" y="38"/>
                    <a:pt x="5" y="38"/>
                    <a:pt x="5" y="38"/>
                  </a:cubicBezTo>
                  <a:cubicBezTo>
                    <a:pt x="0" y="30"/>
                    <a:pt x="5" y="25"/>
                    <a:pt x="7" y="23"/>
                  </a:cubicBezTo>
                  <a:cubicBezTo>
                    <a:pt x="8" y="22"/>
                    <a:pt x="9" y="21"/>
                    <a:pt x="9" y="19"/>
                  </a:cubicBezTo>
                  <a:cubicBezTo>
                    <a:pt x="9" y="16"/>
                    <a:pt x="10" y="14"/>
                    <a:pt x="13" y="12"/>
                  </a:cubicBezTo>
                  <a:cubicBezTo>
                    <a:pt x="14" y="11"/>
                    <a:pt x="15" y="10"/>
                    <a:pt x="17" y="9"/>
                  </a:cubicBezTo>
                  <a:cubicBezTo>
                    <a:pt x="20" y="7"/>
                    <a:pt x="23" y="5"/>
                    <a:pt x="25" y="5"/>
                  </a:cubicBezTo>
                  <a:cubicBezTo>
                    <a:pt x="26" y="5"/>
                    <a:pt x="27" y="5"/>
                    <a:pt x="27" y="5"/>
                  </a:cubicBezTo>
                  <a:cubicBezTo>
                    <a:pt x="28" y="6"/>
                    <a:pt x="28" y="7"/>
                    <a:pt x="29" y="9"/>
                  </a:cubicBezTo>
                  <a:cubicBezTo>
                    <a:pt x="32" y="13"/>
                    <a:pt x="37" y="20"/>
                    <a:pt x="40" y="20"/>
                  </a:cubicBezTo>
                  <a:cubicBezTo>
                    <a:pt x="40" y="20"/>
                    <a:pt x="41" y="20"/>
                    <a:pt x="42" y="20"/>
                  </a:cubicBezTo>
                  <a:cubicBezTo>
                    <a:pt x="46" y="21"/>
                    <a:pt x="51" y="21"/>
                    <a:pt x="51" y="15"/>
                  </a:cubicBezTo>
                  <a:cubicBezTo>
                    <a:pt x="51" y="13"/>
                    <a:pt x="51" y="11"/>
                    <a:pt x="51" y="9"/>
                  </a:cubicBezTo>
                  <a:cubicBezTo>
                    <a:pt x="50" y="6"/>
                    <a:pt x="50" y="4"/>
                    <a:pt x="53" y="1"/>
                  </a:cubicBezTo>
                  <a:cubicBezTo>
                    <a:pt x="53" y="0"/>
                    <a:pt x="53" y="0"/>
                    <a:pt x="53" y="0"/>
                  </a:cubicBezTo>
                  <a:cubicBezTo>
                    <a:pt x="53" y="0"/>
                    <a:pt x="53" y="0"/>
                    <a:pt x="53" y="0"/>
                  </a:cubicBezTo>
                  <a:cubicBezTo>
                    <a:pt x="56" y="0"/>
                    <a:pt x="61" y="0"/>
                    <a:pt x="65" y="0"/>
                  </a:cubicBezTo>
                  <a:cubicBezTo>
                    <a:pt x="68" y="0"/>
                    <a:pt x="69" y="0"/>
                    <a:pt x="69" y="0"/>
                  </a:cubicBezTo>
                  <a:cubicBezTo>
                    <a:pt x="70" y="1"/>
                    <a:pt x="70" y="1"/>
                    <a:pt x="70" y="1"/>
                  </a:cubicBezTo>
                  <a:cubicBezTo>
                    <a:pt x="77" y="6"/>
                    <a:pt x="81" y="9"/>
                    <a:pt x="83" y="9"/>
                  </a:cubicBezTo>
                  <a:cubicBezTo>
                    <a:pt x="83" y="9"/>
                    <a:pt x="83" y="9"/>
                    <a:pt x="83" y="9"/>
                  </a:cubicBezTo>
                  <a:cubicBezTo>
                    <a:pt x="83" y="9"/>
                    <a:pt x="84" y="9"/>
                    <a:pt x="85" y="9"/>
                  </a:cubicBezTo>
                  <a:cubicBezTo>
                    <a:pt x="88" y="9"/>
                    <a:pt x="93" y="9"/>
                    <a:pt x="97" y="10"/>
                  </a:cubicBezTo>
                  <a:cubicBezTo>
                    <a:pt x="97" y="10"/>
                    <a:pt x="97" y="10"/>
                    <a:pt x="97" y="10"/>
                  </a:cubicBezTo>
                  <a:cubicBezTo>
                    <a:pt x="98" y="10"/>
                    <a:pt x="98" y="10"/>
                    <a:pt x="98" y="10"/>
                  </a:cubicBezTo>
                  <a:cubicBezTo>
                    <a:pt x="98" y="11"/>
                    <a:pt x="99" y="12"/>
                    <a:pt x="100" y="14"/>
                  </a:cubicBezTo>
                  <a:cubicBezTo>
                    <a:pt x="103" y="16"/>
                    <a:pt x="103" y="20"/>
                    <a:pt x="102" y="22"/>
                  </a:cubicBezTo>
                  <a:cubicBezTo>
                    <a:pt x="101" y="24"/>
                    <a:pt x="103" y="27"/>
                    <a:pt x="106" y="30"/>
                  </a:cubicBezTo>
                  <a:cubicBezTo>
                    <a:pt x="107" y="31"/>
                    <a:pt x="108" y="33"/>
                    <a:pt x="108" y="36"/>
                  </a:cubicBezTo>
                  <a:cubicBezTo>
                    <a:pt x="109" y="37"/>
                    <a:pt x="109" y="38"/>
                    <a:pt x="109" y="39"/>
                  </a:cubicBezTo>
                  <a:cubicBezTo>
                    <a:pt x="110" y="40"/>
                    <a:pt x="110" y="40"/>
                    <a:pt x="110" y="40"/>
                  </a:cubicBezTo>
                  <a:cubicBezTo>
                    <a:pt x="109" y="40"/>
                    <a:pt x="109" y="40"/>
                    <a:pt x="109" y="40"/>
                  </a:cubicBezTo>
                  <a:cubicBezTo>
                    <a:pt x="108" y="40"/>
                    <a:pt x="106" y="41"/>
                    <a:pt x="105" y="41"/>
                  </a:cubicBezTo>
                  <a:cubicBezTo>
                    <a:pt x="104" y="42"/>
                    <a:pt x="103" y="43"/>
                    <a:pt x="103" y="44"/>
                  </a:cubicBezTo>
                  <a:cubicBezTo>
                    <a:pt x="102" y="45"/>
                    <a:pt x="101" y="47"/>
                    <a:pt x="99" y="47"/>
                  </a:cubicBezTo>
                  <a:cubicBezTo>
                    <a:pt x="98" y="47"/>
                    <a:pt x="97" y="47"/>
                    <a:pt x="96" y="47"/>
                  </a:cubicBezTo>
                  <a:cubicBezTo>
                    <a:pt x="96" y="46"/>
                    <a:pt x="95" y="46"/>
                    <a:pt x="94" y="46"/>
                  </a:cubicBezTo>
                  <a:cubicBezTo>
                    <a:pt x="92" y="46"/>
                    <a:pt x="91" y="47"/>
                    <a:pt x="89" y="48"/>
                  </a:cubicBezTo>
                  <a:cubicBezTo>
                    <a:pt x="88" y="49"/>
                    <a:pt x="87" y="50"/>
                    <a:pt x="86" y="51"/>
                  </a:cubicBezTo>
                  <a:close/>
                  <a:moveTo>
                    <a:pt x="66" y="38"/>
                  </a:moveTo>
                  <a:cubicBezTo>
                    <a:pt x="70" y="38"/>
                    <a:pt x="77" y="44"/>
                    <a:pt x="79" y="46"/>
                  </a:cubicBezTo>
                  <a:cubicBezTo>
                    <a:pt x="81" y="47"/>
                    <a:pt x="83" y="48"/>
                    <a:pt x="86" y="50"/>
                  </a:cubicBezTo>
                  <a:cubicBezTo>
                    <a:pt x="86" y="50"/>
                    <a:pt x="86" y="50"/>
                    <a:pt x="86" y="50"/>
                  </a:cubicBezTo>
                  <a:cubicBezTo>
                    <a:pt x="87" y="49"/>
                    <a:pt x="87" y="48"/>
                    <a:pt x="89" y="47"/>
                  </a:cubicBezTo>
                  <a:cubicBezTo>
                    <a:pt x="91" y="46"/>
                    <a:pt x="93" y="45"/>
                    <a:pt x="94" y="45"/>
                  </a:cubicBezTo>
                  <a:cubicBezTo>
                    <a:pt x="95" y="45"/>
                    <a:pt x="96" y="46"/>
                    <a:pt x="97" y="46"/>
                  </a:cubicBezTo>
                  <a:cubicBezTo>
                    <a:pt x="97" y="46"/>
                    <a:pt x="98" y="46"/>
                    <a:pt x="99" y="46"/>
                  </a:cubicBezTo>
                  <a:cubicBezTo>
                    <a:pt x="100" y="46"/>
                    <a:pt x="101" y="45"/>
                    <a:pt x="102" y="43"/>
                  </a:cubicBezTo>
                  <a:cubicBezTo>
                    <a:pt x="103" y="42"/>
                    <a:pt x="103" y="41"/>
                    <a:pt x="104" y="41"/>
                  </a:cubicBezTo>
                  <a:cubicBezTo>
                    <a:pt x="105" y="40"/>
                    <a:pt x="107" y="39"/>
                    <a:pt x="108" y="39"/>
                  </a:cubicBezTo>
                  <a:cubicBezTo>
                    <a:pt x="108" y="38"/>
                    <a:pt x="108" y="37"/>
                    <a:pt x="107" y="36"/>
                  </a:cubicBezTo>
                  <a:cubicBezTo>
                    <a:pt x="107" y="34"/>
                    <a:pt x="106" y="32"/>
                    <a:pt x="105" y="31"/>
                  </a:cubicBezTo>
                  <a:cubicBezTo>
                    <a:pt x="103" y="28"/>
                    <a:pt x="100" y="24"/>
                    <a:pt x="101" y="22"/>
                  </a:cubicBezTo>
                  <a:cubicBezTo>
                    <a:pt x="102" y="20"/>
                    <a:pt x="102" y="17"/>
                    <a:pt x="99" y="14"/>
                  </a:cubicBezTo>
                  <a:cubicBezTo>
                    <a:pt x="98" y="13"/>
                    <a:pt x="97" y="12"/>
                    <a:pt x="97" y="11"/>
                  </a:cubicBezTo>
                  <a:cubicBezTo>
                    <a:pt x="91" y="10"/>
                    <a:pt x="87" y="10"/>
                    <a:pt x="85" y="10"/>
                  </a:cubicBezTo>
                  <a:cubicBezTo>
                    <a:pt x="84" y="10"/>
                    <a:pt x="84" y="10"/>
                    <a:pt x="83" y="10"/>
                  </a:cubicBezTo>
                  <a:cubicBezTo>
                    <a:pt x="83" y="10"/>
                    <a:pt x="83" y="10"/>
                    <a:pt x="83" y="10"/>
                  </a:cubicBezTo>
                  <a:cubicBezTo>
                    <a:pt x="80" y="10"/>
                    <a:pt x="74" y="5"/>
                    <a:pt x="69" y="2"/>
                  </a:cubicBezTo>
                  <a:cubicBezTo>
                    <a:pt x="68" y="1"/>
                    <a:pt x="68" y="1"/>
                    <a:pt x="68" y="1"/>
                  </a:cubicBezTo>
                  <a:cubicBezTo>
                    <a:pt x="68" y="1"/>
                    <a:pt x="68" y="1"/>
                    <a:pt x="65" y="1"/>
                  </a:cubicBezTo>
                  <a:cubicBezTo>
                    <a:pt x="61" y="1"/>
                    <a:pt x="57" y="1"/>
                    <a:pt x="53" y="1"/>
                  </a:cubicBezTo>
                  <a:cubicBezTo>
                    <a:pt x="51" y="4"/>
                    <a:pt x="51" y="6"/>
                    <a:pt x="52" y="9"/>
                  </a:cubicBezTo>
                  <a:cubicBezTo>
                    <a:pt x="52" y="11"/>
                    <a:pt x="52" y="13"/>
                    <a:pt x="52" y="15"/>
                  </a:cubicBezTo>
                  <a:cubicBezTo>
                    <a:pt x="52" y="21"/>
                    <a:pt x="48" y="21"/>
                    <a:pt x="44" y="21"/>
                  </a:cubicBezTo>
                  <a:cubicBezTo>
                    <a:pt x="43" y="21"/>
                    <a:pt x="42" y="21"/>
                    <a:pt x="42" y="21"/>
                  </a:cubicBezTo>
                  <a:cubicBezTo>
                    <a:pt x="41" y="21"/>
                    <a:pt x="40" y="21"/>
                    <a:pt x="40" y="21"/>
                  </a:cubicBezTo>
                  <a:cubicBezTo>
                    <a:pt x="36" y="21"/>
                    <a:pt x="32" y="14"/>
                    <a:pt x="29" y="9"/>
                  </a:cubicBezTo>
                  <a:cubicBezTo>
                    <a:pt x="28" y="8"/>
                    <a:pt x="27" y="7"/>
                    <a:pt x="27" y="6"/>
                  </a:cubicBezTo>
                  <a:cubicBezTo>
                    <a:pt x="26" y="6"/>
                    <a:pt x="26" y="6"/>
                    <a:pt x="25" y="6"/>
                  </a:cubicBezTo>
                  <a:cubicBezTo>
                    <a:pt x="23" y="6"/>
                    <a:pt x="20" y="8"/>
                    <a:pt x="17" y="10"/>
                  </a:cubicBezTo>
                  <a:cubicBezTo>
                    <a:pt x="16" y="11"/>
                    <a:pt x="14" y="12"/>
                    <a:pt x="13" y="13"/>
                  </a:cubicBezTo>
                  <a:cubicBezTo>
                    <a:pt x="11" y="14"/>
                    <a:pt x="10" y="16"/>
                    <a:pt x="10" y="19"/>
                  </a:cubicBezTo>
                  <a:cubicBezTo>
                    <a:pt x="9" y="21"/>
                    <a:pt x="9" y="23"/>
                    <a:pt x="7" y="24"/>
                  </a:cubicBezTo>
                  <a:cubicBezTo>
                    <a:pt x="6" y="26"/>
                    <a:pt x="1" y="30"/>
                    <a:pt x="5" y="37"/>
                  </a:cubicBezTo>
                  <a:cubicBezTo>
                    <a:pt x="5" y="38"/>
                    <a:pt x="6" y="38"/>
                    <a:pt x="6" y="38"/>
                  </a:cubicBezTo>
                  <a:cubicBezTo>
                    <a:pt x="6" y="38"/>
                    <a:pt x="6" y="38"/>
                    <a:pt x="6" y="38"/>
                  </a:cubicBezTo>
                  <a:cubicBezTo>
                    <a:pt x="11" y="37"/>
                    <a:pt x="14" y="36"/>
                    <a:pt x="17" y="35"/>
                  </a:cubicBezTo>
                  <a:cubicBezTo>
                    <a:pt x="18" y="34"/>
                    <a:pt x="20" y="33"/>
                    <a:pt x="23" y="33"/>
                  </a:cubicBezTo>
                  <a:cubicBezTo>
                    <a:pt x="27" y="33"/>
                    <a:pt x="30" y="34"/>
                    <a:pt x="33" y="34"/>
                  </a:cubicBezTo>
                  <a:cubicBezTo>
                    <a:pt x="35" y="35"/>
                    <a:pt x="37" y="35"/>
                    <a:pt x="38" y="35"/>
                  </a:cubicBezTo>
                  <a:cubicBezTo>
                    <a:pt x="39" y="35"/>
                    <a:pt x="41" y="35"/>
                    <a:pt x="42" y="35"/>
                  </a:cubicBezTo>
                  <a:cubicBezTo>
                    <a:pt x="45" y="35"/>
                    <a:pt x="47" y="36"/>
                    <a:pt x="50" y="36"/>
                  </a:cubicBezTo>
                  <a:cubicBezTo>
                    <a:pt x="53" y="36"/>
                    <a:pt x="55" y="35"/>
                    <a:pt x="56" y="35"/>
                  </a:cubicBezTo>
                  <a:cubicBezTo>
                    <a:pt x="57" y="35"/>
                    <a:pt x="58" y="34"/>
                    <a:pt x="58" y="34"/>
                  </a:cubicBezTo>
                  <a:cubicBezTo>
                    <a:pt x="60" y="34"/>
                    <a:pt x="61" y="36"/>
                    <a:pt x="62" y="37"/>
                  </a:cubicBezTo>
                  <a:cubicBezTo>
                    <a:pt x="63" y="38"/>
                    <a:pt x="64" y="38"/>
                    <a:pt x="65" y="38"/>
                  </a:cubicBezTo>
                  <a:cubicBezTo>
                    <a:pt x="65" y="38"/>
                    <a:pt x="65" y="38"/>
                    <a:pt x="66"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59" name="Freeform 86"/>
            <p:cNvSpPr>
              <a:spLocks noEditPoints="1"/>
            </p:cNvSpPr>
            <p:nvPr/>
          </p:nvSpPr>
          <p:spPr>
            <a:xfrm>
              <a:off x="5289551" y="2227263"/>
              <a:ext cx="144463" cy="90488"/>
            </a:xfrm>
            <a:custGeom>
              <a:gdLst>
                <a:gd name="T0" fmla="*/ 50 w 85"/>
                <a:gd name="T1" fmla="*/ 52 h 53"/>
                <a:gd name="T2" fmla="*/ 39 w 85"/>
                <a:gd name="T3" fmla="*/ 52 h 53"/>
                <a:gd name="T4" fmla="*/ 28 w 85"/>
                <a:gd name="T5" fmla="*/ 45 h 53"/>
                <a:gd name="T6" fmla="*/ 27 w 85"/>
                <a:gd name="T7" fmla="*/ 37 h 53"/>
                <a:gd name="T8" fmla="*/ 21 w 85"/>
                <a:gd name="T9" fmla="*/ 30 h 53"/>
                <a:gd name="T10" fmla="*/ 19 w 85"/>
                <a:gd name="T11" fmla="*/ 30 h 53"/>
                <a:gd name="T12" fmla="*/ 8 w 85"/>
                <a:gd name="T13" fmla="*/ 25 h 53"/>
                <a:gd name="T14" fmla="*/ 3 w 85"/>
                <a:gd name="T15" fmla="*/ 26 h 53"/>
                <a:gd name="T16" fmla="*/ 2 w 85"/>
                <a:gd name="T17" fmla="*/ 25 h 53"/>
                <a:gd name="T18" fmla="*/ 2 w 85"/>
                <a:gd name="T19" fmla="*/ 21 h 53"/>
                <a:gd name="T20" fmla="*/ 3 w 85"/>
                <a:gd name="T21" fmla="*/ 5 h 53"/>
                <a:gd name="T22" fmla="*/ 15 w 85"/>
                <a:gd name="T23" fmla="*/ 2 h 53"/>
                <a:gd name="T24" fmla="*/ 31 w 85"/>
                <a:gd name="T25" fmla="*/ 1 h 53"/>
                <a:gd name="T26" fmla="*/ 40 w 85"/>
                <a:gd name="T27" fmla="*/ 2 h 53"/>
                <a:gd name="T28" fmla="*/ 54 w 85"/>
                <a:gd name="T29" fmla="*/ 2 h 53"/>
                <a:gd name="T30" fmla="*/ 60 w 85"/>
                <a:gd name="T31" fmla="*/ 4 h 53"/>
                <a:gd name="T32" fmla="*/ 77 w 85"/>
                <a:gd name="T33" fmla="*/ 13 h 53"/>
                <a:gd name="T34" fmla="*/ 85 w 85"/>
                <a:gd name="T35" fmla="*/ 17 h 53"/>
                <a:gd name="T36" fmla="*/ 83 w 85"/>
                <a:gd name="T37" fmla="*/ 22 h 53"/>
                <a:gd name="T38" fmla="*/ 81 w 85"/>
                <a:gd name="T39" fmla="*/ 28 h 53"/>
                <a:gd name="T40" fmla="*/ 77 w 85"/>
                <a:gd name="T41" fmla="*/ 32 h 53"/>
                <a:gd name="T42" fmla="*/ 69 w 85"/>
                <a:gd name="T43" fmla="*/ 41 h 53"/>
                <a:gd name="T44" fmla="*/ 58 w 85"/>
                <a:gd name="T45" fmla="*/ 49 h 53"/>
                <a:gd name="T46" fmla="*/ 40 w 85"/>
                <a:gd name="T47" fmla="*/ 51 h 53"/>
                <a:gd name="T48" fmla="*/ 52 w 85"/>
                <a:gd name="T49" fmla="*/ 52 h 53"/>
                <a:gd name="T50" fmla="*/ 67 w 85"/>
                <a:gd name="T51" fmla="*/ 45 h 53"/>
                <a:gd name="T52" fmla="*/ 69 w 85"/>
                <a:gd name="T53" fmla="*/ 39 h 53"/>
                <a:gd name="T54" fmla="*/ 78 w 85"/>
                <a:gd name="T55" fmla="*/ 29 h 53"/>
                <a:gd name="T56" fmla="*/ 82 w 85"/>
                <a:gd name="T57" fmla="*/ 27 h 53"/>
                <a:gd name="T58" fmla="*/ 83 w 85"/>
                <a:gd name="T59" fmla="*/ 18 h 53"/>
                <a:gd name="T60" fmla="*/ 76 w 85"/>
                <a:gd name="T61" fmla="*/ 13 h 53"/>
                <a:gd name="T62" fmla="*/ 59 w 85"/>
                <a:gd name="T63" fmla="*/ 4 h 53"/>
                <a:gd name="T64" fmla="*/ 54 w 85"/>
                <a:gd name="T65" fmla="*/ 3 h 53"/>
                <a:gd name="T66" fmla="*/ 40 w 85"/>
                <a:gd name="T67" fmla="*/ 3 h 53"/>
                <a:gd name="T68" fmla="*/ 31 w 85"/>
                <a:gd name="T69" fmla="*/ 2 h 53"/>
                <a:gd name="T70" fmla="*/ 15 w 85"/>
                <a:gd name="T71" fmla="*/ 3 h 53"/>
                <a:gd name="T72" fmla="*/ 2 w 85"/>
                <a:gd name="T73" fmla="*/ 22 h 53"/>
                <a:gd name="T74" fmla="*/ 2 w 85"/>
                <a:gd name="T75" fmla="*/ 25 h 53"/>
                <a:gd name="T76" fmla="*/ 4 w 85"/>
                <a:gd name="T77" fmla="*/ 25 h 53"/>
                <a:gd name="T78" fmla="*/ 12 w 85"/>
                <a:gd name="T79" fmla="*/ 26 h 53"/>
                <a:gd name="T80" fmla="*/ 20 w 85"/>
                <a:gd name="T81" fmla="*/ 29 h 53"/>
                <a:gd name="T82" fmla="*/ 29 w 85"/>
                <a:gd name="T83" fmla="*/ 34 h 53"/>
                <a:gd name="T84" fmla="*/ 28 w 85"/>
                <a:gd name="T85" fmla="*/ 44 h 53"/>
                <a:gd name="T86" fmla="*/ 40 w 85"/>
                <a:gd name="T87" fmla="*/ 51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53">
                  <a:moveTo>
                    <a:pt x="52" y="53"/>
                  </a:moveTo>
                  <a:cubicBezTo>
                    <a:pt x="51" y="53"/>
                    <a:pt x="51" y="53"/>
                    <a:pt x="50" y="52"/>
                  </a:cubicBezTo>
                  <a:cubicBezTo>
                    <a:pt x="49" y="52"/>
                    <a:pt x="45" y="52"/>
                    <a:pt x="40" y="52"/>
                  </a:cubicBezTo>
                  <a:cubicBezTo>
                    <a:pt x="39" y="52"/>
                    <a:pt x="39" y="52"/>
                    <a:pt x="39" y="52"/>
                  </a:cubicBezTo>
                  <a:cubicBezTo>
                    <a:pt x="39" y="51"/>
                    <a:pt x="39" y="51"/>
                    <a:pt x="39" y="51"/>
                  </a:cubicBezTo>
                  <a:cubicBezTo>
                    <a:pt x="39" y="48"/>
                    <a:pt x="30" y="45"/>
                    <a:pt x="28" y="45"/>
                  </a:cubicBezTo>
                  <a:cubicBezTo>
                    <a:pt x="28" y="45"/>
                    <a:pt x="28" y="45"/>
                    <a:pt x="28" y="45"/>
                  </a:cubicBezTo>
                  <a:cubicBezTo>
                    <a:pt x="27" y="44"/>
                    <a:pt x="27" y="41"/>
                    <a:pt x="27" y="37"/>
                  </a:cubicBezTo>
                  <a:cubicBezTo>
                    <a:pt x="28" y="36"/>
                    <a:pt x="28" y="35"/>
                    <a:pt x="28" y="34"/>
                  </a:cubicBezTo>
                  <a:cubicBezTo>
                    <a:pt x="28" y="32"/>
                    <a:pt x="23" y="30"/>
                    <a:pt x="21" y="30"/>
                  </a:cubicBezTo>
                  <a:cubicBezTo>
                    <a:pt x="21" y="30"/>
                    <a:pt x="21" y="30"/>
                    <a:pt x="20" y="30"/>
                  </a:cubicBezTo>
                  <a:cubicBezTo>
                    <a:pt x="19" y="30"/>
                    <a:pt x="19" y="30"/>
                    <a:pt x="19" y="30"/>
                  </a:cubicBezTo>
                  <a:cubicBezTo>
                    <a:pt x="16" y="30"/>
                    <a:pt x="13" y="28"/>
                    <a:pt x="11" y="26"/>
                  </a:cubicBezTo>
                  <a:cubicBezTo>
                    <a:pt x="11" y="26"/>
                    <a:pt x="10" y="25"/>
                    <a:pt x="8" y="25"/>
                  </a:cubicBezTo>
                  <a:cubicBezTo>
                    <a:pt x="7" y="25"/>
                    <a:pt x="5" y="25"/>
                    <a:pt x="4" y="26"/>
                  </a:cubicBezTo>
                  <a:cubicBezTo>
                    <a:pt x="3" y="26"/>
                    <a:pt x="3" y="26"/>
                    <a:pt x="3" y="26"/>
                  </a:cubicBezTo>
                  <a:cubicBezTo>
                    <a:pt x="3" y="26"/>
                    <a:pt x="3" y="26"/>
                    <a:pt x="3" y="26"/>
                  </a:cubicBezTo>
                  <a:cubicBezTo>
                    <a:pt x="2" y="25"/>
                    <a:pt x="2" y="25"/>
                    <a:pt x="2" y="25"/>
                  </a:cubicBezTo>
                  <a:cubicBezTo>
                    <a:pt x="1" y="25"/>
                    <a:pt x="0" y="24"/>
                    <a:pt x="0" y="24"/>
                  </a:cubicBezTo>
                  <a:cubicBezTo>
                    <a:pt x="0" y="23"/>
                    <a:pt x="0" y="22"/>
                    <a:pt x="2" y="21"/>
                  </a:cubicBezTo>
                  <a:cubicBezTo>
                    <a:pt x="5" y="17"/>
                    <a:pt x="6" y="11"/>
                    <a:pt x="3" y="6"/>
                  </a:cubicBezTo>
                  <a:cubicBezTo>
                    <a:pt x="3" y="5"/>
                    <a:pt x="3" y="5"/>
                    <a:pt x="3" y="5"/>
                  </a:cubicBezTo>
                  <a:cubicBezTo>
                    <a:pt x="3" y="5"/>
                    <a:pt x="3" y="5"/>
                    <a:pt x="3" y="5"/>
                  </a:cubicBezTo>
                  <a:cubicBezTo>
                    <a:pt x="9" y="4"/>
                    <a:pt x="12" y="3"/>
                    <a:pt x="15" y="2"/>
                  </a:cubicBezTo>
                  <a:cubicBezTo>
                    <a:pt x="16" y="1"/>
                    <a:pt x="18" y="0"/>
                    <a:pt x="21" y="0"/>
                  </a:cubicBezTo>
                  <a:cubicBezTo>
                    <a:pt x="25" y="0"/>
                    <a:pt x="28" y="1"/>
                    <a:pt x="31" y="1"/>
                  </a:cubicBezTo>
                  <a:cubicBezTo>
                    <a:pt x="33" y="2"/>
                    <a:pt x="35" y="2"/>
                    <a:pt x="36" y="2"/>
                  </a:cubicBezTo>
                  <a:cubicBezTo>
                    <a:pt x="37" y="2"/>
                    <a:pt x="39" y="2"/>
                    <a:pt x="40" y="2"/>
                  </a:cubicBezTo>
                  <a:cubicBezTo>
                    <a:pt x="43" y="2"/>
                    <a:pt x="45" y="3"/>
                    <a:pt x="48" y="3"/>
                  </a:cubicBezTo>
                  <a:cubicBezTo>
                    <a:pt x="51" y="3"/>
                    <a:pt x="53" y="2"/>
                    <a:pt x="54" y="2"/>
                  </a:cubicBezTo>
                  <a:cubicBezTo>
                    <a:pt x="55" y="2"/>
                    <a:pt x="56" y="1"/>
                    <a:pt x="56" y="1"/>
                  </a:cubicBezTo>
                  <a:cubicBezTo>
                    <a:pt x="58" y="1"/>
                    <a:pt x="59" y="3"/>
                    <a:pt x="60" y="4"/>
                  </a:cubicBezTo>
                  <a:cubicBezTo>
                    <a:pt x="61" y="5"/>
                    <a:pt x="62" y="5"/>
                    <a:pt x="63" y="5"/>
                  </a:cubicBezTo>
                  <a:cubicBezTo>
                    <a:pt x="67" y="4"/>
                    <a:pt x="75" y="11"/>
                    <a:pt x="77" y="13"/>
                  </a:cubicBezTo>
                  <a:cubicBezTo>
                    <a:pt x="79" y="14"/>
                    <a:pt x="81" y="15"/>
                    <a:pt x="84" y="17"/>
                  </a:cubicBezTo>
                  <a:cubicBezTo>
                    <a:pt x="85" y="17"/>
                    <a:pt x="85" y="17"/>
                    <a:pt x="85" y="17"/>
                  </a:cubicBezTo>
                  <a:cubicBezTo>
                    <a:pt x="84" y="18"/>
                    <a:pt x="84" y="18"/>
                    <a:pt x="84" y="18"/>
                  </a:cubicBezTo>
                  <a:cubicBezTo>
                    <a:pt x="84" y="19"/>
                    <a:pt x="83" y="21"/>
                    <a:pt x="83" y="22"/>
                  </a:cubicBezTo>
                  <a:cubicBezTo>
                    <a:pt x="84" y="24"/>
                    <a:pt x="84" y="26"/>
                    <a:pt x="83" y="28"/>
                  </a:cubicBezTo>
                  <a:cubicBezTo>
                    <a:pt x="83" y="28"/>
                    <a:pt x="82" y="28"/>
                    <a:pt x="81" y="28"/>
                  </a:cubicBezTo>
                  <a:cubicBezTo>
                    <a:pt x="80" y="28"/>
                    <a:pt x="80" y="29"/>
                    <a:pt x="79" y="30"/>
                  </a:cubicBezTo>
                  <a:cubicBezTo>
                    <a:pt x="79" y="31"/>
                    <a:pt x="78" y="32"/>
                    <a:pt x="77" y="32"/>
                  </a:cubicBezTo>
                  <a:cubicBezTo>
                    <a:pt x="74" y="33"/>
                    <a:pt x="70" y="37"/>
                    <a:pt x="70" y="39"/>
                  </a:cubicBezTo>
                  <a:cubicBezTo>
                    <a:pt x="70" y="39"/>
                    <a:pt x="70" y="40"/>
                    <a:pt x="69" y="41"/>
                  </a:cubicBezTo>
                  <a:cubicBezTo>
                    <a:pt x="69" y="43"/>
                    <a:pt x="69" y="46"/>
                    <a:pt x="67" y="46"/>
                  </a:cubicBezTo>
                  <a:cubicBezTo>
                    <a:pt x="65" y="46"/>
                    <a:pt x="60" y="47"/>
                    <a:pt x="58" y="49"/>
                  </a:cubicBezTo>
                  <a:cubicBezTo>
                    <a:pt x="56" y="51"/>
                    <a:pt x="55" y="53"/>
                    <a:pt x="52" y="53"/>
                  </a:cubicBezTo>
                  <a:close/>
                  <a:moveTo>
                    <a:pt x="40" y="51"/>
                  </a:moveTo>
                  <a:cubicBezTo>
                    <a:pt x="44" y="51"/>
                    <a:pt x="49" y="51"/>
                    <a:pt x="50" y="51"/>
                  </a:cubicBezTo>
                  <a:cubicBezTo>
                    <a:pt x="51" y="52"/>
                    <a:pt x="51" y="52"/>
                    <a:pt x="52" y="52"/>
                  </a:cubicBezTo>
                  <a:cubicBezTo>
                    <a:pt x="54" y="52"/>
                    <a:pt x="56" y="50"/>
                    <a:pt x="57" y="48"/>
                  </a:cubicBezTo>
                  <a:cubicBezTo>
                    <a:pt x="59" y="46"/>
                    <a:pt x="66" y="45"/>
                    <a:pt x="67" y="45"/>
                  </a:cubicBezTo>
                  <a:cubicBezTo>
                    <a:pt x="68" y="45"/>
                    <a:pt x="68" y="42"/>
                    <a:pt x="68" y="40"/>
                  </a:cubicBezTo>
                  <a:cubicBezTo>
                    <a:pt x="69" y="40"/>
                    <a:pt x="69" y="39"/>
                    <a:pt x="69" y="39"/>
                  </a:cubicBezTo>
                  <a:cubicBezTo>
                    <a:pt x="69" y="36"/>
                    <a:pt x="74" y="32"/>
                    <a:pt x="76" y="31"/>
                  </a:cubicBezTo>
                  <a:cubicBezTo>
                    <a:pt x="77" y="31"/>
                    <a:pt x="78" y="30"/>
                    <a:pt x="78" y="29"/>
                  </a:cubicBezTo>
                  <a:cubicBezTo>
                    <a:pt x="79" y="28"/>
                    <a:pt x="80" y="27"/>
                    <a:pt x="81" y="27"/>
                  </a:cubicBezTo>
                  <a:cubicBezTo>
                    <a:pt x="82" y="27"/>
                    <a:pt x="82" y="27"/>
                    <a:pt x="82" y="27"/>
                  </a:cubicBezTo>
                  <a:cubicBezTo>
                    <a:pt x="83" y="26"/>
                    <a:pt x="83" y="25"/>
                    <a:pt x="82" y="22"/>
                  </a:cubicBezTo>
                  <a:cubicBezTo>
                    <a:pt x="82" y="21"/>
                    <a:pt x="83" y="19"/>
                    <a:pt x="83" y="18"/>
                  </a:cubicBezTo>
                  <a:cubicBezTo>
                    <a:pt x="83" y="18"/>
                    <a:pt x="83" y="18"/>
                    <a:pt x="83" y="18"/>
                  </a:cubicBezTo>
                  <a:cubicBezTo>
                    <a:pt x="81" y="16"/>
                    <a:pt x="78" y="15"/>
                    <a:pt x="76" y="13"/>
                  </a:cubicBezTo>
                  <a:cubicBezTo>
                    <a:pt x="72" y="10"/>
                    <a:pt x="66" y="6"/>
                    <a:pt x="63" y="6"/>
                  </a:cubicBezTo>
                  <a:cubicBezTo>
                    <a:pt x="61" y="7"/>
                    <a:pt x="60" y="5"/>
                    <a:pt x="59" y="4"/>
                  </a:cubicBezTo>
                  <a:cubicBezTo>
                    <a:pt x="59" y="3"/>
                    <a:pt x="58" y="2"/>
                    <a:pt x="56" y="2"/>
                  </a:cubicBezTo>
                  <a:cubicBezTo>
                    <a:pt x="56" y="2"/>
                    <a:pt x="55" y="3"/>
                    <a:pt x="54" y="3"/>
                  </a:cubicBezTo>
                  <a:cubicBezTo>
                    <a:pt x="53" y="3"/>
                    <a:pt x="51" y="4"/>
                    <a:pt x="48" y="4"/>
                  </a:cubicBezTo>
                  <a:cubicBezTo>
                    <a:pt x="45" y="4"/>
                    <a:pt x="43" y="3"/>
                    <a:pt x="40" y="3"/>
                  </a:cubicBezTo>
                  <a:cubicBezTo>
                    <a:pt x="39" y="3"/>
                    <a:pt x="37" y="3"/>
                    <a:pt x="36" y="3"/>
                  </a:cubicBezTo>
                  <a:cubicBezTo>
                    <a:pt x="35" y="3"/>
                    <a:pt x="33" y="3"/>
                    <a:pt x="31" y="2"/>
                  </a:cubicBezTo>
                  <a:cubicBezTo>
                    <a:pt x="28" y="2"/>
                    <a:pt x="25" y="1"/>
                    <a:pt x="21" y="1"/>
                  </a:cubicBezTo>
                  <a:cubicBezTo>
                    <a:pt x="19" y="1"/>
                    <a:pt x="16" y="2"/>
                    <a:pt x="15" y="3"/>
                  </a:cubicBezTo>
                  <a:cubicBezTo>
                    <a:pt x="13" y="4"/>
                    <a:pt x="9" y="5"/>
                    <a:pt x="4" y="6"/>
                  </a:cubicBezTo>
                  <a:cubicBezTo>
                    <a:pt x="7" y="11"/>
                    <a:pt x="6" y="17"/>
                    <a:pt x="2" y="22"/>
                  </a:cubicBezTo>
                  <a:cubicBezTo>
                    <a:pt x="1" y="22"/>
                    <a:pt x="1" y="23"/>
                    <a:pt x="1" y="23"/>
                  </a:cubicBezTo>
                  <a:cubicBezTo>
                    <a:pt x="1" y="24"/>
                    <a:pt x="2" y="24"/>
                    <a:pt x="2" y="25"/>
                  </a:cubicBezTo>
                  <a:cubicBezTo>
                    <a:pt x="3" y="25"/>
                    <a:pt x="3" y="25"/>
                    <a:pt x="3" y="25"/>
                  </a:cubicBezTo>
                  <a:cubicBezTo>
                    <a:pt x="3" y="25"/>
                    <a:pt x="3" y="25"/>
                    <a:pt x="4" y="25"/>
                  </a:cubicBezTo>
                  <a:cubicBezTo>
                    <a:pt x="5" y="24"/>
                    <a:pt x="7" y="24"/>
                    <a:pt x="8" y="24"/>
                  </a:cubicBezTo>
                  <a:cubicBezTo>
                    <a:pt x="9" y="24"/>
                    <a:pt x="11" y="24"/>
                    <a:pt x="12" y="26"/>
                  </a:cubicBezTo>
                  <a:cubicBezTo>
                    <a:pt x="13" y="27"/>
                    <a:pt x="17" y="29"/>
                    <a:pt x="19" y="29"/>
                  </a:cubicBezTo>
                  <a:cubicBezTo>
                    <a:pt x="20" y="29"/>
                    <a:pt x="20" y="29"/>
                    <a:pt x="20" y="29"/>
                  </a:cubicBezTo>
                  <a:cubicBezTo>
                    <a:pt x="21" y="29"/>
                    <a:pt x="21" y="29"/>
                    <a:pt x="21" y="29"/>
                  </a:cubicBezTo>
                  <a:cubicBezTo>
                    <a:pt x="24" y="29"/>
                    <a:pt x="29" y="32"/>
                    <a:pt x="29" y="34"/>
                  </a:cubicBezTo>
                  <a:cubicBezTo>
                    <a:pt x="29" y="35"/>
                    <a:pt x="29" y="36"/>
                    <a:pt x="28" y="38"/>
                  </a:cubicBezTo>
                  <a:cubicBezTo>
                    <a:pt x="28" y="39"/>
                    <a:pt x="28" y="43"/>
                    <a:pt x="28" y="44"/>
                  </a:cubicBezTo>
                  <a:cubicBezTo>
                    <a:pt x="28" y="44"/>
                    <a:pt x="28" y="44"/>
                    <a:pt x="28" y="44"/>
                  </a:cubicBezTo>
                  <a:cubicBezTo>
                    <a:pt x="30" y="44"/>
                    <a:pt x="39" y="47"/>
                    <a:pt x="40" y="5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0" name="Freeform 87"/>
            <p:cNvSpPr>
              <a:spLocks noEditPoints="1"/>
            </p:cNvSpPr>
            <p:nvPr/>
          </p:nvSpPr>
          <p:spPr>
            <a:xfrm>
              <a:off x="4935539" y="2522538"/>
              <a:ext cx="112713" cy="58738"/>
            </a:xfrm>
            <a:custGeom>
              <a:gdLst>
                <a:gd name="T0" fmla="*/ 13 w 67"/>
                <a:gd name="T1" fmla="*/ 34 h 35"/>
                <a:gd name="T2" fmla="*/ 13 w 67"/>
                <a:gd name="T3" fmla="*/ 34 h 35"/>
                <a:gd name="T4" fmla="*/ 12 w 67"/>
                <a:gd name="T5" fmla="*/ 30 h 35"/>
                <a:gd name="T6" fmla="*/ 8 w 67"/>
                <a:gd name="T7" fmla="*/ 25 h 35"/>
                <a:gd name="T8" fmla="*/ 2 w 67"/>
                <a:gd name="T9" fmla="*/ 29 h 35"/>
                <a:gd name="T10" fmla="*/ 2 w 67"/>
                <a:gd name="T11" fmla="*/ 22 h 35"/>
                <a:gd name="T12" fmla="*/ 11 w 67"/>
                <a:gd name="T13" fmla="*/ 10 h 35"/>
                <a:gd name="T14" fmla="*/ 21 w 67"/>
                <a:gd name="T15" fmla="*/ 2 h 35"/>
                <a:gd name="T16" fmla="*/ 21 w 67"/>
                <a:gd name="T17" fmla="*/ 1 h 35"/>
                <a:gd name="T18" fmla="*/ 33 w 67"/>
                <a:gd name="T19" fmla="*/ 1 h 35"/>
                <a:gd name="T20" fmla="*/ 43 w 67"/>
                <a:gd name="T21" fmla="*/ 0 h 35"/>
                <a:gd name="T22" fmla="*/ 52 w 67"/>
                <a:gd name="T23" fmla="*/ 4 h 35"/>
                <a:gd name="T24" fmla="*/ 52 w 67"/>
                <a:gd name="T25" fmla="*/ 10 h 35"/>
                <a:gd name="T26" fmla="*/ 54 w 67"/>
                <a:gd name="T27" fmla="*/ 13 h 35"/>
                <a:gd name="T28" fmla="*/ 67 w 67"/>
                <a:gd name="T29" fmla="*/ 15 h 35"/>
                <a:gd name="T30" fmla="*/ 64 w 67"/>
                <a:gd name="T31" fmla="*/ 18 h 35"/>
                <a:gd name="T32" fmla="*/ 60 w 67"/>
                <a:gd name="T33" fmla="*/ 22 h 35"/>
                <a:gd name="T34" fmla="*/ 58 w 67"/>
                <a:gd name="T35" fmla="*/ 23 h 35"/>
                <a:gd name="T36" fmla="*/ 50 w 67"/>
                <a:gd name="T37" fmla="*/ 26 h 35"/>
                <a:gd name="T38" fmla="*/ 46 w 67"/>
                <a:gd name="T39" fmla="*/ 28 h 35"/>
                <a:gd name="T40" fmla="*/ 41 w 67"/>
                <a:gd name="T41" fmla="*/ 34 h 35"/>
                <a:gd name="T42" fmla="*/ 33 w 67"/>
                <a:gd name="T43" fmla="*/ 24 h 35"/>
                <a:gd name="T44" fmla="*/ 26 w 67"/>
                <a:gd name="T45" fmla="*/ 34 h 35"/>
                <a:gd name="T46" fmla="*/ 8 w 67"/>
                <a:gd name="T47" fmla="*/ 24 h 35"/>
                <a:gd name="T48" fmla="*/ 13 w 67"/>
                <a:gd name="T49" fmla="*/ 30 h 35"/>
                <a:gd name="T50" fmla="*/ 26 w 67"/>
                <a:gd name="T51" fmla="*/ 33 h 35"/>
                <a:gd name="T52" fmla="*/ 33 w 67"/>
                <a:gd name="T53" fmla="*/ 23 h 35"/>
                <a:gd name="T54" fmla="*/ 37 w 67"/>
                <a:gd name="T55" fmla="*/ 27 h 35"/>
                <a:gd name="T56" fmla="*/ 43 w 67"/>
                <a:gd name="T57" fmla="*/ 34 h 35"/>
                <a:gd name="T58" fmla="*/ 50 w 67"/>
                <a:gd name="T59" fmla="*/ 25 h 35"/>
                <a:gd name="T60" fmla="*/ 57 w 67"/>
                <a:gd name="T61" fmla="*/ 23 h 35"/>
                <a:gd name="T62" fmla="*/ 60 w 67"/>
                <a:gd name="T63" fmla="*/ 21 h 35"/>
                <a:gd name="T64" fmla="*/ 63 w 67"/>
                <a:gd name="T65" fmla="*/ 18 h 35"/>
                <a:gd name="T66" fmla="*/ 66 w 67"/>
                <a:gd name="T67" fmla="*/ 16 h 35"/>
                <a:gd name="T68" fmla="*/ 53 w 67"/>
                <a:gd name="T69" fmla="*/ 14 h 35"/>
                <a:gd name="T70" fmla="*/ 51 w 67"/>
                <a:gd name="T71" fmla="*/ 10 h 35"/>
                <a:gd name="T72" fmla="*/ 43 w 67"/>
                <a:gd name="T73" fmla="*/ 1 h 35"/>
                <a:gd name="T74" fmla="*/ 34 w 67"/>
                <a:gd name="T75" fmla="*/ 2 h 35"/>
                <a:gd name="T76" fmla="*/ 21 w 67"/>
                <a:gd name="T77" fmla="*/ 2 h 35"/>
                <a:gd name="T78" fmla="*/ 12 w 67"/>
                <a:gd name="T79" fmla="*/ 10 h 35"/>
                <a:gd name="T80" fmla="*/ 3 w 67"/>
                <a:gd name="T81" fmla="*/ 22 h 35"/>
                <a:gd name="T82" fmla="*/ 2 w 67"/>
                <a:gd name="T83" fmla="*/ 28 h 35"/>
                <a:gd name="T84" fmla="*/ 8 w 67"/>
                <a:gd name="T85" fmla="*/ 24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35">
                  <a:moveTo>
                    <a:pt x="13" y="35"/>
                  </a:moveTo>
                  <a:cubicBezTo>
                    <a:pt x="13" y="34"/>
                    <a:pt x="13" y="34"/>
                    <a:pt x="13" y="34"/>
                  </a:cubicBezTo>
                  <a:cubicBezTo>
                    <a:pt x="13" y="35"/>
                    <a:pt x="13" y="35"/>
                    <a:pt x="13" y="35"/>
                  </a:cubicBezTo>
                  <a:cubicBezTo>
                    <a:pt x="13" y="34"/>
                    <a:pt x="13" y="34"/>
                    <a:pt x="13" y="34"/>
                  </a:cubicBezTo>
                  <a:cubicBezTo>
                    <a:pt x="13" y="34"/>
                    <a:pt x="13" y="34"/>
                    <a:pt x="13" y="34"/>
                  </a:cubicBezTo>
                  <a:cubicBezTo>
                    <a:pt x="14" y="32"/>
                    <a:pt x="13" y="31"/>
                    <a:pt x="12" y="30"/>
                  </a:cubicBezTo>
                  <a:cubicBezTo>
                    <a:pt x="11" y="30"/>
                    <a:pt x="10" y="29"/>
                    <a:pt x="10" y="27"/>
                  </a:cubicBezTo>
                  <a:cubicBezTo>
                    <a:pt x="10" y="26"/>
                    <a:pt x="9" y="25"/>
                    <a:pt x="8" y="25"/>
                  </a:cubicBezTo>
                  <a:cubicBezTo>
                    <a:pt x="7" y="25"/>
                    <a:pt x="6" y="26"/>
                    <a:pt x="5" y="27"/>
                  </a:cubicBezTo>
                  <a:cubicBezTo>
                    <a:pt x="4" y="28"/>
                    <a:pt x="3" y="29"/>
                    <a:pt x="2" y="29"/>
                  </a:cubicBezTo>
                  <a:cubicBezTo>
                    <a:pt x="2" y="29"/>
                    <a:pt x="1" y="29"/>
                    <a:pt x="1" y="28"/>
                  </a:cubicBezTo>
                  <a:cubicBezTo>
                    <a:pt x="0" y="27"/>
                    <a:pt x="1" y="23"/>
                    <a:pt x="2" y="22"/>
                  </a:cubicBezTo>
                  <a:cubicBezTo>
                    <a:pt x="3" y="18"/>
                    <a:pt x="6" y="16"/>
                    <a:pt x="8" y="14"/>
                  </a:cubicBezTo>
                  <a:cubicBezTo>
                    <a:pt x="10" y="13"/>
                    <a:pt x="11" y="11"/>
                    <a:pt x="11" y="10"/>
                  </a:cubicBezTo>
                  <a:cubicBezTo>
                    <a:pt x="12" y="6"/>
                    <a:pt x="16" y="3"/>
                    <a:pt x="19" y="3"/>
                  </a:cubicBezTo>
                  <a:cubicBezTo>
                    <a:pt x="20" y="3"/>
                    <a:pt x="20" y="3"/>
                    <a:pt x="21" y="2"/>
                  </a:cubicBezTo>
                  <a:cubicBezTo>
                    <a:pt x="21" y="1"/>
                    <a:pt x="21" y="1"/>
                    <a:pt x="21" y="1"/>
                  </a:cubicBezTo>
                  <a:cubicBezTo>
                    <a:pt x="21" y="1"/>
                    <a:pt x="21" y="1"/>
                    <a:pt x="21" y="1"/>
                  </a:cubicBezTo>
                  <a:cubicBezTo>
                    <a:pt x="24" y="2"/>
                    <a:pt x="26" y="2"/>
                    <a:pt x="28" y="2"/>
                  </a:cubicBezTo>
                  <a:cubicBezTo>
                    <a:pt x="31" y="2"/>
                    <a:pt x="33" y="1"/>
                    <a:pt x="33" y="1"/>
                  </a:cubicBezTo>
                  <a:cubicBezTo>
                    <a:pt x="35" y="0"/>
                    <a:pt x="37" y="0"/>
                    <a:pt x="38" y="0"/>
                  </a:cubicBezTo>
                  <a:cubicBezTo>
                    <a:pt x="40" y="0"/>
                    <a:pt x="41" y="0"/>
                    <a:pt x="43" y="0"/>
                  </a:cubicBezTo>
                  <a:cubicBezTo>
                    <a:pt x="46" y="1"/>
                    <a:pt x="50" y="3"/>
                    <a:pt x="52" y="4"/>
                  </a:cubicBezTo>
                  <a:cubicBezTo>
                    <a:pt x="52" y="4"/>
                    <a:pt x="52" y="4"/>
                    <a:pt x="52" y="4"/>
                  </a:cubicBezTo>
                  <a:cubicBezTo>
                    <a:pt x="52" y="5"/>
                    <a:pt x="52" y="5"/>
                    <a:pt x="52" y="5"/>
                  </a:cubicBezTo>
                  <a:cubicBezTo>
                    <a:pt x="52" y="6"/>
                    <a:pt x="52" y="8"/>
                    <a:pt x="52" y="10"/>
                  </a:cubicBezTo>
                  <a:cubicBezTo>
                    <a:pt x="52" y="11"/>
                    <a:pt x="52" y="11"/>
                    <a:pt x="52" y="11"/>
                  </a:cubicBezTo>
                  <a:cubicBezTo>
                    <a:pt x="52" y="11"/>
                    <a:pt x="53" y="12"/>
                    <a:pt x="54" y="13"/>
                  </a:cubicBezTo>
                  <a:cubicBezTo>
                    <a:pt x="56" y="14"/>
                    <a:pt x="58" y="15"/>
                    <a:pt x="59" y="14"/>
                  </a:cubicBezTo>
                  <a:cubicBezTo>
                    <a:pt x="61" y="13"/>
                    <a:pt x="64" y="14"/>
                    <a:pt x="67" y="15"/>
                  </a:cubicBezTo>
                  <a:cubicBezTo>
                    <a:pt x="67" y="15"/>
                    <a:pt x="67" y="15"/>
                    <a:pt x="67" y="15"/>
                  </a:cubicBezTo>
                  <a:cubicBezTo>
                    <a:pt x="64" y="18"/>
                    <a:pt x="64" y="18"/>
                    <a:pt x="64" y="18"/>
                  </a:cubicBezTo>
                  <a:cubicBezTo>
                    <a:pt x="64" y="19"/>
                    <a:pt x="63" y="22"/>
                    <a:pt x="61" y="22"/>
                  </a:cubicBezTo>
                  <a:cubicBezTo>
                    <a:pt x="61" y="22"/>
                    <a:pt x="61" y="22"/>
                    <a:pt x="60" y="22"/>
                  </a:cubicBezTo>
                  <a:cubicBezTo>
                    <a:pt x="59" y="22"/>
                    <a:pt x="59" y="22"/>
                    <a:pt x="59" y="22"/>
                  </a:cubicBezTo>
                  <a:cubicBezTo>
                    <a:pt x="58" y="22"/>
                    <a:pt x="58" y="22"/>
                    <a:pt x="58" y="23"/>
                  </a:cubicBezTo>
                  <a:cubicBezTo>
                    <a:pt x="58" y="25"/>
                    <a:pt x="57" y="26"/>
                    <a:pt x="54" y="26"/>
                  </a:cubicBezTo>
                  <a:cubicBezTo>
                    <a:pt x="52" y="26"/>
                    <a:pt x="51" y="26"/>
                    <a:pt x="50" y="26"/>
                  </a:cubicBezTo>
                  <a:cubicBezTo>
                    <a:pt x="50" y="25"/>
                    <a:pt x="49" y="25"/>
                    <a:pt x="49" y="25"/>
                  </a:cubicBezTo>
                  <a:cubicBezTo>
                    <a:pt x="48" y="25"/>
                    <a:pt x="46" y="26"/>
                    <a:pt x="46" y="28"/>
                  </a:cubicBezTo>
                  <a:cubicBezTo>
                    <a:pt x="46" y="31"/>
                    <a:pt x="45" y="35"/>
                    <a:pt x="43" y="35"/>
                  </a:cubicBezTo>
                  <a:cubicBezTo>
                    <a:pt x="42" y="35"/>
                    <a:pt x="42" y="34"/>
                    <a:pt x="41" y="34"/>
                  </a:cubicBezTo>
                  <a:cubicBezTo>
                    <a:pt x="39" y="32"/>
                    <a:pt x="38" y="30"/>
                    <a:pt x="36" y="28"/>
                  </a:cubicBezTo>
                  <a:cubicBezTo>
                    <a:pt x="35" y="26"/>
                    <a:pt x="34" y="24"/>
                    <a:pt x="33" y="24"/>
                  </a:cubicBezTo>
                  <a:cubicBezTo>
                    <a:pt x="33" y="24"/>
                    <a:pt x="32" y="25"/>
                    <a:pt x="32" y="27"/>
                  </a:cubicBezTo>
                  <a:cubicBezTo>
                    <a:pt x="30" y="30"/>
                    <a:pt x="28" y="34"/>
                    <a:pt x="26" y="34"/>
                  </a:cubicBezTo>
                  <a:cubicBezTo>
                    <a:pt x="24" y="34"/>
                    <a:pt x="18" y="35"/>
                    <a:pt x="13" y="35"/>
                  </a:cubicBezTo>
                  <a:close/>
                  <a:moveTo>
                    <a:pt x="8" y="24"/>
                  </a:moveTo>
                  <a:cubicBezTo>
                    <a:pt x="10" y="24"/>
                    <a:pt x="11" y="25"/>
                    <a:pt x="11" y="27"/>
                  </a:cubicBezTo>
                  <a:cubicBezTo>
                    <a:pt x="11" y="28"/>
                    <a:pt x="12" y="29"/>
                    <a:pt x="13" y="30"/>
                  </a:cubicBezTo>
                  <a:cubicBezTo>
                    <a:pt x="13" y="31"/>
                    <a:pt x="15" y="32"/>
                    <a:pt x="14" y="34"/>
                  </a:cubicBezTo>
                  <a:cubicBezTo>
                    <a:pt x="17" y="34"/>
                    <a:pt x="24" y="33"/>
                    <a:pt x="26" y="33"/>
                  </a:cubicBezTo>
                  <a:cubicBezTo>
                    <a:pt x="27" y="33"/>
                    <a:pt x="29" y="29"/>
                    <a:pt x="31" y="26"/>
                  </a:cubicBezTo>
                  <a:cubicBezTo>
                    <a:pt x="32" y="24"/>
                    <a:pt x="32" y="23"/>
                    <a:pt x="33" y="23"/>
                  </a:cubicBezTo>
                  <a:cubicBezTo>
                    <a:pt x="33" y="23"/>
                    <a:pt x="33" y="23"/>
                    <a:pt x="33" y="23"/>
                  </a:cubicBezTo>
                  <a:cubicBezTo>
                    <a:pt x="34" y="23"/>
                    <a:pt x="35" y="24"/>
                    <a:pt x="37" y="27"/>
                  </a:cubicBezTo>
                  <a:cubicBezTo>
                    <a:pt x="38" y="29"/>
                    <a:pt x="40" y="31"/>
                    <a:pt x="42" y="33"/>
                  </a:cubicBezTo>
                  <a:cubicBezTo>
                    <a:pt x="43" y="34"/>
                    <a:pt x="43" y="34"/>
                    <a:pt x="43" y="34"/>
                  </a:cubicBezTo>
                  <a:cubicBezTo>
                    <a:pt x="44" y="34"/>
                    <a:pt x="45" y="31"/>
                    <a:pt x="45" y="28"/>
                  </a:cubicBezTo>
                  <a:cubicBezTo>
                    <a:pt x="45" y="25"/>
                    <a:pt x="48" y="24"/>
                    <a:pt x="50" y="25"/>
                  </a:cubicBezTo>
                  <a:cubicBezTo>
                    <a:pt x="51" y="25"/>
                    <a:pt x="53" y="25"/>
                    <a:pt x="54" y="25"/>
                  </a:cubicBezTo>
                  <a:cubicBezTo>
                    <a:pt x="57" y="25"/>
                    <a:pt x="57" y="24"/>
                    <a:pt x="57" y="23"/>
                  </a:cubicBezTo>
                  <a:cubicBezTo>
                    <a:pt x="57" y="22"/>
                    <a:pt x="57" y="21"/>
                    <a:pt x="59" y="21"/>
                  </a:cubicBezTo>
                  <a:cubicBezTo>
                    <a:pt x="60" y="21"/>
                    <a:pt x="60" y="21"/>
                    <a:pt x="60" y="21"/>
                  </a:cubicBezTo>
                  <a:cubicBezTo>
                    <a:pt x="61" y="21"/>
                    <a:pt x="61" y="21"/>
                    <a:pt x="61" y="21"/>
                  </a:cubicBezTo>
                  <a:cubicBezTo>
                    <a:pt x="62" y="21"/>
                    <a:pt x="63" y="19"/>
                    <a:pt x="63" y="18"/>
                  </a:cubicBezTo>
                  <a:cubicBezTo>
                    <a:pt x="63" y="18"/>
                    <a:pt x="63" y="18"/>
                    <a:pt x="63" y="18"/>
                  </a:cubicBezTo>
                  <a:cubicBezTo>
                    <a:pt x="66" y="16"/>
                    <a:pt x="66" y="16"/>
                    <a:pt x="66" y="16"/>
                  </a:cubicBezTo>
                  <a:cubicBezTo>
                    <a:pt x="63" y="15"/>
                    <a:pt x="61" y="14"/>
                    <a:pt x="59" y="15"/>
                  </a:cubicBezTo>
                  <a:cubicBezTo>
                    <a:pt x="58" y="16"/>
                    <a:pt x="56" y="15"/>
                    <a:pt x="53" y="14"/>
                  </a:cubicBezTo>
                  <a:cubicBezTo>
                    <a:pt x="52" y="13"/>
                    <a:pt x="51" y="12"/>
                    <a:pt x="51" y="11"/>
                  </a:cubicBezTo>
                  <a:cubicBezTo>
                    <a:pt x="51" y="10"/>
                    <a:pt x="51" y="10"/>
                    <a:pt x="51" y="10"/>
                  </a:cubicBezTo>
                  <a:cubicBezTo>
                    <a:pt x="51" y="8"/>
                    <a:pt x="51" y="6"/>
                    <a:pt x="51" y="5"/>
                  </a:cubicBezTo>
                  <a:cubicBezTo>
                    <a:pt x="49" y="4"/>
                    <a:pt x="46" y="2"/>
                    <a:pt x="43" y="1"/>
                  </a:cubicBezTo>
                  <a:cubicBezTo>
                    <a:pt x="41" y="1"/>
                    <a:pt x="40" y="1"/>
                    <a:pt x="38" y="1"/>
                  </a:cubicBezTo>
                  <a:cubicBezTo>
                    <a:pt x="37" y="1"/>
                    <a:pt x="36" y="1"/>
                    <a:pt x="34" y="2"/>
                  </a:cubicBezTo>
                  <a:cubicBezTo>
                    <a:pt x="33" y="2"/>
                    <a:pt x="31" y="3"/>
                    <a:pt x="28" y="3"/>
                  </a:cubicBezTo>
                  <a:cubicBezTo>
                    <a:pt x="26" y="3"/>
                    <a:pt x="24" y="3"/>
                    <a:pt x="21" y="2"/>
                  </a:cubicBezTo>
                  <a:cubicBezTo>
                    <a:pt x="21" y="3"/>
                    <a:pt x="21" y="4"/>
                    <a:pt x="19" y="4"/>
                  </a:cubicBezTo>
                  <a:cubicBezTo>
                    <a:pt x="17" y="4"/>
                    <a:pt x="13" y="7"/>
                    <a:pt x="12" y="10"/>
                  </a:cubicBezTo>
                  <a:cubicBezTo>
                    <a:pt x="12" y="12"/>
                    <a:pt x="10" y="13"/>
                    <a:pt x="9" y="15"/>
                  </a:cubicBezTo>
                  <a:cubicBezTo>
                    <a:pt x="6" y="17"/>
                    <a:pt x="4" y="19"/>
                    <a:pt x="3" y="22"/>
                  </a:cubicBezTo>
                  <a:cubicBezTo>
                    <a:pt x="2" y="26"/>
                    <a:pt x="2" y="27"/>
                    <a:pt x="2" y="28"/>
                  </a:cubicBezTo>
                  <a:cubicBezTo>
                    <a:pt x="2" y="28"/>
                    <a:pt x="2" y="28"/>
                    <a:pt x="2" y="28"/>
                  </a:cubicBezTo>
                  <a:cubicBezTo>
                    <a:pt x="2" y="28"/>
                    <a:pt x="3" y="28"/>
                    <a:pt x="4" y="26"/>
                  </a:cubicBezTo>
                  <a:cubicBezTo>
                    <a:pt x="5" y="25"/>
                    <a:pt x="7" y="24"/>
                    <a:pt x="8"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1" name="Freeform 88"/>
            <p:cNvSpPr>
              <a:spLocks noEditPoints="1"/>
            </p:cNvSpPr>
            <p:nvPr/>
          </p:nvSpPr>
          <p:spPr>
            <a:xfrm>
              <a:off x="4933951" y="2284413"/>
              <a:ext cx="222250" cy="250825"/>
            </a:xfrm>
            <a:custGeom>
              <a:gdLst>
                <a:gd name="T0" fmla="*/ 53 w 131"/>
                <a:gd name="T1" fmla="*/ 145 h 147"/>
                <a:gd name="T2" fmla="*/ 39 w 131"/>
                <a:gd name="T3" fmla="*/ 141 h 147"/>
                <a:gd name="T4" fmla="*/ 21 w 131"/>
                <a:gd name="T5" fmla="*/ 142 h 147"/>
                <a:gd name="T6" fmla="*/ 23 w 131"/>
                <a:gd name="T7" fmla="*/ 132 h 147"/>
                <a:gd name="T8" fmla="*/ 26 w 131"/>
                <a:gd name="T9" fmla="*/ 117 h 147"/>
                <a:gd name="T10" fmla="*/ 19 w 131"/>
                <a:gd name="T11" fmla="*/ 114 h 147"/>
                <a:gd name="T12" fmla="*/ 5 w 131"/>
                <a:gd name="T13" fmla="*/ 107 h 147"/>
                <a:gd name="T14" fmla="*/ 4 w 131"/>
                <a:gd name="T15" fmla="*/ 90 h 147"/>
                <a:gd name="T16" fmla="*/ 2 w 131"/>
                <a:gd name="T17" fmla="*/ 69 h 147"/>
                <a:gd name="T18" fmla="*/ 11 w 131"/>
                <a:gd name="T19" fmla="*/ 58 h 147"/>
                <a:gd name="T20" fmla="*/ 9 w 131"/>
                <a:gd name="T21" fmla="*/ 46 h 147"/>
                <a:gd name="T22" fmla="*/ 16 w 131"/>
                <a:gd name="T23" fmla="*/ 29 h 147"/>
                <a:gd name="T24" fmla="*/ 17 w 131"/>
                <a:gd name="T25" fmla="*/ 25 h 147"/>
                <a:gd name="T26" fmla="*/ 38 w 131"/>
                <a:gd name="T27" fmla="*/ 26 h 147"/>
                <a:gd name="T28" fmla="*/ 43 w 131"/>
                <a:gd name="T29" fmla="*/ 17 h 147"/>
                <a:gd name="T30" fmla="*/ 38 w 131"/>
                <a:gd name="T31" fmla="*/ 0 h 147"/>
                <a:gd name="T32" fmla="*/ 57 w 131"/>
                <a:gd name="T33" fmla="*/ 2 h 147"/>
                <a:gd name="T34" fmla="*/ 68 w 131"/>
                <a:gd name="T35" fmla="*/ 10 h 147"/>
                <a:gd name="T36" fmla="*/ 78 w 131"/>
                <a:gd name="T37" fmla="*/ 19 h 147"/>
                <a:gd name="T38" fmla="*/ 98 w 131"/>
                <a:gd name="T39" fmla="*/ 9 h 147"/>
                <a:gd name="T40" fmla="*/ 111 w 131"/>
                <a:gd name="T41" fmla="*/ 5 h 147"/>
                <a:gd name="T42" fmla="*/ 118 w 131"/>
                <a:gd name="T43" fmla="*/ 19 h 147"/>
                <a:gd name="T44" fmla="*/ 120 w 131"/>
                <a:gd name="T45" fmla="*/ 22 h 147"/>
                <a:gd name="T46" fmla="*/ 124 w 131"/>
                <a:gd name="T47" fmla="*/ 50 h 147"/>
                <a:gd name="T48" fmla="*/ 129 w 131"/>
                <a:gd name="T49" fmla="*/ 78 h 147"/>
                <a:gd name="T50" fmla="*/ 121 w 131"/>
                <a:gd name="T51" fmla="*/ 79 h 147"/>
                <a:gd name="T52" fmla="*/ 94 w 131"/>
                <a:gd name="T53" fmla="*/ 90 h 147"/>
                <a:gd name="T54" fmla="*/ 96 w 131"/>
                <a:gd name="T55" fmla="*/ 102 h 147"/>
                <a:gd name="T56" fmla="*/ 115 w 131"/>
                <a:gd name="T57" fmla="*/ 122 h 147"/>
                <a:gd name="T58" fmla="*/ 101 w 131"/>
                <a:gd name="T59" fmla="*/ 136 h 147"/>
                <a:gd name="T60" fmla="*/ 92 w 131"/>
                <a:gd name="T61" fmla="*/ 141 h 147"/>
                <a:gd name="T62" fmla="*/ 67 w 131"/>
                <a:gd name="T63" fmla="*/ 143 h 147"/>
                <a:gd name="T64" fmla="*/ 58 w 131"/>
                <a:gd name="T65" fmla="*/ 144 h 147"/>
                <a:gd name="T66" fmla="*/ 72 w 131"/>
                <a:gd name="T67" fmla="*/ 144 h 147"/>
                <a:gd name="T68" fmla="*/ 95 w 131"/>
                <a:gd name="T69" fmla="*/ 140 h 147"/>
                <a:gd name="T70" fmla="*/ 104 w 131"/>
                <a:gd name="T71" fmla="*/ 129 h 147"/>
                <a:gd name="T72" fmla="*/ 114 w 131"/>
                <a:gd name="T73" fmla="*/ 121 h 147"/>
                <a:gd name="T74" fmla="*/ 94 w 131"/>
                <a:gd name="T75" fmla="*/ 97 h 147"/>
                <a:gd name="T76" fmla="*/ 94 w 131"/>
                <a:gd name="T77" fmla="*/ 89 h 147"/>
                <a:gd name="T78" fmla="*/ 122 w 131"/>
                <a:gd name="T79" fmla="*/ 77 h 147"/>
                <a:gd name="T80" fmla="*/ 128 w 131"/>
                <a:gd name="T81" fmla="*/ 70 h 147"/>
                <a:gd name="T82" fmla="*/ 120 w 131"/>
                <a:gd name="T83" fmla="*/ 44 h 147"/>
                <a:gd name="T84" fmla="*/ 119 w 131"/>
                <a:gd name="T85" fmla="*/ 21 h 147"/>
                <a:gd name="T86" fmla="*/ 109 w 131"/>
                <a:gd name="T87" fmla="*/ 10 h 147"/>
                <a:gd name="T88" fmla="*/ 98 w 131"/>
                <a:gd name="T89" fmla="*/ 10 h 147"/>
                <a:gd name="T90" fmla="*/ 78 w 131"/>
                <a:gd name="T91" fmla="*/ 20 h 147"/>
                <a:gd name="T92" fmla="*/ 74 w 131"/>
                <a:gd name="T93" fmla="*/ 10 h 147"/>
                <a:gd name="T94" fmla="*/ 57 w 131"/>
                <a:gd name="T95" fmla="*/ 5 h 147"/>
                <a:gd name="T96" fmla="*/ 41 w 131"/>
                <a:gd name="T97" fmla="*/ 8 h 147"/>
                <a:gd name="T98" fmla="*/ 42 w 131"/>
                <a:gd name="T99" fmla="*/ 24 h 147"/>
                <a:gd name="T100" fmla="*/ 24 w 131"/>
                <a:gd name="T101" fmla="*/ 24 h 147"/>
                <a:gd name="T102" fmla="*/ 17 w 131"/>
                <a:gd name="T103" fmla="*/ 39 h 147"/>
                <a:gd name="T104" fmla="*/ 15 w 131"/>
                <a:gd name="T105" fmla="*/ 54 h 147"/>
                <a:gd name="T106" fmla="*/ 3 w 131"/>
                <a:gd name="T107" fmla="*/ 63 h 147"/>
                <a:gd name="T108" fmla="*/ 1 w 131"/>
                <a:gd name="T109" fmla="*/ 81 h 147"/>
                <a:gd name="T110" fmla="*/ 2 w 131"/>
                <a:gd name="T111" fmla="*/ 95 h 147"/>
                <a:gd name="T112" fmla="*/ 19 w 131"/>
                <a:gd name="T113" fmla="*/ 113 h 147"/>
                <a:gd name="T114" fmla="*/ 30 w 131"/>
                <a:gd name="T115" fmla="*/ 121 h 147"/>
                <a:gd name="T116" fmla="*/ 23 w 131"/>
                <a:gd name="T117" fmla="*/ 141 h 147"/>
                <a:gd name="T118" fmla="*/ 44 w 131"/>
                <a:gd name="T119" fmla="*/ 140 h 1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 h="147">
                  <a:moveTo>
                    <a:pt x="61" y="147"/>
                  </a:moveTo>
                  <a:cubicBezTo>
                    <a:pt x="60" y="147"/>
                    <a:pt x="59" y="146"/>
                    <a:pt x="58" y="145"/>
                  </a:cubicBezTo>
                  <a:cubicBezTo>
                    <a:pt x="57" y="144"/>
                    <a:pt x="55" y="143"/>
                    <a:pt x="54" y="144"/>
                  </a:cubicBezTo>
                  <a:cubicBezTo>
                    <a:pt x="54" y="144"/>
                    <a:pt x="54" y="144"/>
                    <a:pt x="53" y="145"/>
                  </a:cubicBezTo>
                  <a:cubicBezTo>
                    <a:pt x="53" y="145"/>
                    <a:pt x="53" y="145"/>
                    <a:pt x="53" y="145"/>
                  </a:cubicBezTo>
                  <a:cubicBezTo>
                    <a:pt x="53" y="145"/>
                    <a:pt x="53" y="145"/>
                    <a:pt x="53" y="145"/>
                  </a:cubicBezTo>
                  <a:cubicBezTo>
                    <a:pt x="50" y="144"/>
                    <a:pt x="47" y="142"/>
                    <a:pt x="44" y="141"/>
                  </a:cubicBezTo>
                  <a:cubicBezTo>
                    <a:pt x="42" y="141"/>
                    <a:pt x="41" y="141"/>
                    <a:pt x="39" y="141"/>
                  </a:cubicBezTo>
                  <a:cubicBezTo>
                    <a:pt x="38" y="141"/>
                    <a:pt x="37" y="141"/>
                    <a:pt x="35" y="142"/>
                  </a:cubicBezTo>
                  <a:cubicBezTo>
                    <a:pt x="34" y="142"/>
                    <a:pt x="32" y="143"/>
                    <a:pt x="29" y="143"/>
                  </a:cubicBezTo>
                  <a:cubicBezTo>
                    <a:pt x="27" y="143"/>
                    <a:pt x="25" y="143"/>
                    <a:pt x="22" y="142"/>
                  </a:cubicBezTo>
                  <a:cubicBezTo>
                    <a:pt x="21" y="142"/>
                    <a:pt x="21" y="142"/>
                    <a:pt x="21" y="142"/>
                  </a:cubicBezTo>
                  <a:cubicBezTo>
                    <a:pt x="22" y="142"/>
                    <a:pt x="22" y="142"/>
                    <a:pt x="22" y="142"/>
                  </a:cubicBezTo>
                  <a:cubicBezTo>
                    <a:pt x="22" y="141"/>
                    <a:pt x="22" y="139"/>
                    <a:pt x="22" y="137"/>
                  </a:cubicBezTo>
                  <a:cubicBezTo>
                    <a:pt x="22" y="136"/>
                    <a:pt x="23" y="134"/>
                    <a:pt x="23" y="133"/>
                  </a:cubicBezTo>
                  <a:cubicBezTo>
                    <a:pt x="23" y="132"/>
                    <a:pt x="23" y="132"/>
                    <a:pt x="23" y="132"/>
                  </a:cubicBezTo>
                  <a:cubicBezTo>
                    <a:pt x="24" y="128"/>
                    <a:pt x="25" y="124"/>
                    <a:pt x="29" y="121"/>
                  </a:cubicBezTo>
                  <a:cubicBezTo>
                    <a:pt x="30" y="120"/>
                    <a:pt x="31" y="119"/>
                    <a:pt x="30" y="118"/>
                  </a:cubicBezTo>
                  <a:cubicBezTo>
                    <a:pt x="30" y="117"/>
                    <a:pt x="28" y="117"/>
                    <a:pt x="27" y="117"/>
                  </a:cubicBezTo>
                  <a:cubicBezTo>
                    <a:pt x="27" y="117"/>
                    <a:pt x="27" y="117"/>
                    <a:pt x="26" y="117"/>
                  </a:cubicBezTo>
                  <a:cubicBezTo>
                    <a:pt x="26" y="117"/>
                    <a:pt x="26" y="117"/>
                    <a:pt x="26" y="117"/>
                  </a:cubicBezTo>
                  <a:cubicBezTo>
                    <a:pt x="26" y="117"/>
                    <a:pt x="26" y="117"/>
                    <a:pt x="26" y="117"/>
                  </a:cubicBezTo>
                  <a:cubicBezTo>
                    <a:pt x="25" y="117"/>
                    <a:pt x="24" y="116"/>
                    <a:pt x="23" y="116"/>
                  </a:cubicBezTo>
                  <a:cubicBezTo>
                    <a:pt x="22" y="115"/>
                    <a:pt x="21" y="114"/>
                    <a:pt x="19" y="114"/>
                  </a:cubicBezTo>
                  <a:cubicBezTo>
                    <a:pt x="15" y="114"/>
                    <a:pt x="11" y="112"/>
                    <a:pt x="9" y="109"/>
                  </a:cubicBezTo>
                  <a:cubicBezTo>
                    <a:pt x="8" y="109"/>
                    <a:pt x="8" y="108"/>
                    <a:pt x="6" y="108"/>
                  </a:cubicBezTo>
                  <a:cubicBezTo>
                    <a:pt x="5" y="108"/>
                    <a:pt x="5" y="108"/>
                    <a:pt x="5" y="108"/>
                  </a:cubicBezTo>
                  <a:cubicBezTo>
                    <a:pt x="5" y="107"/>
                    <a:pt x="5" y="107"/>
                    <a:pt x="5" y="107"/>
                  </a:cubicBezTo>
                  <a:cubicBezTo>
                    <a:pt x="5" y="101"/>
                    <a:pt x="3" y="99"/>
                    <a:pt x="2" y="97"/>
                  </a:cubicBezTo>
                  <a:cubicBezTo>
                    <a:pt x="1" y="96"/>
                    <a:pt x="1" y="96"/>
                    <a:pt x="1" y="96"/>
                  </a:cubicBezTo>
                  <a:cubicBezTo>
                    <a:pt x="0" y="94"/>
                    <a:pt x="1" y="93"/>
                    <a:pt x="2" y="92"/>
                  </a:cubicBezTo>
                  <a:cubicBezTo>
                    <a:pt x="3" y="91"/>
                    <a:pt x="4" y="91"/>
                    <a:pt x="4" y="90"/>
                  </a:cubicBezTo>
                  <a:cubicBezTo>
                    <a:pt x="4" y="89"/>
                    <a:pt x="3" y="87"/>
                    <a:pt x="2" y="86"/>
                  </a:cubicBezTo>
                  <a:cubicBezTo>
                    <a:pt x="1" y="84"/>
                    <a:pt x="0" y="82"/>
                    <a:pt x="0" y="81"/>
                  </a:cubicBezTo>
                  <a:cubicBezTo>
                    <a:pt x="0" y="80"/>
                    <a:pt x="0" y="79"/>
                    <a:pt x="0" y="77"/>
                  </a:cubicBezTo>
                  <a:cubicBezTo>
                    <a:pt x="1" y="75"/>
                    <a:pt x="1" y="71"/>
                    <a:pt x="2" y="69"/>
                  </a:cubicBezTo>
                  <a:cubicBezTo>
                    <a:pt x="2" y="68"/>
                    <a:pt x="2" y="66"/>
                    <a:pt x="2" y="65"/>
                  </a:cubicBezTo>
                  <a:cubicBezTo>
                    <a:pt x="2" y="64"/>
                    <a:pt x="2" y="63"/>
                    <a:pt x="2" y="62"/>
                  </a:cubicBezTo>
                  <a:cubicBezTo>
                    <a:pt x="3" y="62"/>
                    <a:pt x="3" y="62"/>
                    <a:pt x="3" y="62"/>
                  </a:cubicBezTo>
                  <a:cubicBezTo>
                    <a:pt x="6" y="62"/>
                    <a:pt x="11" y="61"/>
                    <a:pt x="11" y="58"/>
                  </a:cubicBezTo>
                  <a:cubicBezTo>
                    <a:pt x="11" y="56"/>
                    <a:pt x="11" y="55"/>
                    <a:pt x="12" y="55"/>
                  </a:cubicBezTo>
                  <a:cubicBezTo>
                    <a:pt x="13" y="54"/>
                    <a:pt x="13" y="54"/>
                    <a:pt x="14" y="53"/>
                  </a:cubicBezTo>
                  <a:cubicBezTo>
                    <a:pt x="15" y="52"/>
                    <a:pt x="12" y="49"/>
                    <a:pt x="10" y="48"/>
                  </a:cubicBezTo>
                  <a:cubicBezTo>
                    <a:pt x="10" y="47"/>
                    <a:pt x="9" y="47"/>
                    <a:pt x="9" y="46"/>
                  </a:cubicBezTo>
                  <a:cubicBezTo>
                    <a:pt x="9" y="46"/>
                    <a:pt x="9" y="46"/>
                    <a:pt x="9" y="45"/>
                  </a:cubicBezTo>
                  <a:cubicBezTo>
                    <a:pt x="9" y="45"/>
                    <a:pt x="10" y="44"/>
                    <a:pt x="11" y="44"/>
                  </a:cubicBezTo>
                  <a:cubicBezTo>
                    <a:pt x="12" y="43"/>
                    <a:pt x="15" y="42"/>
                    <a:pt x="16" y="39"/>
                  </a:cubicBezTo>
                  <a:cubicBezTo>
                    <a:pt x="17" y="38"/>
                    <a:pt x="18" y="35"/>
                    <a:pt x="16" y="29"/>
                  </a:cubicBezTo>
                  <a:cubicBezTo>
                    <a:pt x="16" y="29"/>
                    <a:pt x="16" y="29"/>
                    <a:pt x="16" y="29"/>
                  </a:cubicBezTo>
                  <a:cubicBezTo>
                    <a:pt x="16" y="29"/>
                    <a:pt x="16" y="29"/>
                    <a:pt x="16" y="29"/>
                  </a:cubicBezTo>
                  <a:cubicBezTo>
                    <a:pt x="16" y="28"/>
                    <a:pt x="16" y="27"/>
                    <a:pt x="16" y="26"/>
                  </a:cubicBezTo>
                  <a:cubicBezTo>
                    <a:pt x="16" y="26"/>
                    <a:pt x="16" y="25"/>
                    <a:pt x="17" y="25"/>
                  </a:cubicBezTo>
                  <a:cubicBezTo>
                    <a:pt x="18" y="24"/>
                    <a:pt x="21" y="23"/>
                    <a:pt x="24" y="23"/>
                  </a:cubicBezTo>
                  <a:cubicBezTo>
                    <a:pt x="25" y="23"/>
                    <a:pt x="27" y="23"/>
                    <a:pt x="28" y="24"/>
                  </a:cubicBezTo>
                  <a:cubicBezTo>
                    <a:pt x="29" y="25"/>
                    <a:pt x="34" y="27"/>
                    <a:pt x="37" y="27"/>
                  </a:cubicBezTo>
                  <a:cubicBezTo>
                    <a:pt x="38" y="27"/>
                    <a:pt x="38" y="26"/>
                    <a:pt x="38" y="26"/>
                  </a:cubicBezTo>
                  <a:cubicBezTo>
                    <a:pt x="38" y="24"/>
                    <a:pt x="40" y="24"/>
                    <a:pt x="42" y="23"/>
                  </a:cubicBezTo>
                  <a:cubicBezTo>
                    <a:pt x="43" y="23"/>
                    <a:pt x="44" y="23"/>
                    <a:pt x="45" y="22"/>
                  </a:cubicBezTo>
                  <a:cubicBezTo>
                    <a:pt x="45" y="22"/>
                    <a:pt x="45" y="21"/>
                    <a:pt x="44" y="20"/>
                  </a:cubicBezTo>
                  <a:cubicBezTo>
                    <a:pt x="44" y="19"/>
                    <a:pt x="43" y="18"/>
                    <a:pt x="43" y="17"/>
                  </a:cubicBezTo>
                  <a:cubicBezTo>
                    <a:pt x="41" y="13"/>
                    <a:pt x="39" y="11"/>
                    <a:pt x="40" y="7"/>
                  </a:cubicBezTo>
                  <a:cubicBezTo>
                    <a:pt x="41" y="6"/>
                    <a:pt x="40" y="4"/>
                    <a:pt x="38" y="1"/>
                  </a:cubicBezTo>
                  <a:cubicBezTo>
                    <a:pt x="37" y="0"/>
                    <a:pt x="37" y="0"/>
                    <a:pt x="37" y="0"/>
                  </a:cubicBezTo>
                  <a:cubicBezTo>
                    <a:pt x="38" y="0"/>
                    <a:pt x="38" y="0"/>
                    <a:pt x="38" y="0"/>
                  </a:cubicBezTo>
                  <a:cubicBezTo>
                    <a:pt x="45" y="0"/>
                    <a:pt x="50" y="1"/>
                    <a:pt x="52" y="2"/>
                  </a:cubicBezTo>
                  <a:cubicBezTo>
                    <a:pt x="53" y="2"/>
                    <a:pt x="54" y="2"/>
                    <a:pt x="57" y="1"/>
                  </a:cubicBezTo>
                  <a:cubicBezTo>
                    <a:pt x="57" y="1"/>
                    <a:pt x="57" y="1"/>
                    <a:pt x="57" y="1"/>
                  </a:cubicBezTo>
                  <a:cubicBezTo>
                    <a:pt x="57" y="2"/>
                    <a:pt x="57" y="2"/>
                    <a:pt x="57" y="2"/>
                  </a:cubicBezTo>
                  <a:cubicBezTo>
                    <a:pt x="58" y="3"/>
                    <a:pt x="59" y="4"/>
                    <a:pt x="58" y="5"/>
                  </a:cubicBezTo>
                  <a:cubicBezTo>
                    <a:pt x="58" y="7"/>
                    <a:pt x="59" y="8"/>
                    <a:pt x="59" y="8"/>
                  </a:cubicBezTo>
                  <a:cubicBezTo>
                    <a:pt x="60" y="10"/>
                    <a:pt x="63" y="11"/>
                    <a:pt x="65" y="11"/>
                  </a:cubicBezTo>
                  <a:cubicBezTo>
                    <a:pt x="66" y="11"/>
                    <a:pt x="67" y="10"/>
                    <a:pt x="68" y="10"/>
                  </a:cubicBezTo>
                  <a:cubicBezTo>
                    <a:pt x="73" y="8"/>
                    <a:pt x="75" y="8"/>
                    <a:pt x="76" y="9"/>
                  </a:cubicBezTo>
                  <a:cubicBezTo>
                    <a:pt x="76" y="10"/>
                    <a:pt x="76" y="11"/>
                    <a:pt x="74" y="13"/>
                  </a:cubicBezTo>
                  <a:cubicBezTo>
                    <a:pt x="73" y="15"/>
                    <a:pt x="73" y="16"/>
                    <a:pt x="74" y="17"/>
                  </a:cubicBezTo>
                  <a:cubicBezTo>
                    <a:pt x="74" y="19"/>
                    <a:pt x="76" y="19"/>
                    <a:pt x="78" y="19"/>
                  </a:cubicBezTo>
                  <a:cubicBezTo>
                    <a:pt x="79" y="19"/>
                    <a:pt x="80" y="19"/>
                    <a:pt x="81" y="18"/>
                  </a:cubicBezTo>
                  <a:cubicBezTo>
                    <a:pt x="82" y="17"/>
                    <a:pt x="83" y="16"/>
                    <a:pt x="84" y="15"/>
                  </a:cubicBezTo>
                  <a:cubicBezTo>
                    <a:pt x="88" y="12"/>
                    <a:pt x="92" y="8"/>
                    <a:pt x="96" y="8"/>
                  </a:cubicBezTo>
                  <a:cubicBezTo>
                    <a:pt x="97" y="8"/>
                    <a:pt x="97" y="8"/>
                    <a:pt x="98" y="9"/>
                  </a:cubicBezTo>
                  <a:cubicBezTo>
                    <a:pt x="99" y="9"/>
                    <a:pt x="99" y="9"/>
                    <a:pt x="99" y="9"/>
                  </a:cubicBezTo>
                  <a:cubicBezTo>
                    <a:pt x="101" y="9"/>
                    <a:pt x="103" y="8"/>
                    <a:pt x="105" y="6"/>
                  </a:cubicBezTo>
                  <a:cubicBezTo>
                    <a:pt x="107" y="5"/>
                    <a:pt x="108" y="5"/>
                    <a:pt x="109" y="5"/>
                  </a:cubicBezTo>
                  <a:cubicBezTo>
                    <a:pt x="110" y="5"/>
                    <a:pt x="111" y="5"/>
                    <a:pt x="111" y="5"/>
                  </a:cubicBezTo>
                  <a:cubicBezTo>
                    <a:pt x="112" y="7"/>
                    <a:pt x="111" y="9"/>
                    <a:pt x="109" y="11"/>
                  </a:cubicBezTo>
                  <a:cubicBezTo>
                    <a:pt x="109" y="12"/>
                    <a:pt x="108" y="13"/>
                    <a:pt x="108" y="13"/>
                  </a:cubicBezTo>
                  <a:cubicBezTo>
                    <a:pt x="108" y="13"/>
                    <a:pt x="108" y="14"/>
                    <a:pt x="109" y="14"/>
                  </a:cubicBezTo>
                  <a:cubicBezTo>
                    <a:pt x="115" y="14"/>
                    <a:pt x="118" y="15"/>
                    <a:pt x="118" y="19"/>
                  </a:cubicBezTo>
                  <a:cubicBezTo>
                    <a:pt x="119" y="19"/>
                    <a:pt x="119" y="20"/>
                    <a:pt x="119" y="20"/>
                  </a:cubicBezTo>
                  <a:cubicBezTo>
                    <a:pt x="120" y="20"/>
                    <a:pt x="120" y="20"/>
                    <a:pt x="120" y="20"/>
                  </a:cubicBezTo>
                  <a:cubicBezTo>
                    <a:pt x="120" y="21"/>
                    <a:pt x="120" y="21"/>
                    <a:pt x="120" y="21"/>
                  </a:cubicBezTo>
                  <a:cubicBezTo>
                    <a:pt x="120" y="22"/>
                    <a:pt x="120" y="22"/>
                    <a:pt x="120" y="22"/>
                  </a:cubicBezTo>
                  <a:cubicBezTo>
                    <a:pt x="121" y="25"/>
                    <a:pt x="122" y="34"/>
                    <a:pt x="119" y="38"/>
                  </a:cubicBezTo>
                  <a:cubicBezTo>
                    <a:pt x="118" y="39"/>
                    <a:pt x="118" y="40"/>
                    <a:pt x="118" y="41"/>
                  </a:cubicBezTo>
                  <a:cubicBezTo>
                    <a:pt x="118" y="42"/>
                    <a:pt x="119" y="42"/>
                    <a:pt x="120" y="43"/>
                  </a:cubicBezTo>
                  <a:cubicBezTo>
                    <a:pt x="123" y="44"/>
                    <a:pt x="124" y="48"/>
                    <a:pt x="124" y="50"/>
                  </a:cubicBezTo>
                  <a:cubicBezTo>
                    <a:pt x="124" y="51"/>
                    <a:pt x="124" y="52"/>
                    <a:pt x="124" y="53"/>
                  </a:cubicBezTo>
                  <a:cubicBezTo>
                    <a:pt x="125" y="54"/>
                    <a:pt x="125" y="55"/>
                    <a:pt x="126" y="58"/>
                  </a:cubicBezTo>
                  <a:cubicBezTo>
                    <a:pt x="126" y="63"/>
                    <a:pt x="127" y="67"/>
                    <a:pt x="129" y="69"/>
                  </a:cubicBezTo>
                  <a:cubicBezTo>
                    <a:pt x="131" y="72"/>
                    <a:pt x="130" y="76"/>
                    <a:pt x="129" y="78"/>
                  </a:cubicBezTo>
                  <a:cubicBezTo>
                    <a:pt x="128" y="79"/>
                    <a:pt x="128" y="79"/>
                    <a:pt x="127" y="79"/>
                  </a:cubicBezTo>
                  <a:cubicBezTo>
                    <a:pt x="126" y="79"/>
                    <a:pt x="125" y="79"/>
                    <a:pt x="125" y="79"/>
                  </a:cubicBezTo>
                  <a:cubicBezTo>
                    <a:pt x="124" y="78"/>
                    <a:pt x="123" y="78"/>
                    <a:pt x="122" y="78"/>
                  </a:cubicBezTo>
                  <a:cubicBezTo>
                    <a:pt x="122" y="78"/>
                    <a:pt x="121" y="78"/>
                    <a:pt x="121" y="79"/>
                  </a:cubicBezTo>
                  <a:cubicBezTo>
                    <a:pt x="120" y="79"/>
                    <a:pt x="118" y="80"/>
                    <a:pt x="116" y="81"/>
                  </a:cubicBezTo>
                  <a:cubicBezTo>
                    <a:pt x="114" y="81"/>
                    <a:pt x="111" y="82"/>
                    <a:pt x="109" y="84"/>
                  </a:cubicBezTo>
                  <a:cubicBezTo>
                    <a:pt x="105" y="87"/>
                    <a:pt x="98" y="89"/>
                    <a:pt x="94" y="90"/>
                  </a:cubicBezTo>
                  <a:cubicBezTo>
                    <a:pt x="94" y="90"/>
                    <a:pt x="94" y="90"/>
                    <a:pt x="94" y="90"/>
                  </a:cubicBezTo>
                  <a:cubicBezTo>
                    <a:pt x="93" y="90"/>
                    <a:pt x="92" y="90"/>
                    <a:pt x="92" y="91"/>
                  </a:cubicBezTo>
                  <a:cubicBezTo>
                    <a:pt x="92" y="92"/>
                    <a:pt x="93" y="94"/>
                    <a:pt x="94" y="95"/>
                  </a:cubicBezTo>
                  <a:cubicBezTo>
                    <a:pt x="94" y="96"/>
                    <a:pt x="94" y="96"/>
                    <a:pt x="95" y="97"/>
                  </a:cubicBezTo>
                  <a:cubicBezTo>
                    <a:pt x="95" y="98"/>
                    <a:pt x="96" y="100"/>
                    <a:pt x="96" y="102"/>
                  </a:cubicBezTo>
                  <a:cubicBezTo>
                    <a:pt x="97" y="104"/>
                    <a:pt x="98" y="108"/>
                    <a:pt x="99" y="109"/>
                  </a:cubicBezTo>
                  <a:cubicBezTo>
                    <a:pt x="100" y="110"/>
                    <a:pt x="101" y="110"/>
                    <a:pt x="102" y="111"/>
                  </a:cubicBezTo>
                  <a:cubicBezTo>
                    <a:pt x="108" y="115"/>
                    <a:pt x="114" y="119"/>
                    <a:pt x="115" y="121"/>
                  </a:cubicBezTo>
                  <a:cubicBezTo>
                    <a:pt x="115" y="121"/>
                    <a:pt x="115" y="121"/>
                    <a:pt x="115" y="122"/>
                  </a:cubicBezTo>
                  <a:cubicBezTo>
                    <a:pt x="115" y="123"/>
                    <a:pt x="113" y="123"/>
                    <a:pt x="111" y="124"/>
                  </a:cubicBezTo>
                  <a:cubicBezTo>
                    <a:pt x="109" y="125"/>
                    <a:pt x="107" y="126"/>
                    <a:pt x="107" y="127"/>
                  </a:cubicBezTo>
                  <a:cubicBezTo>
                    <a:pt x="106" y="129"/>
                    <a:pt x="105" y="129"/>
                    <a:pt x="104" y="130"/>
                  </a:cubicBezTo>
                  <a:cubicBezTo>
                    <a:pt x="102" y="131"/>
                    <a:pt x="100" y="131"/>
                    <a:pt x="101" y="136"/>
                  </a:cubicBezTo>
                  <a:cubicBezTo>
                    <a:pt x="102" y="139"/>
                    <a:pt x="102" y="140"/>
                    <a:pt x="101" y="141"/>
                  </a:cubicBezTo>
                  <a:cubicBezTo>
                    <a:pt x="100" y="142"/>
                    <a:pt x="100" y="142"/>
                    <a:pt x="99" y="142"/>
                  </a:cubicBezTo>
                  <a:cubicBezTo>
                    <a:pt x="97" y="142"/>
                    <a:pt x="96" y="141"/>
                    <a:pt x="95" y="141"/>
                  </a:cubicBezTo>
                  <a:cubicBezTo>
                    <a:pt x="94" y="141"/>
                    <a:pt x="94" y="141"/>
                    <a:pt x="92" y="141"/>
                  </a:cubicBezTo>
                  <a:cubicBezTo>
                    <a:pt x="88" y="141"/>
                    <a:pt x="82" y="142"/>
                    <a:pt x="80" y="144"/>
                  </a:cubicBezTo>
                  <a:cubicBezTo>
                    <a:pt x="79" y="145"/>
                    <a:pt x="77" y="146"/>
                    <a:pt x="76" y="146"/>
                  </a:cubicBezTo>
                  <a:cubicBezTo>
                    <a:pt x="74" y="146"/>
                    <a:pt x="73" y="145"/>
                    <a:pt x="71" y="144"/>
                  </a:cubicBezTo>
                  <a:cubicBezTo>
                    <a:pt x="70" y="144"/>
                    <a:pt x="69" y="143"/>
                    <a:pt x="67" y="143"/>
                  </a:cubicBezTo>
                  <a:cubicBezTo>
                    <a:pt x="66" y="143"/>
                    <a:pt x="64" y="144"/>
                    <a:pt x="63" y="146"/>
                  </a:cubicBezTo>
                  <a:cubicBezTo>
                    <a:pt x="63" y="146"/>
                    <a:pt x="62" y="147"/>
                    <a:pt x="61" y="147"/>
                  </a:cubicBezTo>
                  <a:close/>
                  <a:moveTo>
                    <a:pt x="55" y="142"/>
                  </a:moveTo>
                  <a:cubicBezTo>
                    <a:pt x="56" y="142"/>
                    <a:pt x="57" y="143"/>
                    <a:pt x="58" y="144"/>
                  </a:cubicBezTo>
                  <a:cubicBezTo>
                    <a:pt x="59" y="145"/>
                    <a:pt x="61" y="146"/>
                    <a:pt x="61" y="146"/>
                  </a:cubicBezTo>
                  <a:cubicBezTo>
                    <a:pt x="62" y="146"/>
                    <a:pt x="62" y="146"/>
                    <a:pt x="62" y="145"/>
                  </a:cubicBezTo>
                  <a:cubicBezTo>
                    <a:pt x="63" y="143"/>
                    <a:pt x="65" y="142"/>
                    <a:pt x="67" y="142"/>
                  </a:cubicBezTo>
                  <a:cubicBezTo>
                    <a:pt x="69" y="142"/>
                    <a:pt x="70" y="143"/>
                    <a:pt x="72" y="144"/>
                  </a:cubicBezTo>
                  <a:cubicBezTo>
                    <a:pt x="73" y="144"/>
                    <a:pt x="74" y="145"/>
                    <a:pt x="76" y="145"/>
                  </a:cubicBezTo>
                  <a:cubicBezTo>
                    <a:pt x="77" y="145"/>
                    <a:pt x="78" y="144"/>
                    <a:pt x="79" y="143"/>
                  </a:cubicBezTo>
                  <a:cubicBezTo>
                    <a:pt x="82" y="141"/>
                    <a:pt x="88" y="140"/>
                    <a:pt x="92" y="140"/>
                  </a:cubicBezTo>
                  <a:cubicBezTo>
                    <a:pt x="93" y="140"/>
                    <a:pt x="94" y="140"/>
                    <a:pt x="95" y="140"/>
                  </a:cubicBezTo>
                  <a:cubicBezTo>
                    <a:pt x="96" y="140"/>
                    <a:pt x="98" y="141"/>
                    <a:pt x="99" y="141"/>
                  </a:cubicBezTo>
                  <a:cubicBezTo>
                    <a:pt x="100" y="141"/>
                    <a:pt x="100" y="141"/>
                    <a:pt x="100" y="141"/>
                  </a:cubicBezTo>
                  <a:cubicBezTo>
                    <a:pt x="101" y="140"/>
                    <a:pt x="101" y="139"/>
                    <a:pt x="100" y="136"/>
                  </a:cubicBezTo>
                  <a:cubicBezTo>
                    <a:pt x="98" y="131"/>
                    <a:pt x="101" y="130"/>
                    <a:pt x="104" y="129"/>
                  </a:cubicBezTo>
                  <a:cubicBezTo>
                    <a:pt x="105" y="128"/>
                    <a:pt x="106" y="128"/>
                    <a:pt x="106" y="127"/>
                  </a:cubicBezTo>
                  <a:cubicBezTo>
                    <a:pt x="106" y="125"/>
                    <a:pt x="109" y="124"/>
                    <a:pt x="111" y="123"/>
                  </a:cubicBezTo>
                  <a:cubicBezTo>
                    <a:pt x="112" y="123"/>
                    <a:pt x="114" y="122"/>
                    <a:pt x="114" y="121"/>
                  </a:cubicBezTo>
                  <a:cubicBezTo>
                    <a:pt x="114" y="121"/>
                    <a:pt x="114" y="121"/>
                    <a:pt x="114" y="121"/>
                  </a:cubicBezTo>
                  <a:cubicBezTo>
                    <a:pt x="113" y="119"/>
                    <a:pt x="106" y="115"/>
                    <a:pt x="102" y="112"/>
                  </a:cubicBezTo>
                  <a:cubicBezTo>
                    <a:pt x="101" y="111"/>
                    <a:pt x="100" y="110"/>
                    <a:pt x="99" y="110"/>
                  </a:cubicBezTo>
                  <a:cubicBezTo>
                    <a:pt x="97" y="108"/>
                    <a:pt x="96" y="105"/>
                    <a:pt x="95" y="102"/>
                  </a:cubicBezTo>
                  <a:cubicBezTo>
                    <a:pt x="95" y="100"/>
                    <a:pt x="94" y="98"/>
                    <a:pt x="94" y="97"/>
                  </a:cubicBezTo>
                  <a:cubicBezTo>
                    <a:pt x="93" y="96"/>
                    <a:pt x="93" y="96"/>
                    <a:pt x="93" y="96"/>
                  </a:cubicBezTo>
                  <a:cubicBezTo>
                    <a:pt x="92" y="94"/>
                    <a:pt x="90" y="92"/>
                    <a:pt x="91" y="91"/>
                  </a:cubicBezTo>
                  <a:cubicBezTo>
                    <a:pt x="91" y="90"/>
                    <a:pt x="92" y="89"/>
                    <a:pt x="93" y="89"/>
                  </a:cubicBezTo>
                  <a:cubicBezTo>
                    <a:pt x="94" y="89"/>
                    <a:pt x="94" y="89"/>
                    <a:pt x="94" y="89"/>
                  </a:cubicBezTo>
                  <a:cubicBezTo>
                    <a:pt x="98" y="88"/>
                    <a:pt x="105" y="86"/>
                    <a:pt x="108" y="83"/>
                  </a:cubicBezTo>
                  <a:cubicBezTo>
                    <a:pt x="110" y="81"/>
                    <a:pt x="113" y="80"/>
                    <a:pt x="116" y="80"/>
                  </a:cubicBezTo>
                  <a:cubicBezTo>
                    <a:pt x="118" y="79"/>
                    <a:pt x="119" y="79"/>
                    <a:pt x="120" y="78"/>
                  </a:cubicBezTo>
                  <a:cubicBezTo>
                    <a:pt x="121" y="77"/>
                    <a:pt x="121" y="77"/>
                    <a:pt x="122" y="77"/>
                  </a:cubicBezTo>
                  <a:cubicBezTo>
                    <a:pt x="123" y="77"/>
                    <a:pt x="124" y="77"/>
                    <a:pt x="125" y="78"/>
                  </a:cubicBezTo>
                  <a:cubicBezTo>
                    <a:pt x="126" y="78"/>
                    <a:pt x="126" y="78"/>
                    <a:pt x="127" y="78"/>
                  </a:cubicBezTo>
                  <a:cubicBezTo>
                    <a:pt x="128" y="78"/>
                    <a:pt x="128" y="78"/>
                    <a:pt x="128" y="78"/>
                  </a:cubicBezTo>
                  <a:cubicBezTo>
                    <a:pt x="129" y="76"/>
                    <a:pt x="130" y="72"/>
                    <a:pt x="128" y="70"/>
                  </a:cubicBezTo>
                  <a:cubicBezTo>
                    <a:pt x="126" y="68"/>
                    <a:pt x="125" y="64"/>
                    <a:pt x="125" y="58"/>
                  </a:cubicBezTo>
                  <a:cubicBezTo>
                    <a:pt x="124" y="55"/>
                    <a:pt x="124" y="54"/>
                    <a:pt x="123" y="53"/>
                  </a:cubicBezTo>
                  <a:cubicBezTo>
                    <a:pt x="123" y="52"/>
                    <a:pt x="123" y="52"/>
                    <a:pt x="123" y="50"/>
                  </a:cubicBezTo>
                  <a:cubicBezTo>
                    <a:pt x="123" y="48"/>
                    <a:pt x="122" y="45"/>
                    <a:pt x="120" y="44"/>
                  </a:cubicBezTo>
                  <a:cubicBezTo>
                    <a:pt x="118" y="43"/>
                    <a:pt x="117" y="42"/>
                    <a:pt x="117" y="41"/>
                  </a:cubicBezTo>
                  <a:cubicBezTo>
                    <a:pt x="117" y="40"/>
                    <a:pt x="117" y="39"/>
                    <a:pt x="118" y="37"/>
                  </a:cubicBezTo>
                  <a:cubicBezTo>
                    <a:pt x="121" y="34"/>
                    <a:pt x="120" y="25"/>
                    <a:pt x="119" y="23"/>
                  </a:cubicBezTo>
                  <a:cubicBezTo>
                    <a:pt x="119" y="22"/>
                    <a:pt x="119" y="22"/>
                    <a:pt x="119" y="21"/>
                  </a:cubicBezTo>
                  <a:cubicBezTo>
                    <a:pt x="118" y="21"/>
                    <a:pt x="118" y="20"/>
                    <a:pt x="117" y="19"/>
                  </a:cubicBezTo>
                  <a:cubicBezTo>
                    <a:pt x="117" y="16"/>
                    <a:pt x="115" y="15"/>
                    <a:pt x="109" y="15"/>
                  </a:cubicBezTo>
                  <a:cubicBezTo>
                    <a:pt x="107" y="14"/>
                    <a:pt x="107" y="14"/>
                    <a:pt x="107" y="14"/>
                  </a:cubicBezTo>
                  <a:cubicBezTo>
                    <a:pt x="107" y="13"/>
                    <a:pt x="107" y="12"/>
                    <a:pt x="109" y="10"/>
                  </a:cubicBezTo>
                  <a:cubicBezTo>
                    <a:pt x="110" y="9"/>
                    <a:pt x="111" y="7"/>
                    <a:pt x="110" y="6"/>
                  </a:cubicBezTo>
                  <a:cubicBezTo>
                    <a:pt x="109" y="5"/>
                    <a:pt x="108" y="6"/>
                    <a:pt x="106" y="7"/>
                  </a:cubicBezTo>
                  <a:cubicBezTo>
                    <a:pt x="104" y="8"/>
                    <a:pt x="102" y="10"/>
                    <a:pt x="99" y="10"/>
                  </a:cubicBezTo>
                  <a:cubicBezTo>
                    <a:pt x="98" y="10"/>
                    <a:pt x="98" y="10"/>
                    <a:pt x="98" y="10"/>
                  </a:cubicBezTo>
                  <a:cubicBezTo>
                    <a:pt x="97" y="9"/>
                    <a:pt x="97" y="9"/>
                    <a:pt x="96" y="9"/>
                  </a:cubicBezTo>
                  <a:cubicBezTo>
                    <a:pt x="93" y="9"/>
                    <a:pt x="89" y="13"/>
                    <a:pt x="85" y="16"/>
                  </a:cubicBezTo>
                  <a:cubicBezTo>
                    <a:pt x="84" y="17"/>
                    <a:pt x="83" y="18"/>
                    <a:pt x="82" y="19"/>
                  </a:cubicBezTo>
                  <a:cubicBezTo>
                    <a:pt x="80" y="20"/>
                    <a:pt x="79" y="20"/>
                    <a:pt x="78" y="20"/>
                  </a:cubicBezTo>
                  <a:cubicBezTo>
                    <a:pt x="76" y="20"/>
                    <a:pt x="74" y="19"/>
                    <a:pt x="73" y="18"/>
                  </a:cubicBezTo>
                  <a:cubicBezTo>
                    <a:pt x="72" y="16"/>
                    <a:pt x="72" y="14"/>
                    <a:pt x="73" y="13"/>
                  </a:cubicBezTo>
                  <a:cubicBezTo>
                    <a:pt x="75" y="11"/>
                    <a:pt x="75" y="10"/>
                    <a:pt x="75" y="10"/>
                  </a:cubicBezTo>
                  <a:cubicBezTo>
                    <a:pt x="74" y="10"/>
                    <a:pt x="74" y="10"/>
                    <a:pt x="74" y="10"/>
                  </a:cubicBezTo>
                  <a:cubicBezTo>
                    <a:pt x="73" y="10"/>
                    <a:pt x="71" y="10"/>
                    <a:pt x="69" y="11"/>
                  </a:cubicBezTo>
                  <a:cubicBezTo>
                    <a:pt x="68" y="11"/>
                    <a:pt x="66" y="12"/>
                    <a:pt x="65" y="12"/>
                  </a:cubicBezTo>
                  <a:cubicBezTo>
                    <a:pt x="62" y="12"/>
                    <a:pt x="60" y="11"/>
                    <a:pt x="59" y="9"/>
                  </a:cubicBezTo>
                  <a:cubicBezTo>
                    <a:pt x="58" y="8"/>
                    <a:pt x="57" y="7"/>
                    <a:pt x="57" y="5"/>
                  </a:cubicBezTo>
                  <a:cubicBezTo>
                    <a:pt x="58" y="4"/>
                    <a:pt x="57" y="3"/>
                    <a:pt x="57" y="2"/>
                  </a:cubicBezTo>
                  <a:cubicBezTo>
                    <a:pt x="54" y="3"/>
                    <a:pt x="52" y="3"/>
                    <a:pt x="52" y="3"/>
                  </a:cubicBezTo>
                  <a:cubicBezTo>
                    <a:pt x="50" y="2"/>
                    <a:pt x="45" y="1"/>
                    <a:pt x="39" y="1"/>
                  </a:cubicBezTo>
                  <a:cubicBezTo>
                    <a:pt x="41" y="4"/>
                    <a:pt x="42" y="6"/>
                    <a:pt x="41" y="8"/>
                  </a:cubicBezTo>
                  <a:cubicBezTo>
                    <a:pt x="40" y="11"/>
                    <a:pt x="41" y="13"/>
                    <a:pt x="44" y="17"/>
                  </a:cubicBezTo>
                  <a:cubicBezTo>
                    <a:pt x="44" y="18"/>
                    <a:pt x="45" y="19"/>
                    <a:pt x="45" y="20"/>
                  </a:cubicBezTo>
                  <a:cubicBezTo>
                    <a:pt x="46" y="21"/>
                    <a:pt x="46" y="22"/>
                    <a:pt x="46" y="23"/>
                  </a:cubicBezTo>
                  <a:cubicBezTo>
                    <a:pt x="45" y="24"/>
                    <a:pt x="44" y="24"/>
                    <a:pt x="42" y="24"/>
                  </a:cubicBezTo>
                  <a:cubicBezTo>
                    <a:pt x="40" y="25"/>
                    <a:pt x="39" y="25"/>
                    <a:pt x="39" y="26"/>
                  </a:cubicBezTo>
                  <a:cubicBezTo>
                    <a:pt x="39" y="27"/>
                    <a:pt x="39" y="28"/>
                    <a:pt x="37" y="28"/>
                  </a:cubicBezTo>
                  <a:cubicBezTo>
                    <a:pt x="34" y="28"/>
                    <a:pt x="29" y="26"/>
                    <a:pt x="28" y="25"/>
                  </a:cubicBezTo>
                  <a:cubicBezTo>
                    <a:pt x="27" y="24"/>
                    <a:pt x="26" y="24"/>
                    <a:pt x="24" y="24"/>
                  </a:cubicBezTo>
                  <a:cubicBezTo>
                    <a:pt x="21" y="24"/>
                    <a:pt x="18" y="25"/>
                    <a:pt x="17" y="26"/>
                  </a:cubicBezTo>
                  <a:cubicBezTo>
                    <a:pt x="17" y="26"/>
                    <a:pt x="17" y="26"/>
                    <a:pt x="17" y="26"/>
                  </a:cubicBezTo>
                  <a:cubicBezTo>
                    <a:pt x="17" y="27"/>
                    <a:pt x="17" y="28"/>
                    <a:pt x="17" y="29"/>
                  </a:cubicBezTo>
                  <a:cubicBezTo>
                    <a:pt x="18" y="34"/>
                    <a:pt x="18" y="38"/>
                    <a:pt x="17" y="39"/>
                  </a:cubicBezTo>
                  <a:cubicBezTo>
                    <a:pt x="15" y="42"/>
                    <a:pt x="13" y="44"/>
                    <a:pt x="11" y="45"/>
                  </a:cubicBezTo>
                  <a:cubicBezTo>
                    <a:pt x="11" y="45"/>
                    <a:pt x="10" y="45"/>
                    <a:pt x="10" y="46"/>
                  </a:cubicBezTo>
                  <a:cubicBezTo>
                    <a:pt x="10" y="46"/>
                    <a:pt x="11" y="46"/>
                    <a:pt x="11" y="47"/>
                  </a:cubicBezTo>
                  <a:cubicBezTo>
                    <a:pt x="13" y="49"/>
                    <a:pt x="16" y="52"/>
                    <a:pt x="15" y="54"/>
                  </a:cubicBezTo>
                  <a:cubicBezTo>
                    <a:pt x="14" y="55"/>
                    <a:pt x="13" y="55"/>
                    <a:pt x="13" y="55"/>
                  </a:cubicBezTo>
                  <a:cubicBezTo>
                    <a:pt x="12" y="56"/>
                    <a:pt x="12" y="56"/>
                    <a:pt x="12" y="58"/>
                  </a:cubicBezTo>
                  <a:cubicBezTo>
                    <a:pt x="12" y="63"/>
                    <a:pt x="5" y="63"/>
                    <a:pt x="3" y="63"/>
                  </a:cubicBezTo>
                  <a:cubicBezTo>
                    <a:pt x="3" y="63"/>
                    <a:pt x="3" y="63"/>
                    <a:pt x="3" y="63"/>
                  </a:cubicBezTo>
                  <a:cubicBezTo>
                    <a:pt x="3" y="63"/>
                    <a:pt x="3" y="64"/>
                    <a:pt x="3" y="65"/>
                  </a:cubicBezTo>
                  <a:cubicBezTo>
                    <a:pt x="3" y="66"/>
                    <a:pt x="3" y="68"/>
                    <a:pt x="3" y="69"/>
                  </a:cubicBezTo>
                  <a:cubicBezTo>
                    <a:pt x="2" y="71"/>
                    <a:pt x="2" y="75"/>
                    <a:pt x="1" y="78"/>
                  </a:cubicBezTo>
                  <a:cubicBezTo>
                    <a:pt x="1" y="79"/>
                    <a:pt x="1" y="80"/>
                    <a:pt x="1" y="81"/>
                  </a:cubicBezTo>
                  <a:cubicBezTo>
                    <a:pt x="1" y="82"/>
                    <a:pt x="2" y="84"/>
                    <a:pt x="3" y="85"/>
                  </a:cubicBezTo>
                  <a:cubicBezTo>
                    <a:pt x="4" y="87"/>
                    <a:pt x="5" y="89"/>
                    <a:pt x="5" y="90"/>
                  </a:cubicBezTo>
                  <a:cubicBezTo>
                    <a:pt x="5" y="91"/>
                    <a:pt x="4" y="92"/>
                    <a:pt x="3" y="93"/>
                  </a:cubicBezTo>
                  <a:cubicBezTo>
                    <a:pt x="2" y="94"/>
                    <a:pt x="1" y="95"/>
                    <a:pt x="2" y="95"/>
                  </a:cubicBezTo>
                  <a:cubicBezTo>
                    <a:pt x="2" y="95"/>
                    <a:pt x="2" y="96"/>
                    <a:pt x="3" y="96"/>
                  </a:cubicBezTo>
                  <a:cubicBezTo>
                    <a:pt x="4" y="98"/>
                    <a:pt x="6" y="101"/>
                    <a:pt x="6" y="107"/>
                  </a:cubicBezTo>
                  <a:cubicBezTo>
                    <a:pt x="8" y="108"/>
                    <a:pt x="9" y="108"/>
                    <a:pt x="10" y="109"/>
                  </a:cubicBezTo>
                  <a:cubicBezTo>
                    <a:pt x="12" y="112"/>
                    <a:pt x="15" y="113"/>
                    <a:pt x="19" y="113"/>
                  </a:cubicBezTo>
                  <a:cubicBezTo>
                    <a:pt x="21" y="113"/>
                    <a:pt x="23" y="114"/>
                    <a:pt x="24" y="115"/>
                  </a:cubicBezTo>
                  <a:cubicBezTo>
                    <a:pt x="25" y="115"/>
                    <a:pt x="26" y="116"/>
                    <a:pt x="26" y="116"/>
                  </a:cubicBezTo>
                  <a:cubicBezTo>
                    <a:pt x="28" y="116"/>
                    <a:pt x="31" y="116"/>
                    <a:pt x="31" y="118"/>
                  </a:cubicBezTo>
                  <a:cubicBezTo>
                    <a:pt x="32" y="119"/>
                    <a:pt x="31" y="120"/>
                    <a:pt x="30" y="121"/>
                  </a:cubicBezTo>
                  <a:cubicBezTo>
                    <a:pt x="26" y="125"/>
                    <a:pt x="25" y="128"/>
                    <a:pt x="24" y="132"/>
                  </a:cubicBezTo>
                  <a:cubicBezTo>
                    <a:pt x="24" y="133"/>
                    <a:pt x="24" y="133"/>
                    <a:pt x="24" y="133"/>
                  </a:cubicBezTo>
                  <a:cubicBezTo>
                    <a:pt x="24" y="134"/>
                    <a:pt x="23" y="136"/>
                    <a:pt x="23" y="137"/>
                  </a:cubicBezTo>
                  <a:cubicBezTo>
                    <a:pt x="23" y="139"/>
                    <a:pt x="23" y="140"/>
                    <a:pt x="23" y="141"/>
                  </a:cubicBezTo>
                  <a:cubicBezTo>
                    <a:pt x="25" y="142"/>
                    <a:pt x="27" y="142"/>
                    <a:pt x="29" y="142"/>
                  </a:cubicBezTo>
                  <a:cubicBezTo>
                    <a:pt x="32" y="142"/>
                    <a:pt x="34" y="141"/>
                    <a:pt x="34" y="141"/>
                  </a:cubicBezTo>
                  <a:cubicBezTo>
                    <a:pt x="36" y="140"/>
                    <a:pt x="38" y="140"/>
                    <a:pt x="39" y="140"/>
                  </a:cubicBezTo>
                  <a:cubicBezTo>
                    <a:pt x="41" y="140"/>
                    <a:pt x="42" y="140"/>
                    <a:pt x="44" y="140"/>
                  </a:cubicBezTo>
                  <a:cubicBezTo>
                    <a:pt x="47" y="141"/>
                    <a:pt x="50" y="143"/>
                    <a:pt x="52" y="144"/>
                  </a:cubicBezTo>
                  <a:cubicBezTo>
                    <a:pt x="53" y="143"/>
                    <a:pt x="53" y="143"/>
                    <a:pt x="54" y="143"/>
                  </a:cubicBezTo>
                  <a:cubicBezTo>
                    <a:pt x="54" y="142"/>
                    <a:pt x="54" y="142"/>
                    <a:pt x="55" y="14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2" name="Freeform 89"/>
            <p:cNvSpPr>
              <a:spLocks noEditPoints="1"/>
            </p:cNvSpPr>
            <p:nvPr/>
          </p:nvSpPr>
          <p:spPr>
            <a:xfrm>
              <a:off x="5292726" y="1689100"/>
              <a:ext cx="261938" cy="411163"/>
            </a:xfrm>
            <a:custGeom>
              <a:gdLst>
                <a:gd name="T0" fmla="*/ 26 w 154"/>
                <a:gd name="T1" fmla="*/ 239 h 242"/>
                <a:gd name="T2" fmla="*/ 5 w 154"/>
                <a:gd name="T3" fmla="*/ 229 h 242"/>
                <a:gd name="T4" fmla="*/ 6 w 154"/>
                <a:gd name="T5" fmla="*/ 199 h 242"/>
                <a:gd name="T6" fmla="*/ 1 w 154"/>
                <a:gd name="T7" fmla="*/ 181 h 242"/>
                <a:gd name="T8" fmla="*/ 19 w 154"/>
                <a:gd name="T9" fmla="*/ 166 h 242"/>
                <a:gd name="T10" fmla="*/ 37 w 154"/>
                <a:gd name="T11" fmla="*/ 149 h 242"/>
                <a:gd name="T12" fmla="*/ 62 w 154"/>
                <a:gd name="T13" fmla="*/ 128 h 242"/>
                <a:gd name="T14" fmla="*/ 57 w 154"/>
                <a:gd name="T15" fmla="*/ 112 h 242"/>
                <a:gd name="T16" fmla="*/ 45 w 154"/>
                <a:gd name="T17" fmla="*/ 107 h 242"/>
                <a:gd name="T18" fmla="*/ 43 w 154"/>
                <a:gd name="T19" fmla="*/ 89 h 242"/>
                <a:gd name="T20" fmla="*/ 36 w 154"/>
                <a:gd name="T21" fmla="*/ 56 h 242"/>
                <a:gd name="T22" fmla="*/ 6 w 154"/>
                <a:gd name="T23" fmla="*/ 34 h 242"/>
                <a:gd name="T24" fmla="*/ 10 w 154"/>
                <a:gd name="T25" fmla="*/ 21 h 242"/>
                <a:gd name="T26" fmla="*/ 38 w 154"/>
                <a:gd name="T27" fmla="*/ 35 h 242"/>
                <a:gd name="T28" fmla="*/ 53 w 154"/>
                <a:gd name="T29" fmla="*/ 35 h 242"/>
                <a:gd name="T30" fmla="*/ 61 w 154"/>
                <a:gd name="T31" fmla="*/ 37 h 242"/>
                <a:gd name="T32" fmla="*/ 70 w 154"/>
                <a:gd name="T33" fmla="*/ 28 h 242"/>
                <a:gd name="T34" fmla="*/ 79 w 154"/>
                <a:gd name="T35" fmla="*/ 7 h 242"/>
                <a:gd name="T36" fmla="*/ 100 w 154"/>
                <a:gd name="T37" fmla="*/ 0 h 242"/>
                <a:gd name="T38" fmla="*/ 121 w 154"/>
                <a:gd name="T39" fmla="*/ 19 h 242"/>
                <a:gd name="T40" fmla="*/ 118 w 154"/>
                <a:gd name="T41" fmla="*/ 27 h 242"/>
                <a:gd name="T42" fmla="*/ 111 w 154"/>
                <a:gd name="T43" fmla="*/ 44 h 242"/>
                <a:gd name="T44" fmla="*/ 132 w 154"/>
                <a:gd name="T45" fmla="*/ 63 h 242"/>
                <a:gd name="T46" fmla="*/ 119 w 154"/>
                <a:gd name="T47" fmla="*/ 83 h 242"/>
                <a:gd name="T48" fmla="*/ 127 w 154"/>
                <a:gd name="T49" fmla="*/ 113 h 242"/>
                <a:gd name="T50" fmla="*/ 126 w 154"/>
                <a:gd name="T51" fmla="*/ 128 h 242"/>
                <a:gd name="T52" fmla="*/ 131 w 154"/>
                <a:gd name="T53" fmla="*/ 140 h 242"/>
                <a:gd name="T54" fmla="*/ 130 w 154"/>
                <a:gd name="T55" fmla="*/ 156 h 242"/>
                <a:gd name="T56" fmla="*/ 142 w 154"/>
                <a:gd name="T57" fmla="*/ 193 h 242"/>
                <a:gd name="T58" fmla="*/ 102 w 154"/>
                <a:gd name="T59" fmla="*/ 230 h 242"/>
                <a:gd name="T60" fmla="*/ 67 w 154"/>
                <a:gd name="T61" fmla="*/ 237 h 242"/>
                <a:gd name="T62" fmla="*/ 31 w 154"/>
                <a:gd name="T63" fmla="*/ 239 h 242"/>
                <a:gd name="T64" fmla="*/ 101 w 154"/>
                <a:gd name="T65" fmla="*/ 229 h 242"/>
                <a:gd name="T66" fmla="*/ 141 w 154"/>
                <a:gd name="T67" fmla="*/ 192 h 242"/>
                <a:gd name="T68" fmla="*/ 129 w 154"/>
                <a:gd name="T69" fmla="*/ 157 h 242"/>
                <a:gd name="T70" fmla="*/ 130 w 154"/>
                <a:gd name="T71" fmla="*/ 141 h 242"/>
                <a:gd name="T72" fmla="*/ 125 w 154"/>
                <a:gd name="T73" fmla="*/ 129 h 242"/>
                <a:gd name="T74" fmla="*/ 127 w 154"/>
                <a:gd name="T75" fmla="*/ 113 h 242"/>
                <a:gd name="T76" fmla="*/ 118 w 154"/>
                <a:gd name="T77" fmla="*/ 84 h 242"/>
                <a:gd name="T78" fmla="*/ 131 w 154"/>
                <a:gd name="T79" fmla="*/ 63 h 242"/>
                <a:gd name="T80" fmla="*/ 110 w 154"/>
                <a:gd name="T81" fmla="*/ 45 h 242"/>
                <a:gd name="T82" fmla="*/ 117 w 154"/>
                <a:gd name="T83" fmla="*/ 27 h 242"/>
                <a:gd name="T84" fmla="*/ 114 w 154"/>
                <a:gd name="T85" fmla="*/ 9 h 242"/>
                <a:gd name="T86" fmla="*/ 88 w 154"/>
                <a:gd name="T87" fmla="*/ 5 h 242"/>
                <a:gd name="T88" fmla="*/ 71 w 154"/>
                <a:gd name="T89" fmla="*/ 16 h 242"/>
                <a:gd name="T90" fmla="*/ 66 w 154"/>
                <a:gd name="T91" fmla="*/ 29 h 242"/>
                <a:gd name="T92" fmla="*/ 56 w 154"/>
                <a:gd name="T93" fmla="*/ 37 h 242"/>
                <a:gd name="T94" fmla="*/ 44 w 154"/>
                <a:gd name="T95" fmla="*/ 34 h 242"/>
                <a:gd name="T96" fmla="*/ 26 w 154"/>
                <a:gd name="T97" fmla="*/ 34 h 242"/>
                <a:gd name="T98" fmla="*/ 7 w 154"/>
                <a:gd name="T99" fmla="*/ 33 h 242"/>
                <a:gd name="T100" fmla="*/ 37 w 154"/>
                <a:gd name="T101" fmla="*/ 56 h 242"/>
                <a:gd name="T102" fmla="*/ 44 w 154"/>
                <a:gd name="T103" fmla="*/ 89 h 242"/>
                <a:gd name="T104" fmla="*/ 46 w 154"/>
                <a:gd name="T105" fmla="*/ 107 h 242"/>
                <a:gd name="T106" fmla="*/ 63 w 154"/>
                <a:gd name="T107" fmla="*/ 123 h 242"/>
                <a:gd name="T108" fmla="*/ 52 w 154"/>
                <a:gd name="T109" fmla="*/ 135 h 242"/>
                <a:gd name="T110" fmla="*/ 21 w 154"/>
                <a:gd name="T111" fmla="*/ 164 h 242"/>
                <a:gd name="T112" fmla="*/ 4 w 154"/>
                <a:gd name="T113" fmla="*/ 179 h 242"/>
                <a:gd name="T114" fmla="*/ 6 w 154"/>
                <a:gd name="T115" fmla="*/ 197 h 242"/>
                <a:gd name="T116" fmla="*/ 4 w 154"/>
                <a:gd name="T117" fmla="*/ 228 h 242"/>
                <a:gd name="T118" fmla="*/ 27 w 154"/>
                <a:gd name="T119" fmla="*/ 238 h 2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242">
                  <a:moveTo>
                    <a:pt x="42" y="242"/>
                  </a:moveTo>
                  <a:cubicBezTo>
                    <a:pt x="35" y="242"/>
                    <a:pt x="33" y="241"/>
                    <a:pt x="31" y="239"/>
                  </a:cubicBezTo>
                  <a:cubicBezTo>
                    <a:pt x="29" y="239"/>
                    <a:pt x="29" y="238"/>
                    <a:pt x="27" y="239"/>
                  </a:cubicBezTo>
                  <a:cubicBezTo>
                    <a:pt x="26" y="239"/>
                    <a:pt x="26" y="239"/>
                    <a:pt x="26" y="239"/>
                  </a:cubicBezTo>
                  <a:cubicBezTo>
                    <a:pt x="24" y="239"/>
                    <a:pt x="23" y="238"/>
                    <a:pt x="22" y="236"/>
                  </a:cubicBezTo>
                  <a:cubicBezTo>
                    <a:pt x="21" y="235"/>
                    <a:pt x="20" y="234"/>
                    <a:pt x="18" y="234"/>
                  </a:cubicBezTo>
                  <a:cubicBezTo>
                    <a:pt x="16" y="234"/>
                    <a:pt x="13" y="232"/>
                    <a:pt x="10" y="231"/>
                  </a:cubicBezTo>
                  <a:cubicBezTo>
                    <a:pt x="8" y="230"/>
                    <a:pt x="6" y="229"/>
                    <a:pt x="5" y="229"/>
                  </a:cubicBezTo>
                  <a:cubicBezTo>
                    <a:pt x="5" y="229"/>
                    <a:pt x="5" y="229"/>
                    <a:pt x="5" y="229"/>
                  </a:cubicBezTo>
                  <a:cubicBezTo>
                    <a:pt x="4" y="229"/>
                    <a:pt x="4" y="229"/>
                    <a:pt x="3" y="228"/>
                  </a:cubicBezTo>
                  <a:cubicBezTo>
                    <a:pt x="2" y="227"/>
                    <a:pt x="4" y="222"/>
                    <a:pt x="8" y="213"/>
                  </a:cubicBezTo>
                  <a:cubicBezTo>
                    <a:pt x="11" y="207"/>
                    <a:pt x="8" y="202"/>
                    <a:pt x="6" y="199"/>
                  </a:cubicBezTo>
                  <a:cubicBezTo>
                    <a:pt x="6" y="198"/>
                    <a:pt x="6" y="197"/>
                    <a:pt x="5" y="197"/>
                  </a:cubicBezTo>
                  <a:cubicBezTo>
                    <a:pt x="5" y="196"/>
                    <a:pt x="5" y="194"/>
                    <a:pt x="5" y="193"/>
                  </a:cubicBezTo>
                  <a:cubicBezTo>
                    <a:pt x="5" y="191"/>
                    <a:pt x="6" y="189"/>
                    <a:pt x="4" y="187"/>
                  </a:cubicBezTo>
                  <a:cubicBezTo>
                    <a:pt x="2" y="184"/>
                    <a:pt x="1" y="182"/>
                    <a:pt x="1" y="181"/>
                  </a:cubicBezTo>
                  <a:cubicBezTo>
                    <a:pt x="2" y="180"/>
                    <a:pt x="2" y="179"/>
                    <a:pt x="4" y="178"/>
                  </a:cubicBezTo>
                  <a:cubicBezTo>
                    <a:pt x="5" y="177"/>
                    <a:pt x="6" y="175"/>
                    <a:pt x="6" y="173"/>
                  </a:cubicBezTo>
                  <a:cubicBezTo>
                    <a:pt x="7" y="171"/>
                    <a:pt x="8" y="168"/>
                    <a:pt x="10" y="168"/>
                  </a:cubicBezTo>
                  <a:cubicBezTo>
                    <a:pt x="12" y="168"/>
                    <a:pt x="17" y="168"/>
                    <a:pt x="19" y="166"/>
                  </a:cubicBezTo>
                  <a:cubicBezTo>
                    <a:pt x="20" y="166"/>
                    <a:pt x="20" y="165"/>
                    <a:pt x="20" y="164"/>
                  </a:cubicBezTo>
                  <a:cubicBezTo>
                    <a:pt x="20" y="160"/>
                    <a:pt x="23" y="157"/>
                    <a:pt x="28" y="156"/>
                  </a:cubicBezTo>
                  <a:cubicBezTo>
                    <a:pt x="30" y="155"/>
                    <a:pt x="31" y="154"/>
                    <a:pt x="32" y="153"/>
                  </a:cubicBezTo>
                  <a:cubicBezTo>
                    <a:pt x="33" y="151"/>
                    <a:pt x="34" y="149"/>
                    <a:pt x="37" y="149"/>
                  </a:cubicBezTo>
                  <a:cubicBezTo>
                    <a:pt x="41" y="148"/>
                    <a:pt x="50" y="141"/>
                    <a:pt x="51" y="135"/>
                  </a:cubicBezTo>
                  <a:cubicBezTo>
                    <a:pt x="53" y="130"/>
                    <a:pt x="55" y="127"/>
                    <a:pt x="57" y="127"/>
                  </a:cubicBezTo>
                  <a:cubicBezTo>
                    <a:pt x="58" y="127"/>
                    <a:pt x="59" y="127"/>
                    <a:pt x="60" y="128"/>
                  </a:cubicBezTo>
                  <a:cubicBezTo>
                    <a:pt x="61" y="129"/>
                    <a:pt x="61" y="128"/>
                    <a:pt x="62" y="128"/>
                  </a:cubicBezTo>
                  <a:cubicBezTo>
                    <a:pt x="62" y="128"/>
                    <a:pt x="62" y="126"/>
                    <a:pt x="62" y="124"/>
                  </a:cubicBezTo>
                  <a:cubicBezTo>
                    <a:pt x="62" y="123"/>
                    <a:pt x="62" y="123"/>
                    <a:pt x="62" y="123"/>
                  </a:cubicBezTo>
                  <a:cubicBezTo>
                    <a:pt x="62" y="123"/>
                    <a:pt x="62" y="122"/>
                    <a:pt x="62" y="121"/>
                  </a:cubicBezTo>
                  <a:cubicBezTo>
                    <a:pt x="62" y="117"/>
                    <a:pt x="62" y="115"/>
                    <a:pt x="57" y="112"/>
                  </a:cubicBezTo>
                  <a:cubicBezTo>
                    <a:pt x="56" y="112"/>
                    <a:pt x="55" y="112"/>
                    <a:pt x="54" y="111"/>
                  </a:cubicBezTo>
                  <a:cubicBezTo>
                    <a:pt x="51" y="110"/>
                    <a:pt x="48" y="108"/>
                    <a:pt x="45" y="108"/>
                  </a:cubicBezTo>
                  <a:cubicBezTo>
                    <a:pt x="45" y="108"/>
                    <a:pt x="45" y="108"/>
                    <a:pt x="45" y="108"/>
                  </a:cubicBezTo>
                  <a:cubicBezTo>
                    <a:pt x="45" y="107"/>
                    <a:pt x="45" y="107"/>
                    <a:pt x="45" y="107"/>
                  </a:cubicBezTo>
                  <a:cubicBezTo>
                    <a:pt x="45" y="104"/>
                    <a:pt x="44" y="101"/>
                    <a:pt x="43" y="100"/>
                  </a:cubicBezTo>
                  <a:cubicBezTo>
                    <a:pt x="42" y="99"/>
                    <a:pt x="38" y="95"/>
                    <a:pt x="39" y="93"/>
                  </a:cubicBezTo>
                  <a:cubicBezTo>
                    <a:pt x="39" y="92"/>
                    <a:pt x="39" y="92"/>
                    <a:pt x="41" y="92"/>
                  </a:cubicBezTo>
                  <a:cubicBezTo>
                    <a:pt x="42" y="92"/>
                    <a:pt x="43" y="91"/>
                    <a:pt x="43" y="89"/>
                  </a:cubicBezTo>
                  <a:cubicBezTo>
                    <a:pt x="44" y="85"/>
                    <a:pt x="43" y="81"/>
                    <a:pt x="41" y="80"/>
                  </a:cubicBezTo>
                  <a:cubicBezTo>
                    <a:pt x="39" y="79"/>
                    <a:pt x="39" y="76"/>
                    <a:pt x="39" y="73"/>
                  </a:cubicBezTo>
                  <a:cubicBezTo>
                    <a:pt x="39" y="70"/>
                    <a:pt x="39" y="68"/>
                    <a:pt x="38" y="67"/>
                  </a:cubicBezTo>
                  <a:cubicBezTo>
                    <a:pt x="34" y="65"/>
                    <a:pt x="35" y="60"/>
                    <a:pt x="36" y="56"/>
                  </a:cubicBezTo>
                  <a:cubicBezTo>
                    <a:pt x="36" y="55"/>
                    <a:pt x="37" y="54"/>
                    <a:pt x="37" y="53"/>
                  </a:cubicBezTo>
                  <a:cubicBezTo>
                    <a:pt x="37" y="50"/>
                    <a:pt x="29" y="46"/>
                    <a:pt x="22" y="43"/>
                  </a:cubicBezTo>
                  <a:cubicBezTo>
                    <a:pt x="20" y="43"/>
                    <a:pt x="18" y="42"/>
                    <a:pt x="16" y="41"/>
                  </a:cubicBezTo>
                  <a:cubicBezTo>
                    <a:pt x="12" y="39"/>
                    <a:pt x="9" y="36"/>
                    <a:pt x="6" y="34"/>
                  </a:cubicBezTo>
                  <a:cubicBezTo>
                    <a:pt x="4" y="32"/>
                    <a:pt x="2" y="31"/>
                    <a:pt x="0" y="29"/>
                  </a:cubicBezTo>
                  <a:cubicBezTo>
                    <a:pt x="0" y="29"/>
                    <a:pt x="0" y="29"/>
                    <a:pt x="0" y="29"/>
                  </a:cubicBezTo>
                  <a:cubicBezTo>
                    <a:pt x="0" y="29"/>
                    <a:pt x="0" y="29"/>
                    <a:pt x="0" y="29"/>
                  </a:cubicBezTo>
                  <a:cubicBezTo>
                    <a:pt x="2" y="24"/>
                    <a:pt x="6" y="21"/>
                    <a:pt x="10" y="21"/>
                  </a:cubicBezTo>
                  <a:cubicBezTo>
                    <a:pt x="13" y="22"/>
                    <a:pt x="15" y="24"/>
                    <a:pt x="18" y="27"/>
                  </a:cubicBezTo>
                  <a:cubicBezTo>
                    <a:pt x="20" y="30"/>
                    <a:pt x="23" y="32"/>
                    <a:pt x="26" y="33"/>
                  </a:cubicBezTo>
                  <a:cubicBezTo>
                    <a:pt x="28" y="33"/>
                    <a:pt x="29" y="34"/>
                    <a:pt x="31" y="34"/>
                  </a:cubicBezTo>
                  <a:cubicBezTo>
                    <a:pt x="33" y="35"/>
                    <a:pt x="36" y="35"/>
                    <a:pt x="38" y="35"/>
                  </a:cubicBezTo>
                  <a:cubicBezTo>
                    <a:pt x="40" y="35"/>
                    <a:pt x="41" y="35"/>
                    <a:pt x="42" y="34"/>
                  </a:cubicBezTo>
                  <a:cubicBezTo>
                    <a:pt x="42" y="33"/>
                    <a:pt x="43" y="33"/>
                    <a:pt x="44" y="33"/>
                  </a:cubicBezTo>
                  <a:cubicBezTo>
                    <a:pt x="45" y="33"/>
                    <a:pt x="46" y="33"/>
                    <a:pt x="47" y="34"/>
                  </a:cubicBezTo>
                  <a:cubicBezTo>
                    <a:pt x="49" y="34"/>
                    <a:pt x="51" y="35"/>
                    <a:pt x="53" y="35"/>
                  </a:cubicBezTo>
                  <a:cubicBezTo>
                    <a:pt x="53" y="34"/>
                    <a:pt x="54" y="34"/>
                    <a:pt x="54" y="34"/>
                  </a:cubicBezTo>
                  <a:cubicBezTo>
                    <a:pt x="55" y="34"/>
                    <a:pt x="56" y="36"/>
                    <a:pt x="57" y="37"/>
                  </a:cubicBezTo>
                  <a:cubicBezTo>
                    <a:pt x="58" y="38"/>
                    <a:pt x="58" y="38"/>
                    <a:pt x="59" y="38"/>
                  </a:cubicBezTo>
                  <a:cubicBezTo>
                    <a:pt x="59" y="38"/>
                    <a:pt x="60" y="38"/>
                    <a:pt x="61" y="37"/>
                  </a:cubicBezTo>
                  <a:cubicBezTo>
                    <a:pt x="63" y="35"/>
                    <a:pt x="63" y="33"/>
                    <a:pt x="63" y="31"/>
                  </a:cubicBezTo>
                  <a:cubicBezTo>
                    <a:pt x="63" y="30"/>
                    <a:pt x="63" y="28"/>
                    <a:pt x="66" y="28"/>
                  </a:cubicBezTo>
                  <a:cubicBezTo>
                    <a:pt x="66" y="28"/>
                    <a:pt x="67" y="28"/>
                    <a:pt x="68" y="28"/>
                  </a:cubicBezTo>
                  <a:cubicBezTo>
                    <a:pt x="69" y="28"/>
                    <a:pt x="70" y="28"/>
                    <a:pt x="70" y="28"/>
                  </a:cubicBezTo>
                  <a:cubicBezTo>
                    <a:pt x="71" y="26"/>
                    <a:pt x="71" y="24"/>
                    <a:pt x="70" y="21"/>
                  </a:cubicBezTo>
                  <a:cubicBezTo>
                    <a:pt x="70" y="19"/>
                    <a:pt x="70" y="18"/>
                    <a:pt x="70" y="16"/>
                  </a:cubicBezTo>
                  <a:cubicBezTo>
                    <a:pt x="70" y="14"/>
                    <a:pt x="72" y="12"/>
                    <a:pt x="75" y="11"/>
                  </a:cubicBezTo>
                  <a:cubicBezTo>
                    <a:pt x="77" y="10"/>
                    <a:pt x="79" y="8"/>
                    <a:pt x="79" y="7"/>
                  </a:cubicBezTo>
                  <a:cubicBezTo>
                    <a:pt x="79" y="4"/>
                    <a:pt x="83" y="4"/>
                    <a:pt x="86" y="4"/>
                  </a:cubicBezTo>
                  <a:cubicBezTo>
                    <a:pt x="88" y="4"/>
                    <a:pt x="88" y="4"/>
                    <a:pt x="88" y="4"/>
                  </a:cubicBezTo>
                  <a:cubicBezTo>
                    <a:pt x="90" y="4"/>
                    <a:pt x="93" y="4"/>
                    <a:pt x="93" y="3"/>
                  </a:cubicBezTo>
                  <a:cubicBezTo>
                    <a:pt x="95" y="1"/>
                    <a:pt x="98" y="0"/>
                    <a:pt x="100" y="0"/>
                  </a:cubicBezTo>
                  <a:cubicBezTo>
                    <a:pt x="103" y="0"/>
                    <a:pt x="105" y="1"/>
                    <a:pt x="106" y="3"/>
                  </a:cubicBezTo>
                  <a:cubicBezTo>
                    <a:pt x="107" y="5"/>
                    <a:pt x="111" y="7"/>
                    <a:pt x="114" y="8"/>
                  </a:cubicBezTo>
                  <a:cubicBezTo>
                    <a:pt x="118" y="10"/>
                    <a:pt x="121" y="11"/>
                    <a:pt x="121" y="14"/>
                  </a:cubicBezTo>
                  <a:cubicBezTo>
                    <a:pt x="121" y="15"/>
                    <a:pt x="121" y="17"/>
                    <a:pt x="121" y="19"/>
                  </a:cubicBezTo>
                  <a:cubicBezTo>
                    <a:pt x="121" y="20"/>
                    <a:pt x="121" y="21"/>
                    <a:pt x="121" y="22"/>
                  </a:cubicBezTo>
                  <a:cubicBezTo>
                    <a:pt x="121" y="22"/>
                    <a:pt x="121" y="22"/>
                    <a:pt x="121" y="22"/>
                  </a:cubicBezTo>
                  <a:cubicBezTo>
                    <a:pt x="121" y="22"/>
                    <a:pt x="121" y="22"/>
                    <a:pt x="121" y="22"/>
                  </a:cubicBezTo>
                  <a:cubicBezTo>
                    <a:pt x="119" y="24"/>
                    <a:pt x="118" y="26"/>
                    <a:pt x="118" y="27"/>
                  </a:cubicBezTo>
                  <a:cubicBezTo>
                    <a:pt x="117" y="30"/>
                    <a:pt x="116" y="30"/>
                    <a:pt x="114" y="30"/>
                  </a:cubicBezTo>
                  <a:cubicBezTo>
                    <a:pt x="113" y="30"/>
                    <a:pt x="112" y="31"/>
                    <a:pt x="112" y="31"/>
                  </a:cubicBezTo>
                  <a:cubicBezTo>
                    <a:pt x="112" y="34"/>
                    <a:pt x="112" y="37"/>
                    <a:pt x="110" y="39"/>
                  </a:cubicBezTo>
                  <a:cubicBezTo>
                    <a:pt x="109" y="41"/>
                    <a:pt x="109" y="42"/>
                    <a:pt x="111" y="44"/>
                  </a:cubicBezTo>
                  <a:cubicBezTo>
                    <a:pt x="111" y="45"/>
                    <a:pt x="112" y="46"/>
                    <a:pt x="112" y="47"/>
                  </a:cubicBezTo>
                  <a:cubicBezTo>
                    <a:pt x="114" y="50"/>
                    <a:pt x="116" y="50"/>
                    <a:pt x="119" y="51"/>
                  </a:cubicBezTo>
                  <a:cubicBezTo>
                    <a:pt x="120" y="51"/>
                    <a:pt x="121" y="52"/>
                    <a:pt x="121" y="52"/>
                  </a:cubicBezTo>
                  <a:cubicBezTo>
                    <a:pt x="123" y="53"/>
                    <a:pt x="132" y="60"/>
                    <a:pt x="132" y="63"/>
                  </a:cubicBezTo>
                  <a:cubicBezTo>
                    <a:pt x="132" y="66"/>
                    <a:pt x="125" y="73"/>
                    <a:pt x="123" y="74"/>
                  </a:cubicBezTo>
                  <a:cubicBezTo>
                    <a:pt x="121" y="76"/>
                    <a:pt x="118" y="78"/>
                    <a:pt x="118" y="80"/>
                  </a:cubicBezTo>
                  <a:cubicBezTo>
                    <a:pt x="118" y="81"/>
                    <a:pt x="118" y="82"/>
                    <a:pt x="118" y="82"/>
                  </a:cubicBezTo>
                  <a:cubicBezTo>
                    <a:pt x="119" y="83"/>
                    <a:pt x="119" y="83"/>
                    <a:pt x="119" y="83"/>
                  </a:cubicBezTo>
                  <a:cubicBezTo>
                    <a:pt x="121" y="87"/>
                    <a:pt x="128" y="96"/>
                    <a:pt x="132" y="104"/>
                  </a:cubicBezTo>
                  <a:cubicBezTo>
                    <a:pt x="134" y="107"/>
                    <a:pt x="134" y="109"/>
                    <a:pt x="134" y="110"/>
                  </a:cubicBezTo>
                  <a:cubicBezTo>
                    <a:pt x="133" y="111"/>
                    <a:pt x="132" y="111"/>
                    <a:pt x="131" y="111"/>
                  </a:cubicBezTo>
                  <a:cubicBezTo>
                    <a:pt x="130" y="112"/>
                    <a:pt x="128" y="112"/>
                    <a:pt x="127" y="113"/>
                  </a:cubicBezTo>
                  <a:cubicBezTo>
                    <a:pt x="125" y="116"/>
                    <a:pt x="127" y="119"/>
                    <a:pt x="128" y="122"/>
                  </a:cubicBezTo>
                  <a:cubicBezTo>
                    <a:pt x="129" y="123"/>
                    <a:pt x="129" y="123"/>
                    <a:pt x="130" y="124"/>
                  </a:cubicBezTo>
                  <a:cubicBezTo>
                    <a:pt x="130" y="126"/>
                    <a:pt x="129" y="127"/>
                    <a:pt x="128" y="127"/>
                  </a:cubicBezTo>
                  <a:cubicBezTo>
                    <a:pt x="127" y="128"/>
                    <a:pt x="126" y="128"/>
                    <a:pt x="126" y="128"/>
                  </a:cubicBezTo>
                  <a:cubicBezTo>
                    <a:pt x="126" y="129"/>
                    <a:pt x="128" y="130"/>
                    <a:pt x="130" y="131"/>
                  </a:cubicBezTo>
                  <a:cubicBezTo>
                    <a:pt x="132" y="131"/>
                    <a:pt x="133" y="132"/>
                    <a:pt x="134" y="133"/>
                  </a:cubicBezTo>
                  <a:cubicBezTo>
                    <a:pt x="134" y="134"/>
                    <a:pt x="133" y="135"/>
                    <a:pt x="132" y="136"/>
                  </a:cubicBezTo>
                  <a:cubicBezTo>
                    <a:pt x="131" y="137"/>
                    <a:pt x="130" y="138"/>
                    <a:pt x="131" y="140"/>
                  </a:cubicBezTo>
                  <a:cubicBezTo>
                    <a:pt x="132" y="142"/>
                    <a:pt x="134" y="142"/>
                    <a:pt x="135" y="143"/>
                  </a:cubicBezTo>
                  <a:cubicBezTo>
                    <a:pt x="137" y="144"/>
                    <a:pt x="139" y="146"/>
                    <a:pt x="139" y="148"/>
                  </a:cubicBezTo>
                  <a:cubicBezTo>
                    <a:pt x="139" y="151"/>
                    <a:pt x="136" y="152"/>
                    <a:pt x="134" y="153"/>
                  </a:cubicBezTo>
                  <a:cubicBezTo>
                    <a:pt x="132" y="154"/>
                    <a:pt x="130" y="155"/>
                    <a:pt x="130" y="156"/>
                  </a:cubicBezTo>
                  <a:cubicBezTo>
                    <a:pt x="130" y="158"/>
                    <a:pt x="134" y="160"/>
                    <a:pt x="137" y="162"/>
                  </a:cubicBezTo>
                  <a:cubicBezTo>
                    <a:pt x="141" y="164"/>
                    <a:pt x="146" y="167"/>
                    <a:pt x="148" y="170"/>
                  </a:cubicBezTo>
                  <a:cubicBezTo>
                    <a:pt x="154" y="177"/>
                    <a:pt x="154" y="179"/>
                    <a:pt x="152" y="182"/>
                  </a:cubicBezTo>
                  <a:cubicBezTo>
                    <a:pt x="151" y="186"/>
                    <a:pt x="147" y="189"/>
                    <a:pt x="142" y="193"/>
                  </a:cubicBezTo>
                  <a:cubicBezTo>
                    <a:pt x="137" y="196"/>
                    <a:pt x="133" y="199"/>
                    <a:pt x="131" y="203"/>
                  </a:cubicBezTo>
                  <a:cubicBezTo>
                    <a:pt x="129" y="208"/>
                    <a:pt x="123" y="211"/>
                    <a:pt x="118" y="215"/>
                  </a:cubicBezTo>
                  <a:cubicBezTo>
                    <a:pt x="114" y="217"/>
                    <a:pt x="111" y="219"/>
                    <a:pt x="108" y="221"/>
                  </a:cubicBezTo>
                  <a:cubicBezTo>
                    <a:pt x="106" y="223"/>
                    <a:pt x="104" y="226"/>
                    <a:pt x="102" y="230"/>
                  </a:cubicBezTo>
                  <a:cubicBezTo>
                    <a:pt x="101" y="230"/>
                    <a:pt x="101" y="230"/>
                    <a:pt x="101" y="230"/>
                  </a:cubicBezTo>
                  <a:cubicBezTo>
                    <a:pt x="101" y="230"/>
                    <a:pt x="101" y="230"/>
                    <a:pt x="101" y="230"/>
                  </a:cubicBezTo>
                  <a:cubicBezTo>
                    <a:pt x="97" y="231"/>
                    <a:pt x="93" y="232"/>
                    <a:pt x="88" y="232"/>
                  </a:cubicBezTo>
                  <a:cubicBezTo>
                    <a:pt x="84" y="232"/>
                    <a:pt x="76" y="234"/>
                    <a:pt x="67" y="237"/>
                  </a:cubicBezTo>
                  <a:cubicBezTo>
                    <a:pt x="58" y="239"/>
                    <a:pt x="49" y="242"/>
                    <a:pt x="43" y="242"/>
                  </a:cubicBezTo>
                  <a:cubicBezTo>
                    <a:pt x="42" y="242"/>
                    <a:pt x="42" y="242"/>
                    <a:pt x="42" y="242"/>
                  </a:cubicBezTo>
                  <a:close/>
                  <a:moveTo>
                    <a:pt x="28" y="237"/>
                  </a:moveTo>
                  <a:cubicBezTo>
                    <a:pt x="29" y="237"/>
                    <a:pt x="30" y="238"/>
                    <a:pt x="31" y="239"/>
                  </a:cubicBezTo>
                  <a:cubicBezTo>
                    <a:pt x="33" y="240"/>
                    <a:pt x="36" y="241"/>
                    <a:pt x="43" y="241"/>
                  </a:cubicBezTo>
                  <a:cubicBezTo>
                    <a:pt x="49" y="241"/>
                    <a:pt x="58" y="238"/>
                    <a:pt x="67" y="236"/>
                  </a:cubicBezTo>
                  <a:cubicBezTo>
                    <a:pt x="75" y="233"/>
                    <a:pt x="83" y="231"/>
                    <a:pt x="88" y="231"/>
                  </a:cubicBezTo>
                  <a:cubicBezTo>
                    <a:pt x="93" y="231"/>
                    <a:pt x="97" y="230"/>
                    <a:pt x="101" y="229"/>
                  </a:cubicBezTo>
                  <a:cubicBezTo>
                    <a:pt x="103" y="226"/>
                    <a:pt x="106" y="223"/>
                    <a:pt x="108" y="221"/>
                  </a:cubicBezTo>
                  <a:cubicBezTo>
                    <a:pt x="110" y="218"/>
                    <a:pt x="113" y="216"/>
                    <a:pt x="117" y="214"/>
                  </a:cubicBezTo>
                  <a:cubicBezTo>
                    <a:pt x="122" y="211"/>
                    <a:pt x="128" y="207"/>
                    <a:pt x="130" y="203"/>
                  </a:cubicBezTo>
                  <a:cubicBezTo>
                    <a:pt x="132" y="199"/>
                    <a:pt x="137" y="195"/>
                    <a:pt x="141" y="192"/>
                  </a:cubicBezTo>
                  <a:cubicBezTo>
                    <a:pt x="146" y="189"/>
                    <a:pt x="150" y="185"/>
                    <a:pt x="151" y="182"/>
                  </a:cubicBezTo>
                  <a:cubicBezTo>
                    <a:pt x="153" y="179"/>
                    <a:pt x="153" y="177"/>
                    <a:pt x="148" y="171"/>
                  </a:cubicBezTo>
                  <a:cubicBezTo>
                    <a:pt x="145" y="168"/>
                    <a:pt x="141" y="165"/>
                    <a:pt x="137" y="163"/>
                  </a:cubicBezTo>
                  <a:cubicBezTo>
                    <a:pt x="133" y="160"/>
                    <a:pt x="129" y="159"/>
                    <a:pt x="129" y="157"/>
                  </a:cubicBezTo>
                  <a:cubicBezTo>
                    <a:pt x="129" y="155"/>
                    <a:pt x="131" y="153"/>
                    <a:pt x="134" y="152"/>
                  </a:cubicBezTo>
                  <a:cubicBezTo>
                    <a:pt x="136" y="151"/>
                    <a:pt x="138" y="150"/>
                    <a:pt x="138" y="148"/>
                  </a:cubicBezTo>
                  <a:cubicBezTo>
                    <a:pt x="138" y="146"/>
                    <a:pt x="136" y="145"/>
                    <a:pt x="134" y="144"/>
                  </a:cubicBezTo>
                  <a:cubicBezTo>
                    <a:pt x="133" y="143"/>
                    <a:pt x="131" y="142"/>
                    <a:pt x="130" y="141"/>
                  </a:cubicBezTo>
                  <a:cubicBezTo>
                    <a:pt x="129" y="138"/>
                    <a:pt x="130" y="136"/>
                    <a:pt x="132" y="135"/>
                  </a:cubicBezTo>
                  <a:cubicBezTo>
                    <a:pt x="132" y="134"/>
                    <a:pt x="133" y="134"/>
                    <a:pt x="133" y="133"/>
                  </a:cubicBezTo>
                  <a:cubicBezTo>
                    <a:pt x="132" y="133"/>
                    <a:pt x="131" y="132"/>
                    <a:pt x="129" y="132"/>
                  </a:cubicBezTo>
                  <a:cubicBezTo>
                    <a:pt x="128" y="131"/>
                    <a:pt x="125" y="130"/>
                    <a:pt x="125" y="129"/>
                  </a:cubicBezTo>
                  <a:cubicBezTo>
                    <a:pt x="125" y="127"/>
                    <a:pt x="126" y="127"/>
                    <a:pt x="127" y="126"/>
                  </a:cubicBezTo>
                  <a:cubicBezTo>
                    <a:pt x="128" y="126"/>
                    <a:pt x="129" y="125"/>
                    <a:pt x="129" y="124"/>
                  </a:cubicBezTo>
                  <a:cubicBezTo>
                    <a:pt x="128" y="124"/>
                    <a:pt x="128" y="123"/>
                    <a:pt x="128" y="122"/>
                  </a:cubicBezTo>
                  <a:cubicBezTo>
                    <a:pt x="126" y="120"/>
                    <a:pt x="124" y="116"/>
                    <a:pt x="127" y="113"/>
                  </a:cubicBezTo>
                  <a:cubicBezTo>
                    <a:pt x="128" y="111"/>
                    <a:pt x="129" y="111"/>
                    <a:pt x="131" y="110"/>
                  </a:cubicBezTo>
                  <a:cubicBezTo>
                    <a:pt x="132" y="110"/>
                    <a:pt x="133" y="110"/>
                    <a:pt x="133" y="109"/>
                  </a:cubicBezTo>
                  <a:cubicBezTo>
                    <a:pt x="133" y="109"/>
                    <a:pt x="133" y="107"/>
                    <a:pt x="131" y="105"/>
                  </a:cubicBezTo>
                  <a:cubicBezTo>
                    <a:pt x="127" y="97"/>
                    <a:pt x="121" y="87"/>
                    <a:pt x="118" y="84"/>
                  </a:cubicBezTo>
                  <a:cubicBezTo>
                    <a:pt x="118" y="83"/>
                    <a:pt x="118" y="83"/>
                    <a:pt x="118" y="83"/>
                  </a:cubicBezTo>
                  <a:cubicBezTo>
                    <a:pt x="117" y="82"/>
                    <a:pt x="117" y="81"/>
                    <a:pt x="117" y="80"/>
                  </a:cubicBezTo>
                  <a:cubicBezTo>
                    <a:pt x="118" y="78"/>
                    <a:pt x="120" y="75"/>
                    <a:pt x="122" y="73"/>
                  </a:cubicBezTo>
                  <a:cubicBezTo>
                    <a:pt x="125" y="72"/>
                    <a:pt x="131" y="65"/>
                    <a:pt x="131" y="63"/>
                  </a:cubicBezTo>
                  <a:cubicBezTo>
                    <a:pt x="131" y="61"/>
                    <a:pt x="123" y="54"/>
                    <a:pt x="121" y="53"/>
                  </a:cubicBezTo>
                  <a:cubicBezTo>
                    <a:pt x="120" y="52"/>
                    <a:pt x="119" y="52"/>
                    <a:pt x="118" y="52"/>
                  </a:cubicBezTo>
                  <a:cubicBezTo>
                    <a:pt x="116" y="51"/>
                    <a:pt x="113" y="51"/>
                    <a:pt x="111" y="47"/>
                  </a:cubicBezTo>
                  <a:cubicBezTo>
                    <a:pt x="111" y="46"/>
                    <a:pt x="110" y="45"/>
                    <a:pt x="110" y="45"/>
                  </a:cubicBezTo>
                  <a:cubicBezTo>
                    <a:pt x="109" y="42"/>
                    <a:pt x="108" y="41"/>
                    <a:pt x="109" y="39"/>
                  </a:cubicBezTo>
                  <a:cubicBezTo>
                    <a:pt x="111" y="36"/>
                    <a:pt x="111" y="34"/>
                    <a:pt x="111" y="31"/>
                  </a:cubicBezTo>
                  <a:cubicBezTo>
                    <a:pt x="111" y="30"/>
                    <a:pt x="113" y="29"/>
                    <a:pt x="114" y="29"/>
                  </a:cubicBezTo>
                  <a:cubicBezTo>
                    <a:pt x="115" y="29"/>
                    <a:pt x="117" y="29"/>
                    <a:pt x="117" y="27"/>
                  </a:cubicBezTo>
                  <a:cubicBezTo>
                    <a:pt x="117" y="25"/>
                    <a:pt x="119" y="23"/>
                    <a:pt x="120" y="21"/>
                  </a:cubicBezTo>
                  <a:cubicBezTo>
                    <a:pt x="120" y="21"/>
                    <a:pt x="120" y="20"/>
                    <a:pt x="120" y="19"/>
                  </a:cubicBezTo>
                  <a:cubicBezTo>
                    <a:pt x="120" y="17"/>
                    <a:pt x="120" y="15"/>
                    <a:pt x="120" y="14"/>
                  </a:cubicBezTo>
                  <a:cubicBezTo>
                    <a:pt x="120" y="12"/>
                    <a:pt x="117" y="10"/>
                    <a:pt x="114" y="9"/>
                  </a:cubicBezTo>
                  <a:cubicBezTo>
                    <a:pt x="110" y="8"/>
                    <a:pt x="107" y="6"/>
                    <a:pt x="105" y="3"/>
                  </a:cubicBezTo>
                  <a:cubicBezTo>
                    <a:pt x="104" y="1"/>
                    <a:pt x="102" y="1"/>
                    <a:pt x="100" y="1"/>
                  </a:cubicBezTo>
                  <a:cubicBezTo>
                    <a:pt x="98" y="1"/>
                    <a:pt x="95" y="2"/>
                    <a:pt x="94" y="4"/>
                  </a:cubicBezTo>
                  <a:cubicBezTo>
                    <a:pt x="93" y="5"/>
                    <a:pt x="91" y="5"/>
                    <a:pt x="88" y="5"/>
                  </a:cubicBezTo>
                  <a:cubicBezTo>
                    <a:pt x="86" y="5"/>
                    <a:pt x="86" y="5"/>
                    <a:pt x="86" y="5"/>
                  </a:cubicBezTo>
                  <a:cubicBezTo>
                    <a:pt x="82" y="5"/>
                    <a:pt x="80" y="5"/>
                    <a:pt x="80" y="7"/>
                  </a:cubicBezTo>
                  <a:cubicBezTo>
                    <a:pt x="80" y="9"/>
                    <a:pt x="77" y="10"/>
                    <a:pt x="75" y="12"/>
                  </a:cubicBezTo>
                  <a:cubicBezTo>
                    <a:pt x="73" y="13"/>
                    <a:pt x="71" y="14"/>
                    <a:pt x="71" y="16"/>
                  </a:cubicBezTo>
                  <a:cubicBezTo>
                    <a:pt x="71" y="18"/>
                    <a:pt x="71" y="19"/>
                    <a:pt x="71" y="21"/>
                  </a:cubicBezTo>
                  <a:cubicBezTo>
                    <a:pt x="72" y="24"/>
                    <a:pt x="73" y="27"/>
                    <a:pt x="71" y="28"/>
                  </a:cubicBezTo>
                  <a:cubicBezTo>
                    <a:pt x="70" y="29"/>
                    <a:pt x="69" y="29"/>
                    <a:pt x="67" y="29"/>
                  </a:cubicBezTo>
                  <a:cubicBezTo>
                    <a:pt x="66" y="29"/>
                    <a:pt x="66" y="29"/>
                    <a:pt x="66" y="29"/>
                  </a:cubicBezTo>
                  <a:cubicBezTo>
                    <a:pt x="64" y="29"/>
                    <a:pt x="64" y="30"/>
                    <a:pt x="64" y="31"/>
                  </a:cubicBezTo>
                  <a:cubicBezTo>
                    <a:pt x="64" y="33"/>
                    <a:pt x="64" y="35"/>
                    <a:pt x="62" y="37"/>
                  </a:cubicBezTo>
                  <a:cubicBezTo>
                    <a:pt x="61" y="39"/>
                    <a:pt x="60" y="39"/>
                    <a:pt x="59" y="39"/>
                  </a:cubicBezTo>
                  <a:cubicBezTo>
                    <a:pt x="58" y="39"/>
                    <a:pt x="57" y="38"/>
                    <a:pt x="56" y="37"/>
                  </a:cubicBezTo>
                  <a:cubicBezTo>
                    <a:pt x="56" y="36"/>
                    <a:pt x="55" y="35"/>
                    <a:pt x="53" y="35"/>
                  </a:cubicBezTo>
                  <a:cubicBezTo>
                    <a:pt x="53" y="36"/>
                    <a:pt x="52" y="36"/>
                    <a:pt x="52" y="36"/>
                  </a:cubicBezTo>
                  <a:cubicBezTo>
                    <a:pt x="50" y="36"/>
                    <a:pt x="48" y="35"/>
                    <a:pt x="47" y="35"/>
                  </a:cubicBezTo>
                  <a:cubicBezTo>
                    <a:pt x="46" y="34"/>
                    <a:pt x="45" y="34"/>
                    <a:pt x="44" y="34"/>
                  </a:cubicBezTo>
                  <a:cubicBezTo>
                    <a:pt x="43" y="34"/>
                    <a:pt x="43" y="34"/>
                    <a:pt x="42" y="35"/>
                  </a:cubicBezTo>
                  <a:cubicBezTo>
                    <a:pt x="42" y="36"/>
                    <a:pt x="40" y="36"/>
                    <a:pt x="38" y="36"/>
                  </a:cubicBezTo>
                  <a:cubicBezTo>
                    <a:pt x="36" y="36"/>
                    <a:pt x="33" y="36"/>
                    <a:pt x="30" y="35"/>
                  </a:cubicBezTo>
                  <a:cubicBezTo>
                    <a:pt x="29" y="35"/>
                    <a:pt x="27" y="34"/>
                    <a:pt x="26" y="34"/>
                  </a:cubicBezTo>
                  <a:cubicBezTo>
                    <a:pt x="22" y="33"/>
                    <a:pt x="20" y="30"/>
                    <a:pt x="17" y="28"/>
                  </a:cubicBezTo>
                  <a:cubicBezTo>
                    <a:pt x="15" y="25"/>
                    <a:pt x="13" y="23"/>
                    <a:pt x="10" y="22"/>
                  </a:cubicBezTo>
                  <a:cubicBezTo>
                    <a:pt x="7" y="22"/>
                    <a:pt x="3" y="25"/>
                    <a:pt x="1" y="29"/>
                  </a:cubicBezTo>
                  <a:cubicBezTo>
                    <a:pt x="3" y="30"/>
                    <a:pt x="5" y="32"/>
                    <a:pt x="7" y="33"/>
                  </a:cubicBezTo>
                  <a:cubicBezTo>
                    <a:pt x="9" y="36"/>
                    <a:pt x="12" y="38"/>
                    <a:pt x="17" y="40"/>
                  </a:cubicBezTo>
                  <a:cubicBezTo>
                    <a:pt x="18" y="41"/>
                    <a:pt x="20" y="42"/>
                    <a:pt x="22" y="42"/>
                  </a:cubicBezTo>
                  <a:cubicBezTo>
                    <a:pt x="30" y="46"/>
                    <a:pt x="38" y="49"/>
                    <a:pt x="38" y="53"/>
                  </a:cubicBezTo>
                  <a:cubicBezTo>
                    <a:pt x="38" y="54"/>
                    <a:pt x="37" y="55"/>
                    <a:pt x="37" y="56"/>
                  </a:cubicBezTo>
                  <a:cubicBezTo>
                    <a:pt x="36" y="60"/>
                    <a:pt x="36" y="65"/>
                    <a:pt x="38" y="66"/>
                  </a:cubicBezTo>
                  <a:cubicBezTo>
                    <a:pt x="40" y="68"/>
                    <a:pt x="40" y="70"/>
                    <a:pt x="40" y="73"/>
                  </a:cubicBezTo>
                  <a:cubicBezTo>
                    <a:pt x="40" y="76"/>
                    <a:pt x="40" y="79"/>
                    <a:pt x="41" y="79"/>
                  </a:cubicBezTo>
                  <a:cubicBezTo>
                    <a:pt x="44" y="81"/>
                    <a:pt x="45" y="85"/>
                    <a:pt x="44" y="89"/>
                  </a:cubicBezTo>
                  <a:cubicBezTo>
                    <a:pt x="43" y="91"/>
                    <a:pt x="42" y="93"/>
                    <a:pt x="41" y="93"/>
                  </a:cubicBezTo>
                  <a:cubicBezTo>
                    <a:pt x="40" y="93"/>
                    <a:pt x="40" y="93"/>
                    <a:pt x="40" y="93"/>
                  </a:cubicBezTo>
                  <a:cubicBezTo>
                    <a:pt x="39" y="94"/>
                    <a:pt x="42" y="98"/>
                    <a:pt x="44" y="100"/>
                  </a:cubicBezTo>
                  <a:cubicBezTo>
                    <a:pt x="45" y="101"/>
                    <a:pt x="45" y="103"/>
                    <a:pt x="46" y="107"/>
                  </a:cubicBezTo>
                  <a:cubicBezTo>
                    <a:pt x="49" y="108"/>
                    <a:pt x="52" y="109"/>
                    <a:pt x="54" y="110"/>
                  </a:cubicBezTo>
                  <a:cubicBezTo>
                    <a:pt x="55" y="111"/>
                    <a:pt x="56" y="111"/>
                    <a:pt x="57" y="111"/>
                  </a:cubicBezTo>
                  <a:cubicBezTo>
                    <a:pt x="63" y="114"/>
                    <a:pt x="63" y="117"/>
                    <a:pt x="63" y="121"/>
                  </a:cubicBezTo>
                  <a:cubicBezTo>
                    <a:pt x="63" y="122"/>
                    <a:pt x="63" y="122"/>
                    <a:pt x="63" y="123"/>
                  </a:cubicBezTo>
                  <a:cubicBezTo>
                    <a:pt x="63" y="124"/>
                    <a:pt x="63" y="124"/>
                    <a:pt x="63" y="124"/>
                  </a:cubicBezTo>
                  <a:cubicBezTo>
                    <a:pt x="63" y="126"/>
                    <a:pt x="63" y="128"/>
                    <a:pt x="62" y="129"/>
                  </a:cubicBezTo>
                  <a:cubicBezTo>
                    <a:pt x="62" y="130"/>
                    <a:pt x="61" y="130"/>
                    <a:pt x="59" y="129"/>
                  </a:cubicBezTo>
                  <a:cubicBezTo>
                    <a:pt x="57" y="127"/>
                    <a:pt x="54" y="129"/>
                    <a:pt x="52" y="135"/>
                  </a:cubicBezTo>
                  <a:cubicBezTo>
                    <a:pt x="50" y="141"/>
                    <a:pt x="42" y="149"/>
                    <a:pt x="37" y="150"/>
                  </a:cubicBezTo>
                  <a:cubicBezTo>
                    <a:pt x="34" y="150"/>
                    <a:pt x="33" y="152"/>
                    <a:pt x="32" y="153"/>
                  </a:cubicBezTo>
                  <a:cubicBezTo>
                    <a:pt x="31" y="155"/>
                    <a:pt x="30" y="156"/>
                    <a:pt x="28" y="157"/>
                  </a:cubicBezTo>
                  <a:cubicBezTo>
                    <a:pt x="26" y="157"/>
                    <a:pt x="21" y="159"/>
                    <a:pt x="21" y="164"/>
                  </a:cubicBezTo>
                  <a:cubicBezTo>
                    <a:pt x="21" y="165"/>
                    <a:pt x="21" y="166"/>
                    <a:pt x="20" y="167"/>
                  </a:cubicBezTo>
                  <a:cubicBezTo>
                    <a:pt x="18" y="169"/>
                    <a:pt x="14" y="169"/>
                    <a:pt x="10" y="169"/>
                  </a:cubicBezTo>
                  <a:cubicBezTo>
                    <a:pt x="9" y="169"/>
                    <a:pt x="8" y="171"/>
                    <a:pt x="7" y="174"/>
                  </a:cubicBezTo>
                  <a:cubicBezTo>
                    <a:pt x="6" y="176"/>
                    <a:pt x="6" y="178"/>
                    <a:pt x="4" y="179"/>
                  </a:cubicBezTo>
                  <a:cubicBezTo>
                    <a:pt x="3" y="179"/>
                    <a:pt x="3" y="180"/>
                    <a:pt x="2" y="181"/>
                  </a:cubicBezTo>
                  <a:cubicBezTo>
                    <a:pt x="2" y="182"/>
                    <a:pt x="3" y="184"/>
                    <a:pt x="5" y="186"/>
                  </a:cubicBezTo>
                  <a:cubicBezTo>
                    <a:pt x="7" y="189"/>
                    <a:pt x="7" y="191"/>
                    <a:pt x="6" y="193"/>
                  </a:cubicBezTo>
                  <a:cubicBezTo>
                    <a:pt x="6" y="194"/>
                    <a:pt x="6" y="196"/>
                    <a:pt x="6" y="197"/>
                  </a:cubicBezTo>
                  <a:cubicBezTo>
                    <a:pt x="7" y="197"/>
                    <a:pt x="7" y="198"/>
                    <a:pt x="7" y="198"/>
                  </a:cubicBezTo>
                  <a:cubicBezTo>
                    <a:pt x="9" y="202"/>
                    <a:pt x="12" y="207"/>
                    <a:pt x="9" y="213"/>
                  </a:cubicBezTo>
                  <a:cubicBezTo>
                    <a:pt x="5" y="223"/>
                    <a:pt x="4" y="227"/>
                    <a:pt x="4" y="228"/>
                  </a:cubicBezTo>
                  <a:cubicBezTo>
                    <a:pt x="4" y="228"/>
                    <a:pt x="4" y="228"/>
                    <a:pt x="4" y="228"/>
                  </a:cubicBezTo>
                  <a:cubicBezTo>
                    <a:pt x="6" y="227"/>
                    <a:pt x="8" y="228"/>
                    <a:pt x="11" y="230"/>
                  </a:cubicBezTo>
                  <a:cubicBezTo>
                    <a:pt x="13" y="231"/>
                    <a:pt x="16" y="233"/>
                    <a:pt x="18" y="233"/>
                  </a:cubicBezTo>
                  <a:cubicBezTo>
                    <a:pt x="20" y="233"/>
                    <a:pt x="22" y="234"/>
                    <a:pt x="23" y="236"/>
                  </a:cubicBezTo>
                  <a:cubicBezTo>
                    <a:pt x="24" y="237"/>
                    <a:pt x="25" y="238"/>
                    <a:pt x="27" y="238"/>
                  </a:cubicBezTo>
                  <a:cubicBezTo>
                    <a:pt x="28" y="237"/>
                    <a:pt x="28" y="237"/>
                    <a:pt x="28" y="2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3" name="Freeform 90"/>
            <p:cNvSpPr>
              <a:spLocks noEditPoints="1"/>
            </p:cNvSpPr>
            <p:nvPr/>
          </p:nvSpPr>
          <p:spPr>
            <a:xfrm>
              <a:off x="5626101" y="2981325"/>
              <a:ext cx="520700" cy="419100"/>
            </a:xfrm>
            <a:custGeom>
              <a:gdLst>
                <a:gd name="T0" fmla="*/ 110 w 307"/>
                <a:gd name="T1" fmla="*/ 238 h 247"/>
                <a:gd name="T2" fmla="*/ 92 w 307"/>
                <a:gd name="T3" fmla="*/ 205 h 247"/>
                <a:gd name="T4" fmla="*/ 63 w 307"/>
                <a:gd name="T5" fmla="*/ 156 h 247"/>
                <a:gd name="T6" fmla="*/ 46 w 307"/>
                <a:gd name="T7" fmla="*/ 129 h 247"/>
                <a:gd name="T8" fmla="*/ 7 w 307"/>
                <a:gd name="T9" fmla="*/ 71 h 247"/>
                <a:gd name="T10" fmla="*/ 0 w 307"/>
                <a:gd name="T11" fmla="*/ 49 h 247"/>
                <a:gd name="T12" fmla="*/ 2 w 307"/>
                <a:gd name="T13" fmla="*/ 40 h 247"/>
                <a:gd name="T14" fmla="*/ 28 w 307"/>
                <a:gd name="T15" fmla="*/ 38 h 247"/>
                <a:gd name="T16" fmla="*/ 46 w 307"/>
                <a:gd name="T17" fmla="*/ 27 h 247"/>
                <a:gd name="T18" fmla="*/ 34 w 307"/>
                <a:gd name="T19" fmla="*/ 13 h 247"/>
                <a:gd name="T20" fmla="*/ 64 w 307"/>
                <a:gd name="T21" fmla="*/ 0 h 247"/>
                <a:gd name="T22" fmla="*/ 97 w 307"/>
                <a:gd name="T23" fmla="*/ 12 h 247"/>
                <a:gd name="T24" fmla="*/ 157 w 307"/>
                <a:gd name="T25" fmla="*/ 49 h 247"/>
                <a:gd name="T26" fmla="*/ 191 w 307"/>
                <a:gd name="T27" fmla="*/ 58 h 247"/>
                <a:gd name="T28" fmla="*/ 205 w 307"/>
                <a:gd name="T29" fmla="*/ 65 h 247"/>
                <a:gd name="T30" fmla="*/ 226 w 307"/>
                <a:gd name="T31" fmla="*/ 98 h 247"/>
                <a:gd name="T32" fmla="*/ 234 w 307"/>
                <a:gd name="T33" fmla="*/ 113 h 247"/>
                <a:gd name="T34" fmla="*/ 245 w 307"/>
                <a:gd name="T35" fmla="*/ 121 h 247"/>
                <a:gd name="T36" fmla="*/ 252 w 307"/>
                <a:gd name="T37" fmla="*/ 131 h 247"/>
                <a:gd name="T38" fmla="*/ 263 w 307"/>
                <a:gd name="T39" fmla="*/ 146 h 247"/>
                <a:gd name="T40" fmla="*/ 307 w 307"/>
                <a:gd name="T41" fmla="*/ 161 h 247"/>
                <a:gd name="T42" fmla="*/ 220 w 307"/>
                <a:gd name="T43" fmla="*/ 212 h 247"/>
                <a:gd name="T44" fmla="*/ 181 w 307"/>
                <a:gd name="T45" fmla="*/ 238 h 247"/>
                <a:gd name="T46" fmla="*/ 156 w 307"/>
                <a:gd name="T47" fmla="*/ 233 h 247"/>
                <a:gd name="T48" fmla="*/ 137 w 307"/>
                <a:gd name="T49" fmla="*/ 231 h 247"/>
                <a:gd name="T50" fmla="*/ 122 w 307"/>
                <a:gd name="T51" fmla="*/ 235 h 247"/>
                <a:gd name="T52" fmla="*/ 115 w 307"/>
                <a:gd name="T53" fmla="*/ 247 h 247"/>
                <a:gd name="T54" fmla="*/ 3 w 307"/>
                <a:gd name="T55" fmla="*/ 64 h 247"/>
                <a:gd name="T56" fmla="*/ 36 w 307"/>
                <a:gd name="T57" fmla="*/ 112 h 247"/>
                <a:gd name="T58" fmla="*/ 60 w 307"/>
                <a:gd name="T59" fmla="*/ 144 h 247"/>
                <a:gd name="T60" fmla="*/ 76 w 307"/>
                <a:gd name="T61" fmla="*/ 185 h 247"/>
                <a:gd name="T62" fmla="*/ 109 w 307"/>
                <a:gd name="T63" fmla="*/ 233 h 247"/>
                <a:gd name="T64" fmla="*/ 121 w 307"/>
                <a:gd name="T65" fmla="*/ 242 h 247"/>
                <a:gd name="T66" fmla="*/ 128 w 307"/>
                <a:gd name="T67" fmla="*/ 229 h 247"/>
                <a:gd name="T68" fmla="*/ 138 w 307"/>
                <a:gd name="T69" fmla="*/ 230 h 247"/>
                <a:gd name="T70" fmla="*/ 163 w 307"/>
                <a:gd name="T71" fmla="*/ 233 h 247"/>
                <a:gd name="T72" fmla="*/ 209 w 307"/>
                <a:gd name="T73" fmla="*/ 212 h 247"/>
                <a:gd name="T74" fmla="*/ 296 w 307"/>
                <a:gd name="T75" fmla="*/ 191 h 247"/>
                <a:gd name="T76" fmla="*/ 298 w 307"/>
                <a:gd name="T77" fmla="*/ 152 h 247"/>
                <a:gd name="T78" fmla="*/ 245 w 307"/>
                <a:gd name="T79" fmla="*/ 122 h 247"/>
                <a:gd name="T80" fmla="*/ 224 w 307"/>
                <a:gd name="T81" fmla="*/ 100 h 247"/>
                <a:gd name="T82" fmla="*/ 217 w 307"/>
                <a:gd name="T83" fmla="*/ 81 h 247"/>
                <a:gd name="T84" fmla="*/ 191 w 307"/>
                <a:gd name="T85" fmla="*/ 59 h 247"/>
                <a:gd name="T86" fmla="*/ 140 w 307"/>
                <a:gd name="T87" fmla="*/ 44 h 247"/>
                <a:gd name="T88" fmla="*/ 76 w 307"/>
                <a:gd name="T89" fmla="*/ 1 h 247"/>
                <a:gd name="T90" fmla="*/ 60 w 307"/>
                <a:gd name="T91" fmla="*/ 3 h 247"/>
                <a:gd name="T92" fmla="*/ 35 w 307"/>
                <a:gd name="T93" fmla="*/ 14 h 247"/>
                <a:gd name="T94" fmla="*/ 43 w 307"/>
                <a:gd name="T95" fmla="*/ 31 h 247"/>
                <a:gd name="T96" fmla="*/ 17 w 307"/>
                <a:gd name="T97" fmla="*/ 47 h 247"/>
                <a:gd name="T98" fmla="*/ 1 w 307"/>
                <a:gd name="T99" fmla="*/ 48 h 2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7" h="247">
                  <a:moveTo>
                    <a:pt x="115" y="247"/>
                  </a:moveTo>
                  <a:cubicBezTo>
                    <a:pt x="115" y="246"/>
                    <a:pt x="115" y="246"/>
                    <a:pt x="115" y="246"/>
                  </a:cubicBezTo>
                  <a:cubicBezTo>
                    <a:pt x="113" y="243"/>
                    <a:pt x="111" y="240"/>
                    <a:pt x="110" y="238"/>
                  </a:cubicBezTo>
                  <a:cubicBezTo>
                    <a:pt x="109" y="236"/>
                    <a:pt x="108" y="235"/>
                    <a:pt x="108" y="233"/>
                  </a:cubicBezTo>
                  <a:cubicBezTo>
                    <a:pt x="108" y="232"/>
                    <a:pt x="108" y="230"/>
                    <a:pt x="105" y="227"/>
                  </a:cubicBezTo>
                  <a:cubicBezTo>
                    <a:pt x="100" y="222"/>
                    <a:pt x="95" y="214"/>
                    <a:pt x="92" y="205"/>
                  </a:cubicBezTo>
                  <a:cubicBezTo>
                    <a:pt x="88" y="195"/>
                    <a:pt x="82" y="190"/>
                    <a:pt x="75" y="186"/>
                  </a:cubicBezTo>
                  <a:cubicBezTo>
                    <a:pt x="67" y="181"/>
                    <a:pt x="63" y="169"/>
                    <a:pt x="63" y="161"/>
                  </a:cubicBezTo>
                  <a:cubicBezTo>
                    <a:pt x="63" y="159"/>
                    <a:pt x="63" y="158"/>
                    <a:pt x="63" y="156"/>
                  </a:cubicBezTo>
                  <a:cubicBezTo>
                    <a:pt x="63" y="151"/>
                    <a:pt x="63" y="148"/>
                    <a:pt x="60" y="145"/>
                  </a:cubicBezTo>
                  <a:cubicBezTo>
                    <a:pt x="58" y="143"/>
                    <a:pt x="56" y="141"/>
                    <a:pt x="55" y="139"/>
                  </a:cubicBezTo>
                  <a:cubicBezTo>
                    <a:pt x="53" y="136"/>
                    <a:pt x="51" y="132"/>
                    <a:pt x="46" y="129"/>
                  </a:cubicBezTo>
                  <a:cubicBezTo>
                    <a:pt x="39" y="124"/>
                    <a:pt x="35" y="118"/>
                    <a:pt x="35" y="112"/>
                  </a:cubicBezTo>
                  <a:cubicBezTo>
                    <a:pt x="35" y="107"/>
                    <a:pt x="21" y="87"/>
                    <a:pt x="14" y="80"/>
                  </a:cubicBezTo>
                  <a:cubicBezTo>
                    <a:pt x="11" y="76"/>
                    <a:pt x="9" y="73"/>
                    <a:pt x="7" y="71"/>
                  </a:cubicBezTo>
                  <a:cubicBezTo>
                    <a:pt x="5" y="68"/>
                    <a:pt x="4" y="66"/>
                    <a:pt x="2" y="65"/>
                  </a:cubicBezTo>
                  <a:cubicBezTo>
                    <a:pt x="0" y="65"/>
                    <a:pt x="0" y="60"/>
                    <a:pt x="0" y="55"/>
                  </a:cubicBezTo>
                  <a:cubicBezTo>
                    <a:pt x="0" y="52"/>
                    <a:pt x="0" y="50"/>
                    <a:pt x="0" y="49"/>
                  </a:cubicBezTo>
                  <a:cubicBezTo>
                    <a:pt x="0" y="48"/>
                    <a:pt x="0" y="48"/>
                    <a:pt x="0" y="48"/>
                  </a:cubicBezTo>
                  <a:cubicBezTo>
                    <a:pt x="0" y="44"/>
                    <a:pt x="0" y="44"/>
                    <a:pt x="0" y="44"/>
                  </a:cubicBezTo>
                  <a:cubicBezTo>
                    <a:pt x="2" y="40"/>
                    <a:pt x="2" y="40"/>
                    <a:pt x="2" y="40"/>
                  </a:cubicBezTo>
                  <a:cubicBezTo>
                    <a:pt x="2" y="40"/>
                    <a:pt x="2" y="40"/>
                    <a:pt x="2" y="40"/>
                  </a:cubicBezTo>
                  <a:cubicBezTo>
                    <a:pt x="10" y="44"/>
                    <a:pt x="14" y="46"/>
                    <a:pt x="17" y="46"/>
                  </a:cubicBezTo>
                  <a:cubicBezTo>
                    <a:pt x="22" y="47"/>
                    <a:pt x="28" y="41"/>
                    <a:pt x="28" y="38"/>
                  </a:cubicBezTo>
                  <a:cubicBezTo>
                    <a:pt x="28" y="34"/>
                    <a:pt x="33" y="34"/>
                    <a:pt x="37" y="34"/>
                  </a:cubicBezTo>
                  <a:cubicBezTo>
                    <a:pt x="40" y="34"/>
                    <a:pt x="41" y="32"/>
                    <a:pt x="42" y="30"/>
                  </a:cubicBezTo>
                  <a:cubicBezTo>
                    <a:pt x="43" y="29"/>
                    <a:pt x="44" y="27"/>
                    <a:pt x="46" y="27"/>
                  </a:cubicBezTo>
                  <a:cubicBezTo>
                    <a:pt x="46" y="26"/>
                    <a:pt x="46" y="26"/>
                    <a:pt x="46" y="26"/>
                  </a:cubicBezTo>
                  <a:cubicBezTo>
                    <a:pt x="46" y="23"/>
                    <a:pt x="38" y="16"/>
                    <a:pt x="35" y="15"/>
                  </a:cubicBezTo>
                  <a:cubicBezTo>
                    <a:pt x="34" y="15"/>
                    <a:pt x="34" y="14"/>
                    <a:pt x="34" y="13"/>
                  </a:cubicBezTo>
                  <a:cubicBezTo>
                    <a:pt x="34" y="10"/>
                    <a:pt x="40" y="5"/>
                    <a:pt x="49" y="5"/>
                  </a:cubicBezTo>
                  <a:cubicBezTo>
                    <a:pt x="56" y="5"/>
                    <a:pt x="58" y="3"/>
                    <a:pt x="59" y="2"/>
                  </a:cubicBezTo>
                  <a:cubicBezTo>
                    <a:pt x="60" y="1"/>
                    <a:pt x="61" y="0"/>
                    <a:pt x="64" y="0"/>
                  </a:cubicBezTo>
                  <a:cubicBezTo>
                    <a:pt x="67" y="0"/>
                    <a:pt x="68" y="0"/>
                    <a:pt x="70" y="0"/>
                  </a:cubicBezTo>
                  <a:cubicBezTo>
                    <a:pt x="72" y="0"/>
                    <a:pt x="74" y="0"/>
                    <a:pt x="76" y="0"/>
                  </a:cubicBezTo>
                  <a:cubicBezTo>
                    <a:pt x="80" y="1"/>
                    <a:pt x="89" y="7"/>
                    <a:pt x="97" y="12"/>
                  </a:cubicBezTo>
                  <a:cubicBezTo>
                    <a:pt x="101" y="14"/>
                    <a:pt x="104" y="16"/>
                    <a:pt x="105" y="17"/>
                  </a:cubicBezTo>
                  <a:cubicBezTo>
                    <a:pt x="110" y="19"/>
                    <a:pt x="135" y="38"/>
                    <a:pt x="141" y="43"/>
                  </a:cubicBezTo>
                  <a:cubicBezTo>
                    <a:pt x="146" y="48"/>
                    <a:pt x="154" y="49"/>
                    <a:pt x="157" y="49"/>
                  </a:cubicBezTo>
                  <a:cubicBezTo>
                    <a:pt x="161" y="49"/>
                    <a:pt x="182" y="51"/>
                    <a:pt x="183" y="51"/>
                  </a:cubicBezTo>
                  <a:cubicBezTo>
                    <a:pt x="183" y="51"/>
                    <a:pt x="183" y="51"/>
                    <a:pt x="183" y="51"/>
                  </a:cubicBezTo>
                  <a:cubicBezTo>
                    <a:pt x="191" y="58"/>
                    <a:pt x="191" y="58"/>
                    <a:pt x="191" y="58"/>
                  </a:cubicBezTo>
                  <a:cubicBezTo>
                    <a:pt x="203" y="58"/>
                    <a:pt x="203" y="58"/>
                    <a:pt x="203" y="58"/>
                  </a:cubicBezTo>
                  <a:cubicBezTo>
                    <a:pt x="203" y="59"/>
                    <a:pt x="203" y="59"/>
                    <a:pt x="203" y="59"/>
                  </a:cubicBezTo>
                  <a:cubicBezTo>
                    <a:pt x="204" y="62"/>
                    <a:pt x="205" y="64"/>
                    <a:pt x="205" y="65"/>
                  </a:cubicBezTo>
                  <a:cubicBezTo>
                    <a:pt x="205" y="69"/>
                    <a:pt x="212" y="76"/>
                    <a:pt x="217" y="80"/>
                  </a:cubicBezTo>
                  <a:cubicBezTo>
                    <a:pt x="218" y="81"/>
                    <a:pt x="219" y="81"/>
                    <a:pt x="219" y="82"/>
                  </a:cubicBezTo>
                  <a:cubicBezTo>
                    <a:pt x="224" y="86"/>
                    <a:pt x="229" y="94"/>
                    <a:pt x="226" y="98"/>
                  </a:cubicBezTo>
                  <a:cubicBezTo>
                    <a:pt x="225" y="99"/>
                    <a:pt x="225" y="99"/>
                    <a:pt x="225" y="100"/>
                  </a:cubicBezTo>
                  <a:cubicBezTo>
                    <a:pt x="226" y="104"/>
                    <a:pt x="231" y="112"/>
                    <a:pt x="233" y="113"/>
                  </a:cubicBezTo>
                  <a:cubicBezTo>
                    <a:pt x="234" y="113"/>
                    <a:pt x="234" y="113"/>
                    <a:pt x="234" y="113"/>
                  </a:cubicBezTo>
                  <a:cubicBezTo>
                    <a:pt x="234" y="113"/>
                    <a:pt x="234" y="113"/>
                    <a:pt x="234" y="113"/>
                  </a:cubicBezTo>
                  <a:cubicBezTo>
                    <a:pt x="236" y="120"/>
                    <a:pt x="241" y="122"/>
                    <a:pt x="244" y="122"/>
                  </a:cubicBezTo>
                  <a:cubicBezTo>
                    <a:pt x="245" y="121"/>
                    <a:pt x="245" y="121"/>
                    <a:pt x="245" y="121"/>
                  </a:cubicBezTo>
                  <a:cubicBezTo>
                    <a:pt x="246" y="121"/>
                    <a:pt x="246" y="121"/>
                    <a:pt x="246" y="121"/>
                  </a:cubicBezTo>
                  <a:cubicBezTo>
                    <a:pt x="246" y="122"/>
                    <a:pt x="246" y="122"/>
                    <a:pt x="246" y="122"/>
                  </a:cubicBezTo>
                  <a:cubicBezTo>
                    <a:pt x="247" y="125"/>
                    <a:pt x="249" y="129"/>
                    <a:pt x="252" y="131"/>
                  </a:cubicBezTo>
                  <a:cubicBezTo>
                    <a:pt x="252" y="131"/>
                    <a:pt x="252" y="131"/>
                    <a:pt x="252" y="131"/>
                  </a:cubicBezTo>
                  <a:cubicBezTo>
                    <a:pt x="252" y="131"/>
                    <a:pt x="252" y="131"/>
                    <a:pt x="252" y="131"/>
                  </a:cubicBezTo>
                  <a:cubicBezTo>
                    <a:pt x="253" y="140"/>
                    <a:pt x="263" y="146"/>
                    <a:pt x="263" y="146"/>
                  </a:cubicBezTo>
                  <a:cubicBezTo>
                    <a:pt x="264" y="147"/>
                    <a:pt x="291" y="151"/>
                    <a:pt x="298" y="151"/>
                  </a:cubicBezTo>
                  <a:cubicBezTo>
                    <a:pt x="298" y="151"/>
                    <a:pt x="299" y="151"/>
                    <a:pt x="299" y="150"/>
                  </a:cubicBezTo>
                  <a:cubicBezTo>
                    <a:pt x="303" y="150"/>
                    <a:pt x="307" y="158"/>
                    <a:pt x="307" y="161"/>
                  </a:cubicBezTo>
                  <a:cubicBezTo>
                    <a:pt x="307" y="164"/>
                    <a:pt x="299" y="190"/>
                    <a:pt x="297" y="192"/>
                  </a:cubicBezTo>
                  <a:cubicBezTo>
                    <a:pt x="295" y="194"/>
                    <a:pt x="245" y="210"/>
                    <a:pt x="238" y="211"/>
                  </a:cubicBezTo>
                  <a:cubicBezTo>
                    <a:pt x="234" y="212"/>
                    <a:pt x="227" y="212"/>
                    <a:pt x="220" y="212"/>
                  </a:cubicBezTo>
                  <a:cubicBezTo>
                    <a:pt x="215" y="212"/>
                    <a:pt x="210" y="212"/>
                    <a:pt x="209" y="213"/>
                  </a:cubicBezTo>
                  <a:cubicBezTo>
                    <a:pt x="207" y="214"/>
                    <a:pt x="190" y="227"/>
                    <a:pt x="187" y="232"/>
                  </a:cubicBezTo>
                  <a:cubicBezTo>
                    <a:pt x="185" y="237"/>
                    <a:pt x="183" y="238"/>
                    <a:pt x="181" y="238"/>
                  </a:cubicBezTo>
                  <a:cubicBezTo>
                    <a:pt x="179" y="238"/>
                    <a:pt x="178" y="237"/>
                    <a:pt x="176" y="236"/>
                  </a:cubicBezTo>
                  <a:cubicBezTo>
                    <a:pt x="174" y="235"/>
                    <a:pt x="168" y="234"/>
                    <a:pt x="163" y="234"/>
                  </a:cubicBezTo>
                  <a:cubicBezTo>
                    <a:pt x="159" y="234"/>
                    <a:pt x="157" y="233"/>
                    <a:pt x="156" y="233"/>
                  </a:cubicBezTo>
                  <a:cubicBezTo>
                    <a:pt x="155" y="232"/>
                    <a:pt x="149" y="231"/>
                    <a:pt x="143" y="231"/>
                  </a:cubicBezTo>
                  <a:cubicBezTo>
                    <a:pt x="141" y="231"/>
                    <a:pt x="140" y="231"/>
                    <a:pt x="139" y="231"/>
                  </a:cubicBezTo>
                  <a:cubicBezTo>
                    <a:pt x="138" y="231"/>
                    <a:pt x="137" y="231"/>
                    <a:pt x="137" y="231"/>
                  </a:cubicBezTo>
                  <a:cubicBezTo>
                    <a:pt x="134" y="231"/>
                    <a:pt x="133" y="231"/>
                    <a:pt x="131" y="230"/>
                  </a:cubicBezTo>
                  <a:cubicBezTo>
                    <a:pt x="130" y="230"/>
                    <a:pt x="129" y="229"/>
                    <a:pt x="128" y="230"/>
                  </a:cubicBezTo>
                  <a:cubicBezTo>
                    <a:pt x="125" y="230"/>
                    <a:pt x="123" y="234"/>
                    <a:pt x="122" y="235"/>
                  </a:cubicBezTo>
                  <a:cubicBezTo>
                    <a:pt x="121" y="236"/>
                    <a:pt x="122" y="237"/>
                    <a:pt x="122" y="239"/>
                  </a:cubicBezTo>
                  <a:cubicBezTo>
                    <a:pt x="122" y="240"/>
                    <a:pt x="123" y="242"/>
                    <a:pt x="122" y="243"/>
                  </a:cubicBezTo>
                  <a:cubicBezTo>
                    <a:pt x="122" y="243"/>
                    <a:pt x="122" y="243"/>
                    <a:pt x="115" y="247"/>
                  </a:cubicBezTo>
                  <a:close/>
                  <a:moveTo>
                    <a:pt x="1" y="48"/>
                  </a:moveTo>
                  <a:cubicBezTo>
                    <a:pt x="1" y="50"/>
                    <a:pt x="1" y="52"/>
                    <a:pt x="1" y="54"/>
                  </a:cubicBezTo>
                  <a:cubicBezTo>
                    <a:pt x="1" y="58"/>
                    <a:pt x="1" y="64"/>
                    <a:pt x="3" y="64"/>
                  </a:cubicBezTo>
                  <a:cubicBezTo>
                    <a:pt x="5" y="65"/>
                    <a:pt x="6" y="67"/>
                    <a:pt x="8" y="70"/>
                  </a:cubicBezTo>
                  <a:cubicBezTo>
                    <a:pt x="10" y="73"/>
                    <a:pt x="12" y="76"/>
                    <a:pt x="15" y="79"/>
                  </a:cubicBezTo>
                  <a:cubicBezTo>
                    <a:pt x="21" y="86"/>
                    <a:pt x="36" y="107"/>
                    <a:pt x="36" y="112"/>
                  </a:cubicBezTo>
                  <a:cubicBezTo>
                    <a:pt x="36" y="118"/>
                    <a:pt x="40" y="123"/>
                    <a:pt x="47" y="128"/>
                  </a:cubicBezTo>
                  <a:cubicBezTo>
                    <a:pt x="52" y="131"/>
                    <a:pt x="54" y="135"/>
                    <a:pt x="56" y="139"/>
                  </a:cubicBezTo>
                  <a:cubicBezTo>
                    <a:pt x="57" y="141"/>
                    <a:pt x="58" y="143"/>
                    <a:pt x="60" y="144"/>
                  </a:cubicBezTo>
                  <a:cubicBezTo>
                    <a:pt x="64" y="147"/>
                    <a:pt x="64" y="151"/>
                    <a:pt x="64" y="156"/>
                  </a:cubicBezTo>
                  <a:cubicBezTo>
                    <a:pt x="64" y="158"/>
                    <a:pt x="64" y="159"/>
                    <a:pt x="64" y="161"/>
                  </a:cubicBezTo>
                  <a:cubicBezTo>
                    <a:pt x="64" y="169"/>
                    <a:pt x="68" y="180"/>
                    <a:pt x="76" y="185"/>
                  </a:cubicBezTo>
                  <a:cubicBezTo>
                    <a:pt x="84" y="190"/>
                    <a:pt x="89" y="196"/>
                    <a:pt x="93" y="204"/>
                  </a:cubicBezTo>
                  <a:cubicBezTo>
                    <a:pt x="96" y="213"/>
                    <a:pt x="101" y="221"/>
                    <a:pt x="106" y="226"/>
                  </a:cubicBezTo>
                  <a:cubicBezTo>
                    <a:pt x="109" y="229"/>
                    <a:pt x="109" y="231"/>
                    <a:pt x="109" y="233"/>
                  </a:cubicBezTo>
                  <a:cubicBezTo>
                    <a:pt x="109" y="235"/>
                    <a:pt x="110" y="236"/>
                    <a:pt x="111" y="237"/>
                  </a:cubicBezTo>
                  <a:cubicBezTo>
                    <a:pt x="112" y="239"/>
                    <a:pt x="114" y="242"/>
                    <a:pt x="115" y="245"/>
                  </a:cubicBezTo>
                  <a:cubicBezTo>
                    <a:pt x="121" y="243"/>
                    <a:pt x="121" y="242"/>
                    <a:pt x="121" y="242"/>
                  </a:cubicBezTo>
                  <a:cubicBezTo>
                    <a:pt x="122" y="242"/>
                    <a:pt x="121" y="240"/>
                    <a:pt x="121" y="239"/>
                  </a:cubicBezTo>
                  <a:cubicBezTo>
                    <a:pt x="121" y="237"/>
                    <a:pt x="120" y="235"/>
                    <a:pt x="121" y="234"/>
                  </a:cubicBezTo>
                  <a:cubicBezTo>
                    <a:pt x="122" y="233"/>
                    <a:pt x="125" y="230"/>
                    <a:pt x="128" y="229"/>
                  </a:cubicBezTo>
                  <a:cubicBezTo>
                    <a:pt x="129" y="228"/>
                    <a:pt x="130" y="229"/>
                    <a:pt x="132" y="229"/>
                  </a:cubicBezTo>
                  <a:cubicBezTo>
                    <a:pt x="133" y="230"/>
                    <a:pt x="135" y="230"/>
                    <a:pt x="137" y="230"/>
                  </a:cubicBezTo>
                  <a:cubicBezTo>
                    <a:pt x="138" y="230"/>
                    <a:pt x="138" y="230"/>
                    <a:pt x="138" y="230"/>
                  </a:cubicBezTo>
                  <a:cubicBezTo>
                    <a:pt x="140" y="230"/>
                    <a:pt x="141" y="230"/>
                    <a:pt x="143" y="230"/>
                  </a:cubicBezTo>
                  <a:cubicBezTo>
                    <a:pt x="148" y="230"/>
                    <a:pt x="156" y="231"/>
                    <a:pt x="157" y="232"/>
                  </a:cubicBezTo>
                  <a:cubicBezTo>
                    <a:pt x="157" y="232"/>
                    <a:pt x="160" y="233"/>
                    <a:pt x="163" y="233"/>
                  </a:cubicBezTo>
                  <a:cubicBezTo>
                    <a:pt x="168" y="233"/>
                    <a:pt x="175" y="234"/>
                    <a:pt x="177" y="235"/>
                  </a:cubicBezTo>
                  <a:cubicBezTo>
                    <a:pt x="181" y="238"/>
                    <a:pt x="184" y="237"/>
                    <a:pt x="186" y="232"/>
                  </a:cubicBezTo>
                  <a:cubicBezTo>
                    <a:pt x="189" y="226"/>
                    <a:pt x="206" y="213"/>
                    <a:pt x="209" y="212"/>
                  </a:cubicBezTo>
                  <a:cubicBezTo>
                    <a:pt x="210" y="211"/>
                    <a:pt x="214" y="211"/>
                    <a:pt x="220" y="211"/>
                  </a:cubicBezTo>
                  <a:cubicBezTo>
                    <a:pt x="227" y="211"/>
                    <a:pt x="234" y="211"/>
                    <a:pt x="238" y="210"/>
                  </a:cubicBezTo>
                  <a:cubicBezTo>
                    <a:pt x="246" y="209"/>
                    <a:pt x="294" y="193"/>
                    <a:pt x="296" y="191"/>
                  </a:cubicBezTo>
                  <a:cubicBezTo>
                    <a:pt x="298" y="190"/>
                    <a:pt x="306" y="164"/>
                    <a:pt x="306" y="161"/>
                  </a:cubicBezTo>
                  <a:cubicBezTo>
                    <a:pt x="306" y="159"/>
                    <a:pt x="302" y="151"/>
                    <a:pt x="299" y="151"/>
                  </a:cubicBezTo>
                  <a:cubicBezTo>
                    <a:pt x="299" y="152"/>
                    <a:pt x="298" y="152"/>
                    <a:pt x="298" y="152"/>
                  </a:cubicBezTo>
                  <a:cubicBezTo>
                    <a:pt x="292" y="152"/>
                    <a:pt x="264" y="149"/>
                    <a:pt x="262" y="147"/>
                  </a:cubicBezTo>
                  <a:cubicBezTo>
                    <a:pt x="262" y="147"/>
                    <a:pt x="252" y="141"/>
                    <a:pt x="251" y="131"/>
                  </a:cubicBezTo>
                  <a:cubicBezTo>
                    <a:pt x="249" y="130"/>
                    <a:pt x="246" y="126"/>
                    <a:pt x="245" y="122"/>
                  </a:cubicBezTo>
                  <a:cubicBezTo>
                    <a:pt x="244" y="123"/>
                    <a:pt x="244" y="123"/>
                    <a:pt x="244" y="123"/>
                  </a:cubicBezTo>
                  <a:cubicBezTo>
                    <a:pt x="240" y="123"/>
                    <a:pt x="236" y="121"/>
                    <a:pt x="233" y="114"/>
                  </a:cubicBezTo>
                  <a:cubicBezTo>
                    <a:pt x="230" y="112"/>
                    <a:pt x="225" y="105"/>
                    <a:pt x="224" y="100"/>
                  </a:cubicBezTo>
                  <a:cubicBezTo>
                    <a:pt x="224" y="99"/>
                    <a:pt x="224" y="98"/>
                    <a:pt x="225" y="98"/>
                  </a:cubicBezTo>
                  <a:cubicBezTo>
                    <a:pt x="228" y="94"/>
                    <a:pt x="223" y="87"/>
                    <a:pt x="219" y="83"/>
                  </a:cubicBezTo>
                  <a:cubicBezTo>
                    <a:pt x="218" y="82"/>
                    <a:pt x="217" y="81"/>
                    <a:pt x="217" y="81"/>
                  </a:cubicBezTo>
                  <a:cubicBezTo>
                    <a:pt x="211" y="76"/>
                    <a:pt x="204" y="70"/>
                    <a:pt x="204" y="65"/>
                  </a:cubicBezTo>
                  <a:cubicBezTo>
                    <a:pt x="204" y="64"/>
                    <a:pt x="203" y="62"/>
                    <a:pt x="202" y="59"/>
                  </a:cubicBezTo>
                  <a:cubicBezTo>
                    <a:pt x="191" y="59"/>
                    <a:pt x="191" y="59"/>
                    <a:pt x="191" y="59"/>
                  </a:cubicBezTo>
                  <a:cubicBezTo>
                    <a:pt x="183" y="52"/>
                    <a:pt x="183" y="52"/>
                    <a:pt x="183" y="52"/>
                  </a:cubicBezTo>
                  <a:cubicBezTo>
                    <a:pt x="181" y="52"/>
                    <a:pt x="161" y="50"/>
                    <a:pt x="157" y="50"/>
                  </a:cubicBezTo>
                  <a:cubicBezTo>
                    <a:pt x="154" y="50"/>
                    <a:pt x="145" y="48"/>
                    <a:pt x="140" y="44"/>
                  </a:cubicBezTo>
                  <a:cubicBezTo>
                    <a:pt x="135" y="39"/>
                    <a:pt x="110" y="20"/>
                    <a:pt x="105" y="18"/>
                  </a:cubicBezTo>
                  <a:cubicBezTo>
                    <a:pt x="103" y="17"/>
                    <a:pt x="100" y="15"/>
                    <a:pt x="97" y="13"/>
                  </a:cubicBezTo>
                  <a:cubicBezTo>
                    <a:pt x="89" y="8"/>
                    <a:pt x="80" y="2"/>
                    <a:pt x="76" y="1"/>
                  </a:cubicBezTo>
                  <a:cubicBezTo>
                    <a:pt x="74" y="1"/>
                    <a:pt x="72" y="1"/>
                    <a:pt x="70" y="1"/>
                  </a:cubicBezTo>
                  <a:cubicBezTo>
                    <a:pt x="68" y="1"/>
                    <a:pt x="67" y="1"/>
                    <a:pt x="64" y="1"/>
                  </a:cubicBezTo>
                  <a:cubicBezTo>
                    <a:pt x="62" y="1"/>
                    <a:pt x="61" y="2"/>
                    <a:pt x="60" y="3"/>
                  </a:cubicBezTo>
                  <a:cubicBezTo>
                    <a:pt x="58" y="4"/>
                    <a:pt x="56" y="6"/>
                    <a:pt x="49" y="6"/>
                  </a:cubicBezTo>
                  <a:cubicBezTo>
                    <a:pt x="41" y="6"/>
                    <a:pt x="35" y="11"/>
                    <a:pt x="35" y="13"/>
                  </a:cubicBezTo>
                  <a:cubicBezTo>
                    <a:pt x="35" y="14"/>
                    <a:pt x="35" y="14"/>
                    <a:pt x="35" y="14"/>
                  </a:cubicBezTo>
                  <a:cubicBezTo>
                    <a:pt x="38" y="15"/>
                    <a:pt x="47" y="22"/>
                    <a:pt x="47" y="26"/>
                  </a:cubicBezTo>
                  <a:cubicBezTo>
                    <a:pt x="47" y="27"/>
                    <a:pt x="47" y="27"/>
                    <a:pt x="46" y="28"/>
                  </a:cubicBezTo>
                  <a:cubicBezTo>
                    <a:pt x="45" y="28"/>
                    <a:pt x="44" y="29"/>
                    <a:pt x="43" y="31"/>
                  </a:cubicBezTo>
                  <a:cubicBezTo>
                    <a:pt x="42" y="33"/>
                    <a:pt x="40" y="35"/>
                    <a:pt x="37" y="35"/>
                  </a:cubicBezTo>
                  <a:cubicBezTo>
                    <a:pt x="31" y="35"/>
                    <a:pt x="29" y="36"/>
                    <a:pt x="29" y="38"/>
                  </a:cubicBezTo>
                  <a:cubicBezTo>
                    <a:pt x="29" y="42"/>
                    <a:pt x="22" y="48"/>
                    <a:pt x="17" y="47"/>
                  </a:cubicBezTo>
                  <a:cubicBezTo>
                    <a:pt x="14" y="47"/>
                    <a:pt x="7" y="44"/>
                    <a:pt x="3" y="41"/>
                  </a:cubicBezTo>
                  <a:cubicBezTo>
                    <a:pt x="1" y="45"/>
                    <a:pt x="1" y="45"/>
                    <a:pt x="1" y="45"/>
                  </a:cubicBezTo>
                  <a:lnTo>
                    <a:pt x="1" y="48"/>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4" name="Freeform 91"/>
            <p:cNvSpPr>
              <a:spLocks noEditPoints="1"/>
            </p:cNvSpPr>
            <p:nvPr/>
          </p:nvSpPr>
          <p:spPr>
            <a:xfrm>
              <a:off x="6051551" y="3170238"/>
              <a:ext cx="200025" cy="225425"/>
            </a:xfrm>
            <a:custGeom>
              <a:gdLst>
                <a:gd name="T0" fmla="*/ 18 w 118"/>
                <a:gd name="T1" fmla="*/ 132 h 132"/>
                <a:gd name="T2" fmla="*/ 0 w 118"/>
                <a:gd name="T3" fmla="*/ 94 h 132"/>
                <a:gd name="T4" fmla="*/ 45 w 118"/>
                <a:gd name="T5" fmla="*/ 79 h 132"/>
                <a:gd name="T6" fmla="*/ 48 w 118"/>
                <a:gd name="T7" fmla="*/ 39 h 132"/>
                <a:gd name="T8" fmla="*/ 44 w 118"/>
                <a:gd name="T9" fmla="*/ 39 h 132"/>
                <a:gd name="T10" fmla="*/ 59 w 118"/>
                <a:gd name="T11" fmla="*/ 15 h 132"/>
                <a:gd name="T12" fmla="*/ 64 w 118"/>
                <a:gd name="T13" fmla="*/ 4 h 132"/>
                <a:gd name="T14" fmla="*/ 70 w 118"/>
                <a:gd name="T15" fmla="*/ 1 h 132"/>
                <a:gd name="T16" fmla="*/ 95 w 118"/>
                <a:gd name="T17" fmla="*/ 23 h 132"/>
                <a:gd name="T18" fmla="*/ 114 w 118"/>
                <a:gd name="T19" fmla="*/ 40 h 132"/>
                <a:gd name="T20" fmla="*/ 115 w 118"/>
                <a:gd name="T21" fmla="*/ 49 h 132"/>
                <a:gd name="T22" fmla="*/ 104 w 118"/>
                <a:gd name="T23" fmla="*/ 66 h 132"/>
                <a:gd name="T24" fmla="*/ 87 w 118"/>
                <a:gd name="T25" fmla="*/ 94 h 132"/>
                <a:gd name="T26" fmla="*/ 77 w 118"/>
                <a:gd name="T27" fmla="*/ 99 h 132"/>
                <a:gd name="T28" fmla="*/ 68 w 118"/>
                <a:gd name="T29" fmla="*/ 112 h 132"/>
                <a:gd name="T30" fmla="*/ 63 w 118"/>
                <a:gd name="T31" fmla="*/ 112 h 132"/>
                <a:gd name="T32" fmla="*/ 52 w 118"/>
                <a:gd name="T33" fmla="*/ 115 h 132"/>
                <a:gd name="T34" fmla="*/ 46 w 118"/>
                <a:gd name="T35" fmla="*/ 126 h 132"/>
                <a:gd name="T36" fmla="*/ 23 w 118"/>
                <a:gd name="T37" fmla="*/ 130 h 132"/>
                <a:gd name="T38" fmla="*/ 18 w 118"/>
                <a:gd name="T39" fmla="*/ 132 h 132"/>
                <a:gd name="T40" fmla="*/ 19 w 118"/>
                <a:gd name="T41" fmla="*/ 131 h 132"/>
                <a:gd name="T42" fmla="*/ 38 w 118"/>
                <a:gd name="T43" fmla="*/ 126 h 132"/>
                <a:gd name="T44" fmla="*/ 49 w 118"/>
                <a:gd name="T45" fmla="*/ 121 h 132"/>
                <a:gd name="T46" fmla="*/ 60 w 118"/>
                <a:gd name="T47" fmla="*/ 111 h 132"/>
                <a:gd name="T48" fmla="*/ 65 w 118"/>
                <a:gd name="T49" fmla="*/ 112 h 132"/>
                <a:gd name="T50" fmla="*/ 70 w 118"/>
                <a:gd name="T51" fmla="*/ 106 h 132"/>
                <a:gd name="T52" fmla="*/ 82 w 118"/>
                <a:gd name="T53" fmla="*/ 97 h 132"/>
                <a:gd name="T54" fmla="*/ 91 w 118"/>
                <a:gd name="T55" fmla="*/ 74 h 132"/>
                <a:gd name="T56" fmla="*/ 109 w 118"/>
                <a:gd name="T57" fmla="*/ 56 h 132"/>
                <a:gd name="T58" fmla="*/ 116 w 118"/>
                <a:gd name="T59" fmla="*/ 43 h 132"/>
                <a:gd name="T60" fmla="*/ 101 w 118"/>
                <a:gd name="T61" fmla="*/ 26 h 132"/>
                <a:gd name="T62" fmla="*/ 77 w 118"/>
                <a:gd name="T63" fmla="*/ 17 h 132"/>
                <a:gd name="T64" fmla="*/ 65 w 118"/>
                <a:gd name="T65" fmla="*/ 5 h 132"/>
                <a:gd name="T66" fmla="*/ 60 w 118"/>
                <a:gd name="T67" fmla="*/ 15 h 132"/>
                <a:gd name="T68" fmla="*/ 50 w 118"/>
                <a:gd name="T69" fmla="*/ 27 h 132"/>
                <a:gd name="T70" fmla="*/ 48 w 118"/>
                <a:gd name="T71" fmla="*/ 38 h 132"/>
                <a:gd name="T72" fmla="*/ 56 w 118"/>
                <a:gd name="T73" fmla="*/ 49 h 132"/>
                <a:gd name="T74" fmla="*/ 2 w 118"/>
                <a:gd name="T75" fmla="*/ 95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32">
                  <a:moveTo>
                    <a:pt x="18" y="132"/>
                  </a:moveTo>
                  <a:cubicBezTo>
                    <a:pt x="18" y="132"/>
                    <a:pt x="18" y="132"/>
                    <a:pt x="18" y="132"/>
                  </a:cubicBezTo>
                  <a:cubicBezTo>
                    <a:pt x="11" y="116"/>
                    <a:pt x="3" y="100"/>
                    <a:pt x="0" y="95"/>
                  </a:cubicBezTo>
                  <a:cubicBezTo>
                    <a:pt x="0" y="94"/>
                    <a:pt x="0" y="94"/>
                    <a:pt x="0" y="94"/>
                  </a:cubicBezTo>
                  <a:cubicBezTo>
                    <a:pt x="1" y="94"/>
                    <a:pt x="1" y="94"/>
                    <a:pt x="1" y="94"/>
                  </a:cubicBezTo>
                  <a:cubicBezTo>
                    <a:pt x="19" y="89"/>
                    <a:pt x="44" y="80"/>
                    <a:pt x="45" y="79"/>
                  </a:cubicBezTo>
                  <a:cubicBezTo>
                    <a:pt x="47" y="78"/>
                    <a:pt x="55" y="52"/>
                    <a:pt x="55" y="49"/>
                  </a:cubicBezTo>
                  <a:cubicBezTo>
                    <a:pt x="55" y="47"/>
                    <a:pt x="51" y="39"/>
                    <a:pt x="48" y="39"/>
                  </a:cubicBezTo>
                  <a:cubicBezTo>
                    <a:pt x="47" y="40"/>
                    <a:pt x="46" y="40"/>
                    <a:pt x="45" y="39"/>
                  </a:cubicBezTo>
                  <a:cubicBezTo>
                    <a:pt x="44" y="39"/>
                    <a:pt x="44" y="39"/>
                    <a:pt x="44" y="39"/>
                  </a:cubicBezTo>
                  <a:cubicBezTo>
                    <a:pt x="49" y="26"/>
                    <a:pt x="49" y="26"/>
                    <a:pt x="49" y="26"/>
                  </a:cubicBezTo>
                  <a:cubicBezTo>
                    <a:pt x="59" y="15"/>
                    <a:pt x="59" y="15"/>
                    <a:pt x="59" y="15"/>
                  </a:cubicBezTo>
                  <a:cubicBezTo>
                    <a:pt x="59" y="4"/>
                    <a:pt x="59" y="4"/>
                    <a:pt x="59" y="4"/>
                  </a:cubicBezTo>
                  <a:cubicBezTo>
                    <a:pt x="64" y="4"/>
                    <a:pt x="64" y="4"/>
                    <a:pt x="64" y="4"/>
                  </a:cubicBezTo>
                  <a:cubicBezTo>
                    <a:pt x="70" y="0"/>
                    <a:pt x="70" y="0"/>
                    <a:pt x="70" y="0"/>
                  </a:cubicBezTo>
                  <a:cubicBezTo>
                    <a:pt x="70" y="1"/>
                    <a:pt x="70" y="1"/>
                    <a:pt x="70" y="1"/>
                  </a:cubicBezTo>
                  <a:cubicBezTo>
                    <a:pt x="72" y="9"/>
                    <a:pt x="74" y="14"/>
                    <a:pt x="78" y="16"/>
                  </a:cubicBezTo>
                  <a:cubicBezTo>
                    <a:pt x="84" y="21"/>
                    <a:pt x="90" y="22"/>
                    <a:pt x="95" y="23"/>
                  </a:cubicBezTo>
                  <a:cubicBezTo>
                    <a:pt x="99" y="23"/>
                    <a:pt x="101" y="24"/>
                    <a:pt x="102" y="25"/>
                  </a:cubicBezTo>
                  <a:cubicBezTo>
                    <a:pt x="105" y="31"/>
                    <a:pt x="111" y="40"/>
                    <a:pt x="114" y="40"/>
                  </a:cubicBezTo>
                  <a:cubicBezTo>
                    <a:pt x="116" y="41"/>
                    <a:pt x="117" y="41"/>
                    <a:pt x="117" y="42"/>
                  </a:cubicBezTo>
                  <a:cubicBezTo>
                    <a:pt x="118" y="44"/>
                    <a:pt x="117" y="46"/>
                    <a:pt x="115" y="49"/>
                  </a:cubicBezTo>
                  <a:cubicBezTo>
                    <a:pt x="114" y="51"/>
                    <a:pt x="112" y="54"/>
                    <a:pt x="110" y="57"/>
                  </a:cubicBezTo>
                  <a:cubicBezTo>
                    <a:pt x="107" y="60"/>
                    <a:pt x="104" y="65"/>
                    <a:pt x="104" y="66"/>
                  </a:cubicBezTo>
                  <a:cubicBezTo>
                    <a:pt x="103" y="69"/>
                    <a:pt x="96" y="74"/>
                    <a:pt x="91" y="75"/>
                  </a:cubicBezTo>
                  <a:cubicBezTo>
                    <a:pt x="87" y="75"/>
                    <a:pt x="86" y="89"/>
                    <a:pt x="87" y="94"/>
                  </a:cubicBezTo>
                  <a:cubicBezTo>
                    <a:pt x="87" y="97"/>
                    <a:pt x="85" y="97"/>
                    <a:pt x="82" y="98"/>
                  </a:cubicBezTo>
                  <a:cubicBezTo>
                    <a:pt x="80" y="98"/>
                    <a:pt x="79" y="98"/>
                    <a:pt x="77" y="99"/>
                  </a:cubicBezTo>
                  <a:cubicBezTo>
                    <a:pt x="75" y="100"/>
                    <a:pt x="73" y="103"/>
                    <a:pt x="71" y="107"/>
                  </a:cubicBezTo>
                  <a:cubicBezTo>
                    <a:pt x="70" y="109"/>
                    <a:pt x="69" y="111"/>
                    <a:pt x="68" y="112"/>
                  </a:cubicBezTo>
                  <a:cubicBezTo>
                    <a:pt x="67" y="112"/>
                    <a:pt x="66" y="113"/>
                    <a:pt x="65" y="113"/>
                  </a:cubicBezTo>
                  <a:cubicBezTo>
                    <a:pt x="64" y="113"/>
                    <a:pt x="64" y="113"/>
                    <a:pt x="63" y="112"/>
                  </a:cubicBezTo>
                  <a:cubicBezTo>
                    <a:pt x="62" y="112"/>
                    <a:pt x="61" y="112"/>
                    <a:pt x="60" y="112"/>
                  </a:cubicBezTo>
                  <a:cubicBezTo>
                    <a:pt x="57" y="112"/>
                    <a:pt x="54" y="113"/>
                    <a:pt x="52" y="115"/>
                  </a:cubicBezTo>
                  <a:cubicBezTo>
                    <a:pt x="50" y="117"/>
                    <a:pt x="50" y="119"/>
                    <a:pt x="50" y="121"/>
                  </a:cubicBezTo>
                  <a:cubicBezTo>
                    <a:pt x="50" y="123"/>
                    <a:pt x="50" y="125"/>
                    <a:pt x="46" y="126"/>
                  </a:cubicBezTo>
                  <a:cubicBezTo>
                    <a:pt x="44" y="127"/>
                    <a:pt x="41" y="127"/>
                    <a:pt x="38" y="127"/>
                  </a:cubicBezTo>
                  <a:cubicBezTo>
                    <a:pt x="33" y="127"/>
                    <a:pt x="28" y="127"/>
                    <a:pt x="23" y="130"/>
                  </a:cubicBezTo>
                  <a:cubicBezTo>
                    <a:pt x="21" y="131"/>
                    <a:pt x="20" y="132"/>
                    <a:pt x="19" y="132"/>
                  </a:cubicBezTo>
                  <a:lnTo>
                    <a:pt x="18" y="132"/>
                  </a:lnTo>
                  <a:close/>
                  <a:moveTo>
                    <a:pt x="2" y="95"/>
                  </a:moveTo>
                  <a:cubicBezTo>
                    <a:pt x="4" y="100"/>
                    <a:pt x="12" y="116"/>
                    <a:pt x="19" y="131"/>
                  </a:cubicBezTo>
                  <a:cubicBezTo>
                    <a:pt x="20" y="131"/>
                    <a:pt x="21" y="130"/>
                    <a:pt x="22" y="129"/>
                  </a:cubicBezTo>
                  <a:cubicBezTo>
                    <a:pt x="27" y="126"/>
                    <a:pt x="33" y="126"/>
                    <a:pt x="38" y="126"/>
                  </a:cubicBezTo>
                  <a:cubicBezTo>
                    <a:pt x="41" y="126"/>
                    <a:pt x="44" y="126"/>
                    <a:pt x="46" y="125"/>
                  </a:cubicBezTo>
                  <a:cubicBezTo>
                    <a:pt x="49" y="124"/>
                    <a:pt x="49" y="123"/>
                    <a:pt x="49" y="121"/>
                  </a:cubicBezTo>
                  <a:cubicBezTo>
                    <a:pt x="49" y="119"/>
                    <a:pt x="49" y="116"/>
                    <a:pt x="51" y="114"/>
                  </a:cubicBezTo>
                  <a:cubicBezTo>
                    <a:pt x="54" y="112"/>
                    <a:pt x="57" y="111"/>
                    <a:pt x="60" y="111"/>
                  </a:cubicBezTo>
                  <a:cubicBezTo>
                    <a:pt x="61" y="111"/>
                    <a:pt x="62" y="111"/>
                    <a:pt x="63" y="111"/>
                  </a:cubicBezTo>
                  <a:cubicBezTo>
                    <a:pt x="64" y="112"/>
                    <a:pt x="64" y="112"/>
                    <a:pt x="65" y="112"/>
                  </a:cubicBezTo>
                  <a:cubicBezTo>
                    <a:pt x="66" y="112"/>
                    <a:pt x="67" y="111"/>
                    <a:pt x="67" y="111"/>
                  </a:cubicBezTo>
                  <a:cubicBezTo>
                    <a:pt x="68" y="111"/>
                    <a:pt x="69" y="109"/>
                    <a:pt x="70" y="106"/>
                  </a:cubicBezTo>
                  <a:cubicBezTo>
                    <a:pt x="72" y="103"/>
                    <a:pt x="74" y="99"/>
                    <a:pt x="77" y="98"/>
                  </a:cubicBezTo>
                  <a:cubicBezTo>
                    <a:pt x="78" y="97"/>
                    <a:pt x="80" y="97"/>
                    <a:pt x="82" y="97"/>
                  </a:cubicBezTo>
                  <a:cubicBezTo>
                    <a:pt x="85" y="96"/>
                    <a:pt x="86" y="96"/>
                    <a:pt x="86" y="94"/>
                  </a:cubicBezTo>
                  <a:cubicBezTo>
                    <a:pt x="85" y="90"/>
                    <a:pt x="86" y="75"/>
                    <a:pt x="91" y="74"/>
                  </a:cubicBezTo>
                  <a:cubicBezTo>
                    <a:pt x="96" y="73"/>
                    <a:pt x="102" y="68"/>
                    <a:pt x="103" y="66"/>
                  </a:cubicBezTo>
                  <a:cubicBezTo>
                    <a:pt x="103" y="64"/>
                    <a:pt x="105" y="61"/>
                    <a:pt x="109" y="56"/>
                  </a:cubicBezTo>
                  <a:cubicBezTo>
                    <a:pt x="111" y="53"/>
                    <a:pt x="113" y="51"/>
                    <a:pt x="115" y="49"/>
                  </a:cubicBezTo>
                  <a:cubicBezTo>
                    <a:pt x="116" y="46"/>
                    <a:pt x="117" y="44"/>
                    <a:pt x="116" y="43"/>
                  </a:cubicBezTo>
                  <a:cubicBezTo>
                    <a:pt x="116" y="42"/>
                    <a:pt x="115" y="42"/>
                    <a:pt x="114" y="41"/>
                  </a:cubicBezTo>
                  <a:cubicBezTo>
                    <a:pt x="109" y="41"/>
                    <a:pt x="103" y="28"/>
                    <a:pt x="101" y="26"/>
                  </a:cubicBezTo>
                  <a:cubicBezTo>
                    <a:pt x="101" y="25"/>
                    <a:pt x="98" y="24"/>
                    <a:pt x="95" y="24"/>
                  </a:cubicBezTo>
                  <a:cubicBezTo>
                    <a:pt x="90" y="23"/>
                    <a:pt x="83" y="22"/>
                    <a:pt x="77" y="17"/>
                  </a:cubicBezTo>
                  <a:cubicBezTo>
                    <a:pt x="74" y="14"/>
                    <a:pt x="71" y="9"/>
                    <a:pt x="69" y="2"/>
                  </a:cubicBezTo>
                  <a:cubicBezTo>
                    <a:pt x="65" y="5"/>
                    <a:pt x="65" y="5"/>
                    <a:pt x="65" y="5"/>
                  </a:cubicBezTo>
                  <a:cubicBezTo>
                    <a:pt x="60" y="5"/>
                    <a:pt x="60" y="5"/>
                    <a:pt x="60" y="5"/>
                  </a:cubicBezTo>
                  <a:cubicBezTo>
                    <a:pt x="60" y="15"/>
                    <a:pt x="60" y="15"/>
                    <a:pt x="60" y="15"/>
                  </a:cubicBezTo>
                  <a:cubicBezTo>
                    <a:pt x="59" y="15"/>
                    <a:pt x="59" y="15"/>
                    <a:pt x="59" y="15"/>
                  </a:cubicBezTo>
                  <a:cubicBezTo>
                    <a:pt x="50" y="27"/>
                    <a:pt x="50" y="27"/>
                    <a:pt x="50" y="27"/>
                  </a:cubicBezTo>
                  <a:cubicBezTo>
                    <a:pt x="46" y="38"/>
                    <a:pt x="46" y="38"/>
                    <a:pt x="46" y="38"/>
                  </a:cubicBezTo>
                  <a:cubicBezTo>
                    <a:pt x="47" y="39"/>
                    <a:pt x="47" y="39"/>
                    <a:pt x="48" y="38"/>
                  </a:cubicBezTo>
                  <a:cubicBezTo>
                    <a:pt x="48" y="38"/>
                    <a:pt x="48" y="38"/>
                    <a:pt x="48" y="38"/>
                  </a:cubicBezTo>
                  <a:cubicBezTo>
                    <a:pt x="52" y="38"/>
                    <a:pt x="56" y="46"/>
                    <a:pt x="56" y="49"/>
                  </a:cubicBezTo>
                  <a:cubicBezTo>
                    <a:pt x="56" y="52"/>
                    <a:pt x="48" y="78"/>
                    <a:pt x="46" y="80"/>
                  </a:cubicBezTo>
                  <a:cubicBezTo>
                    <a:pt x="44" y="81"/>
                    <a:pt x="16" y="91"/>
                    <a:pt x="2" y="9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5" name="Freeform 92"/>
            <p:cNvSpPr>
              <a:spLocks noEditPoints="1"/>
            </p:cNvSpPr>
            <p:nvPr/>
          </p:nvSpPr>
          <p:spPr>
            <a:xfrm>
              <a:off x="6019801" y="3148013"/>
              <a:ext cx="30163" cy="41275"/>
            </a:xfrm>
            <a:custGeom>
              <a:gdLst>
                <a:gd name="T0" fmla="*/ 12 w 18"/>
                <a:gd name="T1" fmla="*/ 25 h 25"/>
                <a:gd name="T2" fmla="*/ 1 w 18"/>
                <a:gd name="T3" fmla="*/ 16 h 25"/>
                <a:gd name="T4" fmla="*/ 0 w 18"/>
                <a:gd name="T5" fmla="*/ 14 h 25"/>
                <a:gd name="T6" fmla="*/ 1 w 18"/>
                <a:gd name="T7" fmla="*/ 15 h 25"/>
                <a:gd name="T8" fmla="*/ 2 w 18"/>
                <a:gd name="T9" fmla="*/ 15 h 25"/>
                <a:gd name="T10" fmla="*/ 11 w 18"/>
                <a:gd name="T11" fmla="*/ 0 h 25"/>
                <a:gd name="T12" fmla="*/ 12 w 18"/>
                <a:gd name="T13" fmla="*/ 1 h 25"/>
                <a:gd name="T14" fmla="*/ 16 w 18"/>
                <a:gd name="T15" fmla="*/ 4 h 25"/>
                <a:gd name="T16" fmla="*/ 14 w 18"/>
                <a:gd name="T17" fmla="*/ 20 h 25"/>
                <a:gd name="T18" fmla="*/ 14 w 18"/>
                <a:gd name="T19" fmla="*/ 24 h 25"/>
                <a:gd name="T20" fmla="*/ 14 w 18"/>
                <a:gd name="T21" fmla="*/ 24 h 25"/>
                <a:gd name="T22" fmla="*/ 13 w 18"/>
                <a:gd name="T23" fmla="*/ 24 h 25"/>
                <a:gd name="T24" fmla="*/ 12 w 18"/>
                <a:gd name="T25" fmla="*/ 25 h 25"/>
                <a:gd name="T26" fmla="*/ 2 w 18"/>
                <a:gd name="T27" fmla="*/ 16 h 25"/>
                <a:gd name="T28" fmla="*/ 12 w 18"/>
                <a:gd name="T29" fmla="*/ 24 h 25"/>
                <a:gd name="T30" fmla="*/ 13 w 18"/>
                <a:gd name="T31" fmla="*/ 23 h 25"/>
                <a:gd name="T32" fmla="*/ 13 w 18"/>
                <a:gd name="T33" fmla="*/ 20 h 25"/>
                <a:gd name="T34" fmla="*/ 15 w 18"/>
                <a:gd name="T35" fmla="*/ 5 h 25"/>
                <a:gd name="T36" fmla="*/ 12 w 18"/>
                <a:gd name="T37" fmla="*/ 2 h 25"/>
                <a:gd name="T38" fmla="*/ 11 w 18"/>
                <a:gd name="T39" fmla="*/ 1 h 25"/>
                <a:gd name="T40" fmla="*/ 3 w 18"/>
                <a:gd name="T41" fmla="*/ 15 h 25"/>
                <a:gd name="T42" fmla="*/ 2 w 18"/>
                <a:gd name="T43" fmla="*/ 16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12" y="25"/>
                  </a:moveTo>
                  <a:cubicBezTo>
                    <a:pt x="8" y="25"/>
                    <a:pt x="4" y="23"/>
                    <a:pt x="1" y="16"/>
                  </a:cubicBezTo>
                  <a:cubicBezTo>
                    <a:pt x="0" y="14"/>
                    <a:pt x="0" y="14"/>
                    <a:pt x="0" y="14"/>
                  </a:cubicBezTo>
                  <a:cubicBezTo>
                    <a:pt x="1" y="15"/>
                    <a:pt x="1" y="15"/>
                    <a:pt x="1" y="15"/>
                  </a:cubicBezTo>
                  <a:cubicBezTo>
                    <a:pt x="2" y="15"/>
                    <a:pt x="2" y="15"/>
                    <a:pt x="2" y="15"/>
                  </a:cubicBezTo>
                  <a:cubicBezTo>
                    <a:pt x="2" y="12"/>
                    <a:pt x="5" y="0"/>
                    <a:pt x="11" y="0"/>
                  </a:cubicBezTo>
                  <a:cubicBezTo>
                    <a:pt x="12" y="1"/>
                    <a:pt x="12" y="1"/>
                    <a:pt x="12" y="1"/>
                  </a:cubicBezTo>
                  <a:cubicBezTo>
                    <a:pt x="14" y="1"/>
                    <a:pt x="15" y="2"/>
                    <a:pt x="16" y="4"/>
                  </a:cubicBezTo>
                  <a:cubicBezTo>
                    <a:pt x="18" y="9"/>
                    <a:pt x="16" y="17"/>
                    <a:pt x="14" y="20"/>
                  </a:cubicBezTo>
                  <a:cubicBezTo>
                    <a:pt x="14" y="21"/>
                    <a:pt x="13" y="22"/>
                    <a:pt x="14" y="24"/>
                  </a:cubicBezTo>
                  <a:cubicBezTo>
                    <a:pt x="14" y="24"/>
                    <a:pt x="14" y="24"/>
                    <a:pt x="14" y="24"/>
                  </a:cubicBezTo>
                  <a:cubicBezTo>
                    <a:pt x="13" y="24"/>
                    <a:pt x="13" y="24"/>
                    <a:pt x="13" y="24"/>
                  </a:cubicBezTo>
                  <a:cubicBezTo>
                    <a:pt x="12" y="25"/>
                    <a:pt x="12" y="25"/>
                    <a:pt x="12" y="25"/>
                  </a:cubicBezTo>
                  <a:close/>
                  <a:moveTo>
                    <a:pt x="2" y="16"/>
                  </a:moveTo>
                  <a:cubicBezTo>
                    <a:pt x="5" y="22"/>
                    <a:pt x="9" y="24"/>
                    <a:pt x="12" y="24"/>
                  </a:cubicBezTo>
                  <a:cubicBezTo>
                    <a:pt x="12" y="24"/>
                    <a:pt x="12" y="24"/>
                    <a:pt x="13" y="23"/>
                  </a:cubicBezTo>
                  <a:cubicBezTo>
                    <a:pt x="12" y="22"/>
                    <a:pt x="13" y="21"/>
                    <a:pt x="13" y="20"/>
                  </a:cubicBezTo>
                  <a:cubicBezTo>
                    <a:pt x="15" y="16"/>
                    <a:pt x="17" y="9"/>
                    <a:pt x="15" y="5"/>
                  </a:cubicBezTo>
                  <a:cubicBezTo>
                    <a:pt x="14" y="3"/>
                    <a:pt x="13" y="2"/>
                    <a:pt x="12" y="2"/>
                  </a:cubicBezTo>
                  <a:cubicBezTo>
                    <a:pt x="11" y="2"/>
                    <a:pt x="11" y="1"/>
                    <a:pt x="11" y="1"/>
                  </a:cubicBezTo>
                  <a:cubicBezTo>
                    <a:pt x="6" y="1"/>
                    <a:pt x="3" y="12"/>
                    <a:pt x="3" y="15"/>
                  </a:cubicBezTo>
                  <a:cubicBezTo>
                    <a:pt x="3" y="16"/>
                    <a:pt x="2" y="16"/>
                    <a:pt x="2" y="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6" name="Freeform 93"/>
            <p:cNvSpPr>
              <a:spLocks noEditPoints="1"/>
            </p:cNvSpPr>
            <p:nvPr/>
          </p:nvSpPr>
          <p:spPr>
            <a:xfrm>
              <a:off x="6051551" y="3141663"/>
              <a:ext cx="119063" cy="95250"/>
            </a:xfrm>
            <a:custGeom>
              <a:gdLst>
                <a:gd name="T0" fmla="*/ 45 w 70"/>
                <a:gd name="T1" fmla="*/ 56 h 56"/>
                <a:gd name="T2" fmla="*/ 45 w 70"/>
                <a:gd name="T3" fmla="*/ 56 h 56"/>
                <a:gd name="T4" fmla="*/ 11 w 70"/>
                <a:gd name="T5" fmla="*/ 52 h 56"/>
                <a:gd name="T6" fmla="*/ 0 w 70"/>
                <a:gd name="T7" fmla="*/ 36 h 56"/>
                <a:gd name="T8" fmla="*/ 0 w 70"/>
                <a:gd name="T9" fmla="*/ 35 h 56"/>
                <a:gd name="T10" fmla="*/ 1 w 70"/>
                <a:gd name="T11" fmla="*/ 36 h 56"/>
                <a:gd name="T12" fmla="*/ 3 w 70"/>
                <a:gd name="T13" fmla="*/ 37 h 56"/>
                <a:gd name="T14" fmla="*/ 4 w 70"/>
                <a:gd name="T15" fmla="*/ 36 h 56"/>
                <a:gd name="T16" fmla="*/ 16 w 70"/>
                <a:gd name="T17" fmla="*/ 32 h 56"/>
                <a:gd name="T18" fmla="*/ 21 w 70"/>
                <a:gd name="T19" fmla="*/ 32 h 56"/>
                <a:gd name="T20" fmla="*/ 25 w 70"/>
                <a:gd name="T21" fmla="*/ 32 h 56"/>
                <a:gd name="T22" fmla="*/ 48 w 70"/>
                <a:gd name="T23" fmla="*/ 19 h 56"/>
                <a:gd name="T24" fmla="*/ 66 w 70"/>
                <a:gd name="T25" fmla="*/ 0 h 56"/>
                <a:gd name="T26" fmla="*/ 68 w 70"/>
                <a:gd name="T27" fmla="*/ 8 h 56"/>
                <a:gd name="T28" fmla="*/ 70 w 70"/>
                <a:gd name="T29" fmla="*/ 18 h 56"/>
                <a:gd name="T30" fmla="*/ 70 w 70"/>
                <a:gd name="T31" fmla="*/ 18 h 56"/>
                <a:gd name="T32" fmla="*/ 65 w 70"/>
                <a:gd name="T33" fmla="*/ 22 h 56"/>
                <a:gd name="T34" fmla="*/ 60 w 70"/>
                <a:gd name="T35" fmla="*/ 22 h 56"/>
                <a:gd name="T36" fmla="*/ 60 w 70"/>
                <a:gd name="T37" fmla="*/ 32 h 56"/>
                <a:gd name="T38" fmla="*/ 59 w 70"/>
                <a:gd name="T39" fmla="*/ 32 h 56"/>
                <a:gd name="T40" fmla="*/ 50 w 70"/>
                <a:gd name="T41" fmla="*/ 44 h 56"/>
                <a:gd name="T42" fmla="*/ 45 w 70"/>
                <a:gd name="T43" fmla="*/ 56 h 56"/>
                <a:gd name="T44" fmla="*/ 1 w 70"/>
                <a:gd name="T45" fmla="*/ 37 h 56"/>
                <a:gd name="T46" fmla="*/ 12 w 70"/>
                <a:gd name="T47" fmla="*/ 51 h 56"/>
                <a:gd name="T48" fmla="*/ 45 w 70"/>
                <a:gd name="T49" fmla="*/ 55 h 56"/>
                <a:gd name="T50" fmla="*/ 49 w 70"/>
                <a:gd name="T51" fmla="*/ 43 h 56"/>
                <a:gd name="T52" fmla="*/ 59 w 70"/>
                <a:gd name="T53" fmla="*/ 32 h 56"/>
                <a:gd name="T54" fmla="*/ 59 w 70"/>
                <a:gd name="T55" fmla="*/ 21 h 56"/>
                <a:gd name="T56" fmla="*/ 64 w 70"/>
                <a:gd name="T57" fmla="*/ 21 h 56"/>
                <a:gd name="T58" fmla="*/ 69 w 70"/>
                <a:gd name="T59" fmla="*/ 18 h 56"/>
                <a:gd name="T60" fmla="*/ 67 w 70"/>
                <a:gd name="T61" fmla="*/ 8 h 56"/>
                <a:gd name="T62" fmla="*/ 66 w 70"/>
                <a:gd name="T63" fmla="*/ 1 h 56"/>
                <a:gd name="T64" fmla="*/ 49 w 70"/>
                <a:gd name="T65" fmla="*/ 20 h 56"/>
                <a:gd name="T66" fmla="*/ 25 w 70"/>
                <a:gd name="T67" fmla="*/ 33 h 56"/>
                <a:gd name="T68" fmla="*/ 21 w 70"/>
                <a:gd name="T69" fmla="*/ 33 h 56"/>
                <a:gd name="T70" fmla="*/ 16 w 70"/>
                <a:gd name="T71" fmla="*/ 33 h 56"/>
                <a:gd name="T72" fmla="*/ 5 w 70"/>
                <a:gd name="T73" fmla="*/ 37 h 56"/>
                <a:gd name="T74" fmla="*/ 4 w 70"/>
                <a:gd name="T75" fmla="*/ 37 h 56"/>
                <a:gd name="T76" fmla="*/ 1 w 70"/>
                <a:gd name="T77" fmla="*/ 37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56">
                  <a:moveTo>
                    <a:pt x="45" y="56"/>
                  </a:moveTo>
                  <a:cubicBezTo>
                    <a:pt x="45" y="56"/>
                    <a:pt x="45" y="56"/>
                    <a:pt x="45" y="56"/>
                  </a:cubicBezTo>
                  <a:cubicBezTo>
                    <a:pt x="37" y="56"/>
                    <a:pt x="13" y="53"/>
                    <a:pt x="11" y="52"/>
                  </a:cubicBezTo>
                  <a:cubicBezTo>
                    <a:pt x="11" y="52"/>
                    <a:pt x="1" y="46"/>
                    <a:pt x="0" y="36"/>
                  </a:cubicBezTo>
                  <a:cubicBezTo>
                    <a:pt x="0" y="35"/>
                    <a:pt x="0" y="35"/>
                    <a:pt x="0" y="35"/>
                  </a:cubicBezTo>
                  <a:cubicBezTo>
                    <a:pt x="1" y="36"/>
                    <a:pt x="1" y="36"/>
                    <a:pt x="1" y="36"/>
                  </a:cubicBezTo>
                  <a:cubicBezTo>
                    <a:pt x="2" y="37"/>
                    <a:pt x="3" y="37"/>
                    <a:pt x="3" y="37"/>
                  </a:cubicBezTo>
                  <a:cubicBezTo>
                    <a:pt x="4" y="36"/>
                    <a:pt x="4" y="36"/>
                    <a:pt x="4" y="36"/>
                  </a:cubicBezTo>
                  <a:cubicBezTo>
                    <a:pt x="7" y="34"/>
                    <a:pt x="10" y="32"/>
                    <a:pt x="16" y="32"/>
                  </a:cubicBezTo>
                  <a:cubicBezTo>
                    <a:pt x="17" y="32"/>
                    <a:pt x="19" y="32"/>
                    <a:pt x="21" y="32"/>
                  </a:cubicBezTo>
                  <a:cubicBezTo>
                    <a:pt x="22" y="32"/>
                    <a:pt x="23" y="32"/>
                    <a:pt x="25" y="32"/>
                  </a:cubicBezTo>
                  <a:cubicBezTo>
                    <a:pt x="34" y="32"/>
                    <a:pt x="44" y="27"/>
                    <a:pt x="48" y="19"/>
                  </a:cubicBezTo>
                  <a:cubicBezTo>
                    <a:pt x="52" y="11"/>
                    <a:pt x="62" y="0"/>
                    <a:pt x="66" y="0"/>
                  </a:cubicBezTo>
                  <a:cubicBezTo>
                    <a:pt x="67" y="0"/>
                    <a:pt x="67" y="2"/>
                    <a:pt x="68" y="8"/>
                  </a:cubicBezTo>
                  <a:cubicBezTo>
                    <a:pt x="69" y="11"/>
                    <a:pt x="69" y="14"/>
                    <a:pt x="70" y="18"/>
                  </a:cubicBezTo>
                  <a:cubicBezTo>
                    <a:pt x="70" y="18"/>
                    <a:pt x="70" y="18"/>
                    <a:pt x="70" y="18"/>
                  </a:cubicBezTo>
                  <a:cubicBezTo>
                    <a:pt x="65" y="22"/>
                    <a:pt x="65" y="22"/>
                    <a:pt x="65" y="22"/>
                  </a:cubicBezTo>
                  <a:cubicBezTo>
                    <a:pt x="60" y="22"/>
                    <a:pt x="60" y="22"/>
                    <a:pt x="60" y="22"/>
                  </a:cubicBezTo>
                  <a:cubicBezTo>
                    <a:pt x="60" y="32"/>
                    <a:pt x="60" y="32"/>
                    <a:pt x="60" y="32"/>
                  </a:cubicBezTo>
                  <a:cubicBezTo>
                    <a:pt x="59" y="32"/>
                    <a:pt x="59" y="32"/>
                    <a:pt x="59" y="32"/>
                  </a:cubicBezTo>
                  <a:cubicBezTo>
                    <a:pt x="50" y="44"/>
                    <a:pt x="50" y="44"/>
                    <a:pt x="50" y="44"/>
                  </a:cubicBezTo>
                  <a:lnTo>
                    <a:pt x="45" y="56"/>
                  </a:lnTo>
                  <a:close/>
                  <a:moveTo>
                    <a:pt x="1" y="37"/>
                  </a:moveTo>
                  <a:cubicBezTo>
                    <a:pt x="3" y="46"/>
                    <a:pt x="12" y="51"/>
                    <a:pt x="12" y="51"/>
                  </a:cubicBezTo>
                  <a:cubicBezTo>
                    <a:pt x="13" y="52"/>
                    <a:pt x="35" y="55"/>
                    <a:pt x="45" y="55"/>
                  </a:cubicBezTo>
                  <a:cubicBezTo>
                    <a:pt x="49" y="43"/>
                    <a:pt x="49" y="43"/>
                    <a:pt x="49" y="43"/>
                  </a:cubicBezTo>
                  <a:cubicBezTo>
                    <a:pt x="59" y="32"/>
                    <a:pt x="59" y="32"/>
                    <a:pt x="59" y="32"/>
                  </a:cubicBezTo>
                  <a:cubicBezTo>
                    <a:pt x="59" y="21"/>
                    <a:pt x="59" y="21"/>
                    <a:pt x="59" y="21"/>
                  </a:cubicBezTo>
                  <a:cubicBezTo>
                    <a:pt x="64" y="21"/>
                    <a:pt x="64" y="21"/>
                    <a:pt x="64" y="21"/>
                  </a:cubicBezTo>
                  <a:cubicBezTo>
                    <a:pt x="69" y="18"/>
                    <a:pt x="69" y="18"/>
                    <a:pt x="69" y="18"/>
                  </a:cubicBezTo>
                  <a:cubicBezTo>
                    <a:pt x="68" y="14"/>
                    <a:pt x="68" y="11"/>
                    <a:pt x="67" y="8"/>
                  </a:cubicBezTo>
                  <a:cubicBezTo>
                    <a:pt x="67" y="5"/>
                    <a:pt x="66" y="1"/>
                    <a:pt x="66" y="1"/>
                  </a:cubicBezTo>
                  <a:cubicBezTo>
                    <a:pt x="63" y="1"/>
                    <a:pt x="53" y="11"/>
                    <a:pt x="49" y="20"/>
                  </a:cubicBezTo>
                  <a:cubicBezTo>
                    <a:pt x="45" y="28"/>
                    <a:pt x="34" y="33"/>
                    <a:pt x="25" y="33"/>
                  </a:cubicBezTo>
                  <a:cubicBezTo>
                    <a:pt x="23" y="33"/>
                    <a:pt x="22" y="33"/>
                    <a:pt x="21" y="33"/>
                  </a:cubicBezTo>
                  <a:cubicBezTo>
                    <a:pt x="19" y="33"/>
                    <a:pt x="17" y="33"/>
                    <a:pt x="16" y="33"/>
                  </a:cubicBezTo>
                  <a:cubicBezTo>
                    <a:pt x="10" y="33"/>
                    <a:pt x="7" y="35"/>
                    <a:pt x="5" y="37"/>
                  </a:cubicBezTo>
                  <a:cubicBezTo>
                    <a:pt x="4" y="37"/>
                    <a:pt x="4" y="37"/>
                    <a:pt x="4" y="37"/>
                  </a:cubicBezTo>
                  <a:cubicBezTo>
                    <a:pt x="3" y="38"/>
                    <a:pt x="2" y="38"/>
                    <a:pt x="1" y="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7" name="Freeform 94"/>
            <p:cNvSpPr>
              <a:spLocks noEditPoints="1"/>
            </p:cNvSpPr>
            <p:nvPr/>
          </p:nvSpPr>
          <p:spPr>
            <a:xfrm>
              <a:off x="7216776" y="3646488"/>
              <a:ext cx="479425" cy="147638"/>
            </a:xfrm>
            <a:custGeom>
              <a:gdLst>
                <a:gd name="T0" fmla="*/ 145 w 283"/>
                <a:gd name="T1" fmla="*/ 80 h 87"/>
                <a:gd name="T2" fmla="*/ 141 w 283"/>
                <a:gd name="T3" fmla="*/ 70 h 87"/>
                <a:gd name="T4" fmla="*/ 162 w 283"/>
                <a:gd name="T5" fmla="*/ 76 h 87"/>
                <a:gd name="T6" fmla="*/ 179 w 283"/>
                <a:gd name="T7" fmla="*/ 57 h 87"/>
                <a:gd name="T8" fmla="*/ 206 w 283"/>
                <a:gd name="T9" fmla="*/ 30 h 87"/>
                <a:gd name="T10" fmla="*/ 214 w 283"/>
                <a:gd name="T11" fmla="*/ 40 h 87"/>
                <a:gd name="T12" fmla="*/ 223 w 283"/>
                <a:gd name="T13" fmla="*/ 37 h 87"/>
                <a:gd name="T14" fmla="*/ 222 w 283"/>
                <a:gd name="T15" fmla="*/ 29 h 87"/>
                <a:gd name="T16" fmla="*/ 230 w 283"/>
                <a:gd name="T17" fmla="*/ 19 h 87"/>
                <a:gd name="T18" fmla="*/ 259 w 283"/>
                <a:gd name="T19" fmla="*/ 12 h 87"/>
                <a:gd name="T20" fmla="*/ 272 w 283"/>
                <a:gd name="T21" fmla="*/ 15 h 87"/>
                <a:gd name="T22" fmla="*/ 282 w 283"/>
                <a:gd name="T23" fmla="*/ 24 h 87"/>
                <a:gd name="T24" fmla="*/ 269 w 283"/>
                <a:gd name="T25" fmla="*/ 29 h 87"/>
                <a:gd name="T26" fmla="*/ 259 w 283"/>
                <a:gd name="T27" fmla="*/ 39 h 87"/>
                <a:gd name="T28" fmla="*/ 250 w 283"/>
                <a:gd name="T29" fmla="*/ 36 h 87"/>
                <a:gd name="T30" fmla="*/ 231 w 283"/>
                <a:gd name="T31" fmla="*/ 45 h 87"/>
                <a:gd name="T32" fmla="*/ 220 w 283"/>
                <a:gd name="T33" fmla="*/ 64 h 87"/>
                <a:gd name="T34" fmla="*/ 204 w 283"/>
                <a:gd name="T35" fmla="*/ 81 h 87"/>
                <a:gd name="T36" fmla="*/ 190 w 283"/>
                <a:gd name="T37" fmla="*/ 78 h 87"/>
                <a:gd name="T38" fmla="*/ 170 w 283"/>
                <a:gd name="T39" fmla="*/ 85 h 87"/>
                <a:gd name="T40" fmla="*/ 157 w 283"/>
                <a:gd name="T41" fmla="*/ 86 h 87"/>
                <a:gd name="T42" fmla="*/ 145 w 283"/>
                <a:gd name="T43" fmla="*/ 79 h 87"/>
                <a:gd name="T44" fmla="*/ 163 w 283"/>
                <a:gd name="T45" fmla="*/ 84 h 87"/>
                <a:gd name="T46" fmla="*/ 176 w 283"/>
                <a:gd name="T47" fmla="*/ 83 h 87"/>
                <a:gd name="T48" fmla="*/ 197 w 283"/>
                <a:gd name="T49" fmla="*/ 80 h 87"/>
                <a:gd name="T50" fmla="*/ 212 w 283"/>
                <a:gd name="T51" fmla="*/ 77 h 87"/>
                <a:gd name="T52" fmla="*/ 221 w 283"/>
                <a:gd name="T53" fmla="*/ 58 h 87"/>
                <a:gd name="T54" fmla="*/ 231 w 283"/>
                <a:gd name="T55" fmla="*/ 39 h 87"/>
                <a:gd name="T56" fmla="*/ 252 w 283"/>
                <a:gd name="T57" fmla="*/ 35 h 87"/>
                <a:gd name="T58" fmla="*/ 269 w 283"/>
                <a:gd name="T59" fmla="*/ 31 h 87"/>
                <a:gd name="T60" fmla="*/ 272 w 283"/>
                <a:gd name="T61" fmla="*/ 27 h 87"/>
                <a:gd name="T62" fmla="*/ 272 w 283"/>
                <a:gd name="T63" fmla="*/ 16 h 87"/>
                <a:gd name="T64" fmla="*/ 258 w 283"/>
                <a:gd name="T65" fmla="*/ 12 h 87"/>
                <a:gd name="T66" fmla="*/ 231 w 283"/>
                <a:gd name="T67" fmla="*/ 19 h 87"/>
                <a:gd name="T68" fmla="*/ 224 w 283"/>
                <a:gd name="T69" fmla="*/ 38 h 87"/>
                <a:gd name="T70" fmla="*/ 214 w 283"/>
                <a:gd name="T71" fmla="*/ 41 h 87"/>
                <a:gd name="T72" fmla="*/ 179 w 283"/>
                <a:gd name="T73" fmla="*/ 58 h 87"/>
                <a:gd name="T74" fmla="*/ 163 w 283"/>
                <a:gd name="T75" fmla="*/ 76 h 87"/>
                <a:gd name="T76" fmla="*/ 141 w 283"/>
                <a:gd name="T77" fmla="*/ 71 h 87"/>
                <a:gd name="T78" fmla="*/ 33 w 283"/>
                <a:gd name="T79" fmla="*/ 67 h 87"/>
                <a:gd name="T80" fmla="*/ 14 w 283"/>
                <a:gd name="T81" fmla="*/ 44 h 87"/>
                <a:gd name="T82" fmla="*/ 0 w 283"/>
                <a:gd name="T83" fmla="*/ 2 h 87"/>
                <a:gd name="T84" fmla="*/ 17 w 283"/>
                <a:gd name="T85" fmla="*/ 12 h 87"/>
                <a:gd name="T86" fmla="*/ 28 w 283"/>
                <a:gd name="T87" fmla="*/ 13 h 87"/>
                <a:gd name="T88" fmla="*/ 33 w 283"/>
                <a:gd name="T89" fmla="*/ 7 h 87"/>
                <a:gd name="T90" fmla="*/ 36 w 283"/>
                <a:gd name="T91" fmla="*/ 11 h 87"/>
                <a:gd name="T92" fmla="*/ 52 w 283"/>
                <a:gd name="T93" fmla="*/ 32 h 87"/>
                <a:gd name="T94" fmla="*/ 63 w 283"/>
                <a:gd name="T95" fmla="*/ 79 h 87"/>
                <a:gd name="T96" fmla="*/ 2 w 283"/>
                <a:gd name="T97" fmla="*/ 3 h 87"/>
                <a:gd name="T98" fmla="*/ 20 w 283"/>
                <a:gd name="T99" fmla="*/ 53 h 87"/>
                <a:gd name="T100" fmla="*/ 61 w 283"/>
                <a:gd name="T101" fmla="*/ 80 h 87"/>
                <a:gd name="T102" fmla="*/ 62 w 283"/>
                <a:gd name="T103" fmla="*/ 79 h 87"/>
                <a:gd name="T104" fmla="*/ 51 w 283"/>
                <a:gd name="T105" fmla="*/ 32 h 87"/>
                <a:gd name="T106" fmla="*/ 36 w 283"/>
                <a:gd name="T107" fmla="*/ 12 h 87"/>
                <a:gd name="T108" fmla="*/ 29 w 283"/>
                <a:gd name="T109" fmla="*/ 12 h 87"/>
                <a:gd name="T110" fmla="*/ 18 w 283"/>
                <a:gd name="T111" fmla="*/ 14 h 87"/>
                <a:gd name="T112" fmla="*/ 2 w 283"/>
                <a:gd name="T113" fmla="*/ 3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3" h="87">
                  <a:moveTo>
                    <a:pt x="155" y="87"/>
                  </a:moveTo>
                  <a:cubicBezTo>
                    <a:pt x="154" y="87"/>
                    <a:pt x="152" y="85"/>
                    <a:pt x="150" y="83"/>
                  </a:cubicBezTo>
                  <a:cubicBezTo>
                    <a:pt x="148" y="82"/>
                    <a:pt x="146" y="80"/>
                    <a:pt x="145" y="80"/>
                  </a:cubicBezTo>
                  <a:cubicBezTo>
                    <a:pt x="144" y="80"/>
                    <a:pt x="142" y="79"/>
                    <a:pt x="140" y="70"/>
                  </a:cubicBezTo>
                  <a:cubicBezTo>
                    <a:pt x="140" y="70"/>
                    <a:pt x="140" y="70"/>
                    <a:pt x="140" y="70"/>
                  </a:cubicBezTo>
                  <a:cubicBezTo>
                    <a:pt x="141" y="70"/>
                    <a:pt x="141" y="70"/>
                    <a:pt x="141" y="70"/>
                  </a:cubicBezTo>
                  <a:cubicBezTo>
                    <a:pt x="143" y="70"/>
                    <a:pt x="146" y="72"/>
                    <a:pt x="149" y="73"/>
                  </a:cubicBezTo>
                  <a:cubicBezTo>
                    <a:pt x="153" y="75"/>
                    <a:pt x="157" y="77"/>
                    <a:pt x="159" y="77"/>
                  </a:cubicBezTo>
                  <a:cubicBezTo>
                    <a:pt x="161" y="77"/>
                    <a:pt x="161" y="76"/>
                    <a:pt x="162" y="76"/>
                  </a:cubicBezTo>
                  <a:cubicBezTo>
                    <a:pt x="162" y="74"/>
                    <a:pt x="162" y="72"/>
                    <a:pt x="163" y="69"/>
                  </a:cubicBezTo>
                  <a:cubicBezTo>
                    <a:pt x="163" y="64"/>
                    <a:pt x="163" y="57"/>
                    <a:pt x="172" y="57"/>
                  </a:cubicBezTo>
                  <a:cubicBezTo>
                    <a:pt x="174" y="57"/>
                    <a:pt x="177" y="57"/>
                    <a:pt x="179" y="57"/>
                  </a:cubicBezTo>
                  <a:cubicBezTo>
                    <a:pt x="187" y="57"/>
                    <a:pt x="191" y="57"/>
                    <a:pt x="192" y="51"/>
                  </a:cubicBezTo>
                  <a:cubicBezTo>
                    <a:pt x="194" y="43"/>
                    <a:pt x="202" y="30"/>
                    <a:pt x="206" y="30"/>
                  </a:cubicBezTo>
                  <a:cubicBezTo>
                    <a:pt x="206" y="30"/>
                    <a:pt x="206" y="30"/>
                    <a:pt x="206" y="30"/>
                  </a:cubicBezTo>
                  <a:cubicBezTo>
                    <a:pt x="206" y="30"/>
                    <a:pt x="206" y="30"/>
                    <a:pt x="206" y="30"/>
                  </a:cubicBezTo>
                  <a:cubicBezTo>
                    <a:pt x="206" y="30"/>
                    <a:pt x="206" y="30"/>
                    <a:pt x="206" y="30"/>
                  </a:cubicBezTo>
                  <a:cubicBezTo>
                    <a:pt x="211" y="39"/>
                    <a:pt x="213" y="40"/>
                    <a:pt x="214" y="40"/>
                  </a:cubicBezTo>
                  <a:cubicBezTo>
                    <a:pt x="216" y="40"/>
                    <a:pt x="218" y="39"/>
                    <a:pt x="219" y="38"/>
                  </a:cubicBezTo>
                  <a:cubicBezTo>
                    <a:pt x="220" y="38"/>
                    <a:pt x="221" y="37"/>
                    <a:pt x="222" y="37"/>
                  </a:cubicBezTo>
                  <a:cubicBezTo>
                    <a:pt x="223" y="37"/>
                    <a:pt x="223" y="37"/>
                    <a:pt x="223" y="37"/>
                  </a:cubicBezTo>
                  <a:cubicBezTo>
                    <a:pt x="224" y="37"/>
                    <a:pt x="224" y="37"/>
                    <a:pt x="224" y="37"/>
                  </a:cubicBezTo>
                  <a:cubicBezTo>
                    <a:pt x="224" y="36"/>
                    <a:pt x="223" y="31"/>
                    <a:pt x="223" y="29"/>
                  </a:cubicBezTo>
                  <a:cubicBezTo>
                    <a:pt x="222" y="29"/>
                    <a:pt x="222" y="29"/>
                    <a:pt x="222" y="29"/>
                  </a:cubicBezTo>
                  <a:cubicBezTo>
                    <a:pt x="223" y="29"/>
                    <a:pt x="223" y="29"/>
                    <a:pt x="223" y="29"/>
                  </a:cubicBezTo>
                  <a:cubicBezTo>
                    <a:pt x="225" y="28"/>
                    <a:pt x="226" y="27"/>
                    <a:pt x="226" y="25"/>
                  </a:cubicBezTo>
                  <a:cubicBezTo>
                    <a:pt x="225" y="21"/>
                    <a:pt x="228" y="20"/>
                    <a:pt x="230" y="19"/>
                  </a:cubicBezTo>
                  <a:cubicBezTo>
                    <a:pt x="232" y="18"/>
                    <a:pt x="233" y="17"/>
                    <a:pt x="233" y="15"/>
                  </a:cubicBezTo>
                  <a:cubicBezTo>
                    <a:pt x="234" y="11"/>
                    <a:pt x="240" y="0"/>
                    <a:pt x="246" y="0"/>
                  </a:cubicBezTo>
                  <a:cubicBezTo>
                    <a:pt x="251" y="0"/>
                    <a:pt x="259" y="8"/>
                    <a:pt x="259" y="12"/>
                  </a:cubicBezTo>
                  <a:cubicBezTo>
                    <a:pt x="259" y="13"/>
                    <a:pt x="260" y="14"/>
                    <a:pt x="262" y="14"/>
                  </a:cubicBezTo>
                  <a:cubicBezTo>
                    <a:pt x="263" y="15"/>
                    <a:pt x="266" y="15"/>
                    <a:pt x="268" y="15"/>
                  </a:cubicBezTo>
                  <a:cubicBezTo>
                    <a:pt x="269" y="15"/>
                    <a:pt x="271" y="15"/>
                    <a:pt x="272" y="15"/>
                  </a:cubicBezTo>
                  <a:cubicBezTo>
                    <a:pt x="272" y="15"/>
                    <a:pt x="272" y="15"/>
                    <a:pt x="273" y="15"/>
                  </a:cubicBezTo>
                  <a:cubicBezTo>
                    <a:pt x="276" y="15"/>
                    <a:pt x="279" y="16"/>
                    <a:pt x="281" y="19"/>
                  </a:cubicBezTo>
                  <a:cubicBezTo>
                    <a:pt x="282" y="20"/>
                    <a:pt x="283" y="22"/>
                    <a:pt x="282" y="24"/>
                  </a:cubicBezTo>
                  <a:cubicBezTo>
                    <a:pt x="281" y="27"/>
                    <a:pt x="276" y="27"/>
                    <a:pt x="272" y="28"/>
                  </a:cubicBezTo>
                  <a:cubicBezTo>
                    <a:pt x="271" y="28"/>
                    <a:pt x="268" y="28"/>
                    <a:pt x="268" y="28"/>
                  </a:cubicBezTo>
                  <a:cubicBezTo>
                    <a:pt x="268" y="28"/>
                    <a:pt x="268" y="29"/>
                    <a:pt x="269" y="29"/>
                  </a:cubicBezTo>
                  <a:cubicBezTo>
                    <a:pt x="269" y="30"/>
                    <a:pt x="270" y="30"/>
                    <a:pt x="270" y="31"/>
                  </a:cubicBezTo>
                  <a:cubicBezTo>
                    <a:pt x="269" y="34"/>
                    <a:pt x="265" y="36"/>
                    <a:pt x="260" y="38"/>
                  </a:cubicBezTo>
                  <a:cubicBezTo>
                    <a:pt x="259" y="39"/>
                    <a:pt x="259" y="39"/>
                    <a:pt x="259" y="39"/>
                  </a:cubicBezTo>
                  <a:cubicBezTo>
                    <a:pt x="259" y="39"/>
                    <a:pt x="259" y="39"/>
                    <a:pt x="259" y="39"/>
                  </a:cubicBezTo>
                  <a:cubicBezTo>
                    <a:pt x="256" y="37"/>
                    <a:pt x="254" y="36"/>
                    <a:pt x="252" y="36"/>
                  </a:cubicBezTo>
                  <a:cubicBezTo>
                    <a:pt x="252" y="36"/>
                    <a:pt x="251" y="36"/>
                    <a:pt x="250" y="36"/>
                  </a:cubicBezTo>
                  <a:cubicBezTo>
                    <a:pt x="249" y="36"/>
                    <a:pt x="248" y="36"/>
                    <a:pt x="246" y="36"/>
                  </a:cubicBezTo>
                  <a:cubicBezTo>
                    <a:pt x="242" y="36"/>
                    <a:pt x="235" y="37"/>
                    <a:pt x="232" y="40"/>
                  </a:cubicBezTo>
                  <a:cubicBezTo>
                    <a:pt x="231" y="41"/>
                    <a:pt x="230" y="43"/>
                    <a:pt x="231" y="45"/>
                  </a:cubicBezTo>
                  <a:cubicBezTo>
                    <a:pt x="231" y="52"/>
                    <a:pt x="228" y="53"/>
                    <a:pt x="225" y="55"/>
                  </a:cubicBezTo>
                  <a:cubicBezTo>
                    <a:pt x="223" y="55"/>
                    <a:pt x="222" y="56"/>
                    <a:pt x="222" y="58"/>
                  </a:cubicBezTo>
                  <a:cubicBezTo>
                    <a:pt x="222" y="61"/>
                    <a:pt x="221" y="63"/>
                    <a:pt x="220" y="64"/>
                  </a:cubicBezTo>
                  <a:cubicBezTo>
                    <a:pt x="219" y="66"/>
                    <a:pt x="217" y="68"/>
                    <a:pt x="218" y="72"/>
                  </a:cubicBezTo>
                  <a:cubicBezTo>
                    <a:pt x="218" y="77"/>
                    <a:pt x="216" y="78"/>
                    <a:pt x="212" y="78"/>
                  </a:cubicBezTo>
                  <a:cubicBezTo>
                    <a:pt x="210" y="79"/>
                    <a:pt x="208" y="79"/>
                    <a:pt x="204" y="81"/>
                  </a:cubicBezTo>
                  <a:cubicBezTo>
                    <a:pt x="202" y="82"/>
                    <a:pt x="201" y="82"/>
                    <a:pt x="200" y="82"/>
                  </a:cubicBezTo>
                  <a:cubicBezTo>
                    <a:pt x="198" y="82"/>
                    <a:pt x="197" y="82"/>
                    <a:pt x="197" y="81"/>
                  </a:cubicBezTo>
                  <a:cubicBezTo>
                    <a:pt x="195" y="80"/>
                    <a:pt x="194" y="78"/>
                    <a:pt x="190" y="78"/>
                  </a:cubicBezTo>
                  <a:cubicBezTo>
                    <a:pt x="185" y="78"/>
                    <a:pt x="183" y="80"/>
                    <a:pt x="181" y="82"/>
                  </a:cubicBezTo>
                  <a:cubicBezTo>
                    <a:pt x="179" y="83"/>
                    <a:pt x="178" y="84"/>
                    <a:pt x="176" y="84"/>
                  </a:cubicBezTo>
                  <a:cubicBezTo>
                    <a:pt x="175" y="85"/>
                    <a:pt x="173" y="85"/>
                    <a:pt x="170" y="85"/>
                  </a:cubicBezTo>
                  <a:cubicBezTo>
                    <a:pt x="169" y="85"/>
                    <a:pt x="168" y="85"/>
                    <a:pt x="167" y="85"/>
                  </a:cubicBezTo>
                  <a:cubicBezTo>
                    <a:pt x="166" y="85"/>
                    <a:pt x="164" y="85"/>
                    <a:pt x="163" y="85"/>
                  </a:cubicBezTo>
                  <a:cubicBezTo>
                    <a:pt x="161" y="85"/>
                    <a:pt x="159" y="85"/>
                    <a:pt x="157" y="86"/>
                  </a:cubicBezTo>
                  <a:cubicBezTo>
                    <a:pt x="157" y="86"/>
                    <a:pt x="156" y="87"/>
                    <a:pt x="155" y="87"/>
                  </a:cubicBezTo>
                  <a:close/>
                  <a:moveTo>
                    <a:pt x="141" y="71"/>
                  </a:moveTo>
                  <a:cubicBezTo>
                    <a:pt x="143" y="79"/>
                    <a:pt x="144" y="79"/>
                    <a:pt x="145" y="79"/>
                  </a:cubicBezTo>
                  <a:cubicBezTo>
                    <a:pt x="147" y="79"/>
                    <a:pt x="148" y="81"/>
                    <a:pt x="150" y="82"/>
                  </a:cubicBezTo>
                  <a:cubicBezTo>
                    <a:pt x="153" y="84"/>
                    <a:pt x="155" y="86"/>
                    <a:pt x="157" y="85"/>
                  </a:cubicBezTo>
                  <a:cubicBezTo>
                    <a:pt x="158" y="84"/>
                    <a:pt x="161" y="84"/>
                    <a:pt x="163" y="84"/>
                  </a:cubicBezTo>
                  <a:cubicBezTo>
                    <a:pt x="164" y="84"/>
                    <a:pt x="166" y="84"/>
                    <a:pt x="167" y="84"/>
                  </a:cubicBezTo>
                  <a:cubicBezTo>
                    <a:pt x="168" y="84"/>
                    <a:pt x="169" y="84"/>
                    <a:pt x="170" y="84"/>
                  </a:cubicBezTo>
                  <a:cubicBezTo>
                    <a:pt x="173" y="84"/>
                    <a:pt x="174" y="84"/>
                    <a:pt x="176" y="83"/>
                  </a:cubicBezTo>
                  <a:cubicBezTo>
                    <a:pt x="177" y="83"/>
                    <a:pt x="179" y="82"/>
                    <a:pt x="180" y="81"/>
                  </a:cubicBezTo>
                  <a:cubicBezTo>
                    <a:pt x="182" y="79"/>
                    <a:pt x="185" y="77"/>
                    <a:pt x="190" y="77"/>
                  </a:cubicBezTo>
                  <a:cubicBezTo>
                    <a:pt x="195" y="77"/>
                    <a:pt x="196" y="79"/>
                    <a:pt x="197" y="80"/>
                  </a:cubicBezTo>
                  <a:cubicBezTo>
                    <a:pt x="198" y="81"/>
                    <a:pt x="199" y="81"/>
                    <a:pt x="200" y="81"/>
                  </a:cubicBezTo>
                  <a:cubicBezTo>
                    <a:pt x="201" y="81"/>
                    <a:pt x="202" y="81"/>
                    <a:pt x="204" y="80"/>
                  </a:cubicBezTo>
                  <a:cubicBezTo>
                    <a:pt x="207" y="78"/>
                    <a:pt x="210" y="78"/>
                    <a:pt x="212" y="77"/>
                  </a:cubicBezTo>
                  <a:cubicBezTo>
                    <a:pt x="216" y="77"/>
                    <a:pt x="217" y="76"/>
                    <a:pt x="217" y="72"/>
                  </a:cubicBezTo>
                  <a:cubicBezTo>
                    <a:pt x="216" y="68"/>
                    <a:pt x="218" y="66"/>
                    <a:pt x="219" y="64"/>
                  </a:cubicBezTo>
                  <a:cubicBezTo>
                    <a:pt x="220" y="62"/>
                    <a:pt x="221" y="61"/>
                    <a:pt x="221" y="58"/>
                  </a:cubicBezTo>
                  <a:cubicBezTo>
                    <a:pt x="221" y="55"/>
                    <a:pt x="223" y="54"/>
                    <a:pt x="225" y="54"/>
                  </a:cubicBezTo>
                  <a:cubicBezTo>
                    <a:pt x="227" y="53"/>
                    <a:pt x="230" y="51"/>
                    <a:pt x="230" y="45"/>
                  </a:cubicBezTo>
                  <a:cubicBezTo>
                    <a:pt x="229" y="43"/>
                    <a:pt x="230" y="41"/>
                    <a:pt x="231" y="39"/>
                  </a:cubicBezTo>
                  <a:cubicBezTo>
                    <a:pt x="235" y="36"/>
                    <a:pt x="241" y="35"/>
                    <a:pt x="246" y="35"/>
                  </a:cubicBezTo>
                  <a:cubicBezTo>
                    <a:pt x="248" y="35"/>
                    <a:pt x="249" y="35"/>
                    <a:pt x="250" y="35"/>
                  </a:cubicBezTo>
                  <a:cubicBezTo>
                    <a:pt x="251" y="35"/>
                    <a:pt x="252" y="35"/>
                    <a:pt x="252" y="35"/>
                  </a:cubicBezTo>
                  <a:cubicBezTo>
                    <a:pt x="254" y="35"/>
                    <a:pt x="256" y="36"/>
                    <a:pt x="259" y="38"/>
                  </a:cubicBezTo>
                  <a:cubicBezTo>
                    <a:pt x="260" y="37"/>
                    <a:pt x="260" y="37"/>
                    <a:pt x="260" y="37"/>
                  </a:cubicBezTo>
                  <a:cubicBezTo>
                    <a:pt x="263" y="36"/>
                    <a:pt x="268" y="33"/>
                    <a:pt x="269" y="31"/>
                  </a:cubicBezTo>
                  <a:cubicBezTo>
                    <a:pt x="269" y="31"/>
                    <a:pt x="269" y="30"/>
                    <a:pt x="268" y="30"/>
                  </a:cubicBezTo>
                  <a:cubicBezTo>
                    <a:pt x="268" y="29"/>
                    <a:pt x="267" y="29"/>
                    <a:pt x="267" y="28"/>
                  </a:cubicBezTo>
                  <a:cubicBezTo>
                    <a:pt x="268" y="27"/>
                    <a:pt x="269" y="27"/>
                    <a:pt x="272" y="27"/>
                  </a:cubicBezTo>
                  <a:cubicBezTo>
                    <a:pt x="276" y="26"/>
                    <a:pt x="280" y="26"/>
                    <a:pt x="281" y="24"/>
                  </a:cubicBezTo>
                  <a:cubicBezTo>
                    <a:pt x="282" y="22"/>
                    <a:pt x="281" y="21"/>
                    <a:pt x="280" y="19"/>
                  </a:cubicBezTo>
                  <a:cubicBezTo>
                    <a:pt x="278" y="17"/>
                    <a:pt x="274" y="15"/>
                    <a:pt x="272" y="16"/>
                  </a:cubicBezTo>
                  <a:cubicBezTo>
                    <a:pt x="271" y="16"/>
                    <a:pt x="269" y="16"/>
                    <a:pt x="268" y="16"/>
                  </a:cubicBezTo>
                  <a:cubicBezTo>
                    <a:pt x="265" y="16"/>
                    <a:pt x="263" y="16"/>
                    <a:pt x="262" y="15"/>
                  </a:cubicBezTo>
                  <a:cubicBezTo>
                    <a:pt x="259" y="14"/>
                    <a:pt x="258" y="13"/>
                    <a:pt x="258" y="12"/>
                  </a:cubicBezTo>
                  <a:cubicBezTo>
                    <a:pt x="258" y="8"/>
                    <a:pt x="250" y="1"/>
                    <a:pt x="246" y="1"/>
                  </a:cubicBezTo>
                  <a:cubicBezTo>
                    <a:pt x="241" y="1"/>
                    <a:pt x="235" y="11"/>
                    <a:pt x="234" y="15"/>
                  </a:cubicBezTo>
                  <a:cubicBezTo>
                    <a:pt x="234" y="17"/>
                    <a:pt x="232" y="18"/>
                    <a:pt x="231" y="19"/>
                  </a:cubicBezTo>
                  <a:cubicBezTo>
                    <a:pt x="228" y="21"/>
                    <a:pt x="226" y="22"/>
                    <a:pt x="227" y="25"/>
                  </a:cubicBezTo>
                  <a:cubicBezTo>
                    <a:pt x="227" y="28"/>
                    <a:pt x="225" y="29"/>
                    <a:pt x="224" y="29"/>
                  </a:cubicBezTo>
                  <a:cubicBezTo>
                    <a:pt x="225" y="34"/>
                    <a:pt x="225" y="37"/>
                    <a:pt x="224" y="38"/>
                  </a:cubicBezTo>
                  <a:cubicBezTo>
                    <a:pt x="224" y="38"/>
                    <a:pt x="224" y="38"/>
                    <a:pt x="223" y="38"/>
                  </a:cubicBezTo>
                  <a:cubicBezTo>
                    <a:pt x="222" y="38"/>
                    <a:pt x="221" y="38"/>
                    <a:pt x="219" y="39"/>
                  </a:cubicBezTo>
                  <a:cubicBezTo>
                    <a:pt x="218" y="40"/>
                    <a:pt x="217" y="41"/>
                    <a:pt x="214" y="41"/>
                  </a:cubicBezTo>
                  <a:cubicBezTo>
                    <a:pt x="213" y="41"/>
                    <a:pt x="211" y="40"/>
                    <a:pt x="205" y="31"/>
                  </a:cubicBezTo>
                  <a:cubicBezTo>
                    <a:pt x="202" y="31"/>
                    <a:pt x="195" y="43"/>
                    <a:pt x="193" y="51"/>
                  </a:cubicBezTo>
                  <a:cubicBezTo>
                    <a:pt x="192" y="58"/>
                    <a:pt x="186" y="58"/>
                    <a:pt x="179" y="58"/>
                  </a:cubicBezTo>
                  <a:cubicBezTo>
                    <a:pt x="177" y="58"/>
                    <a:pt x="174" y="58"/>
                    <a:pt x="172" y="58"/>
                  </a:cubicBezTo>
                  <a:cubicBezTo>
                    <a:pt x="164" y="58"/>
                    <a:pt x="164" y="64"/>
                    <a:pt x="164" y="69"/>
                  </a:cubicBezTo>
                  <a:cubicBezTo>
                    <a:pt x="163" y="72"/>
                    <a:pt x="163" y="74"/>
                    <a:pt x="163" y="76"/>
                  </a:cubicBezTo>
                  <a:cubicBezTo>
                    <a:pt x="162" y="77"/>
                    <a:pt x="161" y="78"/>
                    <a:pt x="159" y="78"/>
                  </a:cubicBezTo>
                  <a:cubicBezTo>
                    <a:pt x="157" y="78"/>
                    <a:pt x="152" y="76"/>
                    <a:pt x="149" y="74"/>
                  </a:cubicBezTo>
                  <a:cubicBezTo>
                    <a:pt x="146" y="73"/>
                    <a:pt x="143" y="72"/>
                    <a:pt x="141" y="71"/>
                  </a:cubicBezTo>
                  <a:close/>
                  <a:moveTo>
                    <a:pt x="61" y="81"/>
                  </a:moveTo>
                  <a:cubicBezTo>
                    <a:pt x="61" y="81"/>
                    <a:pt x="61" y="81"/>
                    <a:pt x="61" y="81"/>
                  </a:cubicBezTo>
                  <a:cubicBezTo>
                    <a:pt x="56" y="81"/>
                    <a:pt x="40" y="71"/>
                    <a:pt x="33" y="67"/>
                  </a:cubicBezTo>
                  <a:cubicBezTo>
                    <a:pt x="32" y="66"/>
                    <a:pt x="31" y="65"/>
                    <a:pt x="30" y="64"/>
                  </a:cubicBezTo>
                  <a:cubicBezTo>
                    <a:pt x="24" y="60"/>
                    <a:pt x="21" y="58"/>
                    <a:pt x="19" y="53"/>
                  </a:cubicBezTo>
                  <a:cubicBezTo>
                    <a:pt x="19" y="51"/>
                    <a:pt x="16" y="48"/>
                    <a:pt x="14" y="44"/>
                  </a:cubicBezTo>
                  <a:cubicBezTo>
                    <a:pt x="10" y="38"/>
                    <a:pt x="5" y="30"/>
                    <a:pt x="4" y="25"/>
                  </a:cubicBezTo>
                  <a:cubicBezTo>
                    <a:pt x="4" y="18"/>
                    <a:pt x="4" y="10"/>
                    <a:pt x="0" y="3"/>
                  </a:cubicBezTo>
                  <a:cubicBezTo>
                    <a:pt x="0" y="2"/>
                    <a:pt x="0" y="2"/>
                    <a:pt x="0" y="2"/>
                  </a:cubicBezTo>
                  <a:cubicBezTo>
                    <a:pt x="1" y="2"/>
                    <a:pt x="1" y="2"/>
                    <a:pt x="1" y="2"/>
                  </a:cubicBezTo>
                  <a:cubicBezTo>
                    <a:pt x="4" y="2"/>
                    <a:pt x="7" y="2"/>
                    <a:pt x="9" y="3"/>
                  </a:cubicBezTo>
                  <a:cubicBezTo>
                    <a:pt x="15" y="4"/>
                    <a:pt x="17" y="8"/>
                    <a:pt x="17" y="12"/>
                  </a:cubicBezTo>
                  <a:cubicBezTo>
                    <a:pt x="17" y="12"/>
                    <a:pt x="17" y="12"/>
                    <a:pt x="18" y="13"/>
                  </a:cubicBezTo>
                  <a:cubicBezTo>
                    <a:pt x="19" y="13"/>
                    <a:pt x="20" y="13"/>
                    <a:pt x="22" y="13"/>
                  </a:cubicBezTo>
                  <a:cubicBezTo>
                    <a:pt x="24" y="13"/>
                    <a:pt x="27" y="13"/>
                    <a:pt x="28" y="13"/>
                  </a:cubicBezTo>
                  <a:cubicBezTo>
                    <a:pt x="28" y="12"/>
                    <a:pt x="28" y="12"/>
                    <a:pt x="28" y="12"/>
                  </a:cubicBezTo>
                  <a:cubicBezTo>
                    <a:pt x="28" y="10"/>
                    <a:pt x="29" y="8"/>
                    <a:pt x="32" y="7"/>
                  </a:cubicBezTo>
                  <a:cubicBezTo>
                    <a:pt x="33" y="7"/>
                    <a:pt x="33" y="7"/>
                    <a:pt x="33" y="7"/>
                  </a:cubicBezTo>
                  <a:cubicBezTo>
                    <a:pt x="33" y="7"/>
                    <a:pt x="33" y="7"/>
                    <a:pt x="33" y="7"/>
                  </a:cubicBezTo>
                  <a:cubicBezTo>
                    <a:pt x="33" y="8"/>
                    <a:pt x="34" y="9"/>
                    <a:pt x="34" y="9"/>
                  </a:cubicBezTo>
                  <a:cubicBezTo>
                    <a:pt x="34" y="11"/>
                    <a:pt x="35" y="11"/>
                    <a:pt x="36" y="11"/>
                  </a:cubicBezTo>
                  <a:cubicBezTo>
                    <a:pt x="38" y="12"/>
                    <a:pt x="40" y="12"/>
                    <a:pt x="41" y="16"/>
                  </a:cubicBezTo>
                  <a:cubicBezTo>
                    <a:pt x="42" y="19"/>
                    <a:pt x="44" y="20"/>
                    <a:pt x="46" y="22"/>
                  </a:cubicBezTo>
                  <a:cubicBezTo>
                    <a:pt x="49" y="24"/>
                    <a:pt x="52" y="26"/>
                    <a:pt x="52" y="32"/>
                  </a:cubicBezTo>
                  <a:cubicBezTo>
                    <a:pt x="52" y="35"/>
                    <a:pt x="52" y="38"/>
                    <a:pt x="51" y="42"/>
                  </a:cubicBezTo>
                  <a:cubicBezTo>
                    <a:pt x="50" y="49"/>
                    <a:pt x="49" y="56"/>
                    <a:pt x="52" y="59"/>
                  </a:cubicBezTo>
                  <a:cubicBezTo>
                    <a:pt x="56" y="63"/>
                    <a:pt x="64" y="75"/>
                    <a:pt x="63" y="79"/>
                  </a:cubicBezTo>
                  <a:cubicBezTo>
                    <a:pt x="63" y="80"/>
                    <a:pt x="62" y="81"/>
                    <a:pt x="62" y="81"/>
                  </a:cubicBezTo>
                  <a:cubicBezTo>
                    <a:pt x="61" y="81"/>
                    <a:pt x="61" y="81"/>
                    <a:pt x="61" y="81"/>
                  </a:cubicBezTo>
                  <a:close/>
                  <a:moveTo>
                    <a:pt x="2" y="3"/>
                  </a:moveTo>
                  <a:cubicBezTo>
                    <a:pt x="5" y="10"/>
                    <a:pt x="5" y="18"/>
                    <a:pt x="5" y="25"/>
                  </a:cubicBezTo>
                  <a:cubicBezTo>
                    <a:pt x="6" y="30"/>
                    <a:pt x="11" y="38"/>
                    <a:pt x="15" y="44"/>
                  </a:cubicBezTo>
                  <a:cubicBezTo>
                    <a:pt x="17" y="47"/>
                    <a:pt x="19" y="50"/>
                    <a:pt x="20" y="53"/>
                  </a:cubicBezTo>
                  <a:cubicBezTo>
                    <a:pt x="22" y="57"/>
                    <a:pt x="24" y="59"/>
                    <a:pt x="30" y="63"/>
                  </a:cubicBezTo>
                  <a:cubicBezTo>
                    <a:pt x="31" y="64"/>
                    <a:pt x="33" y="65"/>
                    <a:pt x="34" y="66"/>
                  </a:cubicBezTo>
                  <a:cubicBezTo>
                    <a:pt x="42" y="72"/>
                    <a:pt x="56" y="80"/>
                    <a:pt x="61" y="80"/>
                  </a:cubicBezTo>
                  <a:cubicBezTo>
                    <a:pt x="61" y="80"/>
                    <a:pt x="61" y="80"/>
                    <a:pt x="61" y="80"/>
                  </a:cubicBezTo>
                  <a:cubicBezTo>
                    <a:pt x="61" y="80"/>
                    <a:pt x="61" y="80"/>
                    <a:pt x="61" y="80"/>
                  </a:cubicBezTo>
                  <a:cubicBezTo>
                    <a:pt x="62" y="80"/>
                    <a:pt x="62" y="80"/>
                    <a:pt x="62" y="79"/>
                  </a:cubicBezTo>
                  <a:cubicBezTo>
                    <a:pt x="62" y="76"/>
                    <a:pt x="56" y="64"/>
                    <a:pt x="52" y="60"/>
                  </a:cubicBezTo>
                  <a:cubicBezTo>
                    <a:pt x="48" y="56"/>
                    <a:pt x="49" y="49"/>
                    <a:pt x="50" y="41"/>
                  </a:cubicBezTo>
                  <a:cubicBezTo>
                    <a:pt x="51" y="38"/>
                    <a:pt x="51" y="35"/>
                    <a:pt x="51" y="32"/>
                  </a:cubicBezTo>
                  <a:cubicBezTo>
                    <a:pt x="51" y="26"/>
                    <a:pt x="49" y="25"/>
                    <a:pt x="46" y="23"/>
                  </a:cubicBezTo>
                  <a:cubicBezTo>
                    <a:pt x="43" y="21"/>
                    <a:pt x="41" y="20"/>
                    <a:pt x="40" y="17"/>
                  </a:cubicBezTo>
                  <a:cubicBezTo>
                    <a:pt x="39" y="13"/>
                    <a:pt x="38" y="13"/>
                    <a:pt x="36" y="12"/>
                  </a:cubicBezTo>
                  <a:cubicBezTo>
                    <a:pt x="35" y="12"/>
                    <a:pt x="34" y="12"/>
                    <a:pt x="33" y="9"/>
                  </a:cubicBezTo>
                  <a:cubicBezTo>
                    <a:pt x="33" y="9"/>
                    <a:pt x="33" y="8"/>
                    <a:pt x="32" y="8"/>
                  </a:cubicBezTo>
                  <a:cubicBezTo>
                    <a:pt x="30" y="9"/>
                    <a:pt x="29" y="11"/>
                    <a:pt x="29" y="12"/>
                  </a:cubicBezTo>
                  <a:cubicBezTo>
                    <a:pt x="29" y="13"/>
                    <a:pt x="29" y="13"/>
                    <a:pt x="28" y="14"/>
                  </a:cubicBezTo>
                  <a:cubicBezTo>
                    <a:pt x="27" y="14"/>
                    <a:pt x="25" y="14"/>
                    <a:pt x="22" y="14"/>
                  </a:cubicBezTo>
                  <a:cubicBezTo>
                    <a:pt x="20" y="14"/>
                    <a:pt x="19" y="14"/>
                    <a:pt x="18" y="14"/>
                  </a:cubicBezTo>
                  <a:cubicBezTo>
                    <a:pt x="16" y="13"/>
                    <a:pt x="16" y="12"/>
                    <a:pt x="16" y="12"/>
                  </a:cubicBezTo>
                  <a:cubicBezTo>
                    <a:pt x="16" y="11"/>
                    <a:pt x="16" y="5"/>
                    <a:pt x="9" y="4"/>
                  </a:cubicBezTo>
                  <a:cubicBezTo>
                    <a:pt x="7" y="3"/>
                    <a:pt x="4" y="3"/>
                    <a:pt x="2"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8" name="Freeform 95"/>
            <p:cNvSpPr>
              <a:spLocks noEditPoints="1"/>
            </p:cNvSpPr>
            <p:nvPr/>
          </p:nvSpPr>
          <p:spPr>
            <a:xfrm>
              <a:off x="7564439" y="3694113"/>
              <a:ext cx="33338" cy="22225"/>
            </a:xfrm>
            <a:custGeom>
              <a:gdLst>
                <a:gd name="T0" fmla="*/ 9 w 20"/>
                <a:gd name="T1" fmla="*/ 13 h 13"/>
                <a:gd name="T2" fmla="*/ 0 w 20"/>
                <a:gd name="T3" fmla="*/ 3 h 13"/>
                <a:gd name="T4" fmla="*/ 0 w 20"/>
                <a:gd name="T5" fmla="*/ 2 h 13"/>
                <a:gd name="T6" fmla="*/ 1 w 20"/>
                <a:gd name="T7" fmla="*/ 2 h 13"/>
                <a:gd name="T8" fmla="*/ 6 w 20"/>
                <a:gd name="T9" fmla="*/ 4 h 13"/>
                <a:gd name="T10" fmla="*/ 10 w 20"/>
                <a:gd name="T11" fmla="*/ 5 h 13"/>
                <a:gd name="T12" fmla="*/ 10 w 20"/>
                <a:gd name="T13" fmla="*/ 4 h 13"/>
                <a:gd name="T14" fmla="*/ 15 w 20"/>
                <a:gd name="T15" fmla="*/ 1 h 13"/>
                <a:gd name="T16" fmla="*/ 18 w 20"/>
                <a:gd name="T17" fmla="*/ 1 h 13"/>
                <a:gd name="T18" fmla="*/ 18 w 20"/>
                <a:gd name="T19" fmla="*/ 0 h 13"/>
                <a:gd name="T20" fmla="*/ 18 w 20"/>
                <a:gd name="T21" fmla="*/ 1 h 13"/>
                <a:gd name="T22" fmla="*/ 19 w 20"/>
                <a:gd name="T23" fmla="*/ 10 h 13"/>
                <a:gd name="T24" fmla="*/ 18 w 20"/>
                <a:gd name="T25" fmla="*/ 10 h 13"/>
                <a:gd name="T26" fmla="*/ 14 w 20"/>
                <a:gd name="T27" fmla="*/ 11 h 13"/>
                <a:gd name="T28" fmla="*/ 9 w 20"/>
                <a:gd name="T29" fmla="*/ 13 h 13"/>
                <a:gd name="T30" fmla="*/ 2 w 20"/>
                <a:gd name="T31" fmla="*/ 3 h 13"/>
                <a:gd name="T32" fmla="*/ 9 w 20"/>
                <a:gd name="T33" fmla="*/ 12 h 13"/>
                <a:gd name="T34" fmla="*/ 14 w 20"/>
                <a:gd name="T35" fmla="*/ 10 h 13"/>
                <a:gd name="T36" fmla="*/ 17 w 20"/>
                <a:gd name="T37" fmla="*/ 9 h 13"/>
                <a:gd name="T38" fmla="*/ 18 w 20"/>
                <a:gd name="T39" fmla="*/ 9 h 13"/>
                <a:gd name="T40" fmla="*/ 19 w 20"/>
                <a:gd name="T41" fmla="*/ 9 h 13"/>
                <a:gd name="T42" fmla="*/ 18 w 20"/>
                <a:gd name="T43" fmla="*/ 2 h 13"/>
                <a:gd name="T44" fmla="*/ 15 w 20"/>
                <a:gd name="T45" fmla="*/ 2 h 13"/>
                <a:gd name="T46" fmla="*/ 11 w 20"/>
                <a:gd name="T47" fmla="*/ 4 h 13"/>
                <a:gd name="T48" fmla="*/ 10 w 20"/>
                <a:gd name="T49" fmla="*/ 6 h 13"/>
                <a:gd name="T50" fmla="*/ 5 w 20"/>
                <a:gd name="T51" fmla="*/ 5 h 13"/>
                <a:gd name="T52" fmla="*/ 2 w 20"/>
                <a:gd name="T53" fmla="*/ 3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13">
                  <a:moveTo>
                    <a:pt x="9" y="13"/>
                  </a:moveTo>
                  <a:cubicBezTo>
                    <a:pt x="8" y="13"/>
                    <a:pt x="5" y="12"/>
                    <a:pt x="0" y="3"/>
                  </a:cubicBezTo>
                  <a:cubicBezTo>
                    <a:pt x="0" y="2"/>
                    <a:pt x="0" y="2"/>
                    <a:pt x="0" y="2"/>
                  </a:cubicBezTo>
                  <a:cubicBezTo>
                    <a:pt x="1" y="2"/>
                    <a:pt x="1" y="2"/>
                    <a:pt x="1" y="2"/>
                  </a:cubicBezTo>
                  <a:cubicBezTo>
                    <a:pt x="2" y="2"/>
                    <a:pt x="4" y="3"/>
                    <a:pt x="6" y="4"/>
                  </a:cubicBezTo>
                  <a:cubicBezTo>
                    <a:pt x="7" y="5"/>
                    <a:pt x="9" y="5"/>
                    <a:pt x="10" y="5"/>
                  </a:cubicBezTo>
                  <a:cubicBezTo>
                    <a:pt x="10" y="5"/>
                    <a:pt x="10" y="5"/>
                    <a:pt x="10" y="4"/>
                  </a:cubicBezTo>
                  <a:cubicBezTo>
                    <a:pt x="10" y="2"/>
                    <a:pt x="13" y="2"/>
                    <a:pt x="15" y="1"/>
                  </a:cubicBezTo>
                  <a:cubicBezTo>
                    <a:pt x="16" y="1"/>
                    <a:pt x="17" y="1"/>
                    <a:pt x="18" y="1"/>
                  </a:cubicBezTo>
                  <a:cubicBezTo>
                    <a:pt x="18" y="0"/>
                    <a:pt x="18" y="0"/>
                    <a:pt x="18" y="0"/>
                  </a:cubicBezTo>
                  <a:cubicBezTo>
                    <a:pt x="18" y="1"/>
                    <a:pt x="18" y="1"/>
                    <a:pt x="18" y="1"/>
                  </a:cubicBezTo>
                  <a:cubicBezTo>
                    <a:pt x="20" y="6"/>
                    <a:pt x="20" y="9"/>
                    <a:pt x="19" y="10"/>
                  </a:cubicBezTo>
                  <a:cubicBezTo>
                    <a:pt x="19" y="10"/>
                    <a:pt x="19" y="10"/>
                    <a:pt x="18" y="10"/>
                  </a:cubicBezTo>
                  <a:cubicBezTo>
                    <a:pt x="17" y="10"/>
                    <a:pt x="16" y="10"/>
                    <a:pt x="14" y="11"/>
                  </a:cubicBezTo>
                  <a:cubicBezTo>
                    <a:pt x="13" y="12"/>
                    <a:pt x="12" y="13"/>
                    <a:pt x="9" y="13"/>
                  </a:cubicBezTo>
                  <a:close/>
                  <a:moveTo>
                    <a:pt x="2" y="3"/>
                  </a:moveTo>
                  <a:cubicBezTo>
                    <a:pt x="6" y="12"/>
                    <a:pt x="8" y="12"/>
                    <a:pt x="9" y="12"/>
                  </a:cubicBezTo>
                  <a:cubicBezTo>
                    <a:pt x="11" y="12"/>
                    <a:pt x="13" y="11"/>
                    <a:pt x="14" y="10"/>
                  </a:cubicBezTo>
                  <a:cubicBezTo>
                    <a:pt x="15" y="10"/>
                    <a:pt x="16" y="9"/>
                    <a:pt x="17" y="9"/>
                  </a:cubicBezTo>
                  <a:cubicBezTo>
                    <a:pt x="18" y="9"/>
                    <a:pt x="18" y="9"/>
                    <a:pt x="18" y="9"/>
                  </a:cubicBezTo>
                  <a:cubicBezTo>
                    <a:pt x="19" y="9"/>
                    <a:pt x="19" y="9"/>
                    <a:pt x="19" y="9"/>
                  </a:cubicBezTo>
                  <a:cubicBezTo>
                    <a:pt x="19" y="8"/>
                    <a:pt x="18" y="4"/>
                    <a:pt x="18" y="2"/>
                  </a:cubicBezTo>
                  <a:cubicBezTo>
                    <a:pt x="17" y="2"/>
                    <a:pt x="16" y="2"/>
                    <a:pt x="15" y="2"/>
                  </a:cubicBezTo>
                  <a:cubicBezTo>
                    <a:pt x="13" y="3"/>
                    <a:pt x="11" y="3"/>
                    <a:pt x="11" y="4"/>
                  </a:cubicBezTo>
                  <a:cubicBezTo>
                    <a:pt x="11" y="6"/>
                    <a:pt x="10" y="6"/>
                    <a:pt x="10" y="6"/>
                  </a:cubicBezTo>
                  <a:cubicBezTo>
                    <a:pt x="9" y="6"/>
                    <a:pt x="7" y="6"/>
                    <a:pt x="5" y="5"/>
                  </a:cubicBezTo>
                  <a:cubicBezTo>
                    <a:pt x="4" y="4"/>
                    <a:pt x="3" y="4"/>
                    <a:pt x="2"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69" name="Freeform 96"/>
            <p:cNvSpPr>
              <a:spLocks noEditPoints="1"/>
            </p:cNvSpPr>
            <p:nvPr/>
          </p:nvSpPr>
          <p:spPr>
            <a:xfrm>
              <a:off x="5727701" y="2832100"/>
              <a:ext cx="244475" cy="234950"/>
            </a:xfrm>
            <a:custGeom>
              <a:gdLst>
                <a:gd name="T0" fmla="*/ 114 w 144"/>
                <a:gd name="T1" fmla="*/ 139 h 139"/>
                <a:gd name="T2" fmla="*/ 80 w 144"/>
                <a:gd name="T3" fmla="*/ 132 h 139"/>
                <a:gd name="T4" fmla="*/ 37 w 144"/>
                <a:gd name="T5" fmla="*/ 101 h 139"/>
                <a:gd name="T6" fmla="*/ 10 w 144"/>
                <a:gd name="T7" fmla="*/ 89 h 139"/>
                <a:gd name="T8" fmla="*/ 5 w 144"/>
                <a:gd name="T9" fmla="*/ 89 h 139"/>
                <a:gd name="T10" fmla="*/ 1 w 144"/>
                <a:gd name="T11" fmla="*/ 75 h 139"/>
                <a:gd name="T12" fmla="*/ 0 w 144"/>
                <a:gd name="T13" fmla="*/ 67 h 139"/>
                <a:gd name="T14" fmla="*/ 32 w 144"/>
                <a:gd name="T15" fmla="*/ 50 h 139"/>
                <a:gd name="T16" fmla="*/ 36 w 144"/>
                <a:gd name="T17" fmla="*/ 30 h 139"/>
                <a:gd name="T18" fmla="*/ 35 w 144"/>
                <a:gd name="T19" fmla="*/ 19 h 139"/>
                <a:gd name="T20" fmla="*/ 52 w 144"/>
                <a:gd name="T21" fmla="*/ 6 h 139"/>
                <a:gd name="T22" fmla="*/ 53 w 144"/>
                <a:gd name="T23" fmla="*/ 5 h 139"/>
                <a:gd name="T24" fmla="*/ 59 w 144"/>
                <a:gd name="T25" fmla="*/ 0 h 139"/>
                <a:gd name="T26" fmla="*/ 68 w 144"/>
                <a:gd name="T27" fmla="*/ 2 h 139"/>
                <a:gd name="T28" fmla="*/ 79 w 144"/>
                <a:gd name="T29" fmla="*/ 5 h 139"/>
                <a:gd name="T30" fmla="*/ 87 w 144"/>
                <a:gd name="T31" fmla="*/ 6 h 139"/>
                <a:gd name="T32" fmla="*/ 88 w 144"/>
                <a:gd name="T33" fmla="*/ 6 h 139"/>
                <a:gd name="T34" fmla="*/ 90 w 144"/>
                <a:gd name="T35" fmla="*/ 9 h 139"/>
                <a:gd name="T36" fmla="*/ 101 w 144"/>
                <a:gd name="T37" fmla="*/ 25 h 139"/>
                <a:gd name="T38" fmla="*/ 107 w 144"/>
                <a:gd name="T39" fmla="*/ 31 h 139"/>
                <a:gd name="T40" fmla="*/ 107 w 144"/>
                <a:gd name="T41" fmla="*/ 39 h 139"/>
                <a:gd name="T42" fmla="*/ 102 w 144"/>
                <a:gd name="T43" fmla="*/ 45 h 139"/>
                <a:gd name="T44" fmla="*/ 98 w 144"/>
                <a:gd name="T45" fmla="*/ 55 h 139"/>
                <a:gd name="T46" fmla="*/ 108 w 144"/>
                <a:gd name="T47" fmla="*/ 72 h 139"/>
                <a:gd name="T48" fmla="*/ 124 w 144"/>
                <a:gd name="T49" fmla="*/ 83 h 139"/>
                <a:gd name="T50" fmla="*/ 131 w 144"/>
                <a:gd name="T51" fmla="*/ 91 h 139"/>
                <a:gd name="T52" fmla="*/ 130 w 144"/>
                <a:gd name="T53" fmla="*/ 101 h 139"/>
                <a:gd name="T54" fmla="*/ 135 w 144"/>
                <a:gd name="T55" fmla="*/ 111 h 139"/>
                <a:gd name="T56" fmla="*/ 144 w 144"/>
                <a:gd name="T57" fmla="*/ 123 h 139"/>
                <a:gd name="T58" fmla="*/ 137 w 144"/>
                <a:gd name="T59" fmla="*/ 126 h 139"/>
                <a:gd name="T60" fmla="*/ 136 w 144"/>
                <a:gd name="T61" fmla="*/ 126 h 139"/>
                <a:gd name="T62" fmla="*/ 122 w 144"/>
                <a:gd name="T63" fmla="*/ 125 h 139"/>
                <a:gd name="T64" fmla="*/ 115 w 144"/>
                <a:gd name="T65" fmla="*/ 139 h 139"/>
                <a:gd name="T66" fmla="*/ 16 w 144"/>
                <a:gd name="T67" fmla="*/ 88 h 139"/>
                <a:gd name="T68" fmla="*/ 45 w 144"/>
                <a:gd name="T69" fmla="*/ 105 h 139"/>
                <a:gd name="T70" fmla="*/ 97 w 144"/>
                <a:gd name="T71" fmla="*/ 137 h 139"/>
                <a:gd name="T72" fmla="*/ 120 w 144"/>
                <a:gd name="T73" fmla="*/ 126 h 139"/>
                <a:gd name="T74" fmla="*/ 127 w 144"/>
                <a:gd name="T75" fmla="*/ 120 h 139"/>
                <a:gd name="T76" fmla="*/ 137 w 144"/>
                <a:gd name="T77" fmla="*/ 125 h 139"/>
                <a:gd name="T78" fmla="*/ 142 w 144"/>
                <a:gd name="T79" fmla="*/ 122 h 139"/>
                <a:gd name="T80" fmla="*/ 131 w 144"/>
                <a:gd name="T81" fmla="*/ 105 h 139"/>
                <a:gd name="T82" fmla="*/ 130 w 144"/>
                <a:gd name="T83" fmla="*/ 97 h 139"/>
                <a:gd name="T84" fmla="*/ 128 w 144"/>
                <a:gd name="T85" fmla="*/ 88 h 139"/>
                <a:gd name="T86" fmla="*/ 114 w 144"/>
                <a:gd name="T87" fmla="*/ 79 h 139"/>
                <a:gd name="T88" fmla="*/ 101 w 144"/>
                <a:gd name="T89" fmla="*/ 65 h 139"/>
                <a:gd name="T90" fmla="*/ 99 w 144"/>
                <a:gd name="T91" fmla="*/ 50 h 139"/>
                <a:gd name="T92" fmla="*/ 105 w 144"/>
                <a:gd name="T93" fmla="*/ 39 h 139"/>
                <a:gd name="T94" fmla="*/ 106 w 144"/>
                <a:gd name="T95" fmla="*/ 35 h 139"/>
                <a:gd name="T96" fmla="*/ 106 w 144"/>
                <a:gd name="T97" fmla="*/ 28 h 139"/>
                <a:gd name="T98" fmla="*/ 92 w 144"/>
                <a:gd name="T99" fmla="*/ 17 h 139"/>
                <a:gd name="T100" fmla="*/ 88 w 144"/>
                <a:gd name="T101" fmla="*/ 7 h 139"/>
                <a:gd name="T102" fmla="*/ 79 w 144"/>
                <a:gd name="T103" fmla="*/ 6 h 139"/>
                <a:gd name="T104" fmla="*/ 71 w 144"/>
                <a:gd name="T105" fmla="*/ 4 h 139"/>
                <a:gd name="T106" fmla="*/ 61 w 144"/>
                <a:gd name="T107" fmla="*/ 1 h 139"/>
                <a:gd name="T108" fmla="*/ 55 w 144"/>
                <a:gd name="T109" fmla="*/ 4 h 139"/>
                <a:gd name="T110" fmla="*/ 54 w 144"/>
                <a:gd name="T111" fmla="*/ 5 h 139"/>
                <a:gd name="T112" fmla="*/ 36 w 144"/>
                <a:gd name="T113" fmla="*/ 19 h 139"/>
                <a:gd name="T114" fmla="*/ 37 w 144"/>
                <a:gd name="T115" fmla="*/ 31 h 139"/>
                <a:gd name="T116" fmla="*/ 32 w 144"/>
                <a:gd name="T117" fmla="*/ 51 h 139"/>
                <a:gd name="T118" fmla="*/ 32 w 144"/>
                <a:gd name="T119" fmla="*/ 51 h 139"/>
                <a:gd name="T120" fmla="*/ 2 w 144"/>
                <a:gd name="T121" fmla="*/ 74 h 139"/>
                <a:gd name="T122" fmla="*/ 10 w 144"/>
                <a:gd name="T123" fmla="*/ 88 h 1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39">
                  <a:moveTo>
                    <a:pt x="115" y="139"/>
                  </a:moveTo>
                  <a:cubicBezTo>
                    <a:pt x="114" y="139"/>
                    <a:pt x="114" y="139"/>
                    <a:pt x="114" y="139"/>
                  </a:cubicBezTo>
                  <a:cubicBezTo>
                    <a:pt x="105" y="138"/>
                    <a:pt x="99" y="138"/>
                    <a:pt x="97" y="138"/>
                  </a:cubicBezTo>
                  <a:cubicBezTo>
                    <a:pt x="94" y="138"/>
                    <a:pt x="85" y="136"/>
                    <a:pt x="80" y="132"/>
                  </a:cubicBezTo>
                  <a:cubicBezTo>
                    <a:pt x="75" y="127"/>
                    <a:pt x="50" y="108"/>
                    <a:pt x="45" y="106"/>
                  </a:cubicBezTo>
                  <a:cubicBezTo>
                    <a:pt x="43" y="105"/>
                    <a:pt x="40" y="103"/>
                    <a:pt x="37" y="101"/>
                  </a:cubicBezTo>
                  <a:cubicBezTo>
                    <a:pt x="29" y="96"/>
                    <a:pt x="20" y="90"/>
                    <a:pt x="16" y="89"/>
                  </a:cubicBezTo>
                  <a:cubicBezTo>
                    <a:pt x="14" y="89"/>
                    <a:pt x="12" y="89"/>
                    <a:pt x="10" y="89"/>
                  </a:cubicBezTo>
                  <a:cubicBezTo>
                    <a:pt x="9" y="89"/>
                    <a:pt x="7" y="89"/>
                    <a:pt x="5" y="89"/>
                  </a:cubicBezTo>
                  <a:cubicBezTo>
                    <a:pt x="5" y="89"/>
                    <a:pt x="5" y="89"/>
                    <a:pt x="5" y="89"/>
                  </a:cubicBezTo>
                  <a:cubicBezTo>
                    <a:pt x="5" y="89"/>
                    <a:pt x="5" y="89"/>
                    <a:pt x="5" y="89"/>
                  </a:cubicBezTo>
                  <a:cubicBezTo>
                    <a:pt x="4" y="84"/>
                    <a:pt x="2" y="78"/>
                    <a:pt x="1" y="75"/>
                  </a:cubicBezTo>
                  <a:cubicBezTo>
                    <a:pt x="1" y="73"/>
                    <a:pt x="0" y="71"/>
                    <a:pt x="0" y="67"/>
                  </a:cubicBezTo>
                  <a:cubicBezTo>
                    <a:pt x="0" y="67"/>
                    <a:pt x="0" y="67"/>
                    <a:pt x="0" y="67"/>
                  </a:cubicBezTo>
                  <a:cubicBezTo>
                    <a:pt x="0" y="67"/>
                    <a:pt x="0" y="67"/>
                    <a:pt x="0" y="67"/>
                  </a:cubicBezTo>
                  <a:cubicBezTo>
                    <a:pt x="14" y="60"/>
                    <a:pt x="30" y="51"/>
                    <a:pt x="32" y="50"/>
                  </a:cubicBezTo>
                  <a:cubicBezTo>
                    <a:pt x="33" y="49"/>
                    <a:pt x="35" y="44"/>
                    <a:pt x="35" y="42"/>
                  </a:cubicBezTo>
                  <a:cubicBezTo>
                    <a:pt x="34" y="40"/>
                    <a:pt x="34" y="33"/>
                    <a:pt x="36" y="30"/>
                  </a:cubicBezTo>
                  <a:cubicBezTo>
                    <a:pt x="37" y="29"/>
                    <a:pt x="36" y="28"/>
                    <a:pt x="36" y="26"/>
                  </a:cubicBezTo>
                  <a:cubicBezTo>
                    <a:pt x="35" y="23"/>
                    <a:pt x="34" y="21"/>
                    <a:pt x="35" y="19"/>
                  </a:cubicBezTo>
                  <a:cubicBezTo>
                    <a:pt x="37" y="14"/>
                    <a:pt x="43" y="12"/>
                    <a:pt x="44" y="11"/>
                  </a:cubicBezTo>
                  <a:cubicBezTo>
                    <a:pt x="52" y="6"/>
                    <a:pt x="52" y="6"/>
                    <a:pt x="52" y="6"/>
                  </a:cubicBezTo>
                  <a:cubicBezTo>
                    <a:pt x="52" y="6"/>
                    <a:pt x="52" y="6"/>
                    <a:pt x="52" y="6"/>
                  </a:cubicBezTo>
                  <a:cubicBezTo>
                    <a:pt x="53" y="5"/>
                    <a:pt x="53" y="5"/>
                    <a:pt x="53" y="5"/>
                  </a:cubicBezTo>
                  <a:cubicBezTo>
                    <a:pt x="53" y="4"/>
                    <a:pt x="54" y="4"/>
                    <a:pt x="54" y="3"/>
                  </a:cubicBezTo>
                  <a:cubicBezTo>
                    <a:pt x="55" y="2"/>
                    <a:pt x="56" y="0"/>
                    <a:pt x="59" y="0"/>
                  </a:cubicBezTo>
                  <a:cubicBezTo>
                    <a:pt x="60" y="0"/>
                    <a:pt x="60" y="0"/>
                    <a:pt x="61" y="0"/>
                  </a:cubicBezTo>
                  <a:cubicBezTo>
                    <a:pt x="64" y="0"/>
                    <a:pt x="66" y="1"/>
                    <a:pt x="68" y="2"/>
                  </a:cubicBezTo>
                  <a:cubicBezTo>
                    <a:pt x="69" y="3"/>
                    <a:pt x="71" y="3"/>
                    <a:pt x="72" y="3"/>
                  </a:cubicBezTo>
                  <a:cubicBezTo>
                    <a:pt x="74" y="2"/>
                    <a:pt x="76" y="3"/>
                    <a:pt x="79" y="5"/>
                  </a:cubicBezTo>
                  <a:cubicBezTo>
                    <a:pt x="81" y="6"/>
                    <a:pt x="84" y="8"/>
                    <a:pt x="85" y="8"/>
                  </a:cubicBezTo>
                  <a:cubicBezTo>
                    <a:pt x="86" y="8"/>
                    <a:pt x="87" y="7"/>
                    <a:pt x="87" y="6"/>
                  </a:cubicBezTo>
                  <a:cubicBezTo>
                    <a:pt x="87" y="5"/>
                    <a:pt x="87" y="5"/>
                    <a:pt x="87" y="5"/>
                  </a:cubicBezTo>
                  <a:cubicBezTo>
                    <a:pt x="88" y="6"/>
                    <a:pt x="88" y="6"/>
                    <a:pt x="88" y="6"/>
                  </a:cubicBezTo>
                  <a:cubicBezTo>
                    <a:pt x="88" y="6"/>
                    <a:pt x="88" y="6"/>
                    <a:pt x="88" y="6"/>
                  </a:cubicBezTo>
                  <a:cubicBezTo>
                    <a:pt x="88" y="6"/>
                    <a:pt x="89" y="8"/>
                    <a:pt x="90" y="9"/>
                  </a:cubicBezTo>
                  <a:cubicBezTo>
                    <a:pt x="92" y="12"/>
                    <a:pt x="93" y="15"/>
                    <a:pt x="93" y="17"/>
                  </a:cubicBezTo>
                  <a:cubicBezTo>
                    <a:pt x="93" y="21"/>
                    <a:pt x="98" y="25"/>
                    <a:pt x="101" y="25"/>
                  </a:cubicBezTo>
                  <a:cubicBezTo>
                    <a:pt x="103" y="25"/>
                    <a:pt x="105" y="26"/>
                    <a:pt x="107" y="28"/>
                  </a:cubicBezTo>
                  <a:cubicBezTo>
                    <a:pt x="107" y="29"/>
                    <a:pt x="107" y="30"/>
                    <a:pt x="107" y="31"/>
                  </a:cubicBezTo>
                  <a:cubicBezTo>
                    <a:pt x="107" y="32"/>
                    <a:pt x="107" y="34"/>
                    <a:pt x="107" y="35"/>
                  </a:cubicBezTo>
                  <a:cubicBezTo>
                    <a:pt x="107" y="37"/>
                    <a:pt x="107" y="38"/>
                    <a:pt x="107" y="39"/>
                  </a:cubicBezTo>
                  <a:cubicBezTo>
                    <a:pt x="106" y="40"/>
                    <a:pt x="106" y="40"/>
                    <a:pt x="105" y="40"/>
                  </a:cubicBezTo>
                  <a:cubicBezTo>
                    <a:pt x="103" y="40"/>
                    <a:pt x="103" y="43"/>
                    <a:pt x="102" y="45"/>
                  </a:cubicBezTo>
                  <a:cubicBezTo>
                    <a:pt x="101" y="48"/>
                    <a:pt x="101" y="50"/>
                    <a:pt x="99" y="51"/>
                  </a:cubicBezTo>
                  <a:cubicBezTo>
                    <a:pt x="99" y="52"/>
                    <a:pt x="98" y="53"/>
                    <a:pt x="98" y="55"/>
                  </a:cubicBezTo>
                  <a:cubicBezTo>
                    <a:pt x="98" y="59"/>
                    <a:pt x="100" y="63"/>
                    <a:pt x="101" y="64"/>
                  </a:cubicBezTo>
                  <a:cubicBezTo>
                    <a:pt x="106" y="66"/>
                    <a:pt x="109" y="69"/>
                    <a:pt x="108" y="72"/>
                  </a:cubicBezTo>
                  <a:cubicBezTo>
                    <a:pt x="108" y="74"/>
                    <a:pt x="110" y="76"/>
                    <a:pt x="114" y="78"/>
                  </a:cubicBezTo>
                  <a:cubicBezTo>
                    <a:pt x="118" y="81"/>
                    <a:pt x="122" y="82"/>
                    <a:pt x="124" y="83"/>
                  </a:cubicBezTo>
                  <a:cubicBezTo>
                    <a:pt x="127" y="83"/>
                    <a:pt x="128" y="86"/>
                    <a:pt x="129" y="88"/>
                  </a:cubicBezTo>
                  <a:cubicBezTo>
                    <a:pt x="130" y="89"/>
                    <a:pt x="130" y="91"/>
                    <a:pt x="131" y="91"/>
                  </a:cubicBezTo>
                  <a:cubicBezTo>
                    <a:pt x="133" y="93"/>
                    <a:pt x="132" y="95"/>
                    <a:pt x="131" y="97"/>
                  </a:cubicBezTo>
                  <a:cubicBezTo>
                    <a:pt x="130" y="99"/>
                    <a:pt x="130" y="100"/>
                    <a:pt x="130" y="101"/>
                  </a:cubicBezTo>
                  <a:cubicBezTo>
                    <a:pt x="130" y="102"/>
                    <a:pt x="131" y="103"/>
                    <a:pt x="132" y="104"/>
                  </a:cubicBezTo>
                  <a:cubicBezTo>
                    <a:pt x="134" y="106"/>
                    <a:pt x="136" y="108"/>
                    <a:pt x="135" y="111"/>
                  </a:cubicBezTo>
                  <a:cubicBezTo>
                    <a:pt x="135" y="114"/>
                    <a:pt x="139" y="118"/>
                    <a:pt x="143" y="122"/>
                  </a:cubicBezTo>
                  <a:cubicBezTo>
                    <a:pt x="144" y="123"/>
                    <a:pt x="144" y="123"/>
                    <a:pt x="144" y="123"/>
                  </a:cubicBezTo>
                  <a:cubicBezTo>
                    <a:pt x="143" y="123"/>
                    <a:pt x="143" y="123"/>
                    <a:pt x="143" y="123"/>
                  </a:cubicBezTo>
                  <a:cubicBezTo>
                    <a:pt x="141" y="124"/>
                    <a:pt x="138" y="125"/>
                    <a:pt x="137" y="126"/>
                  </a:cubicBezTo>
                  <a:cubicBezTo>
                    <a:pt x="137" y="127"/>
                    <a:pt x="137" y="127"/>
                    <a:pt x="137" y="127"/>
                  </a:cubicBezTo>
                  <a:cubicBezTo>
                    <a:pt x="136" y="126"/>
                    <a:pt x="136" y="126"/>
                    <a:pt x="136" y="126"/>
                  </a:cubicBezTo>
                  <a:cubicBezTo>
                    <a:pt x="132" y="123"/>
                    <a:pt x="130" y="121"/>
                    <a:pt x="127" y="121"/>
                  </a:cubicBezTo>
                  <a:cubicBezTo>
                    <a:pt x="124" y="122"/>
                    <a:pt x="123" y="123"/>
                    <a:pt x="122" y="125"/>
                  </a:cubicBezTo>
                  <a:cubicBezTo>
                    <a:pt x="121" y="126"/>
                    <a:pt x="121" y="126"/>
                    <a:pt x="121" y="126"/>
                  </a:cubicBezTo>
                  <a:cubicBezTo>
                    <a:pt x="120" y="127"/>
                    <a:pt x="118" y="132"/>
                    <a:pt x="115" y="139"/>
                  </a:cubicBezTo>
                  <a:close/>
                  <a:moveTo>
                    <a:pt x="12" y="88"/>
                  </a:moveTo>
                  <a:cubicBezTo>
                    <a:pt x="14" y="88"/>
                    <a:pt x="15" y="88"/>
                    <a:pt x="16" y="88"/>
                  </a:cubicBezTo>
                  <a:cubicBezTo>
                    <a:pt x="20" y="89"/>
                    <a:pt x="29" y="95"/>
                    <a:pt x="37" y="100"/>
                  </a:cubicBezTo>
                  <a:cubicBezTo>
                    <a:pt x="41" y="102"/>
                    <a:pt x="44" y="104"/>
                    <a:pt x="45" y="105"/>
                  </a:cubicBezTo>
                  <a:cubicBezTo>
                    <a:pt x="50" y="107"/>
                    <a:pt x="75" y="126"/>
                    <a:pt x="81" y="131"/>
                  </a:cubicBezTo>
                  <a:cubicBezTo>
                    <a:pt x="86" y="136"/>
                    <a:pt x="94" y="137"/>
                    <a:pt x="97" y="137"/>
                  </a:cubicBezTo>
                  <a:cubicBezTo>
                    <a:pt x="99" y="137"/>
                    <a:pt x="105" y="137"/>
                    <a:pt x="114" y="138"/>
                  </a:cubicBezTo>
                  <a:cubicBezTo>
                    <a:pt x="116" y="133"/>
                    <a:pt x="119" y="127"/>
                    <a:pt x="120" y="126"/>
                  </a:cubicBezTo>
                  <a:cubicBezTo>
                    <a:pt x="120" y="125"/>
                    <a:pt x="121" y="125"/>
                    <a:pt x="121" y="124"/>
                  </a:cubicBezTo>
                  <a:cubicBezTo>
                    <a:pt x="122" y="122"/>
                    <a:pt x="123" y="121"/>
                    <a:pt x="127" y="120"/>
                  </a:cubicBezTo>
                  <a:cubicBezTo>
                    <a:pt x="130" y="120"/>
                    <a:pt x="133" y="122"/>
                    <a:pt x="136" y="125"/>
                  </a:cubicBezTo>
                  <a:cubicBezTo>
                    <a:pt x="137" y="125"/>
                    <a:pt x="137" y="125"/>
                    <a:pt x="137" y="125"/>
                  </a:cubicBezTo>
                  <a:cubicBezTo>
                    <a:pt x="138" y="124"/>
                    <a:pt x="140" y="123"/>
                    <a:pt x="142" y="122"/>
                  </a:cubicBezTo>
                  <a:cubicBezTo>
                    <a:pt x="142" y="122"/>
                    <a:pt x="142" y="122"/>
                    <a:pt x="142" y="122"/>
                  </a:cubicBezTo>
                  <a:cubicBezTo>
                    <a:pt x="138" y="118"/>
                    <a:pt x="134" y="114"/>
                    <a:pt x="134" y="111"/>
                  </a:cubicBezTo>
                  <a:cubicBezTo>
                    <a:pt x="135" y="109"/>
                    <a:pt x="133" y="107"/>
                    <a:pt x="131" y="105"/>
                  </a:cubicBezTo>
                  <a:cubicBezTo>
                    <a:pt x="130" y="104"/>
                    <a:pt x="129" y="103"/>
                    <a:pt x="129" y="101"/>
                  </a:cubicBezTo>
                  <a:cubicBezTo>
                    <a:pt x="129" y="100"/>
                    <a:pt x="129" y="99"/>
                    <a:pt x="130" y="97"/>
                  </a:cubicBezTo>
                  <a:cubicBezTo>
                    <a:pt x="131" y="95"/>
                    <a:pt x="131" y="93"/>
                    <a:pt x="130" y="92"/>
                  </a:cubicBezTo>
                  <a:cubicBezTo>
                    <a:pt x="129" y="91"/>
                    <a:pt x="129" y="90"/>
                    <a:pt x="128" y="88"/>
                  </a:cubicBezTo>
                  <a:cubicBezTo>
                    <a:pt x="127" y="86"/>
                    <a:pt x="126" y="84"/>
                    <a:pt x="124" y="84"/>
                  </a:cubicBezTo>
                  <a:cubicBezTo>
                    <a:pt x="122" y="83"/>
                    <a:pt x="117" y="81"/>
                    <a:pt x="114" y="79"/>
                  </a:cubicBezTo>
                  <a:cubicBezTo>
                    <a:pt x="111" y="77"/>
                    <a:pt x="107" y="75"/>
                    <a:pt x="107" y="72"/>
                  </a:cubicBezTo>
                  <a:cubicBezTo>
                    <a:pt x="108" y="69"/>
                    <a:pt x="104" y="66"/>
                    <a:pt x="101" y="65"/>
                  </a:cubicBezTo>
                  <a:cubicBezTo>
                    <a:pt x="99" y="64"/>
                    <a:pt x="97" y="59"/>
                    <a:pt x="97" y="55"/>
                  </a:cubicBezTo>
                  <a:cubicBezTo>
                    <a:pt x="97" y="54"/>
                    <a:pt x="97" y="51"/>
                    <a:pt x="99" y="50"/>
                  </a:cubicBezTo>
                  <a:cubicBezTo>
                    <a:pt x="100" y="50"/>
                    <a:pt x="101" y="47"/>
                    <a:pt x="101" y="45"/>
                  </a:cubicBezTo>
                  <a:cubicBezTo>
                    <a:pt x="102" y="42"/>
                    <a:pt x="103" y="39"/>
                    <a:pt x="105" y="39"/>
                  </a:cubicBezTo>
                  <a:cubicBezTo>
                    <a:pt x="106" y="39"/>
                    <a:pt x="106" y="39"/>
                    <a:pt x="106" y="39"/>
                  </a:cubicBezTo>
                  <a:cubicBezTo>
                    <a:pt x="106" y="38"/>
                    <a:pt x="106" y="37"/>
                    <a:pt x="106" y="35"/>
                  </a:cubicBezTo>
                  <a:cubicBezTo>
                    <a:pt x="106" y="34"/>
                    <a:pt x="106" y="32"/>
                    <a:pt x="106" y="31"/>
                  </a:cubicBezTo>
                  <a:cubicBezTo>
                    <a:pt x="106" y="30"/>
                    <a:pt x="106" y="29"/>
                    <a:pt x="106" y="28"/>
                  </a:cubicBezTo>
                  <a:cubicBezTo>
                    <a:pt x="105" y="27"/>
                    <a:pt x="103" y="26"/>
                    <a:pt x="101" y="26"/>
                  </a:cubicBezTo>
                  <a:cubicBezTo>
                    <a:pt x="98" y="26"/>
                    <a:pt x="92" y="21"/>
                    <a:pt x="92" y="17"/>
                  </a:cubicBezTo>
                  <a:cubicBezTo>
                    <a:pt x="92" y="15"/>
                    <a:pt x="91" y="12"/>
                    <a:pt x="89" y="10"/>
                  </a:cubicBezTo>
                  <a:cubicBezTo>
                    <a:pt x="89" y="9"/>
                    <a:pt x="88" y="8"/>
                    <a:pt x="88" y="7"/>
                  </a:cubicBezTo>
                  <a:cubicBezTo>
                    <a:pt x="87" y="8"/>
                    <a:pt x="86" y="9"/>
                    <a:pt x="85" y="9"/>
                  </a:cubicBezTo>
                  <a:cubicBezTo>
                    <a:pt x="84" y="9"/>
                    <a:pt x="81" y="7"/>
                    <a:pt x="79" y="6"/>
                  </a:cubicBezTo>
                  <a:cubicBezTo>
                    <a:pt x="76" y="4"/>
                    <a:pt x="74" y="3"/>
                    <a:pt x="73" y="4"/>
                  </a:cubicBezTo>
                  <a:cubicBezTo>
                    <a:pt x="72" y="4"/>
                    <a:pt x="71" y="4"/>
                    <a:pt x="71" y="4"/>
                  </a:cubicBezTo>
                  <a:cubicBezTo>
                    <a:pt x="70" y="4"/>
                    <a:pt x="69" y="3"/>
                    <a:pt x="67" y="3"/>
                  </a:cubicBezTo>
                  <a:cubicBezTo>
                    <a:pt x="66" y="2"/>
                    <a:pt x="64" y="1"/>
                    <a:pt x="61" y="1"/>
                  </a:cubicBezTo>
                  <a:cubicBezTo>
                    <a:pt x="60" y="1"/>
                    <a:pt x="60" y="1"/>
                    <a:pt x="59" y="1"/>
                  </a:cubicBezTo>
                  <a:cubicBezTo>
                    <a:pt x="57" y="1"/>
                    <a:pt x="56" y="2"/>
                    <a:pt x="55" y="4"/>
                  </a:cubicBezTo>
                  <a:cubicBezTo>
                    <a:pt x="54" y="5"/>
                    <a:pt x="54" y="5"/>
                    <a:pt x="54" y="5"/>
                  </a:cubicBezTo>
                  <a:cubicBezTo>
                    <a:pt x="54" y="5"/>
                    <a:pt x="54" y="5"/>
                    <a:pt x="54" y="5"/>
                  </a:cubicBezTo>
                  <a:cubicBezTo>
                    <a:pt x="45" y="12"/>
                    <a:pt x="45" y="12"/>
                    <a:pt x="45" y="12"/>
                  </a:cubicBezTo>
                  <a:cubicBezTo>
                    <a:pt x="45" y="12"/>
                    <a:pt x="37" y="15"/>
                    <a:pt x="36" y="19"/>
                  </a:cubicBezTo>
                  <a:cubicBezTo>
                    <a:pt x="35" y="21"/>
                    <a:pt x="36" y="23"/>
                    <a:pt x="37" y="25"/>
                  </a:cubicBezTo>
                  <a:cubicBezTo>
                    <a:pt x="37" y="27"/>
                    <a:pt x="38" y="29"/>
                    <a:pt x="37" y="31"/>
                  </a:cubicBezTo>
                  <a:cubicBezTo>
                    <a:pt x="35" y="34"/>
                    <a:pt x="35" y="40"/>
                    <a:pt x="36" y="42"/>
                  </a:cubicBezTo>
                  <a:cubicBezTo>
                    <a:pt x="36" y="45"/>
                    <a:pt x="33" y="50"/>
                    <a:pt x="32" y="51"/>
                  </a:cubicBezTo>
                  <a:cubicBezTo>
                    <a:pt x="32" y="51"/>
                    <a:pt x="32" y="51"/>
                    <a:pt x="32" y="51"/>
                  </a:cubicBezTo>
                  <a:cubicBezTo>
                    <a:pt x="32" y="51"/>
                    <a:pt x="32" y="51"/>
                    <a:pt x="32" y="51"/>
                  </a:cubicBezTo>
                  <a:cubicBezTo>
                    <a:pt x="32" y="51"/>
                    <a:pt x="15" y="60"/>
                    <a:pt x="1" y="68"/>
                  </a:cubicBezTo>
                  <a:cubicBezTo>
                    <a:pt x="1" y="71"/>
                    <a:pt x="2" y="73"/>
                    <a:pt x="2" y="74"/>
                  </a:cubicBezTo>
                  <a:cubicBezTo>
                    <a:pt x="3" y="78"/>
                    <a:pt x="5" y="84"/>
                    <a:pt x="6" y="88"/>
                  </a:cubicBezTo>
                  <a:cubicBezTo>
                    <a:pt x="7" y="88"/>
                    <a:pt x="9" y="88"/>
                    <a:pt x="10" y="88"/>
                  </a:cubicBezTo>
                  <a:cubicBezTo>
                    <a:pt x="11" y="88"/>
                    <a:pt x="11" y="88"/>
                    <a:pt x="12" y="8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0" name="Freeform 97"/>
            <p:cNvSpPr>
              <a:spLocks noEditPoints="1"/>
            </p:cNvSpPr>
            <p:nvPr/>
          </p:nvSpPr>
          <p:spPr>
            <a:xfrm>
              <a:off x="5921376" y="3035300"/>
              <a:ext cx="49213" cy="46038"/>
            </a:xfrm>
            <a:custGeom>
              <a:gdLst>
                <a:gd name="T0" fmla="*/ 29 w 29"/>
                <a:gd name="T1" fmla="*/ 27 h 27"/>
                <a:gd name="T2" fmla="*/ 17 w 29"/>
                <a:gd name="T3" fmla="*/ 27 h 27"/>
                <a:gd name="T4" fmla="*/ 9 w 29"/>
                <a:gd name="T5" fmla="*/ 20 h 27"/>
                <a:gd name="T6" fmla="*/ 0 w 29"/>
                <a:gd name="T7" fmla="*/ 19 h 27"/>
                <a:gd name="T8" fmla="*/ 0 w 29"/>
                <a:gd name="T9" fmla="*/ 19 h 27"/>
                <a:gd name="T10" fmla="*/ 0 w 29"/>
                <a:gd name="T11" fmla="*/ 19 h 27"/>
                <a:gd name="T12" fmla="*/ 6 w 29"/>
                <a:gd name="T13" fmla="*/ 6 h 27"/>
                <a:gd name="T14" fmla="*/ 7 w 29"/>
                <a:gd name="T15" fmla="*/ 4 h 27"/>
                <a:gd name="T16" fmla="*/ 13 w 29"/>
                <a:gd name="T17" fmla="*/ 0 h 27"/>
                <a:gd name="T18" fmla="*/ 22 w 29"/>
                <a:gd name="T19" fmla="*/ 5 h 27"/>
                <a:gd name="T20" fmla="*/ 23 w 29"/>
                <a:gd name="T21" fmla="*/ 6 h 27"/>
                <a:gd name="T22" fmla="*/ 23 w 29"/>
                <a:gd name="T23" fmla="*/ 6 h 27"/>
                <a:gd name="T24" fmla="*/ 22 w 29"/>
                <a:gd name="T25" fmla="*/ 8 h 27"/>
                <a:gd name="T26" fmla="*/ 26 w 29"/>
                <a:gd name="T27" fmla="*/ 19 h 27"/>
                <a:gd name="T28" fmla="*/ 29 w 29"/>
                <a:gd name="T29" fmla="*/ 27 h 27"/>
                <a:gd name="T30" fmla="*/ 17 w 29"/>
                <a:gd name="T31" fmla="*/ 26 h 27"/>
                <a:gd name="T32" fmla="*/ 28 w 29"/>
                <a:gd name="T33" fmla="*/ 26 h 27"/>
                <a:gd name="T34" fmla="*/ 25 w 29"/>
                <a:gd name="T35" fmla="*/ 20 h 27"/>
                <a:gd name="T36" fmla="*/ 21 w 29"/>
                <a:gd name="T37" fmla="*/ 8 h 27"/>
                <a:gd name="T38" fmla="*/ 22 w 29"/>
                <a:gd name="T39" fmla="*/ 6 h 27"/>
                <a:gd name="T40" fmla="*/ 22 w 29"/>
                <a:gd name="T41" fmla="*/ 6 h 27"/>
                <a:gd name="T42" fmla="*/ 13 w 29"/>
                <a:gd name="T43" fmla="*/ 1 h 27"/>
                <a:gd name="T44" fmla="*/ 8 w 29"/>
                <a:gd name="T45" fmla="*/ 5 h 27"/>
                <a:gd name="T46" fmla="*/ 7 w 29"/>
                <a:gd name="T47" fmla="*/ 6 h 27"/>
                <a:gd name="T48" fmla="*/ 1 w 29"/>
                <a:gd name="T49" fmla="*/ 18 h 27"/>
                <a:gd name="T50" fmla="*/ 9 w 29"/>
                <a:gd name="T51" fmla="*/ 19 h 27"/>
                <a:gd name="T52" fmla="*/ 9 w 29"/>
                <a:gd name="T53" fmla="*/ 19 h 27"/>
                <a:gd name="T54" fmla="*/ 17 w 29"/>
                <a:gd name="T55" fmla="*/ 26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27">
                  <a:moveTo>
                    <a:pt x="29" y="27"/>
                  </a:moveTo>
                  <a:cubicBezTo>
                    <a:pt x="17" y="27"/>
                    <a:pt x="17" y="27"/>
                    <a:pt x="17" y="27"/>
                  </a:cubicBezTo>
                  <a:cubicBezTo>
                    <a:pt x="9" y="20"/>
                    <a:pt x="9" y="20"/>
                    <a:pt x="9" y="20"/>
                  </a:cubicBezTo>
                  <a:cubicBezTo>
                    <a:pt x="8" y="20"/>
                    <a:pt x="5" y="20"/>
                    <a:pt x="0" y="19"/>
                  </a:cubicBezTo>
                  <a:cubicBezTo>
                    <a:pt x="0" y="19"/>
                    <a:pt x="0" y="19"/>
                    <a:pt x="0" y="19"/>
                  </a:cubicBezTo>
                  <a:cubicBezTo>
                    <a:pt x="0" y="19"/>
                    <a:pt x="0" y="19"/>
                    <a:pt x="0" y="19"/>
                  </a:cubicBezTo>
                  <a:cubicBezTo>
                    <a:pt x="2" y="13"/>
                    <a:pt x="5" y="7"/>
                    <a:pt x="6" y="6"/>
                  </a:cubicBezTo>
                  <a:cubicBezTo>
                    <a:pt x="6" y="5"/>
                    <a:pt x="7" y="5"/>
                    <a:pt x="7" y="4"/>
                  </a:cubicBezTo>
                  <a:cubicBezTo>
                    <a:pt x="8" y="2"/>
                    <a:pt x="9" y="1"/>
                    <a:pt x="13" y="0"/>
                  </a:cubicBezTo>
                  <a:cubicBezTo>
                    <a:pt x="16" y="0"/>
                    <a:pt x="19" y="2"/>
                    <a:pt x="22" y="5"/>
                  </a:cubicBezTo>
                  <a:cubicBezTo>
                    <a:pt x="23" y="6"/>
                    <a:pt x="23" y="6"/>
                    <a:pt x="23" y="6"/>
                  </a:cubicBezTo>
                  <a:cubicBezTo>
                    <a:pt x="23" y="6"/>
                    <a:pt x="23" y="6"/>
                    <a:pt x="23" y="6"/>
                  </a:cubicBezTo>
                  <a:cubicBezTo>
                    <a:pt x="22" y="7"/>
                    <a:pt x="22" y="8"/>
                    <a:pt x="22" y="8"/>
                  </a:cubicBezTo>
                  <a:cubicBezTo>
                    <a:pt x="22" y="10"/>
                    <a:pt x="24" y="15"/>
                    <a:pt x="26" y="19"/>
                  </a:cubicBezTo>
                  <a:cubicBezTo>
                    <a:pt x="27" y="22"/>
                    <a:pt x="28" y="24"/>
                    <a:pt x="29" y="27"/>
                  </a:cubicBezTo>
                  <a:close/>
                  <a:moveTo>
                    <a:pt x="17" y="26"/>
                  </a:moveTo>
                  <a:cubicBezTo>
                    <a:pt x="28" y="26"/>
                    <a:pt x="28" y="26"/>
                    <a:pt x="28" y="26"/>
                  </a:cubicBezTo>
                  <a:cubicBezTo>
                    <a:pt x="27" y="24"/>
                    <a:pt x="26" y="22"/>
                    <a:pt x="25" y="20"/>
                  </a:cubicBezTo>
                  <a:cubicBezTo>
                    <a:pt x="23" y="14"/>
                    <a:pt x="21" y="10"/>
                    <a:pt x="21" y="8"/>
                  </a:cubicBezTo>
                  <a:cubicBezTo>
                    <a:pt x="21" y="8"/>
                    <a:pt x="21" y="7"/>
                    <a:pt x="22" y="6"/>
                  </a:cubicBezTo>
                  <a:cubicBezTo>
                    <a:pt x="22" y="6"/>
                    <a:pt x="22" y="6"/>
                    <a:pt x="22" y="6"/>
                  </a:cubicBezTo>
                  <a:cubicBezTo>
                    <a:pt x="18" y="3"/>
                    <a:pt x="16" y="1"/>
                    <a:pt x="13" y="1"/>
                  </a:cubicBezTo>
                  <a:cubicBezTo>
                    <a:pt x="10" y="2"/>
                    <a:pt x="9" y="3"/>
                    <a:pt x="8" y="5"/>
                  </a:cubicBezTo>
                  <a:cubicBezTo>
                    <a:pt x="7" y="6"/>
                    <a:pt x="7" y="6"/>
                    <a:pt x="7" y="6"/>
                  </a:cubicBezTo>
                  <a:cubicBezTo>
                    <a:pt x="6" y="7"/>
                    <a:pt x="4" y="12"/>
                    <a:pt x="1" y="18"/>
                  </a:cubicBezTo>
                  <a:cubicBezTo>
                    <a:pt x="6" y="19"/>
                    <a:pt x="9" y="19"/>
                    <a:pt x="9" y="19"/>
                  </a:cubicBezTo>
                  <a:cubicBezTo>
                    <a:pt x="9" y="19"/>
                    <a:pt x="9" y="19"/>
                    <a:pt x="9" y="19"/>
                  </a:cubicBezTo>
                  <a:lnTo>
                    <a:pt x="17" y="26"/>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1" name="Freeform 98"/>
            <p:cNvSpPr>
              <a:spLocks noEditPoints="1"/>
            </p:cNvSpPr>
            <p:nvPr/>
          </p:nvSpPr>
          <p:spPr>
            <a:xfrm>
              <a:off x="4664076" y="2413000"/>
              <a:ext cx="357188" cy="301625"/>
            </a:xfrm>
            <a:custGeom>
              <a:gdLst>
                <a:gd name="T0" fmla="*/ 205 w 211"/>
                <a:gd name="T1" fmla="*/ 153 h 178"/>
                <a:gd name="T2" fmla="*/ 208 w 211"/>
                <a:gd name="T3" fmla="*/ 151 h 178"/>
                <a:gd name="T4" fmla="*/ 205 w 211"/>
                <a:gd name="T5" fmla="*/ 177 h 178"/>
                <a:gd name="T6" fmla="*/ 103 w 211"/>
                <a:gd name="T7" fmla="*/ 161 h 178"/>
                <a:gd name="T8" fmla="*/ 74 w 211"/>
                <a:gd name="T9" fmla="*/ 158 h 178"/>
                <a:gd name="T10" fmla="*/ 45 w 211"/>
                <a:gd name="T11" fmla="*/ 146 h 178"/>
                <a:gd name="T12" fmla="*/ 52 w 211"/>
                <a:gd name="T13" fmla="*/ 119 h 178"/>
                <a:gd name="T14" fmla="*/ 39 w 211"/>
                <a:gd name="T15" fmla="*/ 78 h 178"/>
                <a:gd name="T16" fmla="*/ 10 w 211"/>
                <a:gd name="T17" fmla="*/ 65 h 178"/>
                <a:gd name="T18" fmla="*/ 9 w 211"/>
                <a:gd name="T19" fmla="*/ 45 h 178"/>
                <a:gd name="T20" fmla="*/ 29 w 211"/>
                <a:gd name="T21" fmla="*/ 47 h 178"/>
                <a:gd name="T22" fmla="*/ 46 w 211"/>
                <a:gd name="T23" fmla="*/ 49 h 178"/>
                <a:gd name="T24" fmla="*/ 53 w 211"/>
                <a:gd name="T25" fmla="*/ 28 h 178"/>
                <a:gd name="T26" fmla="*/ 93 w 211"/>
                <a:gd name="T27" fmla="*/ 20 h 178"/>
                <a:gd name="T28" fmla="*/ 104 w 211"/>
                <a:gd name="T29" fmla="*/ 1 h 178"/>
                <a:gd name="T30" fmla="*/ 110 w 211"/>
                <a:gd name="T31" fmla="*/ 3 h 178"/>
                <a:gd name="T32" fmla="*/ 122 w 211"/>
                <a:gd name="T33" fmla="*/ 12 h 178"/>
                <a:gd name="T34" fmla="*/ 138 w 211"/>
                <a:gd name="T35" fmla="*/ 20 h 178"/>
                <a:gd name="T36" fmla="*/ 150 w 211"/>
                <a:gd name="T37" fmla="*/ 29 h 178"/>
                <a:gd name="T38" fmla="*/ 183 w 211"/>
                <a:gd name="T39" fmla="*/ 40 h 178"/>
                <a:gd name="T40" fmla="*/ 183 w 211"/>
                <a:gd name="T41" fmla="*/ 58 h 178"/>
                <a:gd name="T42" fmla="*/ 163 w 211"/>
                <a:gd name="T43" fmla="*/ 87 h 178"/>
                <a:gd name="T44" fmla="*/ 171 w 211"/>
                <a:gd name="T45" fmla="*/ 92 h 178"/>
                <a:gd name="T46" fmla="*/ 172 w 211"/>
                <a:gd name="T47" fmla="*/ 113 h 178"/>
                <a:gd name="T48" fmla="*/ 174 w 211"/>
                <a:gd name="T49" fmla="*/ 123 h 178"/>
                <a:gd name="T50" fmla="*/ 184 w 211"/>
                <a:gd name="T51" fmla="*/ 133 h 178"/>
                <a:gd name="T52" fmla="*/ 173 w 211"/>
                <a:gd name="T53" fmla="*/ 144 h 178"/>
                <a:gd name="T54" fmla="*/ 118 w 211"/>
                <a:gd name="T55" fmla="*/ 157 h 178"/>
                <a:gd name="T56" fmla="*/ 110 w 211"/>
                <a:gd name="T57" fmla="*/ 162 h 178"/>
                <a:gd name="T58" fmla="*/ 110 w 211"/>
                <a:gd name="T59" fmla="*/ 161 h 178"/>
                <a:gd name="T60" fmla="*/ 129 w 211"/>
                <a:gd name="T61" fmla="*/ 143 h 178"/>
                <a:gd name="T62" fmla="*/ 182 w 211"/>
                <a:gd name="T63" fmla="*/ 134 h 178"/>
                <a:gd name="T64" fmla="*/ 172 w 211"/>
                <a:gd name="T65" fmla="*/ 128 h 178"/>
                <a:gd name="T66" fmla="*/ 170 w 211"/>
                <a:gd name="T67" fmla="*/ 112 h 178"/>
                <a:gd name="T68" fmla="*/ 172 w 211"/>
                <a:gd name="T69" fmla="*/ 95 h 178"/>
                <a:gd name="T70" fmla="*/ 161 w 211"/>
                <a:gd name="T71" fmla="*/ 93 h 178"/>
                <a:gd name="T72" fmla="*/ 181 w 211"/>
                <a:gd name="T73" fmla="*/ 62 h 178"/>
                <a:gd name="T74" fmla="*/ 186 w 211"/>
                <a:gd name="T75" fmla="*/ 42 h 178"/>
                <a:gd name="T76" fmla="*/ 156 w 211"/>
                <a:gd name="T77" fmla="*/ 32 h 178"/>
                <a:gd name="T78" fmla="*/ 142 w 211"/>
                <a:gd name="T79" fmla="*/ 24 h 178"/>
                <a:gd name="T80" fmla="*/ 134 w 211"/>
                <a:gd name="T81" fmla="*/ 24 h 178"/>
                <a:gd name="T82" fmla="*/ 115 w 211"/>
                <a:gd name="T83" fmla="*/ 8 h 178"/>
                <a:gd name="T84" fmla="*/ 107 w 211"/>
                <a:gd name="T85" fmla="*/ 1 h 178"/>
                <a:gd name="T86" fmla="*/ 98 w 211"/>
                <a:gd name="T87" fmla="*/ 4 h 178"/>
                <a:gd name="T88" fmla="*/ 71 w 211"/>
                <a:gd name="T89" fmla="*/ 35 h 178"/>
                <a:gd name="T90" fmla="*/ 44 w 211"/>
                <a:gd name="T91" fmla="*/ 33 h 178"/>
                <a:gd name="T92" fmla="*/ 36 w 211"/>
                <a:gd name="T93" fmla="*/ 48 h 178"/>
                <a:gd name="T94" fmla="*/ 18 w 211"/>
                <a:gd name="T95" fmla="*/ 45 h 178"/>
                <a:gd name="T96" fmla="*/ 3 w 211"/>
                <a:gd name="T97" fmla="*/ 61 h 178"/>
                <a:gd name="T98" fmla="*/ 38 w 211"/>
                <a:gd name="T99" fmla="*/ 72 h 178"/>
                <a:gd name="T100" fmla="*/ 55 w 211"/>
                <a:gd name="T101" fmla="*/ 110 h 178"/>
                <a:gd name="T102" fmla="*/ 60 w 211"/>
                <a:gd name="T103" fmla="*/ 152 h 1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178">
                  <a:moveTo>
                    <a:pt x="205" y="178"/>
                  </a:moveTo>
                  <a:cubicBezTo>
                    <a:pt x="205" y="178"/>
                    <a:pt x="205" y="178"/>
                    <a:pt x="205" y="178"/>
                  </a:cubicBezTo>
                  <a:cubicBezTo>
                    <a:pt x="201" y="178"/>
                    <a:pt x="198" y="174"/>
                    <a:pt x="197" y="169"/>
                  </a:cubicBezTo>
                  <a:cubicBezTo>
                    <a:pt x="196" y="165"/>
                    <a:pt x="196" y="160"/>
                    <a:pt x="199" y="158"/>
                  </a:cubicBezTo>
                  <a:cubicBezTo>
                    <a:pt x="202" y="156"/>
                    <a:pt x="204" y="154"/>
                    <a:pt x="205" y="153"/>
                  </a:cubicBezTo>
                  <a:cubicBezTo>
                    <a:pt x="206" y="151"/>
                    <a:pt x="207" y="150"/>
                    <a:pt x="208" y="150"/>
                  </a:cubicBezTo>
                  <a:cubicBezTo>
                    <a:pt x="210" y="150"/>
                    <a:pt x="210" y="157"/>
                    <a:pt x="211" y="160"/>
                  </a:cubicBezTo>
                  <a:cubicBezTo>
                    <a:pt x="211" y="162"/>
                    <a:pt x="211" y="178"/>
                    <a:pt x="205" y="178"/>
                  </a:cubicBezTo>
                  <a:cubicBezTo>
                    <a:pt x="205" y="178"/>
                    <a:pt x="205" y="178"/>
                    <a:pt x="205" y="178"/>
                  </a:cubicBezTo>
                  <a:close/>
                  <a:moveTo>
                    <a:pt x="208" y="151"/>
                  </a:moveTo>
                  <a:cubicBezTo>
                    <a:pt x="207" y="151"/>
                    <a:pt x="207" y="152"/>
                    <a:pt x="206" y="153"/>
                  </a:cubicBezTo>
                  <a:cubicBezTo>
                    <a:pt x="204" y="155"/>
                    <a:pt x="203" y="157"/>
                    <a:pt x="200" y="159"/>
                  </a:cubicBezTo>
                  <a:cubicBezTo>
                    <a:pt x="197" y="161"/>
                    <a:pt x="197" y="165"/>
                    <a:pt x="198" y="169"/>
                  </a:cubicBezTo>
                  <a:cubicBezTo>
                    <a:pt x="199" y="174"/>
                    <a:pt x="202" y="177"/>
                    <a:pt x="205" y="177"/>
                  </a:cubicBezTo>
                  <a:cubicBezTo>
                    <a:pt x="205" y="177"/>
                    <a:pt x="205" y="177"/>
                    <a:pt x="205" y="177"/>
                  </a:cubicBezTo>
                  <a:cubicBezTo>
                    <a:pt x="205" y="177"/>
                    <a:pt x="205" y="177"/>
                    <a:pt x="205" y="177"/>
                  </a:cubicBezTo>
                  <a:cubicBezTo>
                    <a:pt x="207" y="177"/>
                    <a:pt x="208" y="175"/>
                    <a:pt x="209" y="171"/>
                  </a:cubicBezTo>
                  <a:cubicBezTo>
                    <a:pt x="210" y="164"/>
                    <a:pt x="209" y="152"/>
                    <a:pt x="208" y="151"/>
                  </a:cubicBezTo>
                  <a:close/>
                  <a:moveTo>
                    <a:pt x="110" y="162"/>
                  </a:moveTo>
                  <a:cubicBezTo>
                    <a:pt x="108" y="162"/>
                    <a:pt x="105" y="162"/>
                    <a:pt x="103" y="161"/>
                  </a:cubicBezTo>
                  <a:cubicBezTo>
                    <a:pt x="102" y="161"/>
                    <a:pt x="100" y="161"/>
                    <a:pt x="98" y="161"/>
                  </a:cubicBezTo>
                  <a:cubicBezTo>
                    <a:pt x="93" y="160"/>
                    <a:pt x="87" y="159"/>
                    <a:pt x="85" y="157"/>
                  </a:cubicBezTo>
                  <a:cubicBezTo>
                    <a:pt x="84" y="155"/>
                    <a:pt x="82" y="154"/>
                    <a:pt x="80" y="154"/>
                  </a:cubicBezTo>
                  <a:cubicBezTo>
                    <a:pt x="80" y="154"/>
                    <a:pt x="79" y="154"/>
                    <a:pt x="79" y="155"/>
                  </a:cubicBezTo>
                  <a:cubicBezTo>
                    <a:pt x="79" y="157"/>
                    <a:pt x="77" y="158"/>
                    <a:pt x="74" y="158"/>
                  </a:cubicBezTo>
                  <a:cubicBezTo>
                    <a:pt x="71" y="158"/>
                    <a:pt x="69" y="158"/>
                    <a:pt x="67" y="157"/>
                  </a:cubicBezTo>
                  <a:cubicBezTo>
                    <a:pt x="65" y="155"/>
                    <a:pt x="62" y="154"/>
                    <a:pt x="60" y="153"/>
                  </a:cubicBezTo>
                  <a:cubicBezTo>
                    <a:pt x="57" y="152"/>
                    <a:pt x="55" y="151"/>
                    <a:pt x="53" y="150"/>
                  </a:cubicBezTo>
                  <a:cubicBezTo>
                    <a:pt x="52" y="149"/>
                    <a:pt x="50" y="148"/>
                    <a:pt x="48" y="147"/>
                  </a:cubicBezTo>
                  <a:cubicBezTo>
                    <a:pt x="47" y="147"/>
                    <a:pt x="46" y="146"/>
                    <a:pt x="45" y="146"/>
                  </a:cubicBezTo>
                  <a:cubicBezTo>
                    <a:pt x="44" y="145"/>
                    <a:pt x="44" y="145"/>
                    <a:pt x="44" y="145"/>
                  </a:cubicBezTo>
                  <a:cubicBezTo>
                    <a:pt x="45" y="145"/>
                    <a:pt x="45" y="145"/>
                    <a:pt x="45" y="145"/>
                  </a:cubicBezTo>
                  <a:cubicBezTo>
                    <a:pt x="45" y="145"/>
                    <a:pt x="45" y="145"/>
                    <a:pt x="45" y="145"/>
                  </a:cubicBezTo>
                  <a:cubicBezTo>
                    <a:pt x="46" y="145"/>
                    <a:pt x="46" y="145"/>
                    <a:pt x="46" y="145"/>
                  </a:cubicBezTo>
                  <a:cubicBezTo>
                    <a:pt x="49" y="143"/>
                    <a:pt x="53" y="125"/>
                    <a:pt x="52" y="119"/>
                  </a:cubicBezTo>
                  <a:cubicBezTo>
                    <a:pt x="52" y="116"/>
                    <a:pt x="53" y="113"/>
                    <a:pt x="54" y="110"/>
                  </a:cubicBezTo>
                  <a:cubicBezTo>
                    <a:pt x="55" y="107"/>
                    <a:pt x="56" y="104"/>
                    <a:pt x="55" y="102"/>
                  </a:cubicBezTo>
                  <a:cubicBezTo>
                    <a:pt x="54" y="100"/>
                    <a:pt x="54" y="98"/>
                    <a:pt x="54" y="96"/>
                  </a:cubicBezTo>
                  <a:cubicBezTo>
                    <a:pt x="55" y="93"/>
                    <a:pt x="55" y="92"/>
                    <a:pt x="51" y="91"/>
                  </a:cubicBezTo>
                  <a:cubicBezTo>
                    <a:pt x="44" y="89"/>
                    <a:pt x="39" y="84"/>
                    <a:pt x="39" y="78"/>
                  </a:cubicBezTo>
                  <a:cubicBezTo>
                    <a:pt x="39" y="74"/>
                    <a:pt x="39" y="74"/>
                    <a:pt x="37" y="73"/>
                  </a:cubicBezTo>
                  <a:cubicBezTo>
                    <a:pt x="37" y="73"/>
                    <a:pt x="36" y="72"/>
                    <a:pt x="35" y="72"/>
                  </a:cubicBezTo>
                  <a:cubicBezTo>
                    <a:pt x="33" y="70"/>
                    <a:pt x="32" y="70"/>
                    <a:pt x="30" y="70"/>
                  </a:cubicBezTo>
                  <a:cubicBezTo>
                    <a:pt x="28" y="70"/>
                    <a:pt x="26" y="70"/>
                    <a:pt x="22" y="68"/>
                  </a:cubicBezTo>
                  <a:cubicBezTo>
                    <a:pt x="18" y="66"/>
                    <a:pt x="14" y="65"/>
                    <a:pt x="10" y="65"/>
                  </a:cubicBezTo>
                  <a:cubicBezTo>
                    <a:pt x="7" y="64"/>
                    <a:pt x="4" y="63"/>
                    <a:pt x="3" y="62"/>
                  </a:cubicBezTo>
                  <a:cubicBezTo>
                    <a:pt x="1" y="60"/>
                    <a:pt x="2" y="59"/>
                    <a:pt x="2" y="57"/>
                  </a:cubicBezTo>
                  <a:cubicBezTo>
                    <a:pt x="2" y="56"/>
                    <a:pt x="2" y="54"/>
                    <a:pt x="1" y="53"/>
                  </a:cubicBezTo>
                  <a:cubicBezTo>
                    <a:pt x="0" y="52"/>
                    <a:pt x="0" y="50"/>
                    <a:pt x="0" y="49"/>
                  </a:cubicBezTo>
                  <a:cubicBezTo>
                    <a:pt x="1" y="46"/>
                    <a:pt x="5" y="45"/>
                    <a:pt x="9" y="45"/>
                  </a:cubicBezTo>
                  <a:cubicBezTo>
                    <a:pt x="10" y="45"/>
                    <a:pt x="10" y="45"/>
                    <a:pt x="10" y="45"/>
                  </a:cubicBezTo>
                  <a:cubicBezTo>
                    <a:pt x="14" y="45"/>
                    <a:pt x="16" y="45"/>
                    <a:pt x="18" y="44"/>
                  </a:cubicBezTo>
                  <a:cubicBezTo>
                    <a:pt x="19" y="43"/>
                    <a:pt x="21" y="43"/>
                    <a:pt x="22" y="43"/>
                  </a:cubicBezTo>
                  <a:cubicBezTo>
                    <a:pt x="23" y="43"/>
                    <a:pt x="24" y="43"/>
                    <a:pt x="25" y="44"/>
                  </a:cubicBezTo>
                  <a:cubicBezTo>
                    <a:pt x="27" y="44"/>
                    <a:pt x="28" y="46"/>
                    <a:pt x="29" y="47"/>
                  </a:cubicBezTo>
                  <a:cubicBezTo>
                    <a:pt x="30" y="48"/>
                    <a:pt x="30" y="49"/>
                    <a:pt x="31" y="49"/>
                  </a:cubicBezTo>
                  <a:cubicBezTo>
                    <a:pt x="32" y="49"/>
                    <a:pt x="32" y="48"/>
                    <a:pt x="33" y="48"/>
                  </a:cubicBezTo>
                  <a:cubicBezTo>
                    <a:pt x="34" y="47"/>
                    <a:pt x="35" y="47"/>
                    <a:pt x="36" y="47"/>
                  </a:cubicBezTo>
                  <a:cubicBezTo>
                    <a:pt x="37" y="47"/>
                    <a:pt x="39" y="48"/>
                    <a:pt x="41" y="48"/>
                  </a:cubicBezTo>
                  <a:cubicBezTo>
                    <a:pt x="43" y="49"/>
                    <a:pt x="45" y="49"/>
                    <a:pt x="46" y="49"/>
                  </a:cubicBezTo>
                  <a:cubicBezTo>
                    <a:pt x="47" y="48"/>
                    <a:pt x="47" y="46"/>
                    <a:pt x="47" y="45"/>
                  </a:cubicBezTo>
                  <a:cubicBezTo>
                    <a:pt x="48" y="42"/>
                    <a:pt x="47" y="37"/>
                    <a:pt x="44" y="34"/>
                  </a:cubicBezTo>
                  <a:cubicBezTo>
                    <a:pt x="42" y="32"/>
                    <a:pt x="42" y="30"/>
                    <a:pt x="43" y="29"/>
                  </a:cubicBezTo>
                  <a:cubicBezTo>
                    <a:pt x="44" y="27"/>
                    <a:pt x="47" y="25"/>
                    <a:pt x="49" y="25"/>
                  </a:cubicBezTo>
                  <a:cubicBezTo>
                    <a:pt x="51" y="25"/>
                    <a:pt x="52" y="26"/>
                    <a:pt x="53" y="28"/>
                  </a:cubicBezTo>
                  <a:cubicBezTo>
                    <a:pt x="54" y="31"/>
                    <a:pt x="62" y="35"/>
                    <a:pt x="67" y="35"/>
                  </a:cubicBezTo>
                  <a:cubicBezTo>
                    <a:pt x="69" y="35"/>
                    <a:pt x="70" y="34"/>
                    <a:pt x="70" y="34"/>
                  </a:cubicBezTo>
                  <a:cubicBezTo>
                    <a:pt x="72" y="33"/>
                    <a:pt x="72" y="31"/>
                    <a:pt x="72" y="30"/>
                  </a:cubicBezTo>
                  <a:cubicBezTo>
                    <a:pt x="73" y="27"/>
                    <a:pt x="74" y="24"/>
                    <a:pt x="80" y="23"/>
                  </a:cubicBezTo>
                  <a:cubicBezTo>
                    <a:pt x="86" y="23"/>
                    <a:pt x="91" y="22"/>
                    <a:pt x="93" y="20"/>
                  </a:cubicBezTo>
                  <a:cubicBezTo>
                    <a:pt x="94" y="18"/>
                    <a:pt x="95" y="16"/>
                    <a:pt x="95" y="14"/>
                  </a:cubicBezTo>
                  <a:cubicBezTo>
                    <a:pt x="94" y="8"/>
                    <a:pt x="96" y="5"/>
                    <a:pt x="97" y="3"/>
                  </a:cubicBezTo>
                  <a:cubicBezTo>
                    <a:pt x="99" y="2"/>
                    <a:pt x="101" y="1"/>
                    <a:pt x="104" y="1"/>
                  </a:cubicBezTo>
                  <a:cubicBezTo>
                    <a:pt x="104" y="1"/>
                    <a:pt x="104" y="1"/>
                    <a:pt x="104" y="1"/>
                  </a:cubicBezTo>
                  <a:cubicBezTo>
                    <a:pt x="104" y="1"/>
                    <a:pt x="104" y="1"/>
                    <a:pt x="104" y="1"/>
                  </a:cubicBezTo>
                  <a:cubicBezTo>
                    <a:pt x="105" y="1"/>
                    <a:pt x="106" y="1"/>
                    <a:pt x="107" y="0"/>
                  </a:cubicBezTo>
                  <a:cubicBezTo>
                    <a:pt x="107" y="0"/>
                    <a:pt x="107" y="0"/>
                    <a:pt x="107" y="0"/>
                  </a:cubicBezTo>
                  <a:cubicBezTo>
                    <a:pt x="108" y="1"/>
                    <a:pt x="108" y="1"/>
                    <a:pt x="108" y="1"/>
                  </a:cubicBezTo>
                  <a:cubicBezTo>
                    <a:pt x="108" y="1"/>
                    <a:pt x="108" y="1"/>
                    <a:pt x="108" y="1"/>
                  </a:cubicBezTo>
                  <a:cubicBezTo>
                    <a:pt x="109" y="1"/>
                    <a:pt x="109" y="2"/>
                    <a:pt x="110" y="3"/>
                  </a:cubicBezTo>
                  <a:cubicBezTo>
                    <a:pt x="110" y="5"/>
                    <a:pt x="112" y="8"/>
                    <a:pt x="114" y="8"/>
                  </a:cubicBezTo>
                  <a:cubicBezTo>
                    <a:pt x="114" y="8"/>
                    <a:pt x="114" y="8"/>
                    <a:pt x="114" y="8"/>
                  </a:cubicBezTo>
                  <a:cubicBezTo>
                    <a:pt x="114" y="7"/>
                    <a:pt x="115" y="7"/>
                    <a:pt x="115" y="7"/>
                  </a:cubicBezTo>
                  <a:cubicBezTo>
                    <a:pt x="116" y="7"/>
                    <a:pt x="117" y="8"/>
                    <a:pt x="119" y="10"/>
                  </a:cubicBezTo>
                  <a:cubicBezTo>
                    <a:pt x="120" y="11"/>
                    <a:pt x="121" y="12"/>
                    <a:pt x="122" y="12"/>
                  </a:cubicBezTo>
                  <a:cubicBezTo>
                    <a:pt x="123" y="13"/>
                    <a:pt x="124" y="13"/>
                    <a:pt x="125" y="14"/>
                  </a:cubicBezTo>
                  <a:cubicBezTo>
                    <a:pt x="128" y="15"/>
                    <a:pt x="131" y="17"/>
                    <a:pt x="131" y="18"/>
                  </a:cubicBezTo>
                  <a:cubicBezTo>
                    <a:pt x="132" y="20"/>
                    <a:pt x="132" y="23"/>
                    <a:pt x="134" y="23"/>
                  </a:cubicBezTo>
                  <a:cubicBezTo>
                    <a:pt x="134" y="23"/>
                    <a:pt x="134" y="23"/>
                    <a:pt x="135" y="23"/>
                  </a:cubicBezTo>
                  <a:cubicBezTo>
                    <a:pt x="136" y="22"/>
                    <a:pt x="137" y="21"/>
                    <a:pt x="138" y="20"/>
                  </a:cubicBezTo>
                  <a:cubicBezTo>
                    <a:pt x="139" y="19"/>
                    <a:pt x="140" y="19"/>
                    <a:pt x="141" y="19"/>
                  </a:cubicBezTo>
                  <a:cubicBezTo>
                    <a:pt x="141" y="19"/>
                    <a:pt x="142" y="19"/>
                    <a:pt x="142" y="20"/>
                  </a:cubicBezTo>
                  <a:cubicBezTo>
                    <a:pt x="142" y="21"/>
                    <a:pt x="142" y="23"/>
                    <a:pt x="143" y="24"/>
                  </a:cubicBezTo>
                  <a:cubicBezTo>
                    <a:pt x="143" y="26"/>
                    <a:pt x="144" y="26"/>
                    <a:pt x="146" y="26"/>
                  </a:cubicBezTo>
                  <a:cubicBezTo>
                    <a:pt x="147" y="26"/>
                    <a:pt x="149" y="27"/>
                    <a:pt x="150" y="29"/>
                  </a:cubicBezTo>
                  <a:cubicBezTo>
                    <a:pt x="151" y="30"/>
                    <a:pt x="152" y="31"/>
                    <a:pt x="153" y="31"/>
                  </a:cubicBezTo>
                  <a:cubicBezTo>
                    <a:pt x="154" y="31"/>
                    <a:pt x="155" y="31"/>
                    <a:pt x="156" y="31"/>
                  </a:cubicBezTo>
                  <a:cubicBezTo>
                    <a:pt x="160" y="31"/>
                    <a:pt x="167" y="31"/>
                    <a:pt x="169" y="34"/>
                  </a:cubicBezTo>
                  <a:cubicBezTo>
                    <a:pt x="171" y="37"/>
                    <a:pt x="174" y="38"/>
                    <a:pt x="178" y="38"/>
                  </a:cubicBezTo>
                  <a:cubicBezTo>
                    <a:pt x="180" y="38"/>
                    <a:pt x="182" y="39"/>
                    <a:pt x="183" y="40"/>
                  </a:cubicBezTo>
                  <a:cubicBezTo>
                    <a:pt x="184" y="40"/>
                    <a:pt x="185" y="41"/>
                    <a:pt x="185" y="41"/>
                  </a:cubicBezTo>
                  <a:cubicBezTo>
                    <a:pt x="187" y="41"/>
                    <a:pt x="190" y="41"/>
                    <a:pt x="190" y="43"/>
                  </a:cubicBezTo>
                  <a:cubicBezTo>
                    <a:pt x="191" y="44"/>
                    <a:pt x="190" y="45"/>
                    <a:pt x="189" y="46"/>
                  </a:cubicBezTo>
                  <a:cubicBezTo>
                    <a:pt x="185" y="50"/>
                    <a:pt x="184" y="53"/>
                    <a:pt x="183" y="57"/>
                  </a:cubicBezTo>
                  <a:cubicBezTo>
                    <a:pt x="183" y="58"/>
                    <a:pt x="183" y="58"/>
                    <a:pt x="183" y="58"/>
                  </a:cubicBezTo>
                  <a:cubicBezTo>
                    <a:pt x="183" y="59"/>
                    <a:pt x="182" y="61"/>
                    <a:pt x="182" y="62"/>
                  </a:cubicBezTo>
                  <a:cubicBezTo>
                    <a:pt x="182" y="66"/>
                    <a:pt x="182" y="69"/>
                    <a:pt x="179" y="69"/>
                  </a:cubicBezTo>
                  <a:cubicBezTo>
                    <a:pt x="177" y="69"/>
                    <a:pt x="173" y="72"/>
                    <a:pt x="172" y="75"/>
                  </a:cubicBezTo>
                  <a:cubicBezTo>
                    <a:pt x="172" y="77"/>
                    <a:pt x="170" y="78"/>
                    <a:pt x="169" y="80"/>
                  </a:cubicBezTo>
                  <a:cubicBezTo>
                    <a:pt x="166" y="82"/>
                    <a:pt x="164" y="84"/>
                    <a:pt x="163" y="87"/>
                  </a:cubicBezTo>
                  <a:cubicBezTo>
                    <a:pt x="162" y="91"/>
                    <a:pt x="162" y="92"/>
                    <a:pt x="162" y="93"/>
                  </a:cubicBezTo>
                  <a:cubicBezTo>
                    <a:pt x="162" y="93"/>
                    <a:pt x="162" y="93"/>
                    <a:pt x="162" y="93"/>
                  </a:cubicBezTo>
                  <a:cubicBezTo>
                    <a:pt x="162" y="93"/>
                    <a:pt x="163" y="93"/>
                    <a:pt x="164" y="91"/>
                  </a:cubicBezTo>
                  <a:cubicBezTo>
                    <a:pt x="165" y="90"/>
                    <a:pt x="167" y="89"/>
                    <a:pt x="168" y="89"/>
                  </a:cubicBezTo>
                  <a:cubicBezTo>
                    <a:pt x="170" y="89"/>
                    <a:pt x="171" y="90"/>
                    <a:pt x="171" y="92"/>
                  </a:cubicBezTo>
                  <a:cubicBezTo>
                    <a:pt x="171" y="93"/>
                    <a:pt x="172" y="94"/>
                    <a:pt x="173" y="95"/>
                  </a:cubicBezTo>
                  <a:cubicBezTo>
                    <a:pt x="174" y="96"/>
                    <a:pt x="175" y="97"/>
                    <a:pt x="174" y="99"/>
                  </a:cubicBezTo>
                  <a:cubicBezTo>
                    <a:pt x="172" y="104"/>
                    <a:pt x="174" y="105"/>
                    <a:pt x="175" y="106"/>
                  </a:cubicBezTo>
                  <a:cubicBezTo>
                    <a:pt x="176" y="106"/>
                    <a:pt x="176" y="107"/>
                    <a:pt x="176" y="107"/>
                  </a:cubicBezTo>
                  <a:cubicBezTo>
                    <a:pt x="176" y="109"/>
                    <a:pt x="174" y="112"/>
                    <a:pt x="172" y="113"/>
                  </a:cubicBezTo>
                  <a:cubicBezTo>
                    <a:pt x="172" y="113"/>
                    <a:pt x="171" y="113"/>
                    <a:pt x="170" y="113"/>
                  </a:cubicBezTo>
                  <a:cubicBezTo>
                    <a:pt x="170" y="113"/>
                    <a:pt x="169" y="113"/>
                    <a:pt x="169" y="114"/>
                  </a:cubicBezTo>
                  <a:cubicBezTo>
                    <a:pt x="169" y="114"/>
                    <a:pt x="169" y="114"/>
                    <a:pt x="170" y="115"/>
                  </a:cubicBezTo>
                  <a:cubicBezTo>
                    <a:pt x="170" y="117"/>
                    <a:pt x="171" y="118"/>
                    <a:pt x="172" y="118"/>
                  </a:cubicBezTo>
                  <a:cubicBezTo>
                    <a:pt x="174" y="120"/>
                    <a:pt x="175" y="121"/>
                    <a:pt x="174" y="123"/>
                  </a:cubicBezTo>
                  <a:cubicBezTo>
                    <a:pt x="173" y="125"/>
                    <a:pt x="173" y="126"/>
                    <a:pt x="173" y="128"/>
                  </a:cubicBezTo>
                  <a:cubicBezTo>
                    <a:pt x="174" y="129"/>
                    <a:pt x="175" y="130"/>
                    <a:pt x="177" y="130"/>
                  </a:cubicBezTo>
                  <a:cubicBezTo>
                    <a:pt x="177" y="130"/>
                    <a:pt x="178" y="130"/>
                    <a:pt x="179" y="130"/>
                  </a:cubicBezTo>
                  <a:cubicBezTo>
                    <a:pt x="181" y="130"/>
                    <a:pt x="183" y="130"/>
                    <a:pt x="184" y="131"/>
                  </a:cubicBezTo>
                  <a:cubicBezTo>
                    <a:pt x="184" y="131"/>
                    <a:pt x="184" y="132"/>
                    <a:pt x="184" y="133"/>
                  </a:cubicBezTo>
                  <a:cubicBezTo>
                    <a:pt x="184" y="133"/>
                    <a:pt x="184" y="133"/>
                    <a:pt x="183" y="134"/>
                  </a:cubicBezTo>
                  <a:cubicBezTo>
                    <a:pt x="183" y="135"/>
                    <a:pt x="182" y="136"/>
                    <a:pt x="182" y="138"/>
                  </a:cubicBezTo>
                  <a:cubicBezTo>
                    <a:pt x="182" y="138"/>
                    <a:pt x="182" y="138"/>
                    <a:pt x="182" y="138"/>
                  </a:cubicBezTo>
                  <a:cubicBezTo>
                    <a:pt x="182" y="138"/>
                    <a:pt x="182" y="138"/>
                    <a:pt x="182" y="138"/>
                  </a:cubicBezTo>
                  <a:cubicBezTo>
                    <a:pt x="180" y="139"/>
                    <a:pt x="177" y="140"/>
                    <a:pt x="173" y="144"/>
                  </a:cubicBezTo>
                  <a:cubicBezTo>
                    <a:pt x="167" y="151"/>
                    <a:pt x="160" y="153"/>
                    <a:pt x="156" y="149"/>
                  </a:cubicBezTo>
                  <a:cubicBezTo>
                    <a:pt x="152" y="147"/>
                    <a:pt x="139" y="144"/>
                    <a:pt x="132" y="144"/>
                  </a:cubicBezTo>
                  <a:cubicBezTo>
                    <a:pt x="131" y="144"/>
                    <a:pt x="130" y="144"/>
                    <a:pt x="129" y="144"/>
                  </a:cubicBezTo>
                  <a:cubicBezTo>
                    <a:pt x="124" y="144"/>
                    <a:pt x="120" y="147"/>
                    <a:pt x="118" y="150"/>
                  </a:cubicBezTo>
                  <a:cubicBezTo>
                    <a:pt x="117" y="152"/>
                    <a:pt x="117" y="155"/>
                    <a:pt x="118" y="157"/>
                  </a:cubicBezTo>
                  <a:cubicBezTo>
                    <a:pt x="118" y="159"/>
                    <a:pt x="118" y="160"/>
                    <a:pt x="118" y="161"/>
                  </a:cubicBezTo>
                  <a:cubicBezTo>
                    <a:pt x="119" y="162"/>
                    <a:pt x="119" y="162"/>
                    <a:pt x="119" y="162"/>
                  </a:cubicBezTo>
                  <a:cubicBezTo>
                    <a:pt x="118" y="162"/>
                    <a:pt x="118" y="162"/>
                    <a:pt x="118" y="162"/>
                  </a:cubicBezTo>
                  <a:cubicBezTo>
                    <a:pt x="116" y="162"/>
                    <a:pt x="115" y="162"/>
                    <a:pt x="113" y="162"/>
                  </a:cubicBezTo>
                  <a:cubicBezTo>
                    <a:pt x="112" y="162"/>
                    <a:pt x="111" y="162"/>
                    <a:pt x="110" y="162"/>
                  </a:cubicBezTo>
                  <a:close/>
                  <a:moveTo>
                    <a:pt x="80" y="153"/>
                  </a:moveTo>
                  <a:cubicBezTo>
                    <a:pt x="82" y="153"/>
                    <a:pt x="85" y="155"/>
                    <a:pt x="86" y="156"/>
                  </a:cubicBezTo>
                  <a:cubicBezTo>
                    <a:pt x="88" y="158"/>
                    <a:pt x="94" y="159"/>
                    <a:pt x="98" y="160"/>
                  </a:cubicBezTo>
                  <a:cubicBezTo>
                    <a:pt x="100" y="160"/>
                    <a:pt x="102" y="160"/>
                    <a:pt x="103" y="160"/>
                  </a:cubicBezTo>
                  <a:cubicBezTo>
                    <a:pt x="105" y="161"/>
                    <a:pt x="108" y="161"/>
                    <a:pt x="110" y="161"/>
                  </a:cubicBezTo>
                  <a:cubicBezTo>
                    <a:pt x="111" y="161"/>
                    <a:pt x="112" y="161"/>
                    <a:pt x="113" y="161"/>
                  </a:cubicBezTo>
                  <a:cubicBezTo>
                    <a:pt x="114" y="161"/>
                    <a:pt x="116" y="161"/>
                    <a:pt x="117" y="161"/>
                  </a:cubicBezTo>
                  <a:cubicBezTo>
                    <a:pt x="117" y="160"/>
                    <a:pt x="117" y="159"/>
                    <a:pt x="117" y="158"/>
                  </a:cubicBezTo>
                  <a:cubicBezTo>
                    <a:pt x="116" y="155"/>
                    <a:pt x="116" y="152"/>
                    <a:pt x="118" y="149"/>
                  </a:cubicBezTo>
                  <a:cubicBezTo>
                    <a:pt x="120" y="146"/>
                    <a:pt x="124" y="143"/>
                    <a:pt x="129" y="143"/>
                  </a:cubicBezTo>
                  <a:cubicBezTo>
                    <a:pt x="130" y="143"/>
                    <a:pt x="131" y="143"/>
                    <a:pt x="132" y="143"/>
                  </a:cubicBezTo>
                  <a:cubicBezTo>
                    <a:pt x="140" y="143"/>
                    <a:pt x="152" y="146"/>
                    <a:pt x="156" y="149"/>
                  </a:cubicBezTo>
                  <a:cubicBezTo>
                    <a:pt x="161" y="151"/>
                    <a:pt x="166" y="150"/>
                    <a:pt x="172" y="143"/>
                  </a:cubicBezTo>
                  <a:cubicBezTo>
                    <a:pt x="176" y="139"/>
                    <a:pt x="179" y="138"/>
                    <a:pt x="181" y="137"/>
                  </a:cubicBezTo>
                  <a:cubicBezTo>
                    <a:pt x="181" y="136"/>
                    <a:pt x="182" y="135"/>
                    <a:pt x="182" y="134"/>
                  </a:cubicBezTo>
                  <a:cubicBezTo>
                    <a:pt x="183" y="133"/>
                    <a:pt x="183" y="133"/>
                    <a:pt x="183" y="132"/>
                  </a:cubicBezTo>
                  <a:cubicBezTo>
                    <a:pt x="183" y="132"/>
                    <a:pt x="183" y="132"/>
                    <a:pt x="183" y="132"/>
                  </a:cubicBezTo>
                  <a:cubicBezTo>
                    <a:pt x="182" y="131"/>
                    <a:pt x="181" y="131"/>
                    <a:pt x="179" y="131"/>
                  </a:cubicBezTo>
                  <a:cubicBezTo>
                    <a:pt x="178" y="131"/>
                    <a:pt x="177" y="131"/>
                    <a:pt x="177" y="131"/>
                  </a:cubicBezTo>
                  <a:cubicBezTo>
                    <a:pt x="175" y="131"/>
                    <a:pt x="173" y="130"/>
                    <a:pt x="172" y="128"/>
                  </a:cubicBezTo>
                  <a:cubicBezTo>
                    <a:pt x="172" y="126"/>
                    <a:pt x="172" y="125"/>
                    <a:pt x="173" y="123"/>
                  </a:cubicBezTo>
                  <a:cubicBezTo>
                    <a:pt x="174" y="121"/>
                    <a:pt x="173" y="120"/>
                    <a:pt x="172" y="119"/>
                  </a:cubicBezTo>
                  <a:cubicBezTo>
                    <a:pt x="171" y="118"/>
                    <a:pt x="170" y="117"/>
                    <a:pt x="169" y="116"/>
                  </a:cubicBezTo>
                  <a:cubicBezTo>
                    <a:pt x="168" y="115"/>
                    <a:pt x="168" y="114"/>
                    <a:pt x="168" y="113"/>
                  </a:cubicBezTo>
                  <a:cubicBezTo>
                    <a:pt x="168" y="113"/>
                    <a:pt x="169" y="112"/>
                    <a:pt x="170" y="112"/>
                  </a:cubicBezTo>
                  <a:cubicBezTo>
                    <a:pt x="171" y="112"/>
                    <a:pt x="171" y="112"/>
                    <a:pt x="172" y="112"/>
                  </a:cubicBezTo>
                  <a:cubicBezTo>
                    <a:pt x="173" y="111"/>
                    <a:pt x="175" y="109"/>
                    <a:pt x="175" y="107"/>
                  </a:cubicBezTo>
                  <a:cubicBezTo>
                    <a:pt x="175" y="107"/>
                    <a:pt x="175" y="107"/>
                    <a:pt x="175" y="107"/>
                  </a:cubicBezTo>
                  <a:cubicBezTo>
                    <a:pt x="174" y="106"/>
                    <a:pt x="171" y="104"/>
                    <a:pt x="173" y="99"/>
                  </a:cubicBezTo>
                  <a:cubicBezTo>
                    <a:pt x="174" y="97"/>
                    <a:pt x="173" y="96"/>
                    <a:pt x="172" y="95"/>
                  </a:cubicBezTo>
                  <a:cubicBezTo>
                    <a:pt x="171" y="95"/>
                    <a:pt x="170" y="94"/>
                    <a:pt x="170" y="92"/>
                  </a:cubicBezTo>
                  <a:cubicBezTo>
                    <a:pt x="170" y="91"/>
                    <a:pt x="169" y="90"/>
                    <a:pt x="168" y="90"/>
                  </a:cubicBezTo>
                  <a:cubicBezTo>
                    <a:pt x="167" y="90"/>
                    <a:pt x="166" y="91"/>
                    <a:pt x="165" y="92"/>
                  </a:cubicBezTo>
                  <a:cubicBezTo>
                    <a:pt x="164" y="93"/>
                    <a:pt x="163" y="94"/>
                    <a:pt x="162" y="94"/>
                  </a:cubicBezTo>
                  <a:cubicBezTo>
                    <a:pt x="162" y="94"/>
                    <a:pt x="161" y="94"/>
                    <a:pt x="161" y="93"/>
                  </a:cubicBezTo>
                  <a:cubicBezTo>
                    <a:pt x="160" y="92"/>
                    <a:pt x="161" y="88"/>
                    <a:pt x="162" y="87"/>
                  </a:cubicBezTo>
                  <a:cubicBezTo>
                    <a:pt x="163" y="83"/>
                    <a:pt x="166" y="81"/>
                    <a:pt x="168" y="79"/>
                  </a:cubicBezTo>
                  <a:cubicBezTo>
                    <a:pt x="170" y="78"/>
                    <a:pt x="171" y="76"/>
                    <a:pt x="171" y="75"/>
                  </a:cubicBezTo>
                  <a:cubicBezTo>
                    <a:pt x="172" y="71"/>
                    <a:pt x="176" y="68"/>
                    <a:pt x="179" y="68"/>
                  </a:cubicBezTo>
                  <a:cubicBezTo>
                    <a:pt x="181" y="68"/>
                    <a:pt x="181" y="65"/>
                    <a:pt x="181" y="62"/>
                  </a:cubicBezTo>
                  <a:cubicBezTo>
                    <a:pt x="181" y="61"/>
                    <a:pt x="182" y="59"/>
                    <a:pt x="182" y="58"/>
                  </a:cubicBezTo>
                  <a:cubicBezTo>
                    <a:pt x="182" y="57"/>
                    <a:pt x="182" y="57"/>
                    <a:pt x="182" y="57"/>
                  </a:cubicBezTo>
                  <a:cubicBezTo>
                    <a:pt x="183" y="53"/>
                    <a:pt x="184" y="49"/>
                    <a:pt x="188" y="46"/>
                  </a:cubicBezTo>
                  <a:cubicBezTo>
                    <a:pt x="189" y="45"/>
                    <a:pt x="190" y="44"/>
                    <a:pt x="189" y="43"/>
                  </a:cubicBezTo>
                  <a:cubicBezTo>
                    <a:pt x="189" y="42"/>
                    <a:pt x="187" y="42"/>
                    <a:pt x="186" y="42"/>
                  </a:cubicBezTo>
                  <a:cubicBezTo>
                    <a:pt x="186" y="42"/>
                    <a:pt x="186" y="42"/>
                    <a:pt x="185" y="42"/>
                  </a:cubicBezTo>
                  <a:cubicBezTo>
                    <a:pt x="184" y="42"/>
                    <a:pt x="183" y="41"/>
                    <a:pt x="182" y="41"/>
                  </a:cubicBezTo>
                  <a:cubicBezTo>
                    <a:pt x="181" y="40"/>
                    <a:pt x="180" y="39"/>
                    <a:pt x="178" y="39"/>
                  </a:cubicBezTo>
                  <a:cubicBezTo>
                    <a:pt x="174" y="39"/>
                    <a:pt x="170" y="37"/>
                    <a:pt x="168" y="34"/>
                  </a:cubicBezTo>
                  <a:cubicBezTo>
                    <a:pt x="167" y="33"/>
                    <a:pt x="161" y="32"/>
                    <a:pt x="156" y="32"/>
                  </a:cubicBezTo>
                  <a:cubicBezTo>
                    <a:pt x="155" y="32"/>
                    <a:pt x="154" y="32"/>
                    <a:pt x="153" y="32"/>
                  </a:cubicBezTo>
                  <a:cubicBezTo>
                    <a:pt x="151" y="32"/>
                    <a:pt x="150" y="31"/>
                    <a:pt x="149" y="29"/>
                  </a:cubicBezTo>
                  <a:cubicBezTo>
                    <a:pt x="148" y="28"/>
                    <a:pt x="147" y="27"/>
                    <a:pt x="146" y="27"/>
                  </a:cubicBezTo>
                  <a:cubicBezTo>
                    <a:pt x="145" y="27"/>
                    <a:pt x="145" y="27"/>
                    <a:pt x="145" y="27"/>
                  </a:cubicBezTo>
                  <a:cubicBezTo>
                    <a:pt x="144" y="27"/>
                    <a:pt x="143" y="27"/>
                    <a:pt x="142" y="24"/>
                  </a:cubicBezTo>
                  <a:cubicBezTo>
                    <a:pt x="141" y="23"/>
                    <a:pt x="141" y="21"/>
                    <a:pt x="141" y="20"/>
                  </a:cubicBezTo>
                  <a:cubicBezTo>
                    <a:pt x="141" y="20"/>
                    <a:pt x="141" y="20"/>
                    <a:pt x="141" y="20"/>
                  </a:cubicBezTo>
                  <a:cubicBezTo>
                    <a:pt x="141" y="20"/>
                    <a:pt x="140" y="21"/>
                    <a:pt x="139" y="21"/>
                  </a:cubicBezTo>
                  <a:cubicBezTo>
                    <a:pt x="138" y="22"/>
                    <a:pt x="136" y="23"/>
                    <a:pt x="135" y="24"/>
                  </a:cubicBezTo>
                  <a:cubicBezTo>
                    <a:pt x="134" y="24"/>
                    <a:pt x="134" y="24"/>
                    <a:pt x="134" y="24"/>
                  </a:cubicBezTo>
                  <a:cubicBezTo>
                    <a:pt x="133" y="24"/>
                    <a:pt x="131" y="23"/>
                    <a:pt x="130" y="18"/>
                  </a:cubicBezTo>
                  <a:cubicBezTo>
                    <a:pt x="130" y="17"/>
                    <a:pt x="127" y="16"/>
                    <a:pt x="125" y="15"/>
                  </a:cubicBezTo>
                  <a:cubicBezTo>
                    <a:pt x="123" y="14"/>
                    <a:pt x="122" y="14"/>
                    <a:pt x="121" y="13"/>
                  </a:cubicBezTo>
                  <a:cubicBezTo>
                    <a:pt x="120" y="13"/>
                    <a:pt x="119" y="12"/>
                    <a:pt x="118" y="11"/>
                  </a:cubicBezTo>
                  <a:cubicBezTo>
                    <a:pt x="117" y="9"/>
                    <a:pt x="116" y="8"/>
                    <a:pt x="115" y="8"/>
                  </a:cubicBezTo>
                  <a:cubicBezTo>
                    <a:pt x="115" y="8"/>
                    <a:pt x="115" y="8"/>
                    <a:pt x="115" y="9"/>
                  </a:cubicBezTo>
                  <a:cubicBezTo>
                    <a:pt x="114" y="9"/>
                    <a:pt x="114" y="9"/>
                    <a:pt x="114" y="9"/>
                  </a:cubicBezTo>
                  <a:cubicBezTo>
                    <a:pt x="112" y="9"/>
                    <a:pt x="109" y="5"/>
                    <a:pt x="109" y="3"/>
                  </a:cubicBezTo>
                  <a:cubicBezTo>
                    <a:pt x="109" y="2"/>
                    <a:pt x="108" y="2"/>
                    <a:pt x="108" y="2"/>
                  </a:cubicBezTo>
                  <a:cubicBezTo>
                    <a:pt x="108" y="2"/>
                    <a:pt x="107" y="2"/>
                    <a:pt x="107" y="1"/>
                  </a:cubicBezTo>
                  <a:cubicBezTo>
                    <a:pt x="106" y="2"/>
                    <a:pt x="105" y="2"/>
                    <a:pt x="104" y="2"/>
                  </a:cubicBezTo>
                  <a:cubicBezTo>
                    <a:pt x="104" y="2"/>
                    <a:pt x="104" y="2"/>
                    <a:pt x="104" y="2"/>
                  </a:cubicBezTo>
                  <a:cubicBezTo>
                    <a:pt x="104" y="2"/>
                    <a:pt x="104" y="2"/>
                    <a:pt x="104" y="2"/>
                  </a:cubicBezTo>
                  <a:cubicBezTo>
                    <a:pt x="104" y="2"/>
                    <a:pt x="104" y="2"/>
                    <a:pt x="104" y="2"/>
                  </a:cubicBezTo>
                  <a:cubicBezTo>
                    <a:pt x="101" y="2"/>
                    <a:pt x="99" y="3"/>
                    <a:pt x="98" y="4"/>
                  </a:cubicBezTo>
                  <a:cubicBezTo>
                    <a:pt x="96" y="6"/>
                    <a:pt x="95" y="10"/>
                    <a:pt x="96" y="14"/>
                  </a:cubicBezTo>
                  <a:cubicBezTo>
                    <a:pt x="96" y="16"/>
                    <a:pt x="95" y="19"/>
                    <a:pt x="94" y="20"/>
                  </a:cubicBezTo>
                  <a:cubicBezTo>
                    <a:pt x="92" y="23"/>
                    <a:pt x="86" y="24"/>
                    <a:pt x="80" y="24"/>
                  </a:cubicBezTo>
                  <a:cubicBezTo>
                    <a:pt x="75" y="25"/>
                    <a:pt x="74" y="27"/>
                    <a:pt x="73" y="30"/>
                  </a:cubicBezTo>
                  <a:cubicBezTo>
                    <a:pt x="73" y="32"/>
                    <a:pt x="72" y="33"/>
                    <a:pt x="71" y="35"/>
                  </a:cubicBezTo>
                  <a:cubicBezTo>
                    <a:pt x="70" y="35"/>
                    <a:pt x="69" y="36"/>
                    <a:pt x="67" y="36"/>
                  </a:cubicBezTo>
                  <a:cubicBezTo>
                    <a:pt x="62" y="36"/>
                    <a:pt x="53" y="32"/>
                    <a:pt x="52" y="28"/>
                  </a:cubicBezTo>
                  <a:cubicBezTo>
                    <a:pt x="51" y="27"/>
                    <a:pt x="50" y="26"/>
                    <a:pt x="49" y="26"/>
                  </a:cubicBezTo>
                  <a:cubicBezTo>
                    <a:pt x="47" y="26"/>
                    <a:pt x="44" y="28"/>
                    <a:pt x="44" y="30"/>
                  </a:cubicBezTo>
                  <a:cubicBezTo>
                    <a:pt x="43" y="31"/>
                    <a:pt x="43" y="32"/>
                    <a:pt x="44" y="33"/>
                  </a:cubicBezTo>
                  <a:cubicBezTo>
                    <a:pt x="48" y="37"/>
                    <a:pt x="49" y="42"/>
                    <a:pt x="48" y="45"/>
                  </a:cubicBezTo>
                  <a:cubicBezTo>
                    <a:pt x="48" y="47"/>
                    <a:pt x="47" y="48"/>
                    <a:pt x="46" y="49"/>
                  </a:cubicBezTo>
                  <a:cubicBezTo>
                    <a:pt x="46" y="50"/>
                    <a:pt x="45" y="50"/>
                    <a:pt x="44" y="50"/>
                  </a:cubicBezTo>
                  <a:cubicBezTo>
                    <a:pt x="43" y="50"/>
                    <a:pt x="42" y="50"/>
                    <a:pt x="40" y="49"/>
                  </a:cubicBezTo>
                  <a:cubicBezTo>
                    <a:pt x="39" y="49"/>
                    <a:pt x="37" y="48"/>
                    <a:pt x="36" y="48"/>
                  </a:cubicBezTo>
                  <a:cubicBezTo>
                    <a:pt x="35" y="48"/>
                    <a:pt x="34" y="48"/>
                    <a:pt x="34" y="49"/>
                  </a:cubicBezTo>
                  <a:cubicBezTo>
                    <a:pt x="33" y="49"/>
                    <a:pt x="32" y="50"/>
                    <a:pt x="31" y="50"/>
                  </a:cubicBezTo>
                  <a:cubicBezTo>
                    <a:pt x="30" y="50"/>
                    <a:pt x="29" y="49"/>
                    <a:pt x="28" y="48"/>
                  </a:cubicBezTo>
                  <a:cubicBezTo>
                    <a:pt x="27" y="46"/>
                    <a:pt x="26" y="45"/>
                    <a:pt x="24" y="45"/>
                  </a:cubicBezTo>
                  <a:cubicBezTo>
                    <a:pt x="22" y="44"/>
                    <a:pt x="20" y="44"/>
                    <a:pt x="18" y="45"/>
                  </a:cubicBezTo>
                  <a:cubicBezTo>
                    <a:pt x="16" y="46"/>
                    <a:pt x="14" y="46"/>
                    <a:pt x="10" y="46"/>
                  </a:cubicBezTo>
                  <a:cubicBezTo>
                    <a:pt x="5" y="46"/>
                    <a:pt x="2" y="47"/>
                    <a:pt x="1" y="49"/>
                  </a:cubicBezTo>
                  <a:cubicBezTo>
                    <a:pt x="1" y="50"/>
                    <a:pt x="1" y="51"/>
                    <a:pt x="2" y="52"/>
                  </a:cubicBezTo>
                  <a:cubicBezTo>
                    <a:pt x="3" y="54"/>
                    <a:pt x="3" y="56"/>
                    <a:pt x="3" y="57"/>
                  </a:cubicBezTo>
                  <a:cubicBezTo>
                    <a:pt x="3" y="59"/>
                    <a:pt x="2" y="60"/>
                    <a:pt x="3" y="61"/>
                  </a:cubicBezTo>
                  <a:cubicBezTo>
                    <a:pt x="4" y="62"/>
                    <a:pt x="7" y="63"/>
                    <a:pt x="11" y="64"/>
                  </a:cubicBezTo>
                  <a:cubicBezTo>
                    <a:pt x="14" y="64"/>
                    <a:pt x="19" y="65"/>
                    <a:pt x="23" y="67"/>
                  </a:cubicBezTo>
                  <a:cubicBezTo>
                    <a:pt x="26" y="69"/>
                    <a:pt x="29" y="69"/>
                    <a:pt x="30" y="69"/>
                  </a:cubicBezTo>
                  <a:cubicBezTo>
                    <a:pt x="32" y="69"/>
                    <a:pt x="33" y="69"/>
                    <a:pt x="35" y="71"/>
                  </a:cubicBezTo>
                  <a:cubicBezTo>
                    <a:pt x="36" y="72"/>
                    <a:pt x="37" y="72"/>
                    <a:pt x="38" y="72"/>
                  </a:cubicBezTo>
                  <a:cubicBezTo>
                    <a:pt x="40" y="73"/>
                    <a:pt x="40" y="74"/>
                    <a:pt x="40" y="78"/>
                  </a:cubicBezTo>
                  <a:cubicBezTo>
                    <a:pt x="40" y="83"/>
                    <a:pt x="45" y="88"/>
                    <a:pt x="51" y="90"/>
                  </a:cubicBezTo>
                  <a:cubicBezTo>
                    <a:pt x="56" y="91"/>
                    <a:pt x="56" y="94"/>
                    <a:pt x="55" y="96"/>
                  </a:cubicBezTo>
                  <a:cubicBezTo>
                    <a:pt x="55" y="98"/>
                    <a:pt x="55" y="100"/>
                    <a:pt x="55" y="101"/>
                  </a:cubicBezTo>
                  <a:cubicBezTo>
                    <a:pt x="57" y="104"/>
                    <a:pt x="56" y="107"/>
                    <a:pt x="55" y="110"/>
                  </a:cubicBezTo>
                  <a:cubicBezTo>
                    <a:pt x="54" y="113"/>
                    <a:pt x="53" y="116"/>
                    <a:pt x="53" y="119"/>
                  </a:cubicBezTo>
                  <a:cubicBezTo>
                    <a:pt x="54" y="125"/>
                    <a:pt x="50" y="143"/>
                    <a:pt x="46" y="145"/>
                  </a:cubicBezTo>
                  <a:cubicBezTo>
                    <a:pt x="47" y="146"/>
                    <a:pt x="48" y="146"/>
                    <a:pt x="49" y="146"/>
                  </a:cubicBezTo>
                  <a:cubicBezTo>
                    <a:pt x="51" y="147"/>
                    <a:pt x="53" y="148"/>
                    <a:pt x="54" y="149"/>
                  </a:cubicBezTo>
                  <a:cubicBezTo>
                    <a:pt x="55" y="150"/>
                    <a:pt x="57" y="151"/>
                    <a:pt x="60" y="152"/>
                  </a:cubicBezTo>
                  <a:cubicBezTo>
                    <a:pt x="63" y="153"/>
                    <a:pt x="66" y="154"/>
                    <a:pt x="68" y="156"/>
                  </a:cubicBezTo>
                  <a:cubicBezTo>
                    <a:pt x="69" y="157"/>
                    <a:pt x="72" y="157"/>
                    <a:pt x="74" y="157"/>
                  </a:cubicBezTo>
                  <a:cubicBezTo>
                    <a:pt x="76" y="157"/>
                    <a:pt x="78" y="157"/>
                    <a:pt x="78" y="155"/>
                  </a:cubicBezTo>
                  <a:cubicBezTo>
                    <a:pt x="78" y="154"/>
                    <a:pt x="79" y="153"/>
                    <a:pt x="80" y="15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2" name="Freeform 99"/>
            <p:cNvSpPr>
              <a:spLocks noEditPoints="1"/>
            </p:cNvSpPr>
            <p:nvPr/>
          </p:nvSpPr>
          <p:spPr>
            <a:xfrm>
              <a:off x="2540001" y="3449638"/>
              <a:ext cx="58738" cy="31750"/>
            </a:xfrm>
            <a:custGeom>
              <a:gdLst>
                <a:gd name="T0" fmla="*/ 29 w 35"/>
                <a:gd name="T1" fmla="*/ 19 h 19"/>
                <a:gd name="T2" fmla="*/ 1 w 35"/>
                <a:gd name="T3" fmla="*/ 10 h 19"/>
                <a:gd name="T4" fmla="*/ 0 w 35"/>
                <a:gd name="T5" fmla="*/ 9 h 19"/>
                <a:gd name="T6" fmla="*/ 1 w 35"/>
                <a:gd name="T7" fmla="*/ 9 h 19"/>
                <a:gd name="T8" fmla="*/ 11 w 35"/>
                <a:gd name="T9" fmla="*/ 0 h 19"/>
                <a:gd name="T10" fmla="*/ 11 w 35"/>
                <a:gd name="T11" fmla="*/ 0 h 19"/>
                <a:gd name="T12" fmla="*/ 12 w 35"/>
                <a:gd name="T13" fmla="*/ 0 h 19"/>
                <a:gd name="T14" fmla="*/ 12 w 35"/>
                <a:gd name="T15" fmla="*/ 0 h 19"/>
                <a:gd name="T16" fmla="*/ 18 w 35"/>
                <a:gd name="T17" fmla="*/ 3 h 19"/>
                <a:gd name="T18" fmla="*/ 28 w 35"/>
                <a:gd name="T19" fmla="*/ 5 h 19"/>
                <a:gd name="T20" fmla="*/ 29 w 35"/>
                <a:gd name="T21" fmla="*/ 5 h 19"/>
                <a:gd name="T22" fmla="*/ 34 w 35"/>
                <a:gd name="T23" fmla="*/ 7 h 19"/>
                <a:gd name="T24" fmla="*/ 34 w 35"/>
                <a:gd name="T25" fmla="*/ 17 h 19"/>
                <a:gd name="T26" fmla="*/ 34 w 35"/>
                <a:gd name="T27" fmla="*/ 17 h 19"/>
                <a:gd name="T28" fmla="*/ 34 w 35"/>
                <a:gd name="T29" fmla="*/ 17 h 19"/>
                <a:gd name="T30" fmla="*/ 29 w 35"/>
                <a:gd name="T31" fmla="*/ 19 h 19"/>
                <a:gd name="T32" fmla="*/ 2 w 35"/>
                <a:gd name="T33" fmla="*/ 9 h 19"/>
                <a:gd name="T34" fmla="*/ 29 w 35"/>
                <a:gd name="T35" fmla="*/ 18 h 19"/>
                <a:gd name="T36" fmla="*/ 33 w 35"/>
                <a:gd name="T37" fmla="*/ 17 h 19"/>
                <a:gd name="T38" fmla="*/ 34 w 35"/>
                <a:gd name="T39" fmla="*/ 8 h 19"/>
                <a:gd name="T40" fmla="*/ 29 w 35"/>
                <a:gd name="T41" fmla="*/ 6 h 19"/>
                <a:gd name="T42" fmla="*/ 28 w 35"/>
                <a:gd name="T43" fmla="*/ 6 h 19"/>
                <a:gd name="T44" fmla="*/ 18 w 35"/>
                <a:gd name="T45" fmla="*/ 4 h 19"/>
                <a:gd name="T46" fmla="*/ 12 w 35"/>
                <a:gd name="T47" fmla="*/ 1 h 19"/>
                <a:gd name="T48" fmla="*/ 11 w 35"/>
                <a:gd name="T49" fmla="*/ 1 h 19"/>
                <a:gd name="T50" fmla="*/ 2 w 35"/>
                <a:gd name="T51" fmla="*/ 9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19">
                  <a:moveTo>
                    <a:pt x="29" y="19"/>
                  </a:moveTo>
                  <a:cubicBezTo>
                    <a:pt x="24" y="19"/>
                    <a:pt x="6" y="14"/>
                    <a:pt x="1" y="10"/>
                  </a:cubicBezTo>
                  <a:cubicBezTo>
                    <a:pt x="0" y="9"/>
                    <a:pt x="0" y="9"/>
                    <a:pt x="0" y="9"/>
                  </a:cubicBezTo>
                  <a:cubicBezTo>
                    <a:pt x="1" y="9"/>
                    <a:pt x="1" y="9"/>
                    <a:pt x="1" y="9"/>
                  </a:cubicBezTo>
                  <a:cubicBezTo>
                    <a:pt x="8" y="2"/>
                    <a:pt x="10" y="0"/>
                    <a:pt x="11" y="0"/>
                  </a:cubicBezTo>
                  <a:cubicBezTo>
                    <a:pt x="11" y="0"/>
                    <a:pt x="11" y="0"/>
                    <a:pt x="11" y="0"/>
                  </a:cubicBezTo>
                  <a:cubicBezTo>
                    <a:pt x="12" y="0"/>
                    <a:pt x="12" y="0"/>
                    <a:pt x="12" y="0"/>
                  </a:cubicBezTo>
                  <a:cubicBezTo>
                    <a:pt x="12" y="0"/>
                    <a:pt x="12" y="0"/>
                    <a:pt x="12" y="0"/>
                  </a:cubicBezTo>
                  <a:cubicBezTo>
                    <a:pt x="15" y="1"/>
                    <a:pt x="17" y="2"/>
                    <a:pt x="18" y="3"/>
                  </a:cubicBezTo>
                  <a:cubicBezTo>
                    <a:pt x="22" y="5"/>
                    <a:pt x="25" y="5"/>
                    <a:pt x="28" y="5"/>
                  </a:cubicBezTo>
                  <a:cubicBezTo>
                    <a:pt x="29" y="5"/>
                    <a:pt x="29" y="5"/>
                    <a:pt x="29" y="5"/>
                  </a:cubicBezTo>
                  <a:cubicBezTo>
                    <a:pt x="31" y="5"/>
                    <a:pt x="33" y="6"/>
                    <a:pt x="34" y="7"/>
                  </a:cubicBezTo>
                  <a:cubicBezTo>
                    <a:pt x="35" y="8"/>
                    <a:pt x="35" y="10"/>
                    <a:pt x="34" y="17"/>
                  </a:cubicBezTo>
                  <a:cubicBezTo>
                    <a:pt x="34" y="17"/>
                    <a:pt x="34" y="17"/>
                    <a:pt x="34" y="17"/>
                  </a:cubicBezTo>
                  <a:cubicBezTo>
                    <a:pt x="34" y="17"/>
                    <a:pt x="34" y="17"/>
                    <a:pt x="34" y="17"/>
                  </a:cubicBezTo>
                  <a:cubicBezTo>
                    <a:pt x="33" y="18"/>
                    <a:pt x="32" y="19"/>
                    <a:pt x="29" y="19"/>
                  </a:cubicBezTo>
                  <a:close/>
                  <a:moveTo>
                    <a:pt x="2" y="9"/>
                  </a:moveTo>
                  <a:cubicBezTo>
                    <a:pt x="7" y="13"/>
                    <a:pt x="25" y="18"/>
                    <a:pt x="29" y="18"/>
                  </a:cubicBezTo>
                  <a:cubicBezTo>
                    <a:pt x="31" y="18"/>
                    <a:pt x="32" y="18"/>
                    <a:pt x="33" y="17"/>
                  </a:cubicBezTo>
                  <a:cubicBezTo>
                    <a:pt x="34" y="10"/>
                    <a:pt x="34" y="8"/>
                    <a:pt x="34" y="8"/>
                  </a:cubicBezTo>
                  <a:cubicBezTo>
                    <a:pt x="33" y="7"/>
                    <a:pt x="31" y="6"/>
                    <a:pt x="29" y="6"/>
                  </a:cubicBezTo>
                  <a:cubicBezTo>
                    <a:pt x="28" y="6"/>
                    <a:pt x="28" y="6"/>
                    <a:pt x="28" y="6"/>
                  </a:cubicBezTo>
                  <a:cubicBezTo>
                    <a:pt x="25" y="6"/>
                    <a:pt x="21" y="6"/>
                    <a:pt x="18" y="4"/>
                  </a:cubicBezTo>
                  <a:cubicBezTo>
                    <a:pt x="16" y="3"/>
                    <a:pt x="14" y="2"/>
                    <a:pt x="12" y="1"/>
                  </a:cubicBezTo>
                  <a:cubicBezTo>
                    <a:pt x="12" y="1"/>
                    <a:pt x="12" y="1"/>
                    <a:pt x="11" y="1"/>
                  </a:cubicBezTo>
                  <a:cubicBezTo>
                    <a:pt x="11" y="1"/>
                    <a:pt x="8" y="3"/>
                    <a:pt x="2"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3" name="Freeform 100"/>
            <p:cNvSpPr>
              <a:spLocks noEditPoints="1"/>
            </p:cNvSpPr>
            <p:nvPr/>
          </p:nvSpPr>
          <p:spPr>
            <a:xfrm>
              <a:off x="2559051" y="3406775"/>
              <a:ext cx="152400" cy="80963"/>
            </a:xfrm>
            <a:custGeom>
              <a:gdLst>
                <a:gd name="T0" fmla="*/ 28 w 90"/>
                <a:gd name="T1" fmla="*/ 47 h 48"/>
                <a:gd name="T2" fmla="*/ 25 w 90"/>
                <a:gd name="T3" fmla="*/ 41 h 48"/>
                <a:gd name="T4" fmla="*/ 22 w 90"/>
                <a:gd name="T5" fmla="*/ 43 h 48"/>
                <a:gd name="T6" fmla="*/ 23 w 90"/>
                <a:gd name="T7" fmla="*/ 33 h 48"/>
                <a:gd name="T8" fmla="*/ 17 w 90"/>
                <a:gd name="T9" fmla="*/ 31 h 48"/>
                <a:gd name="T10" fmla="*/ 1 w 90"/>
                <a:gd name="T11" fmla="*/ 26 h 48"/>
                <a:gd name="T12" fmla="*/ 1 w 90"/>
                <a:gd name="T13" fmla="*/ 25 h 48"/>
                <a:gd name="T14" fmla="*/ 7 w 90"/>
                <a:gd name="T15" fmla="*/ 14 h 48"/>
                <a:gd name="T16" fmla="*/ 15 w 90"/>
                <a:gd name="T17" fmla="*/ 6 h 48"/>
                <a:gd name="T18" fmla="*/ 24 w 90"/>
                <a:gd name="T19" fmla="*/ 3 h 48"/>
                <a:gd name="T20" fmla="*/ 37 w 90"/>
                <a:gd name="T21" fmla="*/ 5 h 48"/>
                <a:gd name="T22" fmla="*/ 61 w 90"/>
                <a:gd name="T23" fmla="*/ 0 h 48"/>
                <a:gd name="T24" fmla="*/ 83 w 90"/>
                <a:gd name="T25" fmla="*/ 10 h 48"/>
                <a:gd name="T26" fmla="*/ 90 w 90"/>
                <a:gd name="T27" fmla="*/ 17 h 48"/>
                <a:gd name="T28" fmla="*/ 77 w 90"/>
                <a:gd name="T29" fmla="*/ 22 h 48"/>
                <a:gd name="T30" fmla="*/ 70 w 90"/>
                <a:gd name="T31" fmla="*/ 24 h 48"/>
                <a:gd name="T32" fmla="*/ 59 w 90"/>
                <a:gd name="T33" fmla="*/ 26 h 48"/>
                <a:gd name="T34" fmla="*/ 39 w 90"/>
                <a:gd name="T35" fmla="*/ 35 h 48"/>
                <a:gd name="T36" fmla="*/ 39 w 90"/>
                <a:gd name="T37" fmla="*/ 42 h 48"/>
                <a:gd name="T38" fmla="*/ 34 w 90"/>
                <a:gd name="T39" fmla="*/ 47 h 48"/>
                <a:gd name="T40" fmla="*/ 25 w 90"/>
                <a:gd name="T41" fmla="*/ 40 h 48"/>
                <a:gd name="T42" fmla="*/ 29 w 90"/>
                <a:gd name="T43" fmla="*/ 47 h 48"/>
                <a:gd name="T44" fmla="*/ 38 w 90"/>
                <a:gd name="T45" fmla="*/ 42 h 48"/>
                <a:gd name="T46" fmla="*/ 38 w 90"/>
                <a:gd name="T47" fmla="*/ 35 h 48"/>
                <a:gd name="T48" fmla="*/ 58 w 90"/>
                <a:gd name="T49" fmla="*/ 26 h 48"/>
                <a:gd name="T50" fmla="*/ 70 w 90"/>
                <a:gd name="T51" fmla="*/ 23 h 48"/>
                <a:gd name="T52" fmla="*/ 76 w 90"/>
                <a:gd name="T53" fmla="*/ 21 h 48"/>
                <a:gd name="T54" fmla="*/ 83 w 90"/>
                <a:gd name="T55" fmla="*/ 11 h 48"/>
                <a:gd name="T56" fmla="*/ 61 w 90"/>
                <a:gd name="T57" fmla="*/ 1 h 48"/>
                <a:gd name="T58" fmla="*/ 37 w 90"/>
                <a:gd name="T59" fmla="*/ 6 h 48"/>
                <a:gd name="T60" fmla="*/ 24 w 90"/>
                <a:gd name="T61" fmla="*/ 4 h 48"/>
                <a:gd name="T62" fmla="*/ 16 w 90"/>
                <a:gd name="T63" fmla="*/ 6 h 48"/>
                <a:gd name="T64" fmla="*/ 3 w 90"/>
                <a:gd name="T65" fmla="*/ 23 h 48"/>
                <a:gd name="T66" fmla="*/ 7 w 90"/>
                <a:gd name="T67" fmla="*/ 28 h 48"/>
                <a:gd name="T68" fmla="*/ 18 w 90"/>
                <a:gd name="T69" fmla="*/ 30 h 48"/>
                <a:gd name="T70" fmla="*/ 24 w 90"/>
                <a:gd name="T71" fmla="*/ 41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48">
                  <a:moveTo>
                    <a:pt x="28" y="48"/>
                  </a:moveTo>
                  <a:cubicBezTo>
                    <a:pt x="28" y="47"/>
                    <a:pt x="28" y="47"/>
                    <a:pt x="28" y="47"/>
                  </a:cubicBezTo>
                  <a:cubicBezTo>
                    <a:pt x="28" y="45"/>
                    <a:pt x="28" y="44"/>
                    <a:pt x="27" y="42"/>
                  </a:cubicBezTo>
                  <a:cubicBezTo>
                    <a:pt x="26" y="42"/>
                    <a:pt x="25" y="41"/>
                    <a:pt x="25" y="41"/>
                  </a:cubicBezTo>
                  <a:cubicBezTo>
                    <a:pt x="24" y="41"/>
                    <a:pt x="24" y="42"/>
                    <a:pt x="23" y="42"/>
                  </a:cubicBezTo>
                  <a:cubicBezTo>
                    <a:pt x="22" y="43"/>
                    <a:pt x="22" y="43"/>
                    <a:pt x="22" y="43"/>
                  </a:cubicBezTo>
                  <a:cubicBezTo>
                    <a:pt x="22" y="42"/>
                    <a:pt x="22" y="42"/>
                    <a:pt x="22" y="42"/>
                  </a:cubicBezTo>
                  <a:cubicBezTo>
                    <a:pt x="23" y="35"/>
                    <a:pt x="23" y="33"/>
                    <a:pt x="23" y="33"/>
                  </a:cubicBezTo>
                  <a:cubicBezTo>
                    <a:pt x="22" y="32"/>
                    <a:pt x="20" y="31"/>
                    <a:pt x="18" y="31"/>
                  </a:cubicBezTo>
                  <a:cubicBezTo>
                    <a:pt x="17" y="31"/>
                    <a:pt x="17" y="31"/>
                    <a:pt x="17" y="31"/>
                  </a:cubicBezTo>
                  <a:cubicBezTo>
                    <a:pt x="14" y="31"/>
                    <a:pt x="10" y="31"/>
                    <a:pt x="7" y="29"/>
                  </a:cubicBezTo>
                  <a:cubicBezTo>
                    <a:pt x="5" y="28"/>
                    <a:pt x="3" y="27"/>
                    <a:pt x="1" y="26"/>
                  </a:cubicBezTo>
                  <a:cubicBezTo>
                    <a:pt x="0" y="26"/>
                    <a:pt x="0" y="26"/>
                    <a:pt x="0" y="26"/>
                  </a:cubicBezTo>
                  <a:cubicBezTo>
                    <a:pt x="1" y="25"/>
                    <a:pt x="1" y="25"/>
                    <a:pt x="1" y="25"/>
                  </a:cubicBezTo>
                  <a:cubicBezTo>
                    <a:pt x="1" y="25"/>
                    <a:pt x="1" y="24"/>
                    <a:pt x="2" y="22"/>
                  </a:cubicBezTo>
                  <a:cubicBezTo>
                    <a:pt x="2" y="20"/>
                    <a:pt x="3" y="17"/>
                    <a:pt x="7" y="14"/>
                  </a:cubicBezTo>
                  <a:cubicBezTo>
                    <a:pt x="10" y="12"/>
                    <a:pt x="12" y="9"/>
                    <a:pt x="15" y="6"/>
                  </a:cubicBezTo>
                  <a:cubicBezTo>
                    <a:pt x="15" y="6"/>
                    <a:pt x="15" y="6"/>
                    <a:pt x="15" y="6"/>
                  </a:cubicBezTo>
                  <a:cubicBezTo>
                    <a:pt x="15" y="5"/>
                    <a:pt x="15" y="5"/>
                    <a:pt x="15" y="5"/>
                  </a:cubicBezTo>
                  <a:cubicBezTo>
                    <a:pt x="18" y="4"/>
                    <a:pt x="20" y="3"/>
                    <a:pt x="24" y="3"/>
                  </a:cubicBezTo>
                  <a:cubicBezTo>
                    <a:pt x="26" y="3"/>
                    <a:pt x="28" y="4"/>
                    <a:pt x="31" y="4"/>
                  </a:cubicBezTo>
                  <a:cubicBezTo>
                    <a:pt x="33" y="4"/>
                    <a:pt x="35" y="5"/>
                    <a:pt x="37" y="5"/>
                  </a:cubicBezTo>
                  <a:cubicBezTo>
                    <a:pt x="39" y="5"/>
                    <a:pt x="41" y="4"/>
                    <a:pt x="42" y="4"/>
                  </a:cubicBezTo>
                  <a:cubicBezTo>
                    <a:pt x="45" y="3"/>
                    <a:pt x="53" y="0"/>
                    <a:pt x="61" y="0"/>
                  </a:cubicBezTo>
                  <a:cubicBezTo>
                    <a:pt x="67" y="0"/>
                    <a:pt x="71" y="2"/>
                    <a:pt x="74" y="5"/>
                  </a:cubicBezTo>
                  <a:cubicBezTo>
                    <a:pt x="77" y="7"/>
                    <a:pt x="80" y="9"/>
                    <a:pt x="83" y="10"/>
                  </a:cubicBezTo>
                  <a:cubicBezTo>
                    <a:pt x="87" y="11"/>
                    <a:pt x="90" y="12"/>
                    <a:pt x="90" y="16"/>
                  </a:cubicBezTo>
                  <a:cubicBezTo>
                    <a:pt x="90" y="17"/>
                    <a:pt x="90" y="17"/>
                    <a:pt x="90" y="17"/>
                  </a:cubicBezTo>
                  <a:cubicBezTo>
                    <a:pt x="90" y="17"/>
                    <a:pt x="90" y="17"/>
                    <a:pt x="90" y="17"/>
                  </a:cubicBezTo>
                  <a:cubicBezTo>
                    <a:pt x="85" y="17"/>
                    <a:pt x="80" y="20"/>
                    <a:pt x="77" y="22"/>
                  </a:cubicBezTo>
                  <a:cubicBezTo>
                    <a:pt x="75" y="23"/>
                    <a:pt x="74" y="24"/>
                    <a:pt x="73" y="24"/>
                  </a:cubicBezTo>
                  <a:cubicBezTo>
                    <a:pt x="72" y="24"/>
                    <a:pt x="71" y="24"/>
                    <a:pt x="70" y="24"/>
                  </a:cubicBezTo>
                  <a:cubicBezTo>
                    <a:pt x="69" y="24"/>
                    <a:pt x="67" y="23"/>
                    <a:pt x="66" y="23"/>
                  </a:cubicBezTo>
                  <a:cubicBezTo>
                    <a:pt x="62" y="23"/>
                    <a:pt x="60" y="24"/>
                    <a:pt x="59" y="26"/>
                  </a:cubicBezTo>
                  <a:cubicBezTo>
                    <a:pt x="58" y="32"/>
                    <a:pt x="51" y="33"/>
                    <a:pt x="43" y="34"/>
                  </a:cubicBezTo>
                  <a:cubicBezTo>
                    <a:pt x="41" y="34"/>
                    <a:pt x="40" y="34"/>
                    <a:pt x="39" y="35"/>
                  </a:cubicBezTo>
                  <a:cubicBezTo>
                    <a:pt x="38" y="37"/>
                    <a:pt x="38" y="39"/>
                    <a:pt x="39" y="40"/>
                  </a:cubicBezTo>
                  <a:cubicBezTo>
                    <a:pt x="39" y="41"/>
                    <a:pt x="39" y="42"/>
                    <a:pt x="39" y="42"/>
                  </a:cubicBezTo>
                  <a:cubicBezTo>
                    <a:pt x="38" y="44"/>
                    <a:pt x="35" y="46"/>
                    <a:pt x="34" y="47"/>
                  </a:cubicBezTo>
                  <a:cubicBezTo>
                    <a:pt x="34" y="47"/>
                    <a:pt x="34" y="47"/>
                    <a:pt x="34" y="47"/>
                  </a:cubicBezTo>
                  <a:lnTo>
                    <a:pt x="28" y="48"/>
                  </a:lnTo>
                  <a:close/>
                  <a:moveTo>
                    <a:pt x="25" y="40"/>
                  </a:moveTo>
                  <a:cubicBezTo>
                    <a:pt x="26" y="40"/>
                    <a:pt x="27" y="41"/>
                    <a:pt x="28" y="42"/>
                  </a:cubicBezTo>
                  <a:cubicBezTo>
                    <a:pt x="29" y="43"/>
                    <a:pt x="29" y="45"/>
                    <a:pt x="29" y="47"/>
                  </a:cubicBezTo>
                  <a:cubicBezTo>
                    <a:pt x="34" y="46"/>
                    <a:pt x="34" y="46"/>
                    <a:pt x="34" y="46"/>
                  </a:cubicBezTo>
                  <a:cubicBezTo>
                    <a:pt x="35" y="45"/>
                    <a:pt x="37" y="43"/>
                    <a:pt x="38" y="42"/>
                  </a:cubicBezTo>
                  <a:cubicBezTo>
                    <a:pt x="38" y="41"/>
                    <a:pt x="38" y="41"/>
                    <a:pt x="38" y="41"/>
                  </a:cubicBezTo>
                  <a:cubicBezTo>
                    <a:pt x="37" y="39"/>
                    <a:pt x="37" y="37"/>
                    <a:pt x="38" y="35"/>
                  </a:cubicBezTo>
                  <a:cubicBezTo>
                    <a:pt x="39" y="34"/>
                    <a:pt x="41" y="33"/>
                    <a:pt x="43" y="33"/>
                  </a:cubicBezTo>
                  <a:cubicBezTo>
                    <a:pt x="51" y="32"/>
                    <a:pt x="57" y="31"/>
                    <a:pt x="58" y="26"/>
                  </a:cubicBezTo>
                  <a:cubicBezTo>
                    <a:pt x="59" y="22"/>
                    <a:pt x="64" y="22"/>
                    <a:pt x="66" y="22"/>
                  </a:cubicBezTo>
                  <a:cubicBezTo>
                    <a:pt x="67" y="22"/>
                    <a:pt x="69" y="23"/>
                    <a:pt x="70" y="23"/>
                  </a:cubicBezTo>
                  <a:cubicBezTo>
                    <a:pt x="71" y="23"/>
                    <a:pt x="72" y="23"/>
                    <a:pt x="73" y="23"/>
                  </a:cubicBezTo>
                  <a:cubicBezTo>
                    <a:pt x="73" y="23"/>
                    <a:pt x="75" y="22"/>
                    <a:pt x="76" y="21"/>
                  </a:cubicBezTo>
                  <a:cubicBezTo>
                    <a:pt x="80" y="19"/>
                    <a:pt x="84" y="16"/>
                    <a:pt x="89" y="16"/>
                  </a:cubicBezTo>
                  <a:cubicBezTo>
                    <a:pt x="89" y="13"/>
                    <a:pt x="86" y="12"/>
                    <a:pt x="83" y="11"/>
                  </a:cubicBezTo>
                  <a:cubicBezTo>
                    <a:pt x="80" y="9"/>
                    <a:pt x="76" y="8"/>
                    <a:pt x="73" y="5"/>
                  </a:cubicBezTo>
                  <a:cubicBezTo>
                    <a:pt x="71" y="3"/>
                    <a:pt x="66" y="1"/>
                    <a:pt x="61" y="1"/>
                  </a:cubicBezTo>
                  <a:cubicBezTo>
                    <a:pt x="53" y="1"/>
                    <a:pt x="45" y="4"/>
                    <a:pt x="43" y="5"/>
                  </a:cubicBezTo>
                  <a:cubicBezTo>
                    <a:pt x="41" y="5"/>
                    <a:pt x="39" y="6"/>
                    <a:pt x="37" y="6"/>
                  </a:cubicBezTo>
                  <a:cubicBezTo>
                    <a:pt x="35" y="6"/>
                    <a:pt x="33" y="5"/>
                    <a:pt x="31" y="5"/>
                  </a:cubicBezTo>
                  <a:cubicBezTo>
                    <a:pt x="28" y="5"/>
                    <a:pt x="26" y="4"/>
                    <a:pt x="24" y="4"/>
                  </a:cubicBezTo>
                  <a:cubicBezTo>
                    <a:pt x="21" y="4"/>
                    <a:pt x="18" y="5"/>
                    <a:pt x="16" y="6"/>
                  </a:cubicBezTo>
                  <a:cubicBezTo>
                    <a:pt x="16" y="6"/>
                    <a:pt x="16" y="6"/>
                    <a:pt x="16" y="6"/>
                  </a:cubicBezTo>
                  <a:cubicBezTo>
                    <a:pt x="13" y="10"/>
                    <a:pt x="10" y="12"/>
                    <a:pt x="8" y="15"/>
                  </a:cubicBezTo>
                  <a:cubicBezTo>
                    <a:pt x="4" y="18"/>
                    <a:pt x="3" y="20"/>
                    <a:pt x="3" y="23"/>
                  </a:cubicBezTo>
                  <a:cubicBezTo>
                    <a:pt x="2" y="24"/>
                    <a:pt x="2" y="25"/>
                    <a:pt x="2" y="25"/>
                  </a:cubicBezTo>
                  <a:cubicBezTo>
                    <a:pt x="4" y="26"/>
                    <a:pt x="6" y="27"/>
                    <a:pt x="7" y="28"/>
                  </a:cubicBezTo>
                  <a:cubicBezTo>
                    <a:pt x="11" y="30"/>
                    <a:pt x="14" y="30"/>
                    <a:pt x="17" y="30"/>
                  </a:cubicBezTo>
                  <a:cubicBezTo>
                    <a:pt x="18" y="30"/>
                    <a:pt x="18" y="30"/>
                    <a:pt x="18" y="30"/>
                  </a:cubicBezTo>
                  <a:cubicBezTo>
                    <a:pt x="20" y="30"/>
                    <a:pt x="22" y="31"/>
                    <a:pt x="23" y="32"/>
                  </a:cubicBezTo>
                  <a:cubicBezTo>
                    <a:pt x="24" y="33"/>
                    <a:pt x="24" y="35"/>
                    <a:pt x="24" y="41"/>
                  </a:cubicBezTo>
                  <a:cubicBezTo>
                    <a:pt x="24" y="41"/>
                    <a:pt x="24" y="40"/>
                    <a:pt x="25"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4" name="Freeform 101"/>
            <p:cNvSpPr>
              <a:spLocks noEditPoints="1"/>
            </p:cNvSpPr>
            <p:nvPr/>
          </p:nvSpPr>
          <p:spPr>
            <a:xfrm>
              <a:off x="1871664" y="2967038"/>
              <a:ext cx="755650" cy="469900"/>
            </a:xfrm>
            <a:custGeom>
              <a:gdLst>
                <a:gd name="T0" fmla="*/ 316 w 445"/>
                <a:gd name="T1" fmla="*/ 260 h 277"/>
                <a:gd name="T2" fmla="*/ 215 w 445"/>
                <a:gd name="T3" fmla="*/ 231 h 277"/>
                <a:gd name="T4" fmla="*/ 174 w 445"/>
                <a:gd name="T5" fmla="*/ 190 h 277"/>
                <a:gd name="T6" fmla="*/ 136 w 445"/>
                <a:gd name="T7" fmla="*/ 127 h 277"/>
                <a:gd name="T8" fmla="*/ 113 w 445"/>
                <a:gd name="T9" fmla="*/ 96 h 277"/>
                <a:gd name="T10" fmla="*/ 74 w 445"/>
                <a:gd name="T11" fmla="*/ 62 h 277"/>
                <a:gd name="T12" fmla="*/ 61 w 445"/>
                <a:gd name="T13" fmla="*/ 25 h 277"/>
                <a:gd name="T14" fmla="*/ 46 w 445"/>
                <a:gd name="T15" fmla="*/ 18 h 277"/>
                <a:gd name="T16" fmla="*/ 34 w 445"/>
                <a:gd name="T17" fmla="*/ 15 h 277"/>
                <a:gd name="T18" fmla="*/ 57 w 445"/>
                <a:gd name="T19" fmla="*/ 59 h 277"/>
                <a:gd name="T20" fmla="*/ 93 w 445"/>
                <a:gd name="T21" fmla="*/ 120 h 277"/>
                <a:gd name="T22" fmla="*/ 113 w 445"/>
                <a:gd name="T23" fmla="*/ 151 h 277"/>
                <a:gd name="T24" fmla="*/ 72 w 445"/>
                <a:gd name="T25" fmla="*/ 121 h 277"/>
                <a:gd name="T26" fmla="*/ 34 w 445"/>
                <a:gd name="T27" fmla="*/ 80 h 277"/>
                <a:gd name="T28" fmla="*/ 34 w 445"/>
                <a:gd name="T29" fmla="*/ 57 h 277"/>
                <a:gd name="T30" fmla="*/ 35 w 445"/>
                <a:gd name="T31" fmla="*/ 0 h 277"/>
                <a:gd name="T32" fmla="*/ 158 w 445"/>
                <a:gd name="T33" fmla="*/ 15 h 277"/>
                <a:gd name="T34" fmla="*/ 207 w 445"/>
                <a:gd name="T35" fmla="*/ 56 h 277"/>
                <a:gd name="T36" fmla="*/ 262 w 445"/>
                <a:gd name="T37" fmla="*/ 96 h 277"/>
                <a:gd name="T38" fmla="*/ 291 w 445"/>
                <a:gd name="T39" fmla="*/ 110 h 277"/>
                <a:gd name="T40" fmla="*/ 306 w 445"/>
                <a:gd name="T41" fmla="*/ 204 h 277"/>
                <a:gd name="T42" fmla="*/ 363 w 445"/>
                <a:gd name="T43" fmla="*/ 219 h 277"/>
                <a:gd name="T44" fmla="*/ 384 w 445"/>
                <a:gd name="T45" fmla="*/ 208 h 277"/>
                <a:gd name="T46" fmla="*/ 431 w 445"/>
                <a:gd name="T47" fmla="*/ 176 h 277"/>
                <a:gd name="T48" fmla="*/ 435 w 445"/>
                <a:gd name="T49" fmla="*/ 192 h 277"/>
                <a:gd name="T50" fmla="*/ 419 w 445"/>
                <a:gd name="T51" fmla="*/ 224 h 277"/>
                <a:gd name="T52" fmla="*/ 381 w 445"/>
                <a:gd name="T53" fmla="*/ 239 h 277"/>
                <a:gd name="T54" fmla="*/ 370 w 445"/>
                <a:gd name="T55" fmla="*/ 261 h 277"/>
                <a:gd name="T56" fmla="*/ 358 w 445"/>
                <a:gd name="T57" fmla="*/ 275 h 277"/>
                <a:gd name="T58" fmla="*/ 378 w 445"/>
                <a:gd name="T59" fmla="*/ 244 h 277"/>
                <a:gd name="T60" fmla="*/ 410 w 445"/>
                <a:gd name="T61" fmla="*/ 233 h 277"/>
                <a:gd name="T62" fmla="*/ 432 w 445"/>
                <a:gd name="T63" fmla="*/ 201 h 277"/>
                <a:gd name="T64" fmla="*/ 434 w 445"/>
                <a:gd name="T65" fmla="*/ 178 h 277"/>
                <a:gd name="T66" fmla="*/ 385 w 445"/>
                <a:gd name="T67" fmla="*/ 208 h 277"/>
                <a:gd name="T68" fmla="*/ 363 w 445"/>
                <a:gd name="T69" fmla="*/ 220 h 277"/>
                <a:gd name="T70" fmla="*/ 313 w 445"/>
                <a:gd name="T71" fmla="*/ 220 h 277"/>
                <a:gd name="T72" fmla="*/ 288 w 445"/>
                <a:gd name="T73" fmla="*/ 116 h 277"/>
                <a:gd name="T74" fmla="*/ 264 w 445"/>
                <a:gd name="T75" fmla="*/ 101 h 277"/>
                <a:gd name="T76" fmla="*/ 217 w 445"/>
                <a:gd name="T77" fmla="*/ 47 h 277"/>
                <a:gd name="T78" fmla="*/ 188 w 445"/>
                <a:gd name="T79" fmla="*/ 51 h 277"/>
                <a:gd name="T80" fmla="*/ 88 w 445"/>
                <a:gd name="T81" fmla="*/ 23 h 277"/>
                <a:gd name="T82" fmla="*/ 22 w 445"/>
                <a:gd name="T83" fmla="*/ 45 h 277"/>
                <a:gd name="T84" fmla="*/ 37 w 445"/>
                <a:gd name="T85" fmla="*/ 80 h 277"/>
                <a:gd name="T86" fmla="*/ 69 w 445"/>
                <a:gd name="T87" fmla="*/ 103 h 277"/>
                <a:gd name="T88" fmla="*/ 106 w 445"/>
                <a:gd name="T89" fmla="*/ 155 h 277"/>
                <a:gd name="T90" fmla="*/ 97 w 445"/>
                <a:gd name="T91" fmla="*/ 134 h 277"/>
                <a:gd name="T92" fmla="*/ 56 w 445"/>
                <a:gd name="T93" fmla="*/ 63 h 277"/>
                <a:gd name="T94" fmla="*/ 38 w 445"/>
                <a:gd name="T95" fmla="*/ 38 h 277"/>
                <a:gd name="T96" fmla="*/ 42 w 445"/>
                <a:gd name="T97" fmla="*/ 18 h 277"/>
                <a:gd name="T98" fmla="*/ 59 w 445"/>
                <a:gd name="T99" fmla="*/ 22 h 277"/>
                <a:gd name="T100" fmla="*/ 69 w 445"/>
                <a:gd name="T101" fmla="*/ 64 h 277"/>
                <a:gd name="T102" fmla="*/ 103 w 445"/>
                <a:gd name="T103" fmla="*/ 88 h 277"/>
                <a:gd name="T104" fmla="*/ 124 w 445"/>
                <a:gd name="T105" fmla="*/ 115 h 277"/>
                <a:gd name="T106" fmla="*/ 174 w 445"/>
                <a:gd name="T107" fmla="*/ 183 h 277"/>
                <a:gd name="T108" fmla="*/ 198 w 445"/>
                <a:gd name="T109" fmla="*/ 222 h 277"/>
                <a:gd name="T110" fmla="*/ 287 w 445"/>
                <a:gd name="T111" fmla="*/ 261 h 2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5" h="277">
                  <a:moveTo>
                    <a:pt x="358" y="277"/>
                  </a:moveTo>
                  <a:cubicBezTo>
                    <a:pt x="358" y="276"/>
                    <a:pt x="358" y="276"/>
                    <a:pt x="358" y="276"/>
                  </a:cubicBezTo>
                  <a:cubicBezTo>
                    <a:pt x="352" y="271"/>
                    <a:pt x="345" y="265"/>
                    <a:pt x="342" y="264"/>
                  </a:cubicBezTo>
                  <a:cubicBezTo>
                    <a:pt x="341" y="264"/>
                    <a:pt x="340" y="263"/>
                    <a:pt x="339" y="263"/>
                  </a:cubicBezTo>
                  <a:cubicBezTo>
                    <a:pt x="335" y="261"/>
                    <a:pt x="330" y="259"/>
                    <a:pt x="324" y="259"/>
                  </a:cubicBezTo>
                  <a:cubicBezTo>
                    <a:pt x="322" y="259"/>
                    <a:pt x="319" y="259"/>
                    <a:pt x="316" y="260"/>
                  </a:cubicBezTo>
                  <a:cubicBezTo>
                    <a:pt x="308" y="263"/>
                    <a:pt x="302" y="265"/>
                    <a:pt x="297" y="265"/>
                  </a:cubicBezTo>
                  <a:cubicBezTo>
                    <a:pt x="293" y="265"/>
                    <a:pt x="290" y="264"/>
                    <a:pt x="286" y="262"/>
                  </a:cubicBezTo>
                  <a:cubicBezTo>
                    <a:pt x="278" y="256"/>
                    <a:pt x="266" y="251"/>
                    <a:pt x="254" y="248"/>
                  </a:cubicBezTo>
                  <a:cubicBezTo>
                    <a:pt x="246" y="246"/>
                    <a:pt x="241" y="242"/>
                    <a:pt x="236" y="239"/>
                  </a:cubicBezTo>
                  <a:cubicBezTo>
                    <a:pt x="232" y="237"/>
                    <a:pt x="228" y="234"/>
                    <a:pt x="225" y="233"/>
                  </a:cubicBezTo>
                  <a:cubicBezTo>
                    <a:pt x="221" y="232"/>
                    <a:pt x="218" y="231"/>
                    <a:pt x="215" y="231"/>
                  </a:cubicBezTo>
                  <a:cubicBezTo>
                    <a:pt x="210" y="230"/>
                    <a:pt x="205" y="229"/>
                    <a:pt x="202" y="226"/>
                  </a:cubicBezTo>
                  <a:cubicBezTo>
                    <a:pt x="200" y="225"/>
                    <a:pt x="199" y="224"/>
                    <a:pt x="198" y="223"/>
                  </a:cubicBezTo>
                  <a:cubicBezTo>
                    <a:pt x="193" y="218"/>
                    <a:pt x="186" y="212"/>
                    <a:pt x="181" y="212"/>
                  </a:cubicBezTo>
                  <a:cubicBezTo>
                    <a:pt x="173" y="211"/>
                    <a:pt x="169" y="196"/>
                    <a:pt x="169" y="193"/>
                  </a:cubicBezTo>
                  <a:cubicBezTo>
                    <a:pt x="169" y="192"/>
                    <a:pt x="170" y="191"/>
                    <a:pt x="172" y="191"/>
                  </a:cubicBezTo>
                  <a:cubicBezTo>
                    <a:pt x="173" y="190"/>
                    <a:pt x="174" y="190"/>
                    <a:pt x="174" y="190"/>
                  </a:cubicBezTo>
                  <a:cubicBezTo>
                    <a:pt x="174" y="189"/>
                    <a:pt x="174" y="189"/>
                    <a:pt x="173" y="188"/>
                  </a:cubicBezTo>
                  <a:cubicBezTo>
                    <a:pt x="172" y="186"/>
                    <a:pt x="173" y="184"/>
                    <a:pt x="173" y="183"/>
                  </a:cubicBezTo>
                  <a:cubicBezTo>
                    <a:pt x="174" y="181"/>
                    <a:pt x="175" y="180"/>
                    <a:pt x="174" y="178"/>
                  </a:cubicBezTo>
                  <a:cubicBezTo>
                    <a:pt x="174" y="177"/>
                    <a:pt x="173" y="176"/>
                    <a:pt x="173" y="175"/>
                  </a:cubicBezTo>
                  <a:cubicBezTo>
                    <a:pt x="172" y="171"/>
                    <a:pt x="170" y="167"/>
                    <a:pt x="167" y="162"/>
                  </a:cubicBezTo>
                  <a:cubicBezTo>
                    <a:pt x="163" y="156"/>
                    <a:pt x="143" y="134"/>
                    <a:pt x="136" y="127"/>
                  </a:cubicBezTo>
                  <a:cubicBezTo>
                    <a:pt x="133" y="124"/>
                    <a:pt x="132" y="123"/>
                    <a:pt x="131" y="121"/>
                  </a:cubicBezTo>
                  <a:cubicBezTo>
                    <a:pt x="130" y="119"/>
                    <a:pt x="129" y="118"/>
                    <a:pt x="124" y="116"/>
                  </a:cubicBezTo>
                  <a:cubicBezTo>
                    <a:pt x="118" y="114"/>
                    <a:pt x="115" y="112"/>
                    <a:pt x="114" y="109"/>
                  </a:cubicBezTo>
                  <a:cubicBezTo>
                    <a:pt x="114" y="108"/>
                    <a:pt x="114" y="106"/>
                    <a:pt x="115" y="104"/>
                  </a:cubicBezTo>
                  <a:cubicBezTo>
                    <a:pt x="116" y="102"/>
                    <a:pt x="116" y="100"/>
                    <a:pt x="115" y="98"/>
                  </a:cubicBezTo>
                  <a:cubicBezTo>
                    <a:pt x="115" y="97"/>
                    <a:pt x="114" y="97"/>
                    <a:pt x="113" y="96"/>
                  </a:cubicBezTo>
                  <a:cubicBezTo>
                    <a:pt x="111" y="96"/>
                    <a:pt x="110" y="95"/>
                    <a:pt x="109" y="93"/>
                  </a:cubicBezTo>
                  <a:cubicBezTo>
                    <a:pt x="107" y="91"/>
                    <a:pt x="106" y="89"/>
                    <a:pt x="103" y="89"/>
                  </a:cubicBezTo>
                  <a:cubicBezTo>
                    <a:pt x="97" y="88"/>
                    <a:pt x="95" y="82"/>
                    <a:pt x="95" y="78"/>
                  </a:cubicBezTo>
                  <a:cubicBezTo>
                    <a:pt x="95" y="77"/>
                    <a:pt x="93" y="77"/>
                    <a:pt x="91" y="76"/>
                  </a:cubicBezTo>
                  <a:cubicBezTo>
                    <a:pt x="89" y="75"/>
                    <a:pt x="85" y="73"/>
                    <a:pt x="83" y="70"/>
                  </a:cubicBezTo>
                  <a:cubicBezTo>
                    <a:pt x="78" y="65"/>
                    <a:pt x="75" y="62"/>
                    <a:pt x="74" y="62"/>
                  </a:cubicBezTo>
                  <a:cubicBezTo>
                    <a:pt x="74" y="62"/>
                    <a:pt x="74" y="62"/>
                    <a:pt x="73" y="62"/>
                  </a:cubicBezTo>
                  <a:cubicBezTo>
                    <a:pt x="72" y="63"/>
                    <a:pt x="71" y="65"/>
                    <a:pt x="69" y="65"/>
                  </a:cubicBezTo>
                  <a:cubicBezTo>
                    <a:pt x="67" y="65"/>
                    <a:pt x="66" y="62"/>
                    <a:pt x="66" y="58"/>
                  </a:cubicBezTo>
                  <a:cubicBezTo>
                    <a:pt x="66" y="54"/>
                    <a:pt x="67" y="53"/>
                    <a:pt x="67" y="52"/>
                  </a:cubicBezTo>
                  <a:cubicBezTo>
                    <a:pt x="68" y="51"/>
                    <a:pt x="68" y="50"/>
                    <a:pt x="63" y="42"/>
                  </a:cubicBezTo>
                  <a:cubicBezTo>
                    <a:pt x="57" y="31"/>
                    <a:pt x="60" y="27"/>
                    <a:pt x="61" y="25"/>
                  </a:cubicBezTo>
                  <a:cubicBezTo>
                    <a:pt x="61" y="24"/>
                    <a:pt x="61" y="24"/>
                    <a:pt x="61" y="23"/>
                  </a:cubicBezTo>
                  <a:cubicBezTo>
                    <a:pt x="60" y="23"/>
                    <a:pt x="60" y="23"/>
                    <a:pt x="59" y="23"/>
                  </a:cubicBezTo>
                  <a:cubicBezTo>
                    <a:pt x="58" y="23"/>
                    <a:pt x="58" y="23"/>
                    <a:pt x="57" y="23"/>
                  </a:cubicBezTo>
                  <a:cubicBezTo>
                    <a:pt x="56" y="23"/>
                    <a:pt x="56" y="23"/>
                    <a:pt x="55" y="23"/>
                  </a:cubicBezTo>
                  <a:cubicBezTo>
                    <a:pt x="54" y="23"/>
                    <a:pt x="52" y="23"/>
                    <a:pt x="51" y="21"/>
                  </a:cubicBezTo>
                  <a:cubicBezTo>
                    <a:pt x="50" y="19"/>
                    <a:pt x="48" y="18"/>
                    <a:pt x="46" y="18"/>
                  </a:cubicBezTo>
                  <a:cubicBezTo>
                    <a:pt x="45" y="18"/>
                    <a:pt x="45" y="18"/>
                    <a:pt x="44" y="18"/>
                  </a:cubicBezTo>
                  <a:cubicBezTo>
                    <a:pt x="43" y="19"/>
                    <a:pt x="43" y="19"/>
                    <a:pt x="42" y="19"/>
                  </a:cubicBezTo>
                  <a:cubicBezTo>
                    <a:pt x="41" y="19"/>
                    <a:pt x="40" y="17"/>
                    <a:pt x="39" y="16"/>
                  </a:cubicBezTo>
                  <a:cubicBezTo>
                    <a:pt x="38" y="16"/>
                    <a:pt x="38" y="16"/>
                    <a:pt x="38" y="16"/>
                  </a:cubicBezTo>
                  <a:cubicBezTo>
                    <a:pt x="38" y="15"/>
                    <a:pt x="36" y="14"/>
                    <a:pt x="35" y="14"/>
                  </a:cubicBezTo>
                  <a:cubicBezTo>
                    <a:pt x="35" y="14"/>
                    <a:pt x="34" y="14"/>
                    <a:pt x="34" y="15"/>
                  </a:cubicBezTo>
                  <a:cubicBezTo>
                    <a:pt x="34" y="15"/>
                    <a:pt x="34" y="16"/>
                    <a:pt x="34" y="17"/>
                  </a:cubicBezTo>
                  <a:cubicBezTo>
                    <a:pt x="36" y="21"/>
                    <a:pt x="39" y="33"/>
                    <a:pt x="39" y="38"/>
                  </a:cubicBezTo>
                  <a:cubicBezTo>
                    <a:pt x="39" y="43"/>
                    <a:pt x="42" y="47"/>
                    <a:pt x="47" y="49"/>
                  </a:cubicBezTo>
                  <a:cubicBezTo>
                    <a:pt x="48" y="50"/>
                    <a:pt x="50" y="51"/>
                    <a:pt x="52" y="51"/>
                  </a:cubicBezTo>
                  <a:cubicBezTo>
                    <a:pt x="54" y="52"/>
                    <a:pt x="56" y="52"/>
                    <a:pt x="58" y="54"/>
                  </a:cubicBezTo>
                  <a:cubicBezTo>
                    <a:pt x="60" y="56"/>
                    <a:pt x="58" y="58"/>
                    <a:pt x="57" y="59"/>
                  </a:cubicBezTo>
                  <a:cubicBezTo>
                    <a:pt x="56" y="60"/>
                    <a:pt x="56" y="61"/>
                    <a:pt x="56" y="61"/>
                  </a:cubicBezTo>
                  <a:cubicBezTo>
                    <a:pt x="56" y="62"/>
                    <a:pt x="56" y="62"/>
                    <a:pt x="56" y="62"/>
                  </a:cubicBezTo>
                  <a:cubicBezTo>
                    <a:pt x="59" y="64"/>
                    <a:pt x="64" y="70"/>
                    <a:pt x="68" y="78"/>
                  </a:cubicBezTo>
                  <a:cubicBezTo>
                    <a:pt x="70" y="81"/>
                    <a:pt x="73" y="85"/>
                    <a:pt x="76" y="88"/>
                  </a:cubicBezTo>
                  <a:cubicBezTo>
                    <a:pt x="80" y="92"/>
                    <a:pt x="83" y="96"/>
                    <a:pt x="84" y="100"/>
                  </a:cubicBezTo>
                  <a:cubicBezTo>
                    <a:pt x="86" y="107"/>
                    <a:pt x="90" y="117"/>
                    <a:pt x="93" y="120"/>
                  </a:cubicBezTo>
                  <a:cubicBezTo>
                    <a:pt x="96" y="122"/>
                    <a:pt x="95" y="126"/>
                    <a:pt x="95" y="128"/>
                  </a:cubicBezTo>
                  <a:cubicBezTo>
                    <a:pt x="95" y="131"/>
                    <a:pt x="95" y="133"/>
                    <a:pt x="97" y="133"/>
                  </a:cubicBezTo>
                  <a:cubicBezTo>
                    <a:pt x="98" y="133"/>
                    <a:pt x="99" y="133"/>
                    <a:pt x="100" y="133"/>
                  </a:cubicBezTo>
                  <a:cubicBezTo>
                    <a:pt x="104" y="134"/>
                    <a:pt x="109" y="134"/>
                    <a:pt x="109" y="139"/>
                  </a:cubicBezTo>
                  <a:cubicBezTo>
                    <a:pt x="109" y="141"/>
                    <a:pt x="110" y="143"/>
                    <a:pt x="111" y="144"/>
                  </a:cubicBezTo>
                  <a:cubicBezTo>
                    <a:pt x="113" y="146"/>
                    <a:pt x="114" y="148"/>
                    <a:pt x="113" y="151"/>
                  </a:cubicBezTo>
                  <a:cubicBezTo>
                    <a:pt x="111" y="154"/>
                    <a:pt x="109" y="157"/>
                    <a:pt x="107" y="157"/>
                  </a:cubicBezTo>
                  <a:cubicBezTo>
                    <a:pt x="106" y="157"/>
                    <a:pt x="105" y="157"/>
                    <a:pt x="105" y="155"/>
                  </a:cubicBezTo>
                  <a:cubicBezTo>
                    <a:pt x="104" y="151"/>
                    <a:pt x="99" y="143"/>
                    <a:pt x="89" y="137"/>
                  </a:cubicBezTo>
                  <a:cubicBezTo>
                    <a:pt x="88" y="136"/>
                    <a:pt x="86" y="135"/>
                    <a:pt x="85" y="134"/>
                  </a:cubicBezTo>
                  <a:cubicBezTo>
                    <a:pt x="77" y="129"/>
                    <a:pt x="72" y="125"/>
                    <a:pt x="72" y="123"/>
                  </a:cubicBezTo>
                  <a:cubicBezTo>
                    <a:pt x="72" y="122"/>
                    <a:pt x="72" y="121"/>
                    <a:pt x="72" y="121"/>
                  </a:cubicBezTo>
                  <a:cubicBezTo>
                    <a:pt x="74" y="120"/>
                    <a:pt x="75" y="118"/>
                    <a:pt x="75" y="116"/>
                  </a:cubicBezTo>
                  <a:cubicBezTo>
                    <a:pt x="75" y="112"/>
                    <a:pt x="72" y="107"/>
                    <a:pt x="68" y="104"/>
                  </a:cubicBezTo>
                  <a:cubicBezTo>
                    <a:pt x="67" y="103"/>
                    <a:pt x="66" y="102"/>
                    <a:pt x="65" y="101"/>
                  </a:cubicBezTo>
                  <a:cubicBezTo>
                    <a:pt x="60" y="96"/>
                    <a:pt x="57" y="94"/>
                    <a:pt x="53" y="94"/>
                  </a:cubicBezTo>
                  <a:cubicBezTo>
                    <a:pt x="49" y="95"/>
                    <a:pt x="39" y="88"/>
                    <a:pt x="36" y="83"/>
                  </a:cubicBezTo>
                  <a:cubicBezTo>
                    <a:pt x="35" y="82"/>
                    <a:pt x="34" y="81"/>
                    <a:pt x="34" y="80"/>
                  </a:cubicBezTo>
                  <a:cubicBezTo>
                    <a:pt x="34" y="79"/>
                    <a:pt x="35" y="79"/>
                    <a:pt x="37" y="79"/>
                  </a:cubicBezTo>
                  <a:cubicBezTo>
                    <a:pt x="38" y="79"/>
                    <a:pt x="39" y="79"/>
                    <a:pt x="40" y="79"/>
                  </a:cubicBezTo>
                  <a:cubicBezTo>
                    <a:pt x="42" y="79"/>
                    <a:pt x="43" y="80"/>
                    <a:pt x="44" y="80"/>
                  </a:cubicBezTo>
                  <a:cubicBezTo>
                    <a:pt x="46" y="80"/>
                    <a:pt x="46" y="79"/>
                    <a:pt x="46" y="79"/>
                  </a:cubicBezTo>
                  <a:cubicBezTo>
                    <a:pt x="47" y="77"/>
                    <a:pt x="47" y="65"/>
                    <a:pt x="39" y="60"/>
                  </a:cubicBezTo>
                  <a:cubicBezTo>
                    <a:pt x="37" y="59"/>
                    <a:pt x="35" y="58"/>
                    <a:pt x="34" y="57"/>
                  </a:cubicBezTo>
                  <a:cubicBezTo>
                    <a:pt x="27" y="53"/>
                    <a:pt x="21" y="50"/>
                    <a:pt x="21" y="45"/>
                  </a:cubicBezTo>
                  <a:cubicBezTo>
                    <a:pt x="20" y="40"/>
                    <a:pt x="15" y="25"/>
                    <a:pt x="9" y="17"/>
                  </a:cubicBezTo>
                  <a:cubicBezTo>
                    <a:pt x="5" y="13"/>
                    <a:pt x="3" y="9"/>
                    <a:pt x="1" y="5"/>
                  </a:cubicBezTo>
                  <a:cubicBezTo>
                    <a:pt x="0" y="4"/>
                    <a:pt x="0" y="4"/>
                    <a:pt x="0" y="4"/>
                  </a:cubicBezTo>
                  <a:cubicBezTo>
                    <a:pt x="35" y="0"/>
                    <a:pt x="35" y="0"/>
                    <a:pt x="35" y="0"/>
                  </a:cubicBezTo>
                  <a:cubicBezTo>
                    <a:pt x="35" y="0"/>
                    <a:pt x="35" y="0"/>
                    <a:pt x="35" y="0"/>
                  </a:cubicBezTo>
                  <a:cubicBezTo>
                    <a:pt x="35" y="0"/>
                    <a:pt x="45" y="7"/>
                    <a:pt x="51" y="8"/>
                  </a:cubicBezTo>
                  <a:cubicBezTo>
                    <a:pt x="57" y="10"/>
                    <a:pt x="86" y="21"/>
                    <a:pt x="89" y="22"/>
                  </a:cubicBezTo>
                  <a:cubicBezTo>
                    <a:pt x="130" y="21"/>
                    <a:pt x="130" y="21"/>
                    <a:pt x="130" y="21"/>
                  </a:cubicBezTo>
                  <a:cubicBezTo>
                    <a:pt x="134" y="15"/>
                    <a:pt x="134" y="15"/>
                    <a:pt x="134" y="15"/>
                  </a:cubicBezTo>
                  <a:cubicBezTo>
                    <a:pt x="158" y="15"/>
                    <a:pt x="158" y="15"/>
                    <a:pt x="158" y="15"/>
                  </a:cubicBezTo>
                  <a:cubicBezTo>
                    <a:pt x="158" y="15"/>
                    <a:pt x="158" y="15"/>
                    <a:pt x="158" y="15"/>
                  </a:cubicBezTo>
                  <a:cubicBezTo>
                    <a:pt x="164" y="21"/>
                    <a:pt x="173" y="29"/>
                    <a:pt x="174" y="30"/>
                  </a:cubicBezTo>
                  <a:cubicBezTo>
                    <a:pt x="176" y="31"/>
                    <a:pt x="184" y="37"/>
                    <a:pt x="184" y="42"/>
                  </a:cubicBezTo>
                  <a:cubicBezTo>
                    <a:pt x="184" y="46"/>
                    <a:pt x="185" y="49"/>
                    <a:pt x="189" y="51"/>
                  </a:cubicBezTo>
                  <a:cubicBezTo>
                    <a:pt x="190" y="51"/>
                    <a:pt x="191" y="52"/>
                    <a:pt x="193" y="53"/>
                  </a:cubicBezTo>
                  <a:cubicBezTo>
                    <a:pt x="197" y="56"/>
                    <a:pt x="203" y="59"/>
                    <a:pt x="205" y="59"/>
                  </a:cubicBezTo>
                  <a:cubicBezTo>
                    <a:pt x="205" y="59"/>
                    <a:pt x="206" y="57"/>
                    <a:pt x="207" y="56"/>
                  </a:cubicBezTo>
                  <a:cubicBezTo>
                    <a:pt x="209" y="52"/>
                    <a:pt x="212" y="45"/>
                    <a:pt x="217" y="46"/>
                  </a:cubicBezTo>
                  <a:cubicBezTo>
                    <a:pt x="223" y="46"/>
                    <a:pt x="240" y="51"/>
                    <a:pt x="243" y="61"/>
                  </a:cubicBezTo>
                  <a:cubicBezTo>
                    <a:pt x="246" y="70"/>
                    <a:pt x="254" y="78"/>
                    <a:pt x="257" y="80"/>
                  </a:cubicBezTo>
                  <a:cubicBezTo>
                    <a:pt x="258" y="81"/>
                    <a:pt x="259" y="84"/>
                    <a:pt x="259" y="86"/>
                  </a:cubicBezTo>
                  <a:cubicBezTo>
                    <a:pt x="259" y="88"/>
                    <a:pt x="259" y="90"/>
                    <a:pt x="260" y="91"/>
                  </a:cubicBezTo>
                  <a:cubicBezTo>
                    <a:pt x="261" y="93"/>
                    <a:pt x="262" y="95"/>
                    <a:pt x="262" y="96"/>
                  </a:cubicBezTo>
                  <a:cubicBezTo>
                    <a:pt x="262" y="98"/>
                    <a:pt x="263" y="100"/>
                    <a:pt x="264" y="100"/>
                  </a:cubicBezTo>
                  <a:cubicBezTo>
                    <a:pt x="265" y="100"/>
                    <a:pt x="267" y="101"/>
                    <a:pt x="270" y="103"/>
                  </a:cubicBezTo>
                  <a:cubicBezTo>
                    <a:pt x="275" y="105"/>
                    <a:pt x="281" y="108"/>
                    <a:pt x="284" y="107"/>
                  </a:cubicBezTo>
                  <a:cubicBezTo>
                    <a:pt x="286" y="107"/>
                    <a:pt x="288" y="108"/>
                    <a:pt x="291" y="110"/>
                  </a:cubicBezTo>
                  <a:cubicBezTo>
                    <a:pt x="291" y="110"/>
                    <a:pt x="291" y="110"/>
                    <a:pt x="291" y="110"/>
                  </a:cubicBezTo>
                  <a:cubicBezTo>
                    <a:pt x="291" y="110"/>
                    <a:pt x="291" y="110"/>
                    <a:pt x="291" y="110"/>
                  </a:cubicBezTo>
                  <a:cubicBezTo>
                    <a:pt x="291" y="112"/>
                    <a:pt x="290" y="114"/>
                    <a:pt x="289" y="116"/>
                  </a:cubicBezTo>
                  <a:cubicBezTo>
                    <a:pt x="284" y="132"/>
                    <a:pt x="284" y="147"/>
                    <a:pt x="285" y="155"/>
                  </a:cubicBezTo>
                  <a:cubicBezTo>
                    <a:pt x="285" y="157"/>
                    <a:pt x="285" y="157"/>
                    <a:pt x="285" y="157"/>
                  </a:cubicBezTo>
                  <a:cubicBezTo>
                    <a:pt x="285" y="164"/>
                    <a:pt x="285" y="179"/>
                    <a:pt x="290" y="185"/>
                  </a:cubicBezTo>
                  <a:cubicBezTo>
                    <a:pt x="292" y="187"/>
                    <a:pt x="294" y="189"/>
                    <a:pt x="296" y="192"/>
                  </a:cubicBezTo>
                  <a:cubicBezTo>
                    <a:pt x="301" y="196"/>
                    <a:pt x="305" y="200"/>
                    <a:pt x="306" y="204"/>
                  </a:cubicBezTo>
                  <a:cubicBezTo>
                    <a:pt x="306" y="208"/>
                    <a:pt x="307" y="219"/>
                    <a:pt x="313" y="219"/>
                  </a:cubicBezTo>
                  <a:cubicBezTo>
                    <a:pt x="313" y="219"/>
                    <a:pt x="313" y="219"/>
                    <a:pt x="313" y="219"/>
                  </a:cubicBezTo>
                  <a:cubicBezTo>
                    <a:pt x="316" y="218"/>
                    <a:pt x="320" y="221"/>
                    <a:pt x="323" y="223"/>
                  </a:cubicBezTo>
                  <a:cubicBezTo>
                    <a:pt x="326" y="225"/>
                    <a:pt x="328" y="227"/>
                    <a:pt x="330" y="226"/>
                  </a:cubicBezTo>
                  <a:cubicBezTo>
                    <a:pt x="331" y="226"/>
                    <a:pt x="334" y="225"/>
                    <a:pt x="338" y="224"/>
                  </a:cubicBezTo>
                  <a:cubicBezTo>
                    <a:pt x="347" y="222"/>
                    <a:pt x="359" y="219"/>
                    <a:pt x="363" y="219"/>
                  </a:cubicBezTo>
                  <a:cubicBezTo>
                    <a:pt x="364" y="219"/>
                    <a:pt x="364" y="219"/>
                    <a:pt x="364" y="219"/>
                  </a:cubicBezTo>
                  <a:cubicBezTo>
                    <a:pt x="366" y="220"/>
                    <a:pt x="371" y="223"/>
                    <a:pt x="373" y="223"/>
                  </a:cubicBezTo>
                  <a:cubicBezTo>
                    <a:pt x="374" y="223"/>
                    <a:pt x="374" y="223"/>
                    <a:pt x="374" y="222"/>
                  </a:cubicBezTo>
                  <a:cubicBezTo>
                    <a:pt x="375" y="222"/>
                    <a:pt x="375" y="222"/>
                    <a:pt x="375" y="221"/>
                  </a:cubicBezTo>
                  <a:cubicBezTo>
                    <a:pt x="374" y="219"/>
                    <a:pt x="376" y="217"/>
                    <a:pt x="379" y="216"/>
                  </a:cubicBezTo>
                  <a:cubicBezTo>
                    <a:pt x="381" y="214"/>
                    <a:pt x="384" y="212"/>
                    <a:pt x="384" y="208"/>
                  </a:cubicBezTo>
                  <a:cubicBezTo>
                    <a:pt x="384" y="204"/>
                    <a:pt x="385" y="203"/>
                    <a:pt x="386" y="201"/>
                  </a:cubicBezTo>
                  <a:cubicBezTo>
                    <a:pt x="388" y="200"/>
                    <a:pt x="389" y="199"/>
                    <a:pt x="388" y="195"/>
                  </a:cubicBezTo>
                  <a:cubicBezTo>
                    <a:pt x="388" y="185"/>
                    <a:pt x="394" y="179"/>
                    <a:pt x="408" y="177"/>
                  </a:cubicBezTo>
                  <a:cubicBezTo>
                    <a:pt x="411" y="177"/>
                    <a:pt x="414" y="176"/>
                    <a:pt x="416" y="176"/>
                  </a:cubicBezTo>
                  <a:cubicBezTo>
                    <a:pt x="420" y="175"/>
                    <a:pt x="422" y="175"/>
                    <a:pt x="425" y="175"/>
                  </a:cubicBezTo>
                  <a:cubicBezTo>
                    <a:pt x="427" y="175"/>
                    <a:pt x="429" y="175"/>
                    <a:pt x="431" y="176"/>
                  </a:cubicBezTo>
                  <a:cubicBezTo>
                    <a:pt x="432" y="177"/>
                    <a:pt x="433" y="177"/>
                    <a:pt x="434" y="177"/>
                  </a:cubicBezTo>
                  <a:cubicBezTo>
                    <a:pt x="435" y="177"/>
                    <a:pt x="436" y="177"/>
                    <a:pt x="437" y="177"/>
                  </a:cubicBezTo>
                  <a:cubicBezTo>
                    <a:pt x="438" y="177"/>
                    <a:pt x="439" y="176"/>
                    <a:pt x="440" y="176"/>
                  </a:cubicBezTo>
                  <a:cubicBezTo>
                    <a:pt x="442" y="176"/>
                    <a:pt x="443" y="178"/>
                    <a:pt x="444" y="180"/>
                  </a:cubicBezTo>
                  <a:cubicBezTo>
                    <a:pt x="445" y="185"/>
                    <a:pt x="442" y="187"/>
                    <a:pt x="439" y="189"/>
                  </a:cubicBezTo>
                  <a:cubicBezTo>
                    <a:pt x="438" y="190"/>
                    <a:pt x="437" y="191"/>
                    <a:pt x="435" y="192"/>
                  </a:cubicBezTo>
                  <a:cubicBezTo>
                    <a:pt x="433" y="195"/>
                    <a:pt x="433" y="197"/>
                    <a:pt x="433" y="201"/>
                  </a:cubicBezTo>
                  <a:cubicBezTo>
                    <a:pt x="433" y="203"/>
                    <a:pt x="433" y="205"/>
                    <a:pt x="433" y="209"/>
                  </a:cubicBezTo>
                  <a:cubicBezTo>
                    <a:pt x="432" y="216"/>
                    <a:pt x="431" y="225"/>
                    <a:pt x="426" y="229"/>
                  </a:cubicBezTo>
                  <a:cubicBezTo>
                    <a:pt x="426" y="229"/>
                    <a:pt x="426" y="229"/>
                    <a:pt x="426" y="229"/>
                  </a:cubicBezTo>
                  <a:cubicBezTo>
                    <a:pt x="426" y="229"/>
                    <a:pt x="426" y="229"/>
                    <a:pt x="426" y="229"/>
                  </a:cubicBezTo>
                  <a:cubicBezTo>
                    <a:pt x="422" y="225"/>
                    <a:pt x="420" y="224"/>
                    <a:pt x="419" y="224"/>
                  </a:cubicBezTo>
                  <a:cubicBezTo>
                    <a:pt x="417" y="225"/>
                    <a:pt x="414" y="228"/>
                    <a:pt x="412" y="231"/>
                  </a:cubicBezTo>
                  <a:cubicBezTo>
                    <a:pt x="411" y="232"/>
                    <a:pt x="411" y="233"/>
                    <a:pt x="410" y="233"/>
                  </a:cubicBezTo>
                  <a:cubicBezTo>
                    <a:pt x="410" y="234"/>
                    <a:pt x="409" y="234"/>
                    <a:pt x="403" y="234"/>
                  </a:cubicBezTo>
                  <a:cubicBezTo>
                    <a:pt x="398" y="234"/>
                    <a:pt x="392" y="234"/>
                    <a:pt x="387" y="234"/>
                  </a:cubicBezTo>
                  <a:cubicBezTo>
                    <a:pt x="385" y="234"/>
                    <a:pt x="384" y="234"/>
                    <a:pt x="383" y="234"/>
                  </a:cubicBezTo>
                  <a:cubicBezTo>
                    <a:pt x="382" y="234"/>
                    <a:pt x="382" y="237"/>
                    <a:pt x="381" y="239"/>
                  </a:cubicBezTo>
                  <a:cubicBezTo>
                    <a:pt x="380" y="242"/>
                    <a:pt x="380" y="244"/>
                    <a:pt x="379" y="244"/>
                  </a:cubicBezTo>
                  <a:cubicBezTo>
                    <a:pt x="379" y="245"/>
                    <a:pt x="381" y="246"/>
                    <a:pt x="383" y="248"/>
                  </a:cubicBezTo>
                  <a:cubicBezTo>
                    <a:pt x="386" y="251"/>
                    <a:pt x="391" y="255"/>
                    <a:pt x="390" y="258"/>
                  </a:cubicBezTo>
                  <a:cubicBezTo>
                    <a:pt x="389" y="260"/>
                    <a:pt x="386" y="261"/>
                    <a:pt x="380" y="261"/>
                  </a:cubicBezTo>
                  <a:cubicBezTo>
                    <a:pt x="377" y="261"/>
                    <a:pt x="375" y="261"/>
                    <a:pt x="373" y="261"/>
                  </a:cubicBezTo>
                  <a:cubicBezTo>
                    <a:pt x="372" y="261"/>
                    <a:pt x="371" y="261"/>
                    <a:pt x="370" y="261"/>
                  </a:cubicBezTo>
                  <a:cubicBezTo>
                    <a:pt x="370" y="261"/>
                    <a:pt x="365" y="267"/>
                    <a:pt x="359" y="276"/>
                  </a:cubicBezTo>
                  <a:lnTo>
                    <a:pt x="358" y="277"/>
                  </a:lnTo>
                  <a:close/>
                  <a:moveTo>
                    <a:pt x="324" y="258"/>
                  </a:moveTo>
                  <a:cubicBezTo>
                    <a:pt x="330" y="258"/>
                    <a:pt x="335" y="260"/>
                    <a:pt x="339" y="262"/>
                  </a:cubicBezTo>
                  <a:cubicBezTo>
                    <a:pt x="341" y="262"/>
                    <a:pt x="342" y="263"/>
                    <a:pt x="343" y="263"/>
                  </a:cubicBezTo>
                  <a:cubicBezTo>
                    <a:pt x="346" y="264"/>
                    <a:pt x="352" y="270"/>
                    <a:pt x="358" y="275"/>
                  </a:cubicBezTo>
                  <a:cubicBezTo>
                    <a:pt x="362" y="269"/>
                    <a:pt x="369" y="260"/>
                    <a:pt x="370" y="260"/>
                  </a:cubicBezTo>
                  <a:cubicBezTo>
                    <a:pt x="370" y="260"/>
                    <a:pt x="372" y="260"/>
                    <a:pt x="373" y="260"/>
                  </a:cubicBezTo>
                  <a:cubicBezTo>
                    <a:pt x="375" y="260"/>
                    <a:pt x="377" y="260"/>
                    <a:pt x="380" y="260"/>
                  </a:cubicBezTo>
                  <a:cubicBezTo>
                    <a:pt x="387" y="260"/>
                    <a:pt x="389" y="259"/>
                    <a:pt x="389" y="258"/>
                  </a:cubicBezTo>
                  <a:cubicBezTo>
                    <a:pt x="390" y="256"/>
                    <a:pt x="385" y="251"/>
                    <a:pt x="382" y="248"/>
                  </a:cubicBezTo>
                  <a:cubicBezTo>
                    <a:pt x="379" y="246"/>
                    <a:pt x="378" y="245"/>
                    <a:pt x="378" y="244"/>
                  </a:cubicBezTo>
                  <a:cubicBezTo>
                    <a:pt x="378" y="244"/>
                    <a:pt x="378" y="244"/>
                    <a:pt x="379" y="243"/>
                  </a:cubicBezTo>
                  <a:cubicBezTo>
                    <a:pt x="379" y="243"/>
                    <a:pt x="380" y="241"/>
                    <a:pt x="380" y="239"/>
                  </a:cubicBezTo>
                  <a:cubicBezTo>
                    <a:pt x="381" y="236"/>
                    <a:pt x="382" y="233"/>
                    <a:pt x="383" y="233"/>
                  </a:cubicBezTo>
                  <a:cubicBezTo>
                    <a:pt x="384" y="233"/>
                    <a:pt x="385" y="233"/>
                    <a:pt x="387" y="233"/>
                  </a:cubicBezTo>
                  <a:cubicBezTo>
                    <a:pt x="392" y="233"/>
                    <a:pt x="398" y="233"/>
                    <a:pt x="403" y="233"/>
                  </a:cubicBezTo>
                  <a:cubicBezTo>
                    <a:pt x="409" y="233"/>
                    <a:pt x="410" y="233"/>
                    <a:pt x="410" y="233"/>
                  </a:cubicBezTo>
                  <a:cubicBezTo>
                    <a:pt x="410" y="232"/>
                    <a:pt x="411" y="231"/>
                    <a:pt x="412" y="230"/>
                  </a:cubicBezTo>
                  <a:cubicBezTo>
                    <a:pt x="414" y="228"/>
                    <a:pt x="416" y="224"/>
                    <a:pt x="419" y="223"/>
                  </a:cubicBezTo>
                  <a:cubicBezTo>
                    <a:pt x="419" y="223"/>
                    <a:pt x="419" y="223"/>
                    <a:pt x="419" y="223"/>
                  </a:cubicBezTo>
                  <a:cubicBezTo>
                    <a:pt x="421" y="223"/>
                    <a:pt x="423" y="225"/>
                    <a:pt x="426" y="228"/>
                  </a:cubicBezTo>
                  <a:cubicBezTo>
                    <a:pt x="430" y="224"/>
                    <a:pt x="431" y="215"/>
                    <a:pt x="432" y="208"/>
                  </a:cubicBezTo>
                  <a:cubicBezTo>
                    <a:pt x="432" y="205"/>
                    <a:pt x="432" y="203"/>
                    <a:pt x="432" y="201"/>
                  </a:cubicBezTo>
                  <a:cubicBezTo>
                    <a:pt x="432" y="197"/>
                    <a:pt x="432" y="195"/>
                    <a:pt x="435" y="192"/>
                  </a:cubicBezTo>
                  <a:cubicBezTo>
                    <a:pt x="436" y="190"/>
                    <a:pt x="438" y="189"/>
                    <a:pt x="439" y="188"/>
                  </a:cubicBezTo>
                  <a:cubicBezTo>
                    <a:pt x="442" y="186"/>
                    <a:pt x="444" y="185"/>
                    <a:pt x="443" y="180"/>
                  </a:cubicBezTo>
                  <a:cubicBezTo>
                    <a:pt x="442" y="178"/>
                    <a:pt x="441" y="177"/>
                    <a:pt x="440" y="177"/>
                  </a:cubicBezTo>
                  <a:cubicBezTo>
                    <a:pt x="439" y="177"/>
                    <a:pt x="438" y="178"/>
                    <a:pt x="438" y="178"/>
                  </a:cubicBezTo>
                  <a:cubicBezTo>
                    <a:pt x="436" y="178"/>
                    <a:pt x="435" y="178"/>
                    <a:pt x="434" y="178"/>
                  </a:cubicBezTo>
                  <a:cubicBezTo>
                    <a:pt x="433" y="178"/>
                    <a:pt x="431" y="178"/>
                    <a:pt x="430" y="177"/>
                  </a:cubicBezTo>
                  <a:cubicBezTo>
                    <a:pt x="427" y="175"/>
                    <a:pt x="423" y="176"/>
                    <a:pt x="416" y="177"/>
                  </a:cubicBezTo>
                  <a:cubicBezTo>
                    <a:pt x="414" y="177"/>
                    <a:pt x="411" y="178"/>
                    <a:pt x="408" y="178"/>
                  </a:cubicBezTo>
                  <a:cubicBezTo>
                    <a:pt x="395" y="180"/>
                    <a:pt x="389" y="186"/>
                    <a:pt x="389" y="195"/>
                  </a:cubicBezTo>
                  <a:cubicBezTo>
                    <a:pt x="390" y="200"/>
                    <a:pt x="388" y="201"/>
                    <a:pt x="387" y="202"/>
                  </a:cubicBezTo>
                  <a:cubicBezTo>
                    <a:pt x="386" y="203"/>
                    <a:pt x="385" y="204"/>
                    <a:pt x="385" y="208"/>
                  </a:cubicBezTo>
                  <a:cubicBezTo>
                    <a:pt x="385" y="213"/>
                    <a:pt x="382" y="215"/>
                    <a:pt x="379" y="217"/>
                  </a:cubicBezTo>
                  <a:cubicBezTo>
                    <a:pt x="377" y="218"/>
                    <a:pt x="375" y="219"/>
                    <a:pt x="376" y="221"/>
                  </a:cubicBezTo>
                  <a:cubicBezTo>
                    <a:pt x="376" y="222"/>
                    <a:pt x="376" y="222"/>
                    <a:pt x="375" y="223"/>
                  </a:cubicBezTo>
                  <a:cubicBezTo>
                    <a:pt x="375" y="223"/>
                    <a:pt x="374" y="224"/>
                    <a:pt x="373" y="224"/>
                  </a:cubicBezTo>
                  <a:cubicBezTo>
                    <a:pt x="370" y="224"/>
                    <a:pt x="364" y="220"/>
                    <a:pt x="364" y="220"/>
                  </a:cubicBezTo>
                  <a:cubicBezTo>
                    <a:pt x="364" y="220"/>
                    <a:pt x="364" y="220"/>
                    <a:pt x="363" y="220"/>
                  </a:cubicBezTo>
                  <a:cubicBezTo>
                    <a:pt x="359" y="220"/>
                    <a:pt x="347" y="223"/>
                    <a:pt x="338" y="225"/>
                  </a:cubicBezTo>
                  <a:cubicBezTo>
                    <a:pt x="334" y="226"/>
                    <a:pt x="331" y="227"/>
                    <a:pt x="330" y="227"/>
                  </a:cubicBezTo>
                  <a:cubicBezTo>
                    <a:pt x="328" y="228"/>
                    <a:pt x="325" y="226"/>
                    <a:pt x="322" y="224"/>
                  </a:cubicBezTo>
                  <a:cubicBezTo>
                    <a:pt x="320" y="222"/>
                    <a:pt x="316" y="220"/>
                    <a:pt x="314" y="220"/>
                  </a:cubicBezTo>
                  <a:cubicBezTo>
                    <a:pt x="314" y="220"/>
                    <a:pt x="314" y="220"/>
                    <a:pt x="313" y="220"/>
                  </a:cubicBezTo>
                  <a:cubicBezTo>
                    <a:pt x="313" y="220"/>
                    <a:pt x="313" y="220"/>
                    <a:pt x="313" y="220"/>
                  </a:cubicBezTo>
                  <a:cubicBezTo>
                    <a:pt x="307" y="220"/>
                    <a:pt x="305" y="209"/>
                    <a:pt x="305" y="204"/>
                  </a:cubicBezTo>
                  <a:cubicBezTo>
                    <a:pt x="304" y="200"/>
                    <a:pt x="300" y="196"/>
                    <a:pt x="296" y="192"/>
                  </a:cubicBezTo>
                  <a:cubicBezTo>
                    <a:pt x="293" y="190"/>
                    <a:pt x="291" y="188"/>
                    <a:pt x="289" y="186"/>
                  </a:cubicBezTo>
                  <a:cubicBezTo>
                    <a:pt x="284" y="179"/>
                    <a:pt x="284" y="165"/>
                    <a:pt x="284" y="157"/>
                  </a:cubicBezTo>
                  <a:cubicBezTo>
                    <a:pt x="284" y="155"/>
                    <a:pt x="284" y="155"/>
                    <a:pt x="284" y="155"/>
                  </a:cubicBezTo>
                  <a:cubicBezTo>
                    <a:pt x="283" y="147"/>
                    <a:pt x="283" y="132"/>
                    <a:pt x="288" y="116"/>
                  </a:cubicBezTo>
                  <a:cubicBezTo>
                    <a:pt x="289" y="114"/>
                    <a:pt x="290" y="112"/>
                    <a:pt x="290" y="110"/>
                  </a:cubicBezTo>
                  <a:cubicBezTo>
                    <a:pt x="287" y="109"/>
                    <a:pt x="286" y="108"/>
                    <a:pt x="284" y="108"/>
                  </a:cubicBezTo>
                  <a:cubicBezTo>
                    <a:pt x="284" y="108"/>
                    <a:pt x="284" y="108"/>
                    <a:pt x="284" y="108"/>
                  </a:cubicBezTo>
                  <a:cubicBezTo>
                    <a:pt x="284" y="108"/>
                    <a:pt x="284" y="108"/>
                    <a:pt x="284" y="108"/>
                  </a:cubicBezTo>
                  <a:cubicBezTo>
                    <a:pt x="280" y="108"/>
                    <a:pt x="275" y="106"/>
                    <a:pt x="270" y="104"/>
                  </a:cubicBezTo>
                  <a:cubicBezTo>
                    <a:pt x="267" y="102"/>
                    <a:pt x="265" y="101"/>
                    <a:pt x="264" y="101"/>
                  </a:cubicBezTo>
                  <a:cubicBezTo>
                    <a:pt x="262" y="101"/>
                    <a:pt x="262" y="99"/>
                    <a:pt x="261" y="97"/>
                  </a:cubicBezTo>
                  <a:cubicBezTo>
                    <a:pt x="261" y="95"/>
                    <a:pt x="260" y="93"/>
                    <a:pt x="259" y="92"/>
                  </a:cubicBezTo>
                  <a:cubicBezTo>
                    <a:pt x="258" y="90"/>
                    <a:pt x="258" y="88"/>
                    <a:pt x="258" y="86"/>
                  </a:cubicBezTo>
                  <a:cubicBezTo>
                    <a:pt x="258" y="84"/>
                    <a:pt x="257" y="82"/>
                    <a:pt x="256" y="81"/>
                  </a:cubicBezTo>
                  <a:cubicBezTo>
                    <a:pt x="253" y="79"/>
                    <a:pt x="245" y="71"/>
                    <a:pt x="242" y="61"/>
                  </a:cubicBezTo>
                  <a:cubicBezTo>
                    <a:pt x="239" y="52"/>
                    <a:pt x="223" y="47"/>
                    <a:pt x="217" y="47"/>
                  </a:cubicBezTo>
                  <a:cubicBezTo>
                    <a:pt x="216" y="47"/>
                    <a:pt x="216" y="47"/>
                    <a:pt x="216" y="47"/>
                  </a:cubicBezTo>
                  <a:cubicBezTo>
                    <a:pt x="213" y="47"/>
                    <a:pt x="210" y="52"/>
                    <a:pt x="208" y="56"/>
                  </a:cubicBezTo>
                  <a:cubicBezTo>
                    <a:pt x="207" y="59"/>
                    <a:pt x="206" y="60"/>
                    <a:pt x="205" y="60"/>
                  </a:cubicBezTo>
                  <a:cubicBezTo>
                    <a:pt x="205" y="60"/>
                    <a:pt x="205" y="60"/>
                    <a:pt x="205" y="60"/>
                  </a:cubicBezTo>
                  <a:cubicBezTo>
                    <a:pt x="203" y="60"/>
                    <a:pt x="199" y="58"/>
                    <a:pt x="193" y="54"/>
                  </a:cubicBezTo>
                  <a:cubicBezTo>
                    <a:pt x="191" y="53"/>
                    <a:pt x="189" y="52"/>
                    <a:pt x="188" y="51"/>
                  </a:cubicBezTo>
                  <a:cubicBezTo>
                    <a:pt x="185" y="50"/>
                    <a:pt x="183" y="46"/>
                    <a:pt x="183" y="42"/>
                  </a:cubicBezTo>
                  <a:cubicBezTo>
                    <a:pt x="183" y="38"/>
                    <a:pt x="176" y="31"/>
                    <a:pt x="174" y="31"/>
                  </a:cubicBezTo>
                  <a:cubicBezTo>
                    <a:pt x="172" y="30"/>
                    <a:pt x="159" y="18"/>
                    <a:pt x="157" y="16"/>
                  </a:cubicBezTo>
                  <a:cubicBezTo>
                    <a:pt x="135" y="16"/>
                    <a:pt x="135" y="16"/>
                    <a:pt x="135" y="16"/>
                  </a:cubicBezTo>
                  <a:cubicBezTo>
                    <a:pt x="130" y="22"/>
                    <a:pt x="130" y="22"/>
                    <a:pt x="130" y="22"/>
                  </a:cubicBezTo>
                  <a:cubicBezTo>
                    <a:pt x="88" y="23"/>
                    <a:pt x="88" y="23"/>
                    <a:pt x="88" y="23"/>
                  </a:cubicBezTo>
                  <a:cubicBezTo>
                    <a:pt x="88" y="23"/>
                    <a:pt x="88" y="23"/>
                    <a:pt x="88" y="23"/>
                  </a:cubicBezTo>
                  <a:cubicBezTo>
                    <a:pt x="88" y="22"/>
                    <a:pt x="57" y="11"/>
                    <a:pt x="51" y="9"/>
                  </a:cubicBezTo>
                  <a:cubicBezTo>
                    <a:pt x="45" y="8"/>
                    <a:pt x="36" y="2"/>
                    <a:pt x="35" y="1"/>
                  </a:cubicBezTo>
                  <a:cubicBezTo>
                    <a:pt x="2" y="5"/>
                    <a:pt x="2" y="5"/>
                    <a:pt x="2" y="5"/>
                  </a:cubicBezTo>
                  <a:cubicBezTo>
                    <a:pt x="4" y="9"/>
                    <a:pt x="6" y="13"/>
                    <a:pt x="9" y="17"/>
                  </a:cubicBezTo>
                  <a:cubicBezTo>
                    <a:pt x="16" y="25"/>
                    <a:pt x="21" y="40"/>
                    <a:pt x="22" y="45"/>
                  </a:cubicBezTo>
                  <a:cubicBezTo>
                    <a:pt x="22" y="49"/>
                    <a:pt x="28" y="52"/>
                    <a:pt x="34" y="56"/>
                  </a:cubicBezTo>
                  <a:cubicBezTo>
                    <a:pt x="36" y="57"/>
                    <a:pt x="38" y="58"/>
                    <a:pt x="40" y="59"/>
                  </a:cubicBezTo>
                  <a:cubicBezTo>
                    <a:pt x="48" y="64"/>
                    <a:pt x="48" y="76"/>
                    <a:pt x="47" y="79"/>
                  </a:cubicBezTo>
                  <a:cubicBezTo>
                    <a:pt x="46" y="81"/>
                    <a:pt x="45" y="81"/>
                    <a:pt x="44" y="81"/>
                  </a:cubicBezTo>
                  <a:cubicBezTo>
                    <a:pt x="43" y="81"/>
                    <a:pt x="42" y="80"/>
                    <a:pt x="40" y="80"/>
                  </a:cubicBezTo>
                  <a:cubicBezTo>
                    <a:pt x="39" y="80"/>
                    <a:pt x="38" y="80"/>
                    <a:pt x="37" y="80"/>
                  </a:cubicBezTo>
                  <a:cubicBezTo>
                    <a:pt x="35" y="80"/>
                    <a:pt x="35" y="80"/>
                    <a:pt x="35" y="80"/>
                  </a:cubicBezTo>
                  <a:cubicBezTo>
                    <a:pt x="35" y="80"/>
                    <a:pt x="35" y="81"/>
                    <a:pt x="37" y="83"/>
                  </a:cubicBezTo>
                  <a:cubicBezTo>
                    <a:pt x="40" y="87"/>
                    <a:pt x="48" y="93"/>
                    <a:pt x="52" y="93"/>
                  </a:cubicBezTo>
                  <a:cubicBezTo>
                    <a:pt x="53" y="93"/>
                    <a:pt x="53" y="93"/>
                    <a:pt x="53" y="93"/>
                  </a:cubicBezTo>
                  <a:cubicBezTo>
                    <a:pt x="57" y="93"/>
                    <a:pt x="60" y="95"/>
                    <a:pt x="66" y="100"/>
                  </a:cubicBezTo>
                  <a:cubicBezTo>
                    <a:pt x="67" y="101"/>
                    <a:pt x="68" y="102"/>
                    <a:pt x="69" y="103"/>
                  </a:cubicBezTo>
                  <a:cubicBezTo>
                    <a:pt x="73" y="107"/>
                    <a:pt x="76" y="111"/>
                    <a:pt x="76" y="116"/>
                  </a:cubicBezTo>
                  <a:cubicBezTo>
                    <a:pt x="75" y="118"/>
                    <a:pt x="75" y="121"/>
                    <a:pt x="73" y="122"/>
                  </a:cubicBezTo>
                  <a:cubicBezTo>
                    <a:pt x="73" y="122"/>
                    <a:pt x="73" y="122"/>
                    <a:pt x="73" y="123"/>
                  </a:cubicBezTo>
                  <a:cubicBezTo>
                    <a:pt x="73" y="125"/>
                    <a:pt x="79" y="129"/>
                    <a:pt x="86" y="133"/>
                  </a:cubicBezTo>
                  <a:cubicBezTo>
                    <a:pt x="87" y="134"/>
                    <a:pt x="88" y="135"/>
                    <a:pt x="90" y="136"/>
                  </a:cubicBezTo>
                  <a:cubicBezTo>
                    <a:pt x="100" y="142"/>
                    <a:pt x="104" y="151"/>
                    <a:pt x="106" y="155"/>
                  </a:cubicBezTo>
                  <a:cubicBezTo>
                    <a:pt x="106" y="156"/>
                    <a:pt x="106" y="156"/>
                    <a:pt x="107" y="156"/>
                  </a:cubicBezTo>
                  <a:cubicBezTo>
                    <a:pt x="108" y="156"/>
                    <a:pt x="111" y="153"/>
                    <a:pt x="112" y="150"/>
                  </a:cubicBezTo>
                  <a:cubicBezTo>
                    <a:pt x="112" y="148"/>
                    <a:pt x="112" y="146"/>
                    <a:pt x="111" y="145"/>
                  </a:cubicBezTo>
                  <a:cubicBezTo>
                    <a:pt x="110" y="143"/>
                    <a:pt x="108" y="141"/>
                    <a:pt x="108" y="139"/>
                  </a:cubicBezTo>
                  <a:cubicBezTo>
                    <a:pt x="108" y="135"/>
                    <a:pt x="104" y="135"/>
                    <a:pt x="100" y="134"/>
                  </a:cubicBezTo>
                  <a:cubicBezTo>
                    <a:pt x="98" y="134"/>
                    <a:pt x="97" y="134"/>
                    <a:pt x="97" y="134"/>
                  </a:cubicBezTo>
                  <a:cubicBezTo>
                    <a:pt x="94" y="134"/>
                    <a:pt x="94" y="131"/>
                    <a:pt x="94" y="128"/>
                  </a:cubicBezTo>
                  <a:cubicBezTo>
                    <a:pt x="94" y="126"/>
                    <a:pt x="95" y="123"/>
                    <a:pt x="93" y="121"/>
                  </a:cubicBezTo>
                  <a:cubicBezTo>
                    <a:pt x="89" y="117"/>
                    <a:pt x="85" y="108"/>
                    <a:pt x="83" y="100"/>
                  </a:cubicBezTo>
                  <a:cubicBezTo>
                    <a:pt x="82" y="96"/>
                    <a:pt x="79" y="92"/>
                    <a:pt x="75" y="88"/>
                  </a:cubicBezTo>
                  <a:cubicBezTo>
                    <a:pt x="72" y="85"/>
                    <a:pt x="69" y="82"/>
                    <a:pt x="67" y="78"/>
                  </a:cubicBezTo>
                  <a:cubicBezTo>
                    <a:pt x="63" y="71"/>
                    <a:pt x="59" y="65"/>
                    <a:pt x="56" y="63"/>
                  </a:cubicBezTo>
                  <a:cubicBezTo>
                    <a:pt x="55" y="62"/>
                    <a:pt x="55" y="62"/>
                    <a:pt x="55" y="61"/>
                  </a:cubicBezTo>
                  <a:cubicBezTo>
                    <a:pt x="55" y="60"/>
                    <a:pt x="55" y="60"/>
                    <a:pt x="56" y="59"/>
                  </a:cubicBezTo>
                  <a:cubicBezTo>
                    <a:pt x="58" y="57"/>
                    <a:pt x="58" y="56"/>
                    <a:pt x="57" y="55"/>
                  </a:cubicBezTo>
                  <a:cubicBezTo>
                    <a:pt x="56" y="53"/>
                    <a:pt x="54" y="53"/>
                    <a:pt x="51" y="52"/>
                  </a:cubicBezTo>
                  <a:cubicBezTo>
                    <a:pt x="50" y="52"/>
                    <a:pt x="48" y="51"/>
                    <a:pt x="46" y="50"/>
                  </a:cubicBezTo>
                  <a:cubicBezTo>
                    <a:pt x="41" y="48"/>
                    <a:pt x="38" y="44"/>
                    <a:pt x="38" y="38"/>
                  </a:cubicBezTo>
                  <a:cubicBezTo>
                    <a:pt x="38" y="33"/>
                    <a:pt x="35" y="21"/>
                    <a:pt x="33" y="17"/>
                  </a:cubicBezTo>
                  <a:cubicBezTo>
                    <a:pt x="33" y="16"/>
                    <a:pt x="33" y="15"/>
                    <a:pt x="33" y="14"/>
                  </a:cubicBezTo>
                  <a:cubicBezTo>
                    <a:pt x="33" y="14"/>
                    <a:pt x="34" y="13"/>
                    <a:pt x="35" y="13"/>
                  </a:cubicBezTo>
                  <a:cubicBezTo>
                    <a:pt x="37" y="13"/>
                    <a:pt x="38" y="14"/>
                    <a:pt x="39" y="15"/>
                  </a:cubicBezTo>
                  <a:cubicBezTo>
                    <a:pt x="39" y="15"/>
                    <a:pt x="39" y="15"/>
                    <a:pt x="39" y="15"/>
                  </a:cubicBezTo>
                  <a:cubicBezTo>
                    <a:pt x="40" y="17"/>
                    <a:pt x="41" y="18"/>
                    <a:pt x="42" y="18"/>
                  </a:cubicBezTo>
                  <a:cubicBezTo>
                    <a:pt x="43" y="18"/>
                    <a:pt x="43" y="18"/>
                    <a:pt x="44" y="17"/>
                  </a:cubicBezTo>
                  <a:cubicBezTo>
                    <a:pt x="44" y="17"/>
                    <a:pt x="45" y="17"/>
                    <a:pt x="46" y="17"/>
                  </a:cubicBezTo>
                  <a:cubicBezTo>
                    <a:pt x="48" y="17"/>
                    <a:pt x="51" y="18"/>
                    <a:pt x="52" y="21"/>
                  </a:cubicBezTo>
                  <a:cubicBezTo>
                    <a:pt x="52" y="22"/>
                    <a:pt x="53" y="22"/>
                    <a:pt x="55" y="22"/>
                  </a:cubicBezTo>
                  <a:cubicBezTo>
                    <a:pt x="55" y="22"/>
                    <a:pt x="56" y="22"/>
                    <a:pt x="57" y="22"/>
                  </a:cubicBezTo>
                  <a:cubicBezTo>
                    <a:pt x="58" y="22"/>
                    <a:pt x="58" y="22"/>
                    <a:pt x="59" y="22"/>
                  </a:cubicBezTo>
                  <a:cubicBezTo>
                    <a:pt x="60" y="22"/>
                    <a:pt x="61" y="22"/>
                    <a:pt x="61" y="23"/>
                  </a:cubicBezTo>
                  <a:cubicBezTo>
                    <a:pt x="63" y="23"/>
                    <a:pt x="62" y="24"/>
                    <a:pt x="62" y="25"/>
                  </a:cubicBezTo>
                  <a:cubicBezTo>
                    <a:pt x="61" y="27"/>
                    <a:pt x="59" y="31"/>
                    <a:pt x="64" y="41"/>
                  </a:cubicBezTo>
                  <a:cubicBezTo>
                    <a:pt x="69" y="50"/>
                    <a:pt x="69" y="51"/>
                    <a:pt x="68" y="52"/>
                  </a:cubicBezTo>
                  <a:cubicBezTo>
                    <a:pt x="68" y="53"/>
                    <a:pt x="67" y="54"/>
                    <a:pt x="67" y="58"/>
                  </a:cubicBezTo>
                  <a:cubicBezTo>
                    <a:pt x="67" y="60"/>
                    <a:pt x="67" y="64"/>
                    <a:pt x="69" y="64"/>
                  </a:cubicBezTo>
                  <a:cubicBezTo>
                    <a:pt x="70" y="64"/>
                    <a:pt x="71" y="63"/>
                    <a:pt x="73" y="61"/>
                  </a:cubicBezTo>
                  <a:cubicBezTo>
                    <a:pt x="73" y="61"/>
                    <a:pt x="73" y="61"/>
                    <a:pt x="74" y="61"/>
                  </a:cubicBezTo>
                  <a:cubicBezTo>
                    <a:pt x="76" y="61"/>
                    <a:pt x="79" y="64"/>
                    <a:pt x="84" y="70"/>
                  </a:cubicBezTo>
                  <a:cubicBezTo>
                    <a:pt x="86" y="72"/>
                    <a:pt x="89" y="74"/>
                    <a:pt x="92" y="75"/>
                  </a:cubicBezTo>
                  <a:cubicBezTo>
                    <a:pt x="94" y="76"/>
                    <a:pt x="96" y="77"/>
                    <a:pt x="96" y="78"/>
                  </a:cubicBezTo>
                  <a:cubicBezTo>
                    <a:pt x="96" y="81"/>
                    <a:pt x="97" y="87"/>
                    <a:pt x="103" y="88"/>
                  </a:cubicBezTo>
                  <a:cubicBezTo>
                    <a:pt x="106" y="88"/>
                    <a:pt x="108" y="90"/>
                    <a:pt x="109" y="92"/>
                  </a:cubicBezTo>
                  <a:cubicBezTo>
                    <a:pt x="111" y="94"/>
                    <a:pt x="112" y="95"/>
                    <a:pt x="113" y="95"/>
                  </a:cubicBezTo>
                  <a:cubicBezTo>
                    <a:pt x="114" y="96"/>
                    <a:pt x="115" y="96"/>
                    <a:pt x="116" y="98"/>
                  </a:cubicBezTo>
                  <a:cubicBezTo>
                    <a:pt x="117" y="99"/>
                    <a:pt x="117" y="102"/>
                    <a:pt x="116" y="105"/>
                  </a:cubicBezTo>
                  <a:cubicBezTo>
                    <a:pt x="115" y="106"/>
                    <a:pt x="115" y="108"/>
                    <a:pt x="115" y="109"/>
                  </a:cubicBezTo>
                  <a:cubicBezTo>
                    <a:pt x="116" y="111"/>
                    <a:pt x="119" y="113"/>
                    <a:pt x="124" y="115"/>
                  </a:cubicBezTo>
                  <a:cubicBezTo>
                    <a:pt x="130" y="118"/>
                    <a:pt x="131" y="119"/>
                    <a:pt x="132" y="121"/>
                  </a:cubicBezTo>
                  <a:cubicBezTo>
                    <a:pt x="133" y="122"/>
                    <a:pt x="134" y="124"/>
                    <a:pt x="136" y="126"/>
                  </a:cubicBezTo>
                  <a:cubicBezTo>
                    <a:pt x="143" y="133"/>
                    <a:pt x="163" y="155"/>
                    <a:pt x="168" y="161"/>
                  </a:cubicBezTo>
                  <a:cubicBezTo>
                    <a:pt x="171" y="167"/>
                    <a:pt x="173" y="171"/>
                    <a:pt x="174" y="175"/>
                  </a:cubicBezTo>
                  <a:cubicBezTo>
                    <a:pt x="174" y="176"/>
                    <a:pt x="175" y="177"/>
                    <a:pt x="175" y="177"/>
                  </a:cubicBezTo>
                  <a:cubicBezTo>
                    <a:pt x="176" y="180"/>
                    <a:pt x="175" y="181"/>
                    <a:pt x="174" y="183"/>
                  </a:cubicBezTo>
                  <a:cubicBezTo>
                    <a:pt x="174" y="185"/>
                    <a:pt x="173" y="186"/>
                    <a:pt x="174" y="188"/>
                  </a:cubicBezTo>
                  <a:cubicBezTo>
                    <a:pt x="175" y="189"/>
                    <a:pt x="175" y="189"/>
                    <a:pt x="175" y="190"/>
                  </a:cubicBezTo>
                  <a:cubicBezTo>
                    <a:pt x="174" y="191"/>
                    <a:pt x="173" y="191"/>
                    <a:pt x="172" y="192"/>
                  </a:cubicBezTo>
                  <a:cubicBezTo>
                    <a:pt x="171" y="192"/>
                    <a:pt x="170" y="192"/>
                    <a:pt x="170" y="193"/>
                  </a:cubicBezTo>
                  <a:cubicBezTo>
                    <a:pt x="170" y="197"/>
                    <a:pt x="175" y="210"/>
                    <a:pt x="181" y="211"/>
                  </a:cubicBezTo>
                  <a:cubicBezTo>
                    <a:pt x="187" y="211"/>
                    <a:pt x="193" y="217"/>
                    <a:pt x="198" y="222"/>
                  </a:cubicBezTo>
                  <a:cubicBezTo>
                    <a:pt x="200" y="223"/>
                    <a:pt x="201" y="224"/>
                    <a:pt x="202" y="225"/>
                  </a:cubicBezTo>
                  <a:cubicBezTo>
                    <a:pt x="206" y="228"/>
                    <a:pt x="210" y="229"/>
                    <a:pt x="215" y="230"/>
                  </a:cubicBezTo>
                  <a:cubicBezTo>
                    <a:pt x="218" y="230"/>
                    <a:pt x="222" y="231"/>
                    <a:pt x="225" y="232"/>
                  </a:cubicBezTo>
                  <a:cubicBezTo>
                    <a:pt x="229" y="234"/>
                    <a:pt x="232" y="236"/>
                    <a:pt x="236" y="238"/>
                  </a:cubicBezTo>
                  <a:cubicBezTo>
                    <a:pt x="241" y="241"/>
                    <a:pt x="247" y="245"/>
                    <a:pt x="254" y="247"/>
                  </a:cubicBezTo>
                  <a:cubicBezTo>
                    <a:pt x="266" y="250"/>
                    <a:pt x="278" y="255"/>
                    <a:pt x="287" y="261"/>
                  </a:cubicBezTo>
                  <a:cubicBezTo>
                    <a:pt x="290" y="263"/>
                    <a:pt x="293" y="264"/>
                    <a:pt x="297" y="264"/>
                  </a:cubicBezTo>
                  <a:cubicBezTo>
                    <a:pt x="302" y="264"/>
                    <a:pt x="308" y="262"/>
                    <a:pt x="316" y="259"/>
                  </a:cubicBezTo>
                  <a:cubicBezTo>
                    <a:pt x="319" y="258"/>
                    <a:pt x="322" y="258"/>
                    <a:pt x="324" y="25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5" name="Freeform 102"/>
            <p:cNvSpPr>
              <a:spLocks noEditPoints="1"/>
            </p:cNvSpPr>
            <p:nvPr/>
          </p:nvSpPr>
          <p:spPr>
            <a:xfrm>
              <a:off x="2478089" y="3362325"/>
              <a:ext cx="109538" cy="104775"/>
            </a:xfrm>
            <a:custGeom>
              <a:gdLst>
                <a:gd name="T0" fmla="*/ 38 w 65"/>
                <a:gd name="T1" fmla="*/ 61 h 61"/>
                <a:gd name="T2" fmla="*/ 37 w 65"/>
                <a:gd name="T3" fmla="*/ 61 h 61"/>
                <a:gd name="T4" fmla="*/ 37 w 65"/>
                <a:gd name="T5" fmla="*/ 60 h 61"/>
                <a:gd name="T6" fmla="*/ 30 w 65"/>
                <a:gd name="T7" fmla="*/ 59 h 61"/>
                <a:gd name="T8" fmla="*/ 28 w 65"/>
                <a:gd name="T9" fmla="*/ 59 h 61"/>
                <a:gd name="T10" fmla="*/ 26 w 65"/>
                <a:gd name="T11" fmla="*/ 59 h 61"/>
                <a:gd name="T12" fmla="*/ 17 w 65"/>
                <a:gd name="T13" fmla="*/ 57 h 61"/>
                <a:gd name="T14" fmla="*/ 5 w 65"/>
                <a:gd name="T15" fmla="*/ 46 h 61"/>
                <a:gd name="T16" fmla="*/ 1 w 65"/>
                <a:gd name="T17" fmla="*/ 43 h 61"/>
                <a:gd name="T18" fmla="*/ 0 w 65"/>
                <a:gd name="T19" fmla="*/ 43 h 61"/>
                <a:gd name="T20" fmla="*/ 1 w 65"/>
                <a:gd name="T21" fmla="*/ 43 h 61"/>
                <a:gd name="T22" fmla="*/ 13 w 65"/>
                <a:gd name="T23" fmla="*/ 27 h 61"/>
                <a:gd name="T24" fmla="*/ 16 w 65"/>
                <a:gd name="T25" fmla="*/ 27 h 61"/>
                <a:gd name="T26" fmla="*/ 23 w 65"/>
                <a:gd name="T27" fmla="*/ 27 h 61"/>
                <a:gd name="T28" fmla="*/ 32 w 65"/>
                <a:gd name="T29" fmla="*/ 25 h 61"/>
                <a:gd name="T30" fmla="*/ 25 w 65"/>
                <a:gd name="T31" fmla="*/ 15 h 61"/>
                <a:gd name="T32" fmla="*/ 21 w 65"/>
                <a:gd name="T33" fmla="*/ 11 h 61"/>
                <a:gd name="T34" fmla="*/ 22 w 65"/>
                <a:gd name="T35" fmla="*/ 10 h 61"/>
                <a:gd name="T36" fmla="*/ 23 w 65"/>
                <a:gd name="T37" fmla="*/ 6 h 61"/>
                <a:gd name="T38" fmla="*/ 26 w 65"/>
                <a:gd name="T39" fmla="*/ 0 h 61"/>
                <a:gd name="T40" fmla="*/ 30 w 65"/>
                <a:gd name="T41" fmla="*/ 0 h 61"/>
                <a:gd name="T42" fmla="*/ 46 w 65"/>
                <a:gd name="T43" fmla="*/ 0 h 61"/>
                <a:gd name="T44" fmla="*/ 51 w 65"/>
                <a:gd name="T45" fmla="*/ 0 h 61"/>
                <a:gd name="T46" fmla="*/ 51 w 65"/>
                <a:gd name="T47" fmla="*/ 0 h 61"/>
                <a:gd name="T48" fmla="*/ 51 w 65"/>
                <a:gd name="T49" fmla="*/ 29 h 61"/>
                <a:gd name="T50" fmla="*/ 58 w 65"/>
                <a:gd name="T51" fmla="*/ 28 h 61"/>
                <a:gd name="T52" fmla="*/ 58 w 65"/>
                <a:gd name="T53" fmla="*/ 29 h 61"/>
                <a:gd name="T54" fmla="*/ 58 w 65"/>
                <a:gd name="T55" fmla="*/ 32 h 61"/>
                <a:gd name="T56" fmla="*/ 63 w 65"/>
                <a:gd name="T57" fmla="*/ 32 h 61"/>
                <a:gd name="T58" fmla="*/ 65 w 65"/>
                <a:gd name="T59" fmla="*/ 30 h 61"/>
                <a:gd name="T60" fmla="*/ 64 w 65"/>
                <a:gd name="T61" fmla="*/ 32 h 61"/>
                <a:gd name="T62" fmla="*/ 56 w 65"/>
                <a:gd name="T63" fmla="*/ 41 h 61"/>
                <a:gd name="T64" fmla="*/ 51 w 65"/>
                <a:gd name="T65" fmla="*/ 49 h 61"/>
                <a:gd name="T66" fmla="*/ 48 w 65"/>
                <a:gd name="T67" fmla="*/ 52 h 61"/>
                <a:gd name="T68" fmla="*/ 38 w 65"/>
                <a:gd name="T69" fmla="*/ 61 h 61"/>
                <a:gd name="T70" fmla="*/ 30 w 65"/>
                <a:gd name="T71" fmla="*/ 58 h 61"/>
                <a:gd name="T72" fmla="*/ 38 w 65"/>
                <a:gd name="T73" fmla="*/ 60 h 61"/>
                <a:gd name="T74" fmla="*/ 38 w 65"/>
                <a:gd name="T75" fmla="*/ 60 h 61"/>
                <a:gd name="T76" fmla="*/ 48 w 65"/>
                <a:gd name="T77" fmla="*/ 51 h 61"/>
                <a:gd name="T78" fmla="*/ 50 w 65"/>
                <a:gd name="T79" fmla="*/ 48 h 61"/>
                <a:gd name="T80" fmla="*/ 55 w 65"/>
                <a:gd name="T81" fmla="*/ 40 h 61"/>
                <a:gd name="T82" fmla="*/ 62 w 65"/>
                <a:gd name="T83" fmla="*/ 33 h 61"/>
                <a:gd name="T84" fmla="*/ 57 w 65"/>
                <a:gd name="T85" fmla="*/ 33 h 61"/>
                <a:gd name="T86" fmla="*/ 57 w 65"/>
                <a:gd name="T87" fmla="*/ 29 h 61"/>
                <a:gd name="T88" fmla="*/ 50 w 65"/>
                <a:gd name="T89" fmla="*/ 30 h 61"/>
                <a:gd name="T90" fmla="*/ 50 w 65"/>
                <a:gd name="T91" fmla="*/ 1 h 61"/>
                <a:gd name="T92" fmla="*/ 46 w 65"/>
                <a:gd name="T93" fmla="*/ 1 h 61"/>
                <a:gd name="T94" fmla="*/ 30 w 65"/>
                <a:gd name="T95" fmla="*/ 1 h 61"/>
                <a:gd name="T96" fmla="*/ 26 w 65"/>
                <a:gd name="T97" fmla="*/ 1 h 61"/>
                <a:gd name="T98" fmla="*/ 24 w 65"/>
                <a:gd name="T99" fmla="*/ 6 h 61"/>
                <a:gd name="T100" fmla="*/ 22 w 65"/>
                <a:gd name="T101" fmla="*/ 11 h 61"/>
                <a:gd name="T102" fmla="*/ 26 w 65"/>
                <a:gd name="T103" fmla="*/ 15 h 61"/>
                <a:gd name="T104" fmla="*/ 33 w 65"/>
                <a:gd name="T105" fmla="*/ 25 h 61"/>
                <a:gd name="T106" fmla="*/ 23 w 65"/>
                <a:gd name="T107" fmla="*/ 28 h 61"/>
                <a:gd name="T108" fmla="*/ 16 w 65"/>
                <a:gd name="T109" fmla="*/ 28 h 61"/>
                <a:gd name="T110" fmla="*/ 13 w 65"/>
                <a:gd name="T111" fmla="*/ 28 h 61"/>
                <a:gd name="T112" fmla="*/ 2 w 65"/>
                <a:gd name="T113" fmla="*/ 43 h 61"/>
                <a:gd name="T114" fmla="*/ 5 w 65"/>
                <a:gd name="T115" fmla="*/ 46 h 61"/>
                <a:gd name="T116" fmla="*/ 17 w 65"/>
                <a:gd name="T117" fmla="*/ 56 h 61"/>
                <a:gd name="T118" fmla="*/ 26 w 65"/>
                <a:gd name="T119" fmla="*/ 58 h 61"/>
                <a:gd name="T120" fmla="*/ 28 w 65"/>
                <a:gd name="T121" fmla="*/ 58 h 61"/>
                <a:gd name="T122" fmla="*/ 30 w 65"/>
                <a:gd name="T123" fmla="*/ 58 h 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61">
                  <a:moveTo>
                    <a:pt x="38" y="61"/>
                  </a:moveTo>
                  <a:cubicBezTo>
                    <a:pt x="37" y="61"/>
                    <a:pt x="37" y="61"/>
                    <a:pt x="37" y="61"/>
                  </a:cubicBezTo>
                  <a:cubicBezTo>
                    <a:pt x="37" y="60"/>
                    <a:pt x="37" y="60"/>
                    <a:pt x="37" y="60"/>
                  </a:cubicBezTo>
                  <a:cubicBezTo>
                    <a:pt x="36" y="59"/>
                    <a:pt x="33" y="59"/>
                    <a:pt x="30" y="59"/>
                  </a:cubicBezTo>
                  <a:cubicBezTo>
                    <a:pt x="30" y="59"/>
                    <a:pt x="29" y="59"/>
                    <a:pt x="28" y="59"/>
                  </a:cubicBezTo>
                  <a:cubicBezTo>
                    <a:pt x="27" y="59"/>
                    <a:pt x="26" y="59"/>
                    <a:pt x="26" y="59"/>
                  </a:cubicBezTo>
                  <a:cubicBezTo>
                    <a:pt x="23" y="59"/>
                    <a:pt x="19" y="59"/>
                    <a:pt x="17" y="57"/>
                  </a:cubicBezTo>
                  <a:cubicBezTo>
                    <a:pt x="14" y="55"/>
                    <a:pt x="10" y="51"/>
                    <a:pt x="5" y="46"/>
                  </a:cubicBezTo>
                  <a:cubicBezTo>
                    <a:pt x="3" y="45"/>
                    <a:pt x="2" y="44"/>
                    <a:pt x="1" y="43"/>
                  </a:cubicBezTo>
                  <a:cubicBezTo>
                    <a:pt x="0" y="43"/>
                    <a:pt x="0" y="43"/>
                    <a:pt x="0" y="43"/>
                  </a:cubicBezTo>
                  <a:cubicBezTo>
                    <a:pt x="1" y="43"/>
                    <a:pt x="1" y="43"/>
                    <a:pt x="1" y="43"/>
                  </a:cubicBezTo>
                  <a:cubicBezTo>
                    <a:pt x="5" y="37"/>
                    <a:pt x="12" y="27"/>
                    <a:pt x="13" y="27"/>
                  </a:cubicBezTo>
                  <a:cubicBezTo>
                    <a:pt x="13" y="27"/>
                    <a:pt x="15" y="27"/>
                    <a:pt x="16" y="27"/>
                  </a:cubicBezTo>
                  <a:cubicBezTo>
                    <a:pt x="18" y="27"/>
                    <a:pt x="20" y="27"/>
                    <a:pt x="23" y="27"/>
                  </a:cubicBezTo>
                  <a:cubicBezTo>
                    <a:pt x="30" y="27"/>
                    <a:pt x="32" y="26"/>
                    <a:pt x="32" y="25"/>
                  </a:cubicBezTo>
                  <a:cubicBezTo>
                    <a:pt x="33" y="23"/>
                    <a:pt x="28" y="18"/>
                    <a:pt x="25" y="15"/>
                  </a:cubicBezTo>
                  <a:cubicBezTo>
                    <a:pt x="22" y="13"/>
                    <a:pt x="21" y="12"/>
                    <a:pt x="21" y="11"/>
                  </a:cubicBezTo>
                  <a:cubicBezTo>
                    <a:pt x="21" y="11"/>
                    <a:pt x="21" y="11"/>
                    <a:pt x="22" y="10"/>
                  </a:cubicBezTo>
                  <a:cubicBezTo>
                    <a:pt x="22" y="10"/>
                    <a:pt x="23" y="8"/>
                    <a:pt x="23" y="6"/>
                  </a:cubicBezTo>
                  <a:cubicBezTo>
                    <a:pt x="24" y="3"/>
                    <a:pt x="25" y="0"/>
                    <a:pt x="26" y="0"/>
                  </a:cubicBezTo>
                  <a:cubicBezTo>
                    <a:pt x="27" y="0"/>
                    <a:pt x="28" y="0"/>
                    <a:pt x="30" y="0"/>
                  </a:cubicBezTo>
                  <a:cubicBezTo>
                    <a:pt x="35" y="0"/>
                    <a:pt x="41" y="0"/>
                    <a:pt x="46" y="0"/>
                  </a:cubicBezTo>
                  <a:cubicBezTo>
                    <a:pt x="48" y="0"/>
                    <a:pt x="50" y="0"/>
                    <a:pt x="51" y="0"/>
                  </a:cubicBezTo>
                  <a:cubicBezTo>
                    <a:pt x="51" y="0"/>
                    <a:pt x="51" y="0"/>
                    <a:pt x="51" y="0"/>
                  </a:cubicBezTo>
                  <a:cubicBezTo>
                    <a:pt x="51" y="29"/>
                    <a:pt x="51" y="29"/>
                    <a:pt x="51" y="29"/>
                  </a:cubicBezTo>
                  <a:cubicBezTo>
                    <a:pt x="58" y="28"/>
                    <a:pt x="58" y="28"/>
                    <a:pt x="58" y="28"/>
                  </a:cubicBezTo>
                  <a:cubicBezTo>
                    <a:pt x="58" y="29"/>
                    <a:pt x="58" y="29"/>
                    <a:pt x="58" y="29"/>
                  </a:cubicBezTo>
                  <a:cubicBezTo>
                    <a:pt x="58" y="30"/>
                    <a:pt x="58" y="31"/>
                    <a:pt x="58" y="32"/>
                  </a:cubicBezTo>
                  <a:cubicBezTo>
                    <a:pt x="59" y="33"/>
                    <a:pt x="61" y="33"/>
                    <a:pt x="63" y="32"/>
                  </a:cubicBezTo>
                  <a:cubicBezTo>
                    <a:pt x="65" y="30"/>
                    <a:pt x="65" y="30"/>
                    <a:pt x="65" y="30"/>
                  </a:cubicBezTo>
                  <a:cubicBezTo>
                    <a:pt x="64" y="32"/>
                    <a:pt x="64" y="32"/>
                    <a:pt x="64" y="32"/>
                  </a:cubicBezTo>
                  <a:cubicBezTo>
                    <a:pt x="61" y="36"/>
                    <a:pt x="58" y="38"/>
                    <a:pt x="56" y="41"/>
                  </a:cubicBezTo>
                  <a:cubicBezTo>
                    <a:pt x="52" y="43"/>
                    <a:pt x="51" y="46"/>
                    <a:pt x="51" y="49"/>
                  </a:cubicBezTo>
                  <a:cubicBezTo>
                    <a:pt x="50" y="50"/>
                    <a:pt x="50" y="52"/>
                    <a:pt x="48" y="52"/>
                  </a:cubicBezTo>
                  <a:cubicBezTo>
                    <a:pt x="48" y="52"/>
                    <a:pt x="45" y="54"/>
                    <a:pt x="38" y="61"/>
                  </a:cubicBezTo>
                  <a:close/>
                  <a:moveTo>
                    <a:pt x="30" y="58"/>
                  </a:moveTo>
                  <a:cubicBezTo>
                    <a:pt x="33" y="58"/>
                    <a:pt x="36" y="58"/>
                    <a:pt x="38" y="60"/>
                  </a:cubicBezTo>
                  <a:cubicBezTo>
                    <a:pt x="38" y="60"/>
                    <a:pt x="38" y="60"/>
                    <a:pt x="38" y="60"/>
                  </a:cubicBezTo>
                  <a:cubicBezTo>
                    <a:pt x="45" y="53"/>
                    <a:pt x="47" y="51"/>
                    <a:pt x="48" y="51"/>
                  </a:cubicBezTo>
                  <a:cubicBezTo>
                    <a:pt x="49" y="51"/>
                    <a:pt x="49" y="50"/>
                    <a:pt x="50" y="48"/>
                  </a:cubicBezTo>
                  <a:cubicBezTo>
                    <a:pt x="50" y="46"/>
                    <a:pt x="51" y="43"/>
                    <a:pt x="55" y="40"/>
                  </a:cubicBezTo>
                  <a:cubicBezTo>
                    <a:pt x="57" y="38"/>
                    <a:pt x="59" y="36"/>
                    <a:pt x="62" y="33"/>
                  </a:cubicBezTo>
                  <a:cubicBezTo>
                    <a:pt x="60" y="34"/>
                    <a:pt x="58" y="34"/>
                    <a:pt x="57" y="33"/>
                  </a:cubicBezTo>
                  <a:cubicBezTo>
                    <a:pt x="57" y="32"/>
                    <a:pt x="57" y="31"/>
                    <a:pt x="57" y="29"/>
                  </a:cubicBezTo>
                  <a:cubicBezTo>
                    <a:pt x="50" y="30"/>
                    <a:pt x="50" y="30"/>
                    <a:pt x="50" y="30"/>
                  </a:cubicBezTo>
                  <a:cubicBezTo>
                    <a:pt x="50" y="1"/>
                    <a:pt x="50" y="1"/>
                    <a:pt x="50" y="1"/>
                  </a:cubicBezTo>
                  <a:cubicBezTo>
                    <a:pt x="49" y="1"/>
                    <a:pt x="48" y="1"/>
                    <a:pt x="46" y="1"/>
                  </a:cubicBezTo>
                  <a:cubicBezTo>
                    <a:pt x="41" y="1"/>
                    <a:pt x="35" y="1"/>
                    <a:pt x="30" y="1"/>
                  </a:cubicBezTo>
                  <a:cubicBezTo>
                    <a:pt x="28" y="1"/>
                    <a:pt x="27" y="1"/>
                    <a:pt x="26" y="1"/>
                  </a:cubicBezTo>
                  <a:cubicBezTo>
                    <a:pt x="25" y="1"/>
                    <a:pt x="25" y="4"/>
                    <a:pt x="24" y="6"/>
                  </a:cubicBezTo>
                  <a:cubicBezTo>
                    <a:pt x="23" y="9"/>
                    <a:pt x="23" y="11"/>
                    <a:pt x="22" y="11"/>
                  </a:cubicBezTo>
                  <a:cubicBezTo>
                    <a:pt x="22" y="12"/>
                    <a:pt x="24" y="13"/>
                    <a:pt x="26" y="15"/>
                  </a:cubicBezTo>
                  <a:cubicBezTo>
                    <a:pt x="29" y="18"/>
                    <a:pt x="34" y="22"/>
                    <a:pt x="33" y="25"/>
                  </a:cubicBezTo>
                  <a:cubicBezTo>
                    <a:pt x="32" y="27"/>
                    <a:pt x="29" y="28"/>
                    <a:pt x="23" y="28"/>
                  </a:cubicBezTo>
                  <a:cubicBezTo>
                    <a:pt x="20" y="28"/>
                    <a:pt x="18" y="28"/>
                    <a:pt x="16" y="28"/>
                  </a:cubicBezTo>
                  <a:cubicBezTo>
                    <a:pt x="15" y="28"/>
                    <a:pt x="14" y="28"/>
                    <a:pt x="13" y="28"/>
                  </a:cubicBezTo>
                  <a:cubicBezTo>
                    <a:pt x="13" y="28"/>
                    <a:pt x="8" y="33"/>
                    <a:pt x="2" y="43"/>
                  </a:cubicBezTo>
                  <a:cubicBezTo>
                    <a:pt x="3" y="44"/>
                    <a:pt x="4" y="45"/>
                    <a:pt x="5" y="46"/>
                  </a:cubicBezTo>
                  <a:cubicBezTo>
                    <a:pt x="10" y="50"/>
                    <a:pt x="15" y="54"/>
                    <a:pt x="17" y="56"/>
                  </a:cubicBezTo>
                  <a:cubicBezTo>
                    <a:pt x="20" y="58"/>
                    <a:pt x="23" y="58"/>
                    <a:pt x="26" y="58"/>
                  </a:cubicBezTo>
                  <a:cubicBezTo>
                    <a:pt x="26" y="58"/>
                    <a:pt x="27" y="58"/>
                    <a:pt x="28" y="58"/>
                  </a:cubicBezTo>
                  <a:cubicBezTo>
                    <a:pt x="29" y="58"/>
                    <a:pt x="30" y="58"/>
                    <a:pt x="30" y="5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6" name="Freeform 103"/>
            <p:cNvSpPr>
              <a:spLocks noEditPoints="1"/>
            </p:cNvSpPr>
            <p:nvPr/>
          </p:nvSpPr>
          <p:spPr>
            <a:xfrm>
              <a:off x="2562226" y="3346450"/>
              <a:ext cx="33338" cy="66675"/>
            </a:xfrm>
            <a:custGeom>
              <a:gdLst>
                <a:gd name="T0" fmla="*/ 0 w 20"/>
                <a:gd name="T1" fmla="*/ 40 h 40"/>
                <a:gd name="T2" fmla="*/ 0 w 20"/>
                <a:gd name="T3" fmla="*/ 10 h 40"/>
                <a:gd name="T4" fmla="*/ 1 w 20"/>
                <a:gd name="T5" fmla="*/ 10 h 40"/>
                <a:gd name="T6" fmla="*/ 3 w 20"/>
                <a:gd name="T7" fmla="*/ 10 h 40"/>
                <a:gd name="T8" fmla="*/ 5 w 20"/>
                <a:gd name="T9" fmla="*/ 7 h 40"/>
                <a:gd name="T10" fmla="*/ 12 w 20"/>
                <a:gd name="T11" fmla="*/ 0 h 40"/>
                <a:gd name="T12" fmla="*/ 19 w 20"/>
                <a:gd name="T13" fmla="*/ 5 h 40"/>
                <a:gd name="T14" fmla="*/ 20 w 20"/>
                <a:gd name="T15" fmla="*/ 5 h 40"/>
                <a:gd name="T16" fmla="*/ 19 w 20"/>
                <a:gd name="T17" fmla="*/ 6 h 40"/>
                <a:gd name="T18" fmla="*/ 16 w 20"/>
                <a:gd name="T19" fmla="*/ 8 h 40"/>
                <a:gd name="T20" fmla="*/ 14 w 20"/>
                <a:gd name="T21" fmla="*/ 18 h 40"/>
                <a:gd name="T22" fmla="*/ 12 w 20"/>
                <a:gd name="T23" fmla="*/ 32 h 40"/>
                <a:gd name="T24" fmla="*/ 8 w 20"/>
                <a:gd name="T25" fmla="*/ 39 h 40"/>
                <a:gd name="T26" fmla="*/ 8 w 20"/>
                <a:gd name="T27" fmla="*/ 39 h 40"/>
                <a:gd name="T28" fmla="*/ 0 w 20"/>
                <a:gd name="T29" fmla="*/ 40 h 40"/>
                <a:gd name="T30" fmla="*/ 1 w 20"/>
                <a:gd name="T31" fmla="*/ 11 h 40"/>
                <a:gd name="T32" fmla="*/ 1 w 20"/>
                <a:gd name="T33" fmla="*/ 39 h 40"/>
                <a:gd name="T34" fmla="*/ 7 w 20"/>
                <a:gd name="T35" fmla="*/ 38 h 40"/>
                <a:gd name="T36" fmla="*/ 12 w 20"/>
                <a:gd name="T37" fmla="*/ 31 h 40"/>
                <a:gd name="T38" fmla="*/ 13 w 20"/>
                <a:gd name="T39" fmla="*/ 19 h 40"/>
                <a:gd name="T40" fmla="*/ 16 w 20"/>
                <a:gd name="T41" fmla="*/ 7 h 40"/>
                <a:gd name="T42" fmla="*/ 18 w 20"/>
                <a:gd name="T43" fmla="*/ 5 h 40"/>
                <a:gd name="T44" fmla="*/ 12 w 20"/>
                <a:gd name="T45" fmla="*/ 1 h 40"/>
                <a:gd name="T46" fmla="*/ 5 w 20"/>
                <a:gd name="T47" fmla="*/ 8 h 40"/>
                <a:gd name="T48" fmla="*/ 3 w 20"/>
                <a:gd name="T49" fmla="*/ 10 h 40"/>
                <a:gd name="T50" fmla="*/ 1 w 20"/>
                <a:gd name="T51" fmla="*/ 11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40">
                  <a:moveTo>
                    <a:pt x="0" y="40"/>
                  </a:moveTo>
                  <a:cubicBezTo>
                    <a:pt x="0" y="10"/>
                    <a:pt x="0" y="10"/>
                    <a:pt x="0" y="10"/>
                  </a:cubicBezTo>
                  <a:cubicBezTo>
                    <a:pt x="1" y="10"/>
                    <a:pt x="1" y="10"/>
                    <a:pt x="1" y="10"/>
                  </a:cubicBezTo>
                  <a:cubicBezTo>
                    <a:pt x="2" y="10"/>
                    <a:pt x="3" y="10"/>
                    <a:pt x="3" y="10"/>
                  </a:cubicBezTo>
                  <a:cubicBezTo>
                    <a:pt x="3" y="9"/>
                    <a:pt x="4" y="8"/>
                    <a:pt x="5" y="7"/>
                  </a:cubicBezTo>
                  <a:cubicBezTo>
                    <a:pt x="7" y="5"/>
                    <a:pt x="9" y="1"/>
                    <a:pt x="12" y="0"/>
                  </a:cubicBezTo>
                  <a:cubicBezTo>
                    <a:pt x="14" y="0"/>
                    <a:pt x="16" y="2"/>
                    <a:pt x="19" y="5"/>
                  </a:cubicBezTo>
                  <a:cubicBezTo>
                    <a:pt x="20" y="5"/>
                    <a:pt x="20" y="5"/>
                    <a:pt x="20" y="5"/>
                  </a:cubicBezTo>
                  <a:cubicBezTo>
                    <a:pt x="19" y="6"/>
                    <a:pt x="19" y="6"/>
                    <a:pt x="19" y="6"/>
                  </a:cubicBezTo>
                  <a:cubicBezTo>
                    <a:pt x="18" y="7"/>
                    <a:pt x="17" y="7"/>
                    <a:pt x="16" y="8"/>
                  </a:cubicBezTo>
                  <a:cubicBezTo>
                    <a:pt x="13" y="8"/>
                    <a:pt x="13" y="13"/>
                    <a:pt x="14" y="18"/>
                  </a:cubicBezTo>
                  <a:cubicBezTo>
                    <a:pt x="15" y="24"/>
                    <a:pt x="15" y="29"/>
                    <a:pt x="12" y="32"/>
                  </a:cubicBezTo>
                  <a:cubicBezTo>
                    <a:pt x="10" y="33"/>
                    <a:pt x="8" y="36"/>
                    <a:pt x="8" y="39"/>
                  </a:cubicBezTo>
                  <a:cubicBezTo>
                    <a:pt x="8" y="39"/>
                    <a:pt x="8" y="39"/>
                    <a:pt x="8" y="39"/>
                  </a:cubicBezTo>
                  <a:lnTo>
                    <a:pt x="0" y="40"/>
                  </a:lnTo>
                  <a:close/>
                  <a:moveTo>
                    <a:pt x="1" y="11"/>
                  </a:moveTo>
                  <a:cubicBezTo>
                    <a:pt x="1" y="39"/>
                    <a:pt x="1" y="39"/>
                    <a:pt x="1" y="39"/>
                  </a:cubicBezTo>
                  <a:cubicBezTo>
                    <a:pt x="7" y="38"/>
                    <a:pt x="7" y="38"/>
                    <a:pt x="7" y="38"/>
                  </a:cubicBezTo>
                  <a:cubicBezTo>
                    <a:pt x="8" y="35"/>
                    <a:pt x="9" y="33"/>
                    <a:pt x="12" y="31"/>
                  </a:cubicBezTo>
                  <a:cubicBezTo>
                    <a:pt x="14" y="29"/>
                    <a:pt x="14" y="24"/>
                    <a:pt x="13" y="19"/>
                  </a:cubicBezTo>
                  <a:cubicBezTo>
                    <a:pt x="12" y="13"/>
                    <a:pt x="12" y="8"/>
                    <a:pt x="16" y="7"/>
                  </a:cubicBezTo>
                  <a:cubicBezTo>
                    <a:pt x="17" y="6"/>
                    <a:pt x="17" y="6"/>
                    <a:pt x="18" y="5"/>
                  </a:cubicBezTo>
                  <a:cubicBezTo>
                    <a:pt x="15" y="2"/>
                    <a:pt x="13" y="1"/>
                    <a:pt x="12" y="1"/>
                  </a:cubicBezTo>
                  <a:cubicBezTo>
                    <a:pt x="10" y="2"/>
                    <a:pt x="7" y="5"/>
                    <a:pt x="5" y="8"/>
                  </a:cubicBezTo>
                  <a:cubicBezTo>
                    <a:pt x="4" y="9"/>
                    <a:pt x="4" y="10"/>
                    <a:pt x="3" y="10"/>
                  </a:cubicBezTo>
                  <a:cubicBezTo>
                    <a:pt x="3" y="11"/>
                    <a:pt x="3" y="11"/>
                    <a:pt x="1"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7" name="Freeform 104"/>
            <p:cNvSpPr>
              <a:spLocks noEditPoints="1"/>
            </p:cNvSpPr>
            <p:nvPr/>
          </p:nvSpPr>
          <p:spPr>
            <a:xfrm>
              <a:off x="2925764" y="3303588"/>
              <a:ext cx="74613" cy="58738"/>
            </a:xfrm>
            <a:custGeom>
              <a:gdLst>
                <a:gd name="T0" fmla="*/ 41 w 44"/>
                <a:gd name="T1" fmla="*/ 35 h 35"/>
                <a:gd name="T2" fmla="*/ 40 w 44"/>
                <a:gd name="T3" fmla="*/ 34 h 35"/>
                <a:gd name="T4" fmla="*/ 27 w 44"/>
                <a:gd name="T5" fmla="*/ 30 h 35"/>
                <a:gd name="T6" fmla="*/ 20 w 44"/>
                <a:gd name="T7" fmla="*/ 32 h 35"/>
                <a:gd name="T8" fmla="*/ 13 w 44"/>
                <a:gd name="T9" fmla="*/ 33 h 35"/>
                <a:gd name="T10" fmla="*/ 1 w 44"/>
                <a:gd name="T11" fmla="*/ 29 h 35"/>
                <a:gd name="T12" fmla="*/ 1 w 44"/>
                <a:gd name="T13" fmla="*/ 26 h 35"/>
                <a:gd name="T14" fmla="*/ 11 w 44"/>
                <a:gd name="T15" fmla="*/ 23 h 35"/>
                <a:gd name="T16" fmla="*/ 17 w 44"/>
                <a:gd name="T17" fmla="*/ 23 h 35"/>
                <a:gd name="T18" fmla="*/ 22 w 44"/>
                <a:gd name="T19" fmla="*/ 23 h 35"/>
                <a:gd name="T20" fmla="*/ 29 w 44"/>
                <a:gd name="T21" fmla="*/ 21 h 35"/>
                <a:gd name="T22" fmla="*/ 24 w 44"/>
                <a:gd name="T23" fmla="*/ 13 h 35"/>
                <a:gd name="T24" fmla="*/ 18 w 44"/>
                <a:gd name="T25" fmla="*/ 4 h 35"/>
                <a:gd name="T26" fmla="*/ 20 w 44"/>
                <a:gd name="T27" fmla="*/ 1 h 35"/>
                <a:gd name="T28" fmla="*/ 24 w 44"/>
                <a:gd name="T29" fmla="*/ 0 h 35"/>
                <a:gd name="T30" fmla="*/ 36 w 44"/>
                <a:gd name="T31" fmla="*/ 3 h 35"/>
                <a:gd name="T32" fmla="*/ 43 w 44"/>
                <a:gd name="T33" fmla="*/ 5 h 35"/>
                <a:gd name="T34" fmla="*/ 44 w 44"/>
                <a:gd name="T35" fmla="*/ 5 h 35"/>
                <a:gd name="T36" fmla="*/ 43 w 44"/>
                <a:gd name="T37" fmla="*/ 6 h 35"/>
                <a:gd name="T38" fmla="*/ 41 w 44"/>
                <a:gd name="T39" fmla="*/ 34 h 35"/>
                <a:gd name="T40" fmla="*/ 41 w 44"/>
                <a:gd name="T41" fmla="*/ 35 h 35"/>
                <a:gd name="T42" fmla="*/ 27 w 44"/>
                <a:gd name="T43" fmla="*/ 29 h 35"/>
                <a:gd name="T44" fmla="*/ 40 w 44"/>
                <a:gd name="T45" fmla="*/ 33 h 35"/>
                <a:gd name="T46" fmla="*/ 42 w 44"/>
                <a:gd name="T47" fmla="*/ 6 h 35"/>
                <a:gd name="T48" fmla="*/ 36 w 44"/>
                <a:gd name="T49" fmla="*/ 4 h 35"/>
                <a:gd name="T50" fmla="*/ 24 w 44"/>
                <a:gd name="T51" fmla="*/ 1 h 35"/>
                <a:gd name="T52" fmla="*/ 20 w 44"/>
                <a:gd name="T53" fmla="*/ 2 h 35"/>
                <a:gd name="T54" fmla="*/ 19 w 44"/>
                <a:gd name="T55" fmla="*/ 4 h 35"/>
                <a:gd name="T56" fmla="*/ 24 w 44"/>
                <a:gd name="T57" fmla="*/ 13 h 35"/>
                <a:gd name="T58" fmla="*/ 30 w 44"/>
                <a:gd name="T59" fmla="*/ 21 h 35"/>
                <a:gd name="T60" fmla="*/ 22 w 44"/>
                <a:gd name="T61" fmla="*/ 24 h 35"/>
                <a:gd name="T62" fmla="*/ 17 w 44"/>
                <a:gd name="T63" fmla="*/ 24 h 35"/>
                <a:gd name="T64" fmla="*/ 11 w 44"/>
                <a:gd name="T65" fmla="*/ 24 h 35"/>
                <a:gd name="T66" fmla="*/ 2 w 44"/>
                <a:gd name="T67" fmla="*/ 27 h 35"/>
                <a:gd name="T68" fmla="*/ 2 w 44"/>
                <a:gd name="T69" fmla="*/ 28 h 35"/>
                <a:gd name="T70" fmla="*/ 13 w 44"/>
                <a:gd name="T71" fmla="*/ 32 h 35"/>
                <a:gd name="T72" fmla="*/ 20 w 44"/>
                <a:gd name="T73" fmla="*/ 31 h 35"/>
                <a:gd name="T74" fmla="*/ 27 w 44"/>
                <a:gd name="T75" fmla="*/ 29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35">
                  <a:moveTo>
                    <a:pt x="41" y="35"/>
                  </a:moveTo>
                  <a:cubicBezTo>
                    <a:pt x="40" y="34"/>
                    <a:pt x="40" y="34"/>
                    <a:pt x="40" y="34"/>
                  </a:cubicBezTo>
                  <a:cubicBezTo>
                    <a:pt x="36" y="32"/>
                    <a:pt x="32" y="30"/>
                    <a:pt x="27" y="30"/>
                  </a:cubicBezTo>
                  <a:cubicBezTo>
                    <a:pt x="25" y="30"/>
                    <a:pt x="22" y="31"/>
                    <a:pt x="20" y="32"/>
                  </a:cubicBezTo>
                  <a:cubicBezTo>
                    <a:pt x="18" y="32"/>
                    <a:pt x="15" y="33"/>
                    <a:pt x="13" y="33"/>
                  </a:cubicBezTo>
                  <a:cubicBezTo>
                    <a:pt x="8" y="33"/>
                    <a:pt x="3" y="31"/>
                    <a:pt x="1" y="29"/>
                  </a:cubicBezTo>
                  <a:cubicBezTo>
                    <a:pt x="1" y="28"/>
                    <a:pt x="0" y="27"/>
                    <a:pt x="1" y="26"/>
                  </a:cubicBezTo>
                  <a:cubicBezTo>
                    <a:pt x="2" y="24"/>
                    <a:pt x="7" y="23"/>
                    <a:pt x="11" y="23"/>
                  </a:cubicBezTo>
                  <a:cubicBezTo>
                    <a:pt x="13" y="23"/>
                    <a:pt x="15" y="23"/>
                    <a:pt x="17" y="23"/>
                  </a:cubicBezTo>
                  <a:cubicBezTo>
                    <a:pt x="19" y="23"/>
                    <a:pt x="20" y="23"/>
                    <a:pt x="22" y="23"/>
                  </a:cubicBezTo>
                  <a:cubicBezTo>
                    <a:pt x="27" y="23"/>
                    <a:pt x="29" y="23"/>
                    <a:pt x="29" y="21"/>
                  </a:cubicBezTo>
                  <a:cubicBezTo>
                    <a:pt x="29" y="19"/>
                    <a:pt x="26" y="16"/>
                    <a:pt x="24" y="13"/>
                  </a:cubicBezTo>
                  <a:cubicBezTo>
                    <a:pt x="21" y="10"/>
                    <a:pt x="18" y="6"/>
                    <a:pt x="18" y="4"/>
                  </a:cubicBezTo>
                  <a:cubicBezTo>
                    <a:pt x="18" y="3"/>
                    <a:pt x="19" y="2"/>
                    <a:pt x="20" y="1"/>
                  </a:cubicBezTo>
                  <a:cubicBezTo>
                    <a:pt x="21" y="0"/>
                    <a:pt x="22" y="0"/>
                    <a:pt x="24" y="0"/>
                  </a:cubicBezTo>
                  <a:cubicBezTo>
                    <a:pt x="27" y="0"/>
                    <a:pt x="32" y="1"/>
                    <a:pt x="36" y="3"/>
                  </a:cubicBezTo>
                  <a:cubicBezTo>
                    <a:pt x="39" y="4"/>
                    <a:pt x="41" y="4"/>
                    <a:pt x="43" y="5"/>
                  </a:cubicBezTo>
                  <a:cubicBezTo>
                    <a:pt x="44" y="5"/>
                    <a:pt x="44" y="5"/>
                    <a:pt x="44" y="5"/>
                  </a:cubicBezTo>
                  <a:cubicBezTo>
                    <a:pt x="43" y="6"/>
                    <a:pt x="43" y="6"/>
                    <a:pt x="43" y="6"/>
                  </a:cubicBezTo>
                  <a:cubicBezTo>
                    <a:pt x="42" y="13"/>
                    <a:pt x="41" y="24"/>
                    <a:pt x="41" y="34"/>
                  </a:cubicBezTo>
                  <a:lnTo>
                    <a:pt x="41" y="35"/>
                  </a:lnTo>
                  <a:close/>
                  <a:moveTo>
                    <a:pt x="27" y="29"/>
                  </a:moveTo>
                  <a:cubicBezTo>
                    <a:pt x="32" y="29"/>
                    <a:pt x="36" y="31"/>
                    <a:pt x="40" y="33"/>
                  </a:cubicBezTo>
                  <a:cubicBezTo>
                    <a:pt x="40" y="24"/>
                    <a:pt x="41" y="13"/>
                    <a:pt x="42" y="6"/>
                  </a:cubicBezTo>
                  <a:cubicBezTo>
                    <a:pt x="40" y="5"/>
                    <a:pt x="38" y="5"/>
                    <a:pt x="36" y="4"/>
                  </a:cubicBezTo>
                  <a:cubicBezTo>
                    <a:pt x="32" y="2"/>
                    <a:pt x="27" y="1"/>
                    <a:pt x="24" y="1"/>
                  </a:cubicBezTo>
                  <a:cubicBezTo>
                    <a:pt x="22" y="1"/>
                    <a:pt x="21" y="1"/>
                    <a:pt x="20" y="2"/>
                  </a:cubicBezTo>
                  <a:cubicBezTo>
                    <a:pt x="19" y="2"/>
                    <a:pt x="19" y="3"/>
                    <a:pt x="19" y="4"/>
                  </a:cubicBezTo>
                  <a:cubicBezTo>
                    <a:pt x="19" y="6"/>
                    <a:pt x="22" y="9"/>
                    <a:pt x="24" y="13"/>
                  </a:cubicBezTo>
                  <a:cubicBezTo>
                    <a:pt x="27" y="16"/>
                    <a:pt x="30" y="19"/>
                    <a:pt x="30" y="21"/>
                  </a:cubicBezTo>
                  <a:cubicBezTo>
                    <a:pt x="30" y="24"/>
                    <a:pt x="26" y="24"/>
                    <a:pt x="22" y="24"/>
                  </a:cubicBezTo>
                  <a:cubicBezTo>
                    <a:pt x="20" y="24"/>
                    <a:pt x="18" y="24"/>
                    <a:pt x="17" y="24"/>
                  </a:cubicBezTo>
                  <a:cubicBezTo>
                    <a:pt x="15" y="24"/>
                    <a:pt x="13" y="24"/>
                    <a:pt x="11" y="24"/>
                  </a:cubicBezTo>
                  <a:cubicBezTo>
                    <a:pt x="7" y="24"/>
                    <a:pt x="3" y="25"/>
                    <a:pt x="2" y="27"/>
                  </a:cubicBezTo>
                  <a:cubicBezTo>
                    <a:pt x="2" y="28"/>
                    <a:pt x="2" y="28"/>
                    <a:pt x="2" y="28"/>
                  </a:cubicBezTo>
                  <a:cubicBezTo>
                    <a:pt x="3" y="30"/>
                    <a:pt x="8" y="32"/>
                    <a:pt x="13" y="32"/>
                  </a:cubicBezTo>
                  <a:cubicBezTo>
                    <a:pt x="15" y="32"/>
                    <a:pt x="18" y="31"/>
                    <a:pt x="20" y="31"/>
                  </a:cubicBezTo>
                  <a:cubicBezTo>
                    <a:pt x="22" y="30"/>
                    <a:pt x="25" y="29"/>
                    <a:pt x="27" y="2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8" name="Freeform 105"/>
            <p:cNvSpPr>
              <a:spLocks noEditPoints="1"/>
            </p:cNvSpPr>
            <p:nvPr/>
          </p:nvSpPr>
          <p:spPr>
            <a:xfrm>
              <a:off x="2992439" y="3311525"/>
              <a:ext cx="85725" cy="52388"/>
            </a:xfrm>
            <a:custGeom>
              <a:gdLst>
                <a:gd name="T0" fmla="*/ 4 w 50"/>
                <a:gd name="T1" fmla="*/ 31 h 31"/>
                <a:gd name="T2" fmla="*/ 4 w 50"/>
                <a:gd name="T3" fmla="*/ 31 h 31"/>
                <a:gd name="T4" fmla="*/ 1 w 50"/>
                <a:gd name="T5" fmla="*/ 30 h 31"/>
                <a:gd name="T6" fmla="*/ 0 w 50"/>
                <a:gd name="T7" fmla="*/ 29 h 31"/>
                <a:gd name="T8" fmla="*/ 0 w 50"/>
                <a:gd name="T9" fmla="*/ 29 h 31"/>
                <a:gd name="T10" fmla="*/ 0 w 50"/>
                <a:gd name="T11" fmla="*/ 29 h 31"/>
                <a:gd name="T12" fmla="*/ 2 w 50"/>
                <a:gd name="T13" fmla="*/ 0 h 31"/>
                <a:gd name="T14" fmla="*/ 3 w 50"/>
                <a:gd name="T15" fmla="*/ 0 h 31"/>
                <a:gd name="T16" fmla="*/ 3 w 50"/>
                <a:gd name="T17" fmla="*/ 0 h 31"/>
                <a:gd name="T18" fmla="*/ 11 w 50"/>
                <a:gd name="T19" fmla="*/ 0 h 31"/>
                <a:gd name="T20" fmla="*/ 14 w 50"/>
                <a:gd name="T21" fmla="*/ 0 h 31"/>
                <a:gd name="T22" fmla="*/ 50 w 50"/>
                <a:gd name="T23" fmla="*/ 17 h 31"/>
                <a:gd name="T24" fmla="*/ 41 w 50"/>
                <a:gd name="T25" fmla="*/ 22 h 31"/>
                <a:gd name="T26" fmla="*/ 35 w 50"/>
                <a:gd name="T27" fmla="*/ 22 h 31"/>
                <a:gd name="T28" fmla="*/ 29 w 50"/>
                <a:gd name="T29" fmla="*/ 22 h 31"/>
                <a:gd name="T30" fmla="*/ 19 w 50"/>
                <a:gd name="T31" fmla="*/ 23 h 31"/>
                <a:gd name="T32" fmla="*/ 9 w 50"/>
                <a:gd name="T33" fmla="*/ 28 h 31"/>
                <a:gd name="T34" fmla="*/ 4 w 50"/>
                <a:gd name="T35" fmla="*/ 31 h 31"/>
                <a:gd name="T36" fmla="*/ 1 w 50"/>
                <a:gd name="T37" fmla="*/ 28 h 31"/>
                <a:gd name="T38" fmla="*/ 1 w 50"/>
                <a:gd name="T39" fmla="*/ 29 h 31"/>
                <a:gd name="T40" fmla="*/ 4 w 50"/>
                <a:gd name="T41" fmla="*/ 30 h 31"/>
                <a:gd name="T42" fmla="*/ 4 w 50"/>
                <a:gd name="T43" fmla="*/ 30 h 31"/>
                <a:gd name="T44" fmla="*/ 9 w 50"/>
                <a:gd name="T45" fmla="*/ 27 h 31"/>
                <a:gd name="T46" fmla="*/ 19 w 50"/>
                <a:gd name="T47" fmla="*/ 22 h 31"/>
                <a:gd name="T48" fmla="*/ 29 w 50"/>
                <a:gd name="T49" fmla="*/ 21 h 31"/>
                <a:gd name="T50" fmla="*/ 35 w 50"/>
                <a:gd name="T51" fmla="*/ 21 h 31"/>
                <a:gd name="T52" fmla="*/ 41 w 50"/>
                <a:gd name="T53" fmla="*/ 21 h 31"/>
                <a:gd name="T54" fmla="*/ 49 w 50"/>
                <a:gd name="T55" fmla="*/ 17 h 31"/>
                <a:gd name="T56" fmla="*/ 14 w 50"/>
                <a:gd name="T57" fmla="*/ 1 h 31"/>
                <a:gd name="T58" fmla="*/ 11 w 50"/>
                <a:gd name="T59" fmla="*/ 1 h 31"/>
                <a:gd name="T60" fmla="*/ 3 w 50"/>
                <a:gd name="T61" fmla="*/ 1 h 31"/>
                <a:gd name="T62" fmla="*/ 1 w 50"/>
                <a:gd name="T63" fmla="*/ 28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31">
                  <a:moveTo>
                    <a:pt x="4" y="31"/>
                  </a:moveTo>
                  <a:cubicBezTo>
                    <a:pt x="4" y="31"/>
                    <a:pt x="4" y="31"/>
                    <a:pt x="4" y="31"/>
                  </a:cubicBezTo>
                  <a:cubicBezTo>
                    <a:pt x="3" y="31"/>
                    <a:pt x="2" y="30"/>
                    <a:pt x="1" y="30"/>
                  </a:cubicBezTo>
                  <a:cubicBezTo>
                    <a:pt x="0" y="29"/>
                    <a:pt x="0" y="29"/>
                    <a:pt x="0" y="29"/>
                  </a:cubicBezTo>
                  <a:cubicBezTo>
                    <a:pt x="0" y="29"/>
                    <a:pt x="0" y="29"/>
                    <a:pt x="0" y="29"/>
                  </a:cubicBezTo>
                  <a:cubicBezTo>
                    <a:pt x="0" y="29"/>
                    <a:pt x="0" y="29"/>
                    <a:pt x="0" y="29"/>
                  </a:cubicBezTo>
                  <a:cubicBezTo>
                    <a:pt x="0" y="19"/>
                    <a:pt x="1" y="8"/>
                    <a:pt x="2" y="0"/>
                  </a:cubicBezTo>
                  <a:cubicBezTo>
                    <a:pt x="3" y="0"/>
                    <a:pt x="3" y="0"/>
                    <a:pt x="3" y="0"/>
                  </a:cubicBezTo>
                  <a:cubicBezTo>
                    <a:pt x="3" y="0"/>
                    <a:pt x="3" y="0"/>
                    <a:pt x="3" y="0"/>
                  </a:cubicBezTo>
                  <a:cubicBezTo>
                    <a:pt x="7" y="1"/>
                    <a:pt x="9" y="1"/>
                    <a:pt x="11" y="0"/>
                  </a:cubicBezTo>
                  <a:cubicBezTo>
                    <a:pt x="12" y="0"/>
                    <a:pt x="13" y="0"/>
                    <a:pt x="14" y="0"/>
                  </a:cubicBezTo>
                  <a:cubicBezTo>
                    <a:pt x="26" y="0"/>
                    <a:pt x="50" y="9"/>
                    <a:pt x="50" y="17"/>
                  </a:cubicBezTo>
                  <a:cubicBezTo>
                    <a:pt x="50" y="22"/>
                    <a:pt x="46" y="22"/>
                    <a:pt x="41" y="22"/>
                  </a:cubicBezTo>
                  <a:cubicBezTo>
                    <a:pt x="39" y="22"/>
                    <a:pt x="37" y="22"/>
                    <a:pt x="35" y="22"/>
                  </a:cubicBezTo>
                  <a:cubicBezTo>
                    <a:pt x="33" y="22"/>
                    <a:pt x="31" y="22"/>
                    <a:pt x="29" y="22"/>
                  </a:cubicBezTo>
                  <a:cubicBezTo>
                    <a:pt x="25" y="22"/>
                    <a:pt x="22" y="23"/>
                    <a:pt x="19" y="23"/>
                  </a:cubicBezTo>
                  <a:cubicBezTo>
                    <a:pt x="14" y="25"/>
                    <a:pt x="11" y="27"/>
                    <a:pt x="9" y="28"/>
                  </a:cubicBezTo>
                  <a:cubicBezTo>
                    <a:pt x="7" y="30"/>
                    <a:pt x="6" y="31"/>
                    <a:pt x="4" y="31"/>
                  </a:cubicBezTo>
                  <a:close/>
                  <a:moveTo>
                    <a:pt x="1" y="28"/>
                  </a:moveTo>
                  <a:cubicBezTo>
                    <a:pt x="1" y="29"/>
                    <a:pt x="1" y="29"/>
                    <a:pt x="1" y="29"/>
                  </a:cubicBezTo>
                  <a:cubicBezTo>
                    <a:pt x="2" y="29"/>
                    <a:pt x="3" y="30"/>
                    <a:pt x="4" y="30"/>
                  </a:cubicBezTo>
                  <a:cubicBezTo>
                    <a:pt x="4" y="30"/>
                    <a:pt x="4" y="30"/>
                    <a:pt x="4" y="30"/>
                  </a:cubicBezTo>
                  <a:cubicBezTo>
                    <a:pt x="5" y="30"/>
                    <a:pt x="7" y="29"/>
                    <a:pt x="9" y="27"/>
                  </a:cubicBezTo>
                  <a:cubicBezTo>
                    <a:pt x="11" y="26"/>
                    <a:pt x="14" y="24"/>
                    <a:pt x="19" y="22"/>
                  </a:cubicBezTo>
                  <a:cubicBezTo>
                    <a:pt x="22" y="22"/>
                    <a:pt x="25" y="21"/>
                    <a:pt x="29" y="21"/>
                  </a:cubicBezTo>
                  <a:cubicBezTo>
                    <a:pt x="31" y="21"/>
                    <a:pt x="33" y="21"/>
                    <a:pt x="35" y="21"/>
                  </a:cubicBezTo>
                  <a:cubicBezTo>
                    <a:pt x="37" y="21"/>
                    <a:pt x="39" y="21"/>
                    <a:pt x="41" y="21"/>
                  </a:cubicBezTo>
                  <a:cubicBezTo>
                    <a:pt x="47" y="21"/>
                    <a:pt x="49" y="20"/>
                    <a:pt x="49" y="17"/>
                  </a:cubicBezTo>
                  <a:cubicBezTo>
                    <a:pt x="49" y="9"/>
                    <a:pt x="25" y="1"/>
                    <a:pt x="14" y="1"/>
                  </a:cubicBezTo>
                  <a:cubicBezTo>
                    <a:pt x="13" y="1"/>
                    <a:pt x="12" y="1"/>
                    <a:pt x="11" y="1"/>
                  </a:cubicBezTo>
                  <a:cubicBezTo>
                    <a:pt x="9" y="2"/>
                    <a:pt x="7" y="2"/>
                    <a:pt x="3" y="1"/>
                  </a:cubicBezTo>
                  <a:cubicBezTo>
                    <a:pt x="2" y="8"/>
                    <a:pt x="1" y="19"/>
                    <a:pt x="1" y="2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79" name="Freeform 106"/>
            <p:cNvSpPr>
              <a:spLocks noEditPoints="1"/>
            </p:cNvSpPr>
            <p:nvPr/>
          </p:nvSpPr>
          <p:spPr>
            <a:xfrm>
              <a:off x="2605089" y="3433763"/>
              <a:ext cx="106363" cy="109538"/>
            </a:xfrm>
            <a:custGeom>
              <a:gdLst>
                <a:gd name="T0" fmla="*/ 49 w 63"/>
                <a:gd name="T1" fmla="*/ 63 h 64"/>
                <a:gd name="T2" fmla="*/ 34 w 63"/>
                <a:gd name="T3" fmla="*/ 61 h 64"/>
                <a:gd name="T4" fmla="*/ 26 w 63"/>
                <a:gd name="T5" fmla="*/ 61 h 64"/>
                <a:gd name="T6" fmla="*/ 26 w 63"/>
                <a:gd name="T7" fmla="*/ 60 h 64"/>
                <a:gd name="T8" fmla="*/ 12 w 63"/>
                <a:gd name="T9" fmla="*/ 46 h 64"/>
                <a:gd name="T10" fmla="*/ 1 w 63"/>
                <a:gd name="T11" fmla="*/ 31 h 64"/>
                <a:gd name="T12" fmla="*/ 7 w 63"/>
                <a:gd name="T13" fmla="*/ 30 h 64"/>
                <a:gd name="T14" fmla="*/ 11 w 63"/>
                <a:gd name="T15" fmla="*/ 25 h 64"/>
                <a:gd name="T16" fmla="*/ 16 w 63"/>
                <a:gd name="T17" fmla="*/ 17 h 64"/>
                <a:gd name="T18" fmla="*/ 39 w 63"/>
                <a:gd name="T19" fmla="*/ 6 h 64"/>
                <a:gd name="T20" fmla="*/ 46 w 63"/>
                <a:gd name="T21" fmla="*/ 7 h 64"/>
                <a:gd name="T22" fmla="*/ 62 w 63"/>
                <a:gd name="T23" fmla="*/ 0 h 64"/>
                <a:gd name="T24" fmla="*/ 63 w 63"/>
                <a:gd name="T25" fmla="*/ 0 h 64"/>
                <a:gd name="T26" fmla="*/ 63 w 63"/>
                <a:gd name="T27" fmla="*/ 1 h 64"/>
                <a:gd name="T28" fmla="*/ 62 w 63"/>
                <a:gd name="T29" fmla="*/ 10 h 64"/>
                <a:gd name="T30" fmla="*/ 59 w 63"/>
                <a:gd name="T31" fmla="*/ 30 h 64"/>
                <a:gd name="T32" fmla="*/ 57 w 63"/>
                <a:gd name="T33" fmla="*/ 46 h 64"/>
                <a:gd name="T34" fmla="*/ 56 w 63"/>
                <a:gd name="T35" fmla="*/ 63 h 64"/>
                <a:gd name="T36" fmla="*/ 56 w 63"/>
                <a:gd name="T37" fmla="*/ 64 h 64"/>
                <a:gd name="T38" fmla="*/ 30 w 63"/>
                <a:gd name="T39" fmla="*/ 59 h 64"/>
                <a:gd name="T40" fmla="*/ 41 w 63"/>
                <a:gd name="T41" fmla="*/ 61 h 64"/>
                <a:gd name="T42" fmla="*/ 55 w 63"/>
                <a:gd name="T43" fmla="*/ 63 h 64"/>
                <a:gd name="T44" fmla="*/ 56 w 63"/>
                <a:gd name="T45" fmla="*/ 46 h 64"/>
                <a:gd name="T46" fmla="*/ 58 w 63"/>
                <a:gd name="T47" fmla="*/ 31 h 64"/>
                <a:gd name="T48" fmla="*/ 61 w 63"/>
                <a:gd name="T49" fmla="*/ 10 h 64"/>
                <a:gd name="T50" fmla="*/ 62 w 63"/>
                <a:gd name="T51" fmla="*/ 1 h 64"/>
                <a:gd name="T52" fmla="*/ 46 w 63"/>
                <a:gd name="T53" fmla="*/ 8 h 64"/>
                <a:gd name="T54" fmla="*/ 39 w 63"/>
                <a:gd name="T55" fmla="*/ 7 h 64"/>
                <a:gd name="T56" fmla="*/ 16 w 63"/>
                <a:gd name="T57" fmla="*/ 18 h 64"/>
                <a:gd name="T58" fmla="*/ 12 w 63"/>
                <a:gd name="T59" fmla="*/ 24 h 64"/>
                <a:gd name="T60" fmla="*/ 7 w 63"/>
                <a:gd name="T61" fmla="*/ 31 h 64"/>
                <a:gd name="T62" fmla="*/ 2 w 63"/>
                <a:gd name="T63" fmla="*/ 32 h 64"/>
                <a:gd name="T64" fmla="*/ 13 w 63"/>
                <a:gd name="T65" fmla="*/ 45 h 64"/>
                <a:gd name="T66" fmla="*/ 27 w 63"/>
                <a:gd name="T67" fmla="*/ 59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4">
                  <a:moveTo>
                    <a:pt x="53" y="64"/>
                  </a:moveTo>
                  <a:cubicBezTo>
                    <a:pt x="51" y="64"/>
                    <a:pt x="50" y="64"/>
                    <a:pt x="49" y="63"/>
                  </a:cubicBezTo>
                  <a:cubicBezTo>
                    <a:pt x="47" y="62"/>
                    <a:pt x="44" y="62"/>
                    <a:pt x="41" y="62"/>
                  </a:cubicBezTo>
                  <a:cubicBezTo>
                    <a:pt x="38" y="62"/>
                    <a:pt x="36" y="62"/>
                    <a:pt x="34" y="61"/>
                  </a:cubicBezTo>
                  <a:cubicBezTo>
                    <a:pt x="33" y="61"/>
                    <a:pt x="32" y="60"/>
                    <a:pt x="30" y="60"/>
                  </a:cubicBezTo>
                  <a:cubicBezTo>
                    <a:pt x="29" y="60"/>
                    <a:pt x="28" y="60"/>
                    <a:pt x="26" y="61"/>
                  </a:cubicBezTo>
                  <a:cubicBezTo>
                    <a:pt x="26" y="61"/>
                    <a:pt x="26" y="61"/>
                    <a:pt x="26" y="61"/>
                  </a:cubicBezTo>
                  <a:cubicBezTo>
                    <a:pt x="26" y="60"/>
                    <a:pt x="26" y="60"/>
                    <a:pt x="26" y="60"/>
                  </a:cubicBezTo>
                  <a:cubicBezTo>
                    <a:pt x="25" y="58"/>
                    <a:pt x="23" y="56"/>
                    <a:pt x="21" y="55"/>
                  </a:cubicBezTo>
                  <a:cubicBezTo>
                    <a:pt x="18" y="53"/>
                    <a:pt x="15" y="49"/>
                    <a:pt x="12" y="46"/>
                  </a:cubicBezTo>
                  <a:cubicBezTo>
                    <a:pt x="9" y="42"/>
                    <a:pt x="6" y="39"/>
                    <a:pt x="3" y="37"/>
                  </a:cubicBezTo>
                  <a:cubicBezTo>
                    <a:pt x="0" y="36"/>
                    <a:pt x="1" y="33"/>
                    <a:pt x="1" y="31"/>
                  </a:cubicBezTo>
                  <a:cubicBezTo>
                    <a:pt x="1" y="31"/>
                    <a:pt x="1" y="31"/>
                    <a:pt x="1" y="31"/>
                  </a:cubicBezTo>
                  <a:cubicBezTo>
                    <a:pt x="7" y="30"/>
                    <a:pt x="7" y="30"/>
                    <a:pt x="7" y="30"/>
                  </a:cubicBezTo>
                  <a:cubicBezTo>
                    <a:pt x="8" y="29"/>
                    <a:pt x="10" y="27"/>
                    <a:pt x="11" y="26"/>
                  </a:cubicBezTo>
                  <a:cubicBezTo>
                    <a:pt x="11" y="25"/>
                    <a:pt x="11" y="25"/>
                    <a:pt x="11" y="25"/>
                  </a:cubicBezTo>
                  <a:cubicBezTo>
                    <a:pt x="10" y="23"/>
                    <a:pt x="10" y="21"/>
                    <a:pt x="11" y="19"/>
                  </a:cubicBezTo>
                  <a:cubicBezTo>
                    <a:pt x="12" y="18"/>
                    <a:pt x="14" y="17"/>
                    <a:pt x="16" y="17"/>
                  </a:cubicBezTo>
                  <a:cubicBezTo>
                    <a:pt x="24" y="16"/>
                    <a:pt x="30" y="15"/>
                    <a:pt x="31" y="10"/>
                  </a:cubicBezTo>
                  <a:cubicBezTo>
                    <a:pt x="32" y="6"/>
                    <a:pt x="37" y="6"/>
                    <a:pt x="39" y="6"/>
                  </a:cubicBezTo>
                  <a:cubicBezTo>
                    <a:pt x="40" y="6"/>
                    <a:pt x="42" y="7"/>
                    <a:pt x="43" y="7"/>
                  </a:cubicBezTo>
                  <a:cubicBezTo>
                    <a:pt x="44" y="7"/>
                    <a:pt x="45" y="7"/>
                    <a:pt x="46" y="7"/>
                  </a:cubicBezTo>
                  <a:cubicBezTo>
                    <a:pt x="46" y="7"/>
                    <a:pt x="48" y="6"/>
                    <a:pt x="49" y="5"/>
                  </a:cubicBezTo>
                  <a:cubicBezTo>
                    <a:pt x="53" y="3"/>
                    <a:pt x="58" y="0"/>
                    <a:pt x="62" y="0"/>
                  </a:cubicBezTo>
                  <a:cubicBezTo>
                    <a:pt x="63" y="0"/>
                    <a:pt x="63" y="0"/>
                    <a:pt x="63" y="0"/>
                  </a:cubicBezTo>
                  <a:cubicBezTo>
                    <a:pt x="63" y="0"/>
                    <a:pt x="63" y="0"/>
                    <a:pt x="63" y="0"/>
                  </a:cubicBezTo>
                  <a:cubicBezTo>
                    <a:pt x="63" y="0"/>
                    <a:pt x="63" y="0"/>
                    <a:pt x="63" y="0"/>
                  </a:cubicBezTo>
                  <a:cubicBezTo>
                    <a:pt x="63" y="1"/>
                    <a:pt x="63" y="1"/>
                    <a:pt x="63" y="1"/>
                  </a:cubicBezTo>
                  <a:cubicBezTo>
                    <a:pt x="63" y="1"/>
                    <a:pt x="63" y="1"/>
                    <a:pt x="63" y="2"/>
                  </a:cubicBezTo>
                  <a:cubicBezTo>
                    <a:pt x="63" y="5"/>
                    <a:pt x="63" y="8"/>
                    <a:pt x="62" y="10"/>
                  </a:cubicBezTo>
                  <a:cubicBezTo>
                    <a:pt x="62" y="13"/>
                    <a:pt x="62" y="15"/>
                    <a:pt x="60" y="17"/>
                  </a:cubicBezTo>
                  <a:cubicBezTo>
                    <a:pt x="58" y="19"/>
                    <a:pt x="58" y="25"/>
                    <a:pt x="59" y="30"/>
                  </a:cubicBezTo>
                  <a:cubicBezTo>
                    <a:pt x="59" y="35"/>
                    <a:pt x="59" y="39"/>
                    <a:pt x="58" y="42"/>
                  </a:cubicBezTo>
                  <a:cubicBezTo>
                    <a:pt x="58" y="43"/>
                    <a:pt x="57" y="45"/>
                    <a:pt x="57" y="46"/>
                  </a:cubicBezTo>
                  <a:cubicBezTo>
                    <a:pt x="55" y="51"/>
                    <a:pt x="53" y="57"/>
                    <a:pt x="55" y="60"/>
                  </a:cubicBezTo>
                  <a:cubicBezTo>
                    <a:pt x="55" y="61"/>
                    <a:pt x="55" y="62"/>
                    <a:pt x="56" y="63"/>
                  </a:cubicBezTo>
                  <a:cubicBezTo>
                    <a:pt x="57" y="64"/>
                    <a:pt x="57" y="64"/>
                    <a:pt x="57" y="64"/>
                  </a:cubicBezTo>
                  <a:cubicBezTo>
                    <a:pt x="56" y="64"/>
                    <a:pt x="56" y="64"/>
                    <a:pt x="56" y="64"/>
                  </a:cubicBezTo>
                  <a:cubicBezTo>
                    <a:pt x="55" y="64"/>
                    <a:pt x="54" y="64"/>
                    <a:pt x="53" y="64"/>
                  </a:cubicBezTo>
                  <a:close/>
                  <a:moveTo>
                    <a:pt x="30" y="59"/>
                  </a:moveTo>
                  <a:cubicBezTo>
                    <a:pt x="32" y="59"/>
                    <a:pt x="34" y="60"/>
                    <a:pt x="35" y="60"/>
                  </a:cubicBezTo>
                  <a:cubicBezTo>
                    <a:pt x="36" y="61"/>
                    <a:pt x="38" y="61"/>
                    <a:pt x="41" y="61"/>
                  </a:cubicBezTo>
                  <a:cubicBezTo>
                    <a:pt x="44" y="61"/>
                    <a:pt x="47" y="61"/>
                    <a:pt x="49" y="62"/>
                  </a:cubicBezTo>
                  <a:cubicBezTo>
                    <a:pt x="50" y="63"/>
                    <a:pt x="52" y="64"/>
                    <a:pt x="55" y="63"/>
                  </a:cubicBezTo>
                  <a:cubicBezTo>
                    <a:pt x="54" y="62"/>
                    <a:pt x="54" y="61"/>
                    <a:pt x="54" y="61"/>
                  </a:cubicBezTo>
                  <a:cubicBezTo>
                    <a:pt x="52" y="57"/>
                    <a:pt x="54" y="51"/>
                    <a:pt x="56" y="46"/>
                  </a:cubicBezTo>
                  <a:cubicBezTo>
                    <a:pt x="56" y="44"/>
                    <a:pt x="57" y="43"/>
                    <a:pt x="57" y="42"/>
                  </a:cubicBezTo>
                  <a:cubicBezTo>
                    <a:pt x="58" y="39"/>
                    <a:pt x="58" y="35"/>
                    <a:pt x="58" y="31"/>
                  </a:cubicBezTo>
                  <a:cubicBezTo>
                    <a:pt x="57" y="25"/>
                    <a:pt x="57" y="19"/>
                    <a:pt x="59" y="17"/>
                  </a:cubicBezTo>
                  <a:cubicBezTo>
                    <a:pt x="61" y="14"/>
                    <a:pt x="61" y="13"/>
                    <a:pt x="61" y="10"/>
                  </a:cubicBezTo>
                  <a:cubicBezTo>
                    <a:pt x="62" y="8"/>
                    <a:pt x="62" y="5"/>
                    <a:pt x="62" y="2"/>
                  </a:cubicBezTo>
                  <a:cubicBezTo>
                    <a:pt x="62" y="1"/>
                    <a:pt x="62" y="1"/>
                    <a:pt x="62" y="1"/>
                  </a:cubicBezTo>
                  <a:cubicBezTo>
                    <a:pt x="58" y="1"/>
                    <a:pt x="53" y="4"/>
                    <a:pt x="50" y="6"/>
                  </a:cubicBezTo>
                  <a:cubicBezTo>
                    <a:pt x="48" y="7"/>
                    <a:pt x="47" y="8"/>
                    <a:pt x="46" y="8"/>
                  </a:cubicBezTo>
                  <a:cubicBezTo>
                    <a:pt x="45" y="8"/>
                    <a:pt x="44" y="8"/>
                    <a:pt x="43" y="8"/>
                  </a:cubicBezTo>
                  <a:cubicBezTo>
                    <a:pt x="42" y="8"/>
                    <a:pt x="40" y="7"/>
                    <a:pt x="39" y="7"/>
                  </a:cubicBezTo>
                  <a:cubicBezTo>
                    <a:pt x="35" y="7"/>
                    <a:pt x="33" y="8"/>
                    <a:pt x="32" y="10"/>
                  </a:cubicBezTo>
                  <a:cubicBezTo>
                    <a:pt x="31" y="16"/>
                    <a:pt x="24" y="17"/>
                    <a:pt x="16" y="18"/>
                  </a:cubicBezTo>
                  <a:cubicBezTo>
                    <a:pt x="14" y="18"/>
                    <a:pt x="13" y="18"/>
                    <a:pt x="12" y="19"/>
                  </a:cubicBezTo>
                  <a:cubicBezTo>
                    <a:pt x="11" y="21"/>
                    <a:pt x="11" y="23"/>
                    <a:pt x="12" y="24"/>
                  </a:cubicBezTo>
                  <a:cubicBezTo>
                    <a:pt x="12" y="25"/>
                    <a:pt x="12" y="26"/>
                    <a:pt x="12" y="26"/>
                  </a:cubicBezTo>
                  <a:cubicBezTo>
                    <a:pt x="11" y="28"/>
                    <a:pt x="8" y="30"/>
                    <a:pt x="7" y="31"/>
                  </a:cubicBezTo>
                  <a:cubicBezTo>
                    <a:pt x="7" y="31"/>
                    <a:pt x="7" y="31"/>
                    <a:pt x="7" y="31"/>
                  </a:cubicBezTo>
                  <a:cubicBezTo>
                    <a:pt x="2" y="32"/>
                    <a:pt x="2" y="32"/>
                    <a:pt x="2" y="32"/>
                  </a:cubicBezTo>
                  <a:cubicBezTo>
                    <a:pt x="2" y="34"/>
                    <a:pt x="2" y="35"/>
                    <a:pt x="4" y="37"/>
                  </a:cubicBezTo>
                  <a:cubicBezTo>
                    <a:pt x="7" y="38"/>
                    <a:pt x="9" y="41"/>
                    <a:pt x="13" y="45"/>
                  </a:cubicBezTo>
                  <a:cubicBezTo>
                    <a:pt x="16" y="49"/>
                    <a:pt x="19" y="52"/>
                    <a:pt x="22" y="54"/>
                  </a:cubicBezTo>
                  <a:cubicBezTo>
                    <a:pt x="24" y="55"/>
                    <a:pt x="26" y="57"/>
                    <a:pt x="27" y="59"/>
                  </a:cubicBezTo>
                  <a:cubicBezTo>
                    <a:pt x="28" y="59"/>
                    <a:pt x="29" y="59"/>
                    <a:pt x="30" y="5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0" name="Freeform 107"/>
            <p:cNvSpPr>
              <a:spLocks noEditPoints="1"/>
            </p:cNvSpPr>
            <p:nvPr/>
          </p:nvSpPr>
          <p:spPr>
            <a:xfrm>
              <a:off x="2938464" y="3681413"/>
              <a:ext cx="984250" cy="1006475"/>
            </a:xfrm>
            <a:custGeom>
              <a:gdLst>
                <a:gd name="T0" fmla="*/ 268 w 580"/>
                <a:gd name="T1" fmla="*/ 547 h 593"/>
                <a:gd name="T2" fmla="*/ 255 w 580"/>
                <a:gd name="T3" fmla="*/ 519 h 593"/>
                <a:gd name="T4" fmla="*/ 287 w 580"/>
                <a:gd name="T5" fmla="*/ 434 h 593"/>
                <a:gd name="T6" fmla="*/ 237 w 580"/>
                <a:gd name="T7" fmla="*/ 395 h 593"/>
                <a:gd name="T8" fmla="*/ 236 w 580"/>
                <a:gd name="T9" fmla="*/ 334 h 593"/>
                <a:gd name="T10" fmla="*/ 200 w 580"/>
                <a:gd name="T11" fmla="*/ 288 h 593"/>
                <a:gd name="T12" fmla="*/ 156 w 580"/>
                <a:gd name="T13" fmla="*/ 264 h 593"/>
                <a:gd name="T14" fmla="*/ 101 w 580"/>
                <a:gd name="T15" fmla="*/ 229 h 593"/>
                <a:gd name="T16" fmla="*/ 48 w 580"/>
                <a:gd name="T17" fmla="*/ 218 h 593"/>
                <a:gd name="T18" fmla="*/ 7 w 580"/>
                <a:gd name="T19" fmla="*/ 198 h 593"/>
                <a:gd name="T20" fmla="*/ 29 w 580"/>
                <a:gd name="T21" fmla="*/ 145 h 593"/>
                <a:gd name="T22" fmla="*/ 63 w 580"/>
                <a:gd name="T23" fmla="*/ 68 h 593"/>
                <a:gd name="T24" fmla="*/ 98 w 580"/>
                <a:gd name="T25" fmla="*/ 47 h 593"/>
                <a:gd name="T26" fmla="*/ 127 w 580"/>
                <a:gd name="T27" fmla="*/ 64 h 593"/>
                <a:gd name="T28" fmla="*/ 148 w 580"/>
                <a:gd name="T29" fmla="*/ 39 h 593"/>
                <a:gd name="T30" fmla="*/ 166 w 580"/>
                <a:gd name="T31" fmla="*/ 21 h 593"/>
                <a:gd name="T32" fmla="*/ 211 w 580"/>
                <a:gd name="T33" fmla="*/ 25 h 593"/>
                <a:gd name="T34" fmla="*/ 257 w 580"/>
                <a:gd name="T35" fmla="*/ 48 h 593"/>
                <a:gd name="T36" fmla="*/ 308 w 580"/>
                <a:gd name="T37" fmla="*/ 44 h 593"/>
                <a:gd name="T38" fmla="*/ 356 w 580"/>
                <a:gd name="T39" fmla="*/ 59 h 593"/>
                <a:gd name="T40" fmla="*/ 376 w 580"/>
                <a:gd name="T41" fmla="*/ 83 h 593"/>
                <a:gd name="T42" fmla="*/ 403 w 580"/>
                <a:gd name="T43" fmla="*/ 88 h 593"/>
                <a:gd name="T44" fmla="*/ 481 w 580"/>
                <a:gd name="T45" fmla="*/ 120 h 593"/>
                <a:gd name="T46" fmla="*/ 554 w 580"/>
                <a:gd name="T47" fmla="*/ 232 h 593"/>
                <a:gd name="T48" fmla="*/ 520 w 580"/>
                <a:gd name="T49" fmla="*/ 268 h 593"/>
                <a:gd name="T50" fmla="*/ 504 w 580"/>
                <a:gd name="T51" fmla="*/ 365 h 593"/>
                <a:gd name="T52" fmla="*/ 459 w 580"/>
                <a:gd name="T53" fmla="*/ 421 h 593"/>
                <a:gd name="T54" fmla="*/ 376 w 580"/>
                <a:gd name="T55" fmla="*/ 459 h 593"/>
                <a:gd name="T56" fmla="*/ 334 w 580"/>
                <a:gd name="T57" fmla="*/ 547 h 593"/>
                <a:gd name="T58" fmla="*/ 301 w 580"/>
                <a:gd name="T59" fmla="*/ 593 h 593"/>
                <a:gd name="T60" fmla="*/ 316 w 580"/>
                <a:gd name="T61" fmla="*/ 574 h 593"/>
                <a:gd name="T62" fmla="*/ 335 w 580"/>
                <a:gd name="T63" fmla="*/ 552 h 593"/>
                <a:gd name="T64" fmla="*/ 415 w 580"/>
                <a:gd name="T65" fmla="*/ 432 h 593"/>
                <a:gd name="T66" fmla="*/ 471 w 580"/>
                <a:gd name="T67" fmla="*/ 416 h 593"/>
                <a:gd name="T68" fmla="*/ 509 w 580"/>
                <a:gd name="T69" fmla="*/ 342 h 593"/>
                <a:gd name="T70" fmla="*/ 520 w 580"/>
                <a:gd name="T71" fmla="*/ 261 h 593"/>
                <a:gd name="T72" fmla="*/ 571 w 580"/>
                <a:gd name="T73" fmla="*/ 160 h 593"/>
                <a:gd name="T74" fmla="*/ 453 w 580"/>
                <a:gd name="T75" fmla="*/ 114 h 593"/>
                <a:gd name="T76" fmla="*/ 380 w 580"/>
                <a:gd name="T77" fmla="*/ 99 h 593"/>
                <a:gd name="T78" fmla="*/ 347 w 580"/>
                <a:gd name="T79" fmla="*/ 78 h 593"/>
                <a:gd name="T80" fmla="*/ 338 w 580"/>
                <a:gd name="T81" fmla="*/ 29 h 593"/>
                <a:gd name="T82" fmla="*/ 277 w 580"/>
                <a:gd name="T83" fmla="*/ 40 h 593"/>
                <a:gd name="T84" fmla="*/ 234 w 580"/>
                <a:gd name="T85" fmla="*/ 55 h 593"/>
                <a:gd name="T86" fmla="*/ 198 w 580"/>
                <a:gd name="T87" fmla="*/ 5 h 593"/>
                <a:gd name="T88" fmla="*/ 138 w 580"/>
                <a:gd name="T89" fmla="*/ 17 h 593"/>
                <a:gd name="T90" fmla="*/ 146 w 580"/>
                <a:gd name="T91" fmla="*/ 54 h 593"/>
                <a:gd name="T92" fmla="*/ 109 w 580"/>
                <a:gd name="T93" fmla="*/ 63 h 593"/>
                <a:gd name="T94" fmla="*/ 69 w 580"/>
                <a:gd name="T95" fmla="*/ 68 h 593"/>
                <a:gd name="T96" fmla="*/ 39 w 580"/>
                <a:gd name="T97" fmla="*/ 143 h 593"/>
                <a:gd name="T98" fmla="*/ 7 w 580"/>
                <a:gd name="T99" fmla="*/ 196 h 593"/>
                <a:gd name="T100" fmla="*/ 43 w 580"/>
                <a:gd name="T101" fmla="*/ 221 h 593"/>
                <a:gd name="T102" fmla="*/ 97 w 580"/>
                <a:gd name="T103" fmla="*/ 230 h 593"/>
                <a:gd name="T104" fmla="*/ 152 w 580"/>
                <a:gd name="T105" fmla="*/ 261 h 593"/>
                <a:gd name="T106" fmla="*/ 196 w 580"/>
                <a:gd name="T107" fmla="*/ 279 h 593"/>
                <a:gd name="T108" fmla="*/ 232 w 580"/>
                <a:gd name="T109" fmla="*/ 326 h 593"/>
                <a:gd name="T110" fmla="*/ 238 w 580"/>
                <a:gd name="T111" fmla="*/ 395 h 593"/>
                <a:gd name="T112" fmla="*/ 287 w 580"/>
                <a:gd name="T113" fmla="*/ 433 h 593"/>
                <a:gd name="T114" fmla="*/ 243 w 580"/>
                <a:gd name="T115" fmla="*/ 534 h 5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0" h="593">
                  <a:moveTo>
                    <a:pt x="301" y="593"/>
                  </a:moveTo>
                  <a:cubicBezTo>
                    <a:pt x="301" y="593"/>
                    <a:pt x="301" y="593"/>
                    <a:pt x="301" y="593"/>
                  </a:cubicBezTo>
                  <a:cubicBezTo>
                    <a:pt x="298" y="586"/>
                    <a:pt x="298" y="579"/>
                    <a:pt x="299" y="574"/>
                  </a:cubicBezTo>
                  <a:cubicBezTo>
                    <a:pt x="299" y="573"/>
                    <a:pt x="299" y="571"/>
                    <a:pt x="299" y="570"/>
                  </a:cubicBezTo>
                  <a:cubicBezTo>
                    <a:pt x="299" y="566"/>
                    <a:pt x="296" y="563"/>
                    <a:pt x="293" y="561"/>
                  </a:cubicBezTo>
                  <a:cubicBezTo>
                    <a:pt x="291" y="561"/>
                    <a:pt x="290" y="560"/>
                    <a:pt x="290" y="559"/>
                  </a:cubicBezTo>
                  <a:cubicBezTo>
                    <a:pt x="289" y="558"/>
                    <a:pt x="287" y="557"/>
                    <a:pt x="284" y="556"/>
                  </a:cubicBezTo>
                  <a:cubicBezTo>
                    <a:pt x="280" y="553"/>
                    <a:pt x="276" y="550"/>
                    <a:pt x="273" y="547"/>
                  </a:cubicBezTo>
                  <a:cubicBezTo>
                    <a:pt x="272" y="545"/>
                    <a:pt x="272" y="545"/>
                    <a:pt x="271" y="545"/>
                  </a:cubicBezTo>
                  <a:cubicBezTo>
                    <a:pt x="270" y="545"/>
                    <a:pt x="269" y="546"/>
                    <a:pt x="268" y="547"/>
                  </a:cubicBezTo>
                  <a:cubicBezTo>
                    <a:pt x="267" y="548"/>
                    <a:pt x="266" y="549"/>
                    <a:pt x="266" y="549"/>
                  </a:cubicBezTo>
                  <a:cubicBezTo>
                    <a:pt x="264" y="549"/>
                    <a:pt x="264" y="548"/>
                    <a:pt x="263" y="546"/>
                  </a:cubicBezTo>
                  <a:cubicBezTo>
                    <a:pt x="262" y="545"/>
                    <a:pt x="261" y="542"/>
                    <a:pt x="259" y="539"/>
                  </a:cubicBezTo>
                  <a:cubicBezTo>
                    <a:pt x="256" y="535"/>
                    <a:pt x="253" y="534"/>
                    <a:pt x="250" y="534"/>
                  </a:cubicBezTo>
                  <a:cubicBezTo>
                    <a:pt x="249" y="534"/>
                    <a:pt x="248" y="534"/>
                    <a:pt x="247" y="534"/>
                  </a:cubicBezTo>
                  <a:cubicBezTo>
                    <a:pt x="246" y="535"/>
                    <a:pt x="244" y="535"/>
                    <a:pt x="242" y="535"/>
                  </a:cubicBezTo>
                  <a:cubicBezTo>
                    <a:pt x="241" y="535"/>
                    <a:pt x="241" y="535"/>
                    <a:pt x="241" y="535"/>
                  </a:cubicBezTo>
                  <a:cubicBezTo>
                    <a:pt x="242" y="534"/>
                    <a:pt x="242" y="534"/>
                    <a:pt x="242" y="534"/>
                  </a:cubicBezTo>
                  <a:cubicBezTo>
                    <a:pt x="243" y="533"/>
                    <a:pt x="244" y="531"/>
                    <a:pt x="245" y="530"/>
                  </a:cubicBezTo>
                  <a:cubicBezTo>
                    <a:pt x="248" y="527"/>
                    <a:pt x="252" y="523"/>
                    <a:pt x="255" y="519"/>
                  </a:cubicBezTo>
                  <a:cubicBezTo>
                    <a:pt x="261" y="508"/>
                    <a:pt x="275" y="495"/>
                    <a:pt x="280" y="492"/>
                  </a:cubicBezTo>
                  <a:cubicBezTo>
                    <a:pt x="282" y="491"/>
                    <a:pt x="285" y="489"/>
                    <a:pt x="288" y="488"/>
                  </a:cubicBezTo>
                  <a:cubicBezTo>
                    <a:pt x="292" y="486"/>
                    <a:pt x="297" y="484"/>
                    <a:pt x="297" y="482"/>
                  </a:cubicBezTo>
                  <a:cubicBezTo>
                    <a:pt x="299" y="479"/>
                    <a:pt x="297" y="462"/>
                    <a:pt x="295" y="461"/>
                  </a:cubicBezTo>
                  <a:cubicBezTo>
                    <a:pt x="294" y="461"/>
                    <a:pt x="293" y="460"/>
                    <a:pt x="289" y="460"/>
                  </a:cubicBezTo>
                  <a:cubicBezTo>
                    <a:pt x="288" y="460"/>
                    <a:pt x="287" y="460"/>
                    <a:pt x="286" y="460"/>
                  </a:cubicBezTo>
                  <a:cubicBezTo>
                    <a:pt x="285" y="460"/>
                    <a:pt x="285" y="460"/>
                    <a:pt x="285" y="460"/>
                  </a:cubicBezTo>
                  <a:cubicBezTo>
                    <a:pt x="285" y="460"/>
                    <a:pt x="285" y="460"/>
                    <a:pt x="285" y="460"/>
                  </a:cubicBezTo>
                  <a:cubicBezTo>
                    <a:pt x="285" y="457"/>
                    <a:pt x="286" y="454"/>
                    <a:pt x="287" y="450"/>
                  </a:cubicBezTo>
                  <a:cubicBezTo>
                    <a:pt x="288" y="443"/>
                    <a:pt x="290" y="436"/>
                    <a:pt x="287" y="434"/>
                  </a:cubicBezTo>
                  <a:cubicBezTo>
                    <a:pt x="286" y="434"/>
                    <a:pt x="285" y="434"/>
                    <a:pt x="284" y="434"/>
                  </a:cubicBezTo>
                  <a:cubicBezTo>
                    <a:pt x="281" y="434"/>
                    <a:pt x="279" y="435"/>
                    <a:pt x="277" y="436"/>
                  </a:cubicBezTo>
                  <a:cubicBezTo>
                    <a:pt x="276" y="436"/>
                    <a:pt x="275" y="437"/>
                    <a:pt x="275" y="437"/>
                  </a:cubicBezTo>
                  <a:cubicBezTo>
                    <a:pt x="272" y="437"/>
                    <a:pt x="267" y="421"/>
                    <a:pt x="267" y="420"/>
                  </a:cubicBezTo>
                  <a:cubicBezTo>
                    <a:pt x="266" y="416"/>
                    <a:pt x="261" y="407"/>
                    <a:pt x="258" y="408"/>
                  </a:cubicBezTo>
                  <a:cubicBezTo>
                    <a:pt x="256" y="410"/>
                    <a:pt x="255" y="409"/>
                    <a:pt x="254" y="409"/>
                  </a:cubicBezTo>
                  <a:cubicBezTo>
                    <a:pt x="252" y="408"/>
                    <a:pt x="250" y="407"/>
                    <a:pt x="245" y="407"/>
                  </a:cubicBezTo>
                  <a:cubicBezTo>
                    <a:pt x="241" y="407"/>
                    <a:pt x="238" y="407"/>
                    <a:pt x="237" y="405"/>
                  </a:cubicBezTo>
                  <a:cubicBezTo>
                    <a:pt x="235" y="403"/>
                    <a:pt x="236" y="400"/>
                    <a:pt x="237" y="395"/>
                  </a:cubicBezTo>
                  <a:cubicBezTo>
                    <a:pt x="237" y="395"/>
                    <a:pt x="237" y="395"/>
                    <a:pt x="237" y="395"/>
                  </a:cubicBezTo>
                  <a:cubicBezTo>
                    <a:pt x="238" y="390"/>
                    <a:pt x="236" y="386"/>
                    <a:pt x="235" y="383"/>
                  </a:cubicBezTo>
                  <a:cubicBezTo>
                    <a:pt x="234" y="380"/>
                    <a:pt x="233" y="378"/>
                    <a:pt x="235" y="377"/>
                  </a:cubicBezTo>
                  <a:cubicBezTo>
                    <a:pt x="236" y="376"/>
                    <a:pt x="236" y="375"/>
                    <a:pt x="237" y="375"/>
                  </a:cubicBezTo>
                  <a:cubicBezTo>
                    <a:pt x="237" y="374"/>
                    <a:pt x="236" y="372"/>
                    <a:pt x="234" y="370"/>
                  </a:cubicBezTo>
                  <a:cubicBezTo>
                    <a:pt x="234" y="369"/>
                    <a:pt x="234" y="369"/>
                    <a:pt x="234" y="369"/>
                  </a:cubicBezTo>
                  <a:cubicBezTo>
                    <a:pt x="234" y="369"/>
                    <a:pt x="234" y="369"/>
                    <a:pt x="234" y="369"/>
                  </a:cubicBezTo>
                  <a:cubicBezTo>
                    <a:pt x="237" y="367"/>
                    <a:pt x="239" y="363"/>
                    <a:pt x="238" y="359"/>
                  </a:cubicBezTo>
                  <a:cubicBezTo>
                    <a:pt x="238" y="357"/>
                    <a:pt x="239" y="354"/>
                    <a:pt x="239" y="352"/>
                  </a:cubicBezTo>
                  <a:cubicBezTo>
                    <a:pt x="240" y="348"/>
                    <a:pt x="241" y="344"/>
                    <a:pt x="240" y="341"/>
                  </a:cubicBezTo>
                  <a:cubicBezTo>
                    <a:pt x="239" y="338"/>
                    <a:pt x="237" y="336"/>
                    <a:pt x="236" y="334"/>
                  </a:cubicBezTo>
                  <a:cubicBezTo>
                    <a:pt x="234" y="332"/>
                    <a:pt x="231" y="330"/>
                    <a:pt x="231" y="326"/>
                  </a:cubicBezTo>
                  <a:cubicBezTo>
                    <a:pt x="231" y="321"/>
                    <a:pt x="230" y="319"/>
                    <a:pt x="223" y="319"/>
                  </a:cubicBezTo>
                  <a:cubicBezTo>
                    <a:pt x="222" y="319"/>
                    <a:pt x="221" y="319"/>
                    <a:pt x="220" y="319"/>
                  </a:cubicBezTo>
                  <a:cubicBezTo>
                    <a:pt x="219" y="319"/>
                    <a:pt x="218" y="319"/>
                    <a:pt x="218" y="319"/>
                  </a:cubicBezTo>
                  <a:cubicBezTo>
                    <a:pt x="206" y="319"/>
                    <a:pt x="204" y="315"/>
                    <a:pt x="203" y="312"/>
                  </a:cubicBezTo>
                  <a:cubicBezTo>
                    <a:pt x="203" y="309"/>
                    <a:pt x="202" y="308"/>
                    <a:pt x="202" y="306"/>
                  </a:cubicBezTo>
                  <a:cubicBezTo>
                    <a:pt x="200" y="303"/>
                    <a:pt x="199" y="301"/>
                    <a:pt x="202" y="299"/>
                  </a:cubicBezTo>
                  <a:cubicBezTo>
                    <a:pt x="203" y="299"/>
                    <a:pt x="203" y="298"/>
                    <a:pt x="203" y="298"/>
                  </a:cubicBezTo>
                  <a:cubicBezTo>
                    <a:pt x="203" y="297"/>
                    <a:pt x="203" y="296"/>
                    <a:pt x="202" y="295"/>
                  </a:cubicBezTo>
                  <a:cubicBezTo>
                    <a:pt x="201" y="293"/>
                    <a:pt x="199" y="291"/>
                    <a:pt x="200" y="288"/>
                  </a:cubicBezTo>
                  <a:cubicBezTo>
                    <a:pt x="200" y="284"/>
                    <a:pt x="198" y="282"/>
                    <a:pt x="195" y="280"/>
                  </a:cubicBezTo>
                  <a:cubicBezTo>
                    <a:pt x="195" y="279"/>
                    <a:pt x="194" y="279"/>
                    <a:pt x="194" y="279"/>
                  </a:cubicBezTo>
                  <a:cubicBezTo>
                    <a:pt x="193" y="278"/>
                    <a:pt x="191" y="278"/>
                    <a:pt x="189" y="278"/>
                  </a:cubicBezTo>
                  <a:cubicBezTo>
                    <a:pt x="189" y="278"/>
                    <a:pt x="188" y="278"/>
                    <a:pt x="187" y="278"/>
                  </a:cubicBezTo>
                  <a:cubicBezTo>
                    <a:pt x="186" y="278"/>
                    <a:pt x="185" y="278"/>
                    <a:pt x="185" y="278"/>
                  </a:cubicBezTo>
                  <a:cubicBezTo>
                    <a:pt x="182" y="278"/>
                    <a:pt x="178" y="278"/>
                    <a:pt x="178" y="275"/>
                  </a:cubicBezTo>
                  <a:cubicBezTo>
                    <a:pt x="178" y="270"/>
                    <a:pt x="168" y="270"/>
                    <a:pt x="167" y="270"/>
                  </a:cubicBezTo>
                  <a:cubicBezTo>
                    <a:pt x="164" y="270"/>
                    <a:pt x="164" y="268"/>
                    <a:pt x="163" y="267"/>
                  </a:cubicBezTo>
                  <a:cubicBezTo>
                    <a:pt x="163" y="265"/>
                    <a:pt x="162" y="265"/>
                    <a:pt x="161" y="265"/>
                  </a:cubicBezTo>
                  <a:cubicBezTo>
                    <a:pt x="158" y="265"/>
                    <a:pt x="157" y="264"/>
                    <a:pt x="156" y="264"/>
                  </a:cubicBezTo>
                  <a:cubicBezTo>
                    <a:pt x="155" y="263"/>
                    <a:pt x="154" y="262"/>
                    <a:pt x="152" y="262"/>
                  </a:cubicBezTo>
                  <a:cubicBezTo>
                    <a:pt x="152" y="262"/>
                    <a:pt x="151" y="263"/>
                    <a:pt x="150" y="263"/>
                  </a:cubicBezTo>
                  <a:cubicBezTo>
                    <a:pt x="150" y="263"/>
                    <a:pt x="149" y="263"/>
                    <a:pt x="148" y="263"/>
                  </a:cubicBezTo>
                  <a:cubicBezTo>
                    <a:pt x="143" y="263"/>
                    <a:pt x="139" y="259"/>
                    <a:pt x="133" y="252"/>
                  </a:cubicBezTo>
                  <a:cubicBezTo>
                    <a:pt x="126" y="244"/>
                    <a:pt x="126" y="228"/>
                    <a:pt x="128" y="223"/>
                  </a:cubicBezTo>
                  <a:cubicBezTo>
                    <a:pt x="128" y="222"/>
                    <a:pt x="128" y="222"/>
                    <a:pt x="128" y="222"/>
                  </a:cubicBezTo>
                  <a:cubicBezTo>
                    <a:pt x="128" y="222"/>
                    <a:pt x="127" y="222"/>
                    <a:pt x="126" y="222"/>
                  </a:cubicBezTo>
                  <a:cubicBezTo>
                    <a:pt x="124" y="222"/>
                    <a:pt x="123" y="222"/>
                    <a:pt x="121" y="222"/>
                  </a:cubicBezTo>
                  <a:cubicBezTo>
                    <a:pt x="119" y="223"/>
                    <a:pt x="116" y="223"/>
                    <a:pt x="114" y="223"/>
                  </a:cubicBezTo>
                  <a:cubicBezTo>
                    <a:pt x="110" y="223"/>
                    <a:pt x="106" y="226"/>
                    <a:pt x="101" y="229"/>
                  </a:cubicBezTo>
                  <a:cubicBezTo>
                    <a:pt x="100" y="229"/>
                    <a:pt x="99" y="230"/>
                    <a:pt x="98" y="231"/>
                  </a:cubicBezTo>
                  <a:cubicBezTo>
                    <a:pt x="95" y="232"/>
                    <a:pt x="93" y="233"/>
                    <a:pt x="91" y="234"/>
                  </a:cubicBezTo>
                  <a:cubicBezTo>
                    <a:pt x="89" y="235"/>
                    <a:pt x="87" y="235"/>
                    <a:pt x="85" y="237"/>
                  </a:cubicBezTo>
                  <a:cubicBezTo>
                    <a:pt x="82" y="241"/>
                    <a:pt x="77" y="242"/>
                    <a:pt x="72" y="240"/>
                  </a:cubicBezTo>
                  <a:cubicBezTo>
                    <a:pt x="70" y="239"/>
                    <a:pt x="66" y="239"/>
                    <a:pt x="62" y="239"/>
                  </a:cubicBezTo>
                  <a:cubicBezTo>
                    <a:pt x="58" y="239"/>
                    <a:pt x="55" y="239"/>
                    <a:pt x="54" y="240"/>
                  </a:cubicBezTo>
                  <a:cubicBezTo>
                    <a:pt x="53" y="240"/>
                    <a:pt x="52" y="240"/>
                    <a:pt x="51" y="239"/>
                  </a:cubicBezTo>
                  <a:cubicBezTo>
                    <a:pt x="49" y="237"/>
                    <a:pt x="49" y="229"/>
                    <a:pt x="49" y="224"/>
                  </a:cubicBezTo>
                  <a:cubicBezTo>
                    <a:pt x="49" y="222"/>
                    <a:pt x="49" y="221"/>
                    <a:pt x="49" y="220"/>
                  </a:cubicBezTo>
                  <a:cubicBezTo>
                    <a:pt x="49" y="219"/>
                    <a:pt x="49" y="218"/>
                    <a:pt x="48" y="218"/>
                  </a:cubicBezTo>
                  <a:cubicBezTo>
                    <a:pt x="47" y="218"/>
                    <a:pt x="45" y="220"/>
                    <a:pt x="44" y="222"/>
                  </a:cubicBezTo>
                  <a:cubicBezTo>
                    <a:pt x="43" y="224"/>
                    <a:pt x="40" y="225"/>
                    <a:pt x="37" y="225"/>
                  </a:cubicBezTo>
                  <a:cubicBezTo>
                    <a:pt x="36" y="225"/>
                    <a:pt x="35" y="225"/>
                    <a:pt x="33" y="225"/>
                  </a:cubicBezTo>
                  <a:cubicBezTo>
                    <a:pt x="31" y="224"/>
                    <a:pt x="30" y="224"/>
                    <a:pt x="28" y="224"/>
                  </a:cubicBezTo>
                  <a:cubicBezTo>
                    <a:pt x="24" y="224"/>
                    <a:pt x="23" y="221"/>
                    <a:pt x="23" y="219"/>
                  </a:cubicBezTo>
                  <a:cubicBezTo>
                    <a:pt x="22" y="217"/>
                    <a:pt x="22" y="216"/>
                    <a:pt x="20" y="216"/>
                  </a:cubicBezTo>
                  <a:cubicBezTo>
                    <a:pt x="17" y="216"/>
                    <a:pt x="15" y="216"/>
                    <a:pt x="14" y="214"/>
                  </a:cubicBezTo>
                  <a:cubicBezTo>
                    <a:pt x="13" y="213"/>
                    <a:pt x="12" y="212"/>
                    <a:pt x="12" y="210"/>
                  </a:cubicBezTo>
                  <a:cubicBezTo>
                    <a:pt x="13" y="207"/>
                    <a:pt x="11" y="204"/>
                    <a:pt x="9" y="201"/>
                  </a:cubicBezTo>
                  <a:cubicBezTo>
                    <a:pt x="8" y="200"/>
                    <a:pt x="7" y="199"/>
                    <a:pt x="7" y="198"/>
                  </a:cubicBezTo>
                  <a:cubicBezTo>
                    <a:pt x="6" y="197"/>
                    <a:pt x="6" y="197"/>
                    <a:pt x="6" y="197"/>
                  </a:cubicBezTo>
                  <a:cubicBezTo>
                    <a:pt x="3" y="192"/>
                    <a:pt x="0" y="188"/>
                    <a:pt x="3" y="185"/>
                  </a:cubicBezTo>
                  <a:cubicBezTo>
                    <a:pt x="4" y="184"/>
                    <a:pt x="4" y="183"/>
                    <a:pt x="3" y="181"/>
                  </a:cubicBezTo>
                  <a:cubicBezTo>
                    <a:pt x="3" y="180"/>
                    <a:pt x="3" y="178"/>
                    <a:pt x="5" y="175"/>
                  </a:cubicBezTo>
                  <a:cubicBezTo>
                    <a:pt x="6" y="174"/>
                    <a:pt x="8" y="173"/>
                    <a:pt x="9" y="172"/>
                  </a:cubicBezTo>
                  <a:cubicBezTo>
                    <a:pt x="11" y="171"/>
                    <a:pt x="12" y="171"/>
                    <a:pt x="11" y="168"/>
                  </a:cubicBezTo>
                  <a:cubicBezTo>
                    <a:pt x="10" y="165"/>
                    <a:pt x="12" y="163"/>
                    <a:pt x="13" y="160"/>
                  </a:cubicBezTo>
                  <a:cubicBezTo>
                    <a:pt x="15" y="158"/>
                    <a:pt x="16" y="157"/>
                    <a:pt x="16" y="154"/>
                  </a:cubicBezTo>
                  <a:cubicBezTo>
                    <a:pt x="16" y="150"/>
                    <a:pt x="19" y="150"/>
                    <a:pt x="22" y="149"/>
                  </a:cubicBezTo>
                  <a:cubicBezTo>
                    <a:pt x="24" y="148"/>
                    <a:pt x="27" y="147"/>
                    <a:pt x="29" y="145"/>
                  </a:cubicBezTo>
                  <a:cubicBezTo>
                    <a:pt x="32" y="143"/>
                    <a:pt x="35" y="142"/>
                    <a:pt x="39" y="142"/>
                  </a:cubicBezTo>
                  <a:cubicBezTo>
                    <a:pt x="41" y="141"/>
                    <a:pt x="44" y="141"/>
                    <a:pt x="47" y="139"/>
                  </a:cubicBezTo>
                  <a:cubicBezTo>
                    <a:pt x="48" y="137"/>
                    <a:pt x="50" y="137"/>
                    <a:pt x="52" y="137"/>
                  </a:cubicBezTo>
                  <a:cubicBezTo>
                    <a:pt x="53" y="137"/>
                    <a:pt x="54" y="137"/>
                    <a:pt x="55" y="137"/>
                  </a:cubicBezTo>
                  <a:cubicBezTo>
                    <a:pt x="57" y="138"/>
                    <a:pt x="58" y="138"/>
                    <a:pt x="59" y="138"/>
                  </a:cubicBezTo>
                  <a:cubicBezTo>
                    <a:pt x="63" y="137"/>
                    <a:pt x="65" y="124"/>
                    <a:pt x="65" y="118"/>
                  </a:cubicBezTo>
                  <a:cubicBezTo>
                    <a:pt x="65" y="114"/>
                    <a:pt x="66" y="103"/>
                    <a:pt x="68" y="98"/>
                  </a:cubicBezTo>
                  <a:cubicBezTo>
                    <a:pt x="69" y="94"/>
                    <a:pt x="66" y="91"/>
                    <a:pt x="63" y="87"/>
                  </a:cubicBezTo>
                  <a:cubicBezTo>
                    <a:pt x="61" y="83"/>
                    <a:pt x="58" y="79"/>
                    <a:pt x="58" y="75"/>
                  </a:cubicBezTo>
                  <a:cubicBezTo>
                    <a:pt x="58" y="69"/>
                    <a:pt x="60" y="69"/>
                    <a:pt x="63" y="68"/>
                  </a:cubicBezTo>
                  <a:cubicBezTo>
                    <a:pt x="65" y="68"/>
                    <a:pt x="66" y="68"/>
                    <a:pt x="68" y="67"/>
                  </a:cubicBezTo>
                  <a:cubicBezTo>
                    <a:pt x="70" y="66"/>
                    <a:pt x="70" y="65"/>
                    <a:pt x="70" y="64"/>
                  </a:cubicBezTo>
                  <a:cubicBezTo>
                    <a:pt x="70" y="64"/>
                    <a:pt x="69" y="63"/>
                    <a:pt x="66" y="62"/>
                  </a:cubicBezTo>
                  <a:cubicBezTo>
                    <a:pt x="64" y="61"/>
                    <a:pt x="63" y="60"/>
                    <a:pt x="62" y="59"/>
                  </a:cubicBezTo>
                  <a:cubicBezTo>
                    <a:pt x="61" y="57"/>
                    <a:pt x="61" y="55"/>
                    <a:pt x="61" y="53"/>
                  </a:cubicBezTo>
                  <a:cubicBezTo>
                    <a:pt x="62" y="52"/>
                    <a:pt x="65" y="51"/>
                    <a:pt x="73" y="51"/>
                  </a:cubicBezTo>
                  <a:cubicBezTo>
                    <a:pt x="75" y="51"/>
                    <a:pt x="78" y="51"/>
                    <a:pt x="80" y="51"/>
                  </a:cubicBezTo>
                  <a:cubicBezTo>
                    <a:pt x="82" y="51"/>
                    <a:pt x="83" y="51"/>
                    <a:pt x="84" y="51"/>
                  </a:cubicBezTo>
                  <a:cubicBezTo>
                    <a:pt x="87" y="51"/>
                    <a:pt x="94" y="49"/>
                    <a:pt x="98" y="47"/>
                  </a:cubicBezTo>
                  <a:cubicBezTo>
                    <a:pt x="98" y="47"/>
                    <a:pt x="98" y="47"/>
                    <a:pt x="98" y="47"/>
                  </a:cubicBezTo>
                  <a:cubicBezTo>
                    <a:pt x="98" y="47"/>
                    <a:pt x="98" y="47"/>
                    <a:pt x="98" y="47"/>
                  </a:cubicBezTo>
                  <a:cubicBezTo>
                    <a:pt x="102" y="50"/>
                    <a:pt x="104" y="54"/>
                    <a:pt x="105" y="56"/>
                  </a:cubicBezTo>
                  <a:cubicBezTo>
                    <a:pt x="107" y="59"/>
                    <a:pt x="108" y="61"/>
                    <a:pt x="110" y="62"/>
                  </a:cubicBezTo>
                  <a:cubicBezTo>
                    <a:pt x="111" y="63"/>
                    <a:pt x="111" y="63"/>
                    <a:pt x="111" y="63"/>
                  </a:cubicBezTo>
                  <a:cubicBezTo>
                    <a:pt x="113" y="65"/>
                    <a:pt x="114" y="66"/>
                    <a:pt x="116" y="66"/>
                  </a:cubicBezTo>
                  <a:cubicBezTo>
                    <a:pt x="116" y="66"/>
                    <a:pt x="117" y="66"/>
                    <a:pt x="118" y="65"/>
                  </a:cubicBezTo>
                  <a:cubicBezTo>
                    <a:pt x="118" y="65"/>
                    <a:pt x="118" y="65"/>
                    <a:pt x="118" y="65"/>
                  </a:cubicBezTo>
                  <a:cubicBezTo>
                    <a:pt x="120" y="64"/>
                    <a:pt x="122" y="63"/>
                    <a:pt x="123" y="63"/>
                  </a:cubicBezTo>
                  <a:cubicBezTo>
                    <a:pt x="124" y="63"/>
                    <a:pt x="125" y="63"/>
                    <a:pt x="126" y="64"/>
                  </a:cubicBezTo>
                  <a:cubicBezTo>
                    <a:pt x="127" y="64"/>
                    <a:pt x="127" y="64"/>
                    <a:pt x="127" y="64"/>
                  </a:cubicBezTo>
                  <a:cubicBezTo>
                    <a:pt x="129" y="64"/>
                    <a:pt x="132" y="62"/>
                    <a:pt x="135" y="59"/>
                  </a:cubicBezTo>
                  <a:cubicBezTo>
                    <a:pt x="136" y="59"/>
                    <a:pt x="136" y="59"/>
                    <a:pt x="136" y="59"/>
                  </a:cubicBezTo>
                  <a:cubicBezTo>
                    <a:pt x="137" y="57"/>
                    <a:pt x="140" y="57"/>
                    <a:pt x="141" y="57"/>
                  </a:cubicBezTo>
                  <a:cubicBezTo>
                    <a:pt x="143" y="56"/>
                    <a:pt x="144" y="56"/>
                    <a:pt x="145" y="54"/>
                  </a:cubicBezTo>
                  <a:cubicBezTo>
                    <a:pt x="146" y="49"/>
                    <a:pt x="149" y="47"/>
                    <a:pt x="154" y="46"/>
                  </a:cubicBezTo>
                  <a:cubicBezTo>
                    <a:pt x="156" y="45"/>
                    <a:pt x="157" y="44"/>
                    <a:pt x="157" y="42"/>
                  </a:cubicBezTo>
                  <a:cubicBezTo>
                    <a:pt x="157" y="42"/>
                    <a:pt x="157" y="41"/>
                    <a:pt x="156" y="41"/>
                  </a:cubicBezTo>
                  <a:cubicBezTo>
                    <a:pt x="155" y="41"/>
                    <a:pt x="154" y="41"/>
                    <a:pt x="153" y="41"/>
                  </a:cubicBezTo>
                  <a:cubicBezTo>
                    <a:pt x="152" y="42"/>
                    <a:pt x="151" y="42"/>
                    <a:pt x="150" y="42"/>
                  </a:cubicBezTo>
                  <a:cubicBezTo>
                    <a:pt x="148" y="42"/>
                    <a:pt x="148" y="39"/>
                    <a:pt x="148" y="39"/>
                  </a:cubicBezTo>
                  <a:cubicBezTo>
                    <a:pt x="148" y="36"/>
                    <a:pt x="147" y="35"/>
                    <a:pt x="146" y="34"/>
                  </a:cubicBezTo>
                  <a:cubicBezTo>
                    <a:pt x="145" y="33"/>
                    <a:pt x="144" y="32"/>
                    <a:pt x="144" y="29"/>
                  </a:cubicBezTo>
                  <a:cubicBezTo>
                    <a:pt x="144" y="24"/>
                    <a:pt x="143" y="22"/>
                    <a:pt x="138" y="19"/>
                  </a:cubicBezTo>
                  <a:cubicBezTo>
                    <a:pt x="137" y="18"/>
                    <a:pt x="137" y="17"/>
                    <a:pt x="137" y="17"/>
                  </a:cubicBezTo>
                  <a:cubicBezTo>
                    <a:pt x="137" y="15"/>
                    <a:pt x="140" y="15"/>
                    <a:pt x="143" y="15"/>
                  </a:cubicBezTo>
                  <a:cubicBezTo>
                    <a:pt x="144" y="15"/>
                    <a:pt x="147" y="15"/>
                    <a:pt x="148" y="16"/>
                  </a:cubicBezTo>
                  <a:cubicBezTo>
                    <a:pt x="149" y="17"/>
                    <a:pt x="152" y="18"/>
                    <a:pt x="154" y="18"/>
                  </a:cubicBezTo>
                  <a:cubicBezTo>
                    <a:pt x="157" y="18"/>
                    <a:pt x="161" y="18"/>
                    <a:pt x="161" y="21"/>
                  </a:cubicBezTo>
                  <a:cubicBezTo>
                    <a:pt x="162" y="23"/>
                    <a:pt x="163" y="24"/>
                    <a:pt x="164" y="24"/>
                  </a:cubicBezTo>
                  <a:cubicBezTo>
                    <a:pt x="165" y="24"/>
                    <a:pt x="166" y="23"/>
                    <a:pt x="166" y="21"/>
                  </a:cubicBezTo>
                  <a:cubicBezTo>
                    <a:pt x="166" y="16"/>
                    <a:pt x="172" y="14"/>
                    <a:pt x="177" y="15"/>
                  </a:cubicBezTo>
                  <a:cubicBezTo>
                    <a:pt x="177" y="15"/>
                    <a:pt x="177" y="15"/>
                    <a:pt x="177" y="15"/>
                  </a:cubicBezTo>
                  <a:cubicBezTo>
                    <a:pt x="180" y="15"/>
                    <a:pt x="185" y="13"/>
                    <a:pt x="189" y="11"/>
                  </a:cubicBezTo>
                  <a:cubicBezTo>
                    <a:pt x="191" y="10"/>
                    <a:pt x="193" y="9"/>
                    <a:pt x="194" y="8"/>
                  </a:cubicBezTo>
                  <a:cubicBezTo>
                    <a:pt x="196" y="8"/>
                    <a:pt x="196" y="6"/>
                    <a:pt x="197" y="5"/>
                  </a:cubicBezTo>
                  <a:cubicBezTo>
                    <a:pt x="198" y="2"/>
                    <a:pt x="200" y="0"/>
                    <a:pt x="204" y="0"/>
                  </a:cubicBezTo>
                  <a:cubicBezTo>
                    <a:pt x="207" y="1"/>
                    <a:pt x="207" y="4"/>
                    <a:pt x="208" y="7"/>
                  </a:cubicBezTo>
                  <a:cubicBezTo>
                    <a:pt x="208" y="9"/>
                    <a:pt x="208" y="11"/>
                    <a:pt x="210" y="12"/>
                  </a:cubicBezTo>
                  <a:cubicBezTo>
                    <a:pt x="212" y="13"/>
                    <a:pt x="214" y="16"/>
                    <a:pt x="214" y="18"/>
                  </a:cubicBezTo>
                  <a:cubicBezTo>
                    <a:pt x="214" y="21"/>
                    <a:pt x="213" y="24"/>
                    <a:pt x="211" y="25"/>
                  </a:cubicBezTo>
                  <a:cubicBezTo>
                    <a:pt x="210" y="26"/>
                    <a:pt x="209" y="29"/>
                    <a:pt x="209" y="32"/>
                  </a:cubicBezTo>
                  <a:cubicBezTo>
                    <a:pt x="208" y="37"/>
                    <a:pt x="210" y="45"/>
                    <a:pt x="214" y="50"/>
                  </a:cubicBezTo>
                  <a:cubicBezTo>
                    <a:pt x="220" y="56"/>
                    <a:pt x="224" y="57"/>
                    <a:pt x="226" y="57"/>
                  </a:cubicBezTo>
                  <a:cubicBezTo>
                    <a:pt x="227" y="57"/>
                    <a:pt x="229" y="57"/>
                    <a:pt x="229" y="56"/>
                  </a:cubicBezTo>
                  <a:cubicBezTo>
                    <a:pt x="230" y="55"/>
                    <a:pt x="232" y="54"/>
                    <a:pt x="234" y="54"/>
                  </a:cubicBezTo>
                  <a:cubicBezTo>
                    <a:pt x="236" y="54"/>
                    <a:pt x="238" y="54"/>
                    <a:pt x="239" y="52"/>
                  </a:cubicBezTo>
                  <a:cubicBezTo>
                    <a:pt x="240" y="50"/>
                    <a:pt x="241" y="50"/>
                    <a:pt x="242" y="50"/>
                  </a:cubicBezTo>
                  <a:cubicBezTo>
                    <a:pt x="243" y="50"/>
                    <a:pt x="245" y="51"/>
                    <a:pt x="246" y="49"/>
                  </a:cubicBezTo>
                  <a:cubicBezTo>
                    <a:pt x="247" y="48"/>
                    <a:pt x="249" y="47"/>
                    <a:pt x="250" y="47"/>
                  </a:cubicBezTo>
                  <a:cubicBezTo>
                    <a:pt x="252" y="47"/>
                    <a:pt x="254" y="48"/>
                    <a:pt x="257" y="48"/>
                  </a:cubicBezTo>
                  <a:cubicBezTo>
                    <a:pt x="259" y="49"/>
                    <a:pt x="261" y="49"/>
                    <a:pt x="262" y="49"/>
                  </a:cubicBezTo>
                  <a:cubicBezTo>
                    <a:pt x="263" y="49"/>
                    <a:pt x="264" y="49"/>
                    <a:pt x="264" y="49"/>
                  </a:cubicBezTo>
                  <a:cubicBezTo>
                    <a:pt x="266" y="48"/>
                    <a:pt x="266" y="46"/>
                    <a:pt x="266" y="45"/>
                  </a:cubicBezTo>
                  <a:cubicBezTo>
                    <a:pt x="266" y="42"/>
                    <a:pt x="267" y="40"/>
                    <a:pt x="270" y="40"/>
                  </a:cubicBezTo>
                  <a:cubicBezTo>
                    <a:pt x="272" y="40"/>
                    <a:pt x="275" y="40"/>
                    <a:pt x="277" y="39"/>
                  </a:cubicBezTo>
                  <a:cubicBezTo>
                    <a:pt x="279" y="39"/>
                    <a:pt x="281" y="39"/>
                    <a:pt x="283" y="39"/>
                  </a:cubicBezTo>
                  <a:cubicBezTo>
                    <a:pt x="284" y="39"/>
                    <a:pt x="286" y="39"/>
                    <a:pt x="287" y="40"/>
                  </a:cubicBezTo>
                  <a:cubicBezTo>
                    <a:pt x="290" y="45"/>
                    <a:pt x="294" y="47"/>
                    <a:pt x="301" y="45"/>
                  </a:cubicBezTo>
                  <a:cubicBezTo>
                    <a:pt x="303" y="44"/>
                    <a:pt x="305" y="44"/>
                    <a:pt x="307" y="44"/>
                  </a:cubicBezTo>
                  <a:cubicBezTo>
                    <a:pt x="308" y="44"/>
                    <a:pt x="308" y="44"/>
                    <a:pt x="308" y="44"/>
                  </a:cubicBezTo>
                  <a:cubicBezTo>
                    <a:pt x="309" y="44"/>
                    <a:pt x="309" y="44"/>
                    <a:pt x="310" y="44"/>
                  </a:cubicBezTo>
                  <a:cubicBezTo>
                    <a:pt x="310" y="44"/>
                    <a:pt x="310" y="44"/>
                    <a:pt x="310" y="44"/>
                  </a:cubicBezTo>
                  <a:cubicBezTo>
                    <a:pt x="312" y="44"/>
                    <a:pt x="314" y="43"/>
                    <a:pt x="316" y="38"/>
                  </a:cubicBezTo>
                  <a:cubicBezTo>
                    <a:pt x="319" y="30"/>
                    <a:pt x="330" y="18"/>
                    <a:pt x="333" y="15"/>
                  </a:cubicBezTo>
                  <a:cubicBezTo>
                    <a:pt x="333" y="15"/>
                    <a:pt x="333" y="15"/>
                    <a:pt x="333" y="15"/>
                  </a:cubicBezTo>
                  <a:cubicBezTo>
                    <a:pt x="334" y="15"/>
                    <a:pt x="334" y="15"/>
                    <a:pt x="334" y="15"/>
                  </a:cubicBezTo>
                  <a:cubicBezTo>
                    <a:pt x="337" y="17"/>
                    <a:pt x="338" y="22"/>
                    <a:pt x="339" y="29"/>
                  </a:cubicBezTo>
                  <a:cubicBezTo>
                    <a:pt x="340" y="34"/>
                    <a:pt x="342" y="40"/>
                    <a:pt x="344" y="43"/>
                  </a:cubicBezTo>
                  <a:cubicBezTo>
                    <a:pt x="346" y="45"/>
                    <a:pt x="349" y="47"/>
                    <a:pt x="351" y="48"/>
                  </a:cubicBezTo>
                  <a:cubicBezTo>
                    <a:pt x="355" y="51"/>
                    <a:pt x="359" y="53"/>
                    <a:pt x="356" y="59"/>
                  </a:cubicBezTo>
                  <a:cubicBezTo>
                    <a:pt x="352" y="67"/>
                    <a:pt x="347" y="77"/>
                    <a:pt x="342" y="77"/>
                  </a:cubicBezTo>
                  <a:cubicBezTo>
                    <a:pt x="341" y="77"/>
                    <a:pt x="341" y="77"/>
                    <a:pt x="341" y="77"/>
                  </a:cubicBezTo>
                  <a:cubicBezTo>
                    <a:pt x="341" y="77"/>
                    <a:pt x="341" y="77"/>
                    <a:pt x="341" y="77"/>
                  </a:cubicBezTo>
                  <a:cubicBezTo>
                    <a:pt x="338" y="77"/>
                    <a:pt x="336" y="80"/>
                    <a:pt x="335" y="83"/>
                  </a:cubicBezTo>
                  <a:cubicBezTo>
                    <a:pt x="335" y="84"/>
                    <a:pt x="335" y="87"/>
                    <a:pt x="338" y="88"/>
                  </a:cubicBezTo>
                  <a:cubicBezTo>
                    <a:pt x="338" y="89"/>
                    <a:pt x="339" y="89"/>
                    <a:pt x="339" y="89"/>
                  </a:cubicBezTo>
                  <a:cubicBezTo>
                    <a:pt x="340" y="89"/>
                    <a:pt x="341" y="88"/>
                    <a:pt x="341" y="86"/>
                  </a:cubicBezTo>
                  <a:cubicBezTo>
                    <a:pt x="342" y="83"/>
                    <a:pt x="342" y="79"/>
                    <a:pt x="347" y="77"/>
                  </a:cubicBezTo>
                  <a:cubicBezTo>
                    <a:pt x="348" y="76"/>
                    <a:pt x="351" y="76"/>
                    <a:pt x="354" y="76"/>
                  </a:cubicBezTo>
                  <a:cubicBezTo>
                    <a:pt x="362" y="76"/>
                    <a:pt x="373" y="79"/>
                    <a:pt x="376" y="83"/>
                  </a:cubicBezTo>
                  <a:cubicBezTo>
                    <a:pt x="377" y="83"/>
                    <a:pt x="377" y="84"/>
                    <a:pt x="377" y="85"/>
                  </a:cubicBezTo>
                  <a:cubicBezTo>
                    <a:pt x="374" y="92"/>
                    <a:pt x="369" y="99"/>
                    <a:pt x="364" y="102"/>
                  </a:cubicBezTo>
                  <a:cubicBezTo>
                    <a:pt x="363" y="103"/>
                    <a:pt x="362" y="104"/>
                    <a:pt x="362" y="105"/>
                  </a:cubicBezTo>
                  <a:cubicBezTo>
                    <a:pt x="363" y="106"/>
                    <a:pt x="364" y="107"/>
                    <a:pt x="365" y="107"/>
                  </a:cubicBezTo>
                  <a:cubicBezTo>
                    <a:pt x="366" y="107"/>
                    <a:pt x="368" y="106"/>
                    <a:pt x="371" y="101"/>
                  </a:cubicBezTo>
                  <a:cubicBezTo>
                    <a:pt x="372" y="98"/>
                    <a:pt x="374" y="97"/>
                    <a:pt x="376" y="97"/>
                  </a:cubicBezTo>
                  <a:cubicBezTo>
                    <a:pt x="377" y="97"/>
                    <a:pt x="378" y="97"/>
                    <a:pt x="378" y="98"/>
                  </a:cubicBezTo>
                  <a:cubicBezTo>
                    <a:pt x="379" y="98"/>
                    <a:pt x="379" y="98"/>
                    <a:pt x="380" y="98"/>
                  </a:cubicBezTo>
                  <a:cubicBezTo>
                    <a:pt x="380" y="98"/>
                    <a:pt x="381" y="98"/>
                    <a:pt x="381" y="95"/>
                  </a:cubicBezTo>
                  <a:cubicBezTo>
                    <a:pt x="381" y="84"/>
                    <a:pt x="388" y="82"/>
                    <a:pt x="403" y="88"/>
                  </a:cubicBezTo>
                  <a:cubicBezTo>
                    <a:pt x="426" y="97"/>
                    <a:pt x="438" y="104"/>
                    <a:pt x="437" y="109"/>
                  </a:cubicBezTo>
                  <a:cubicBezTo>
                    <a:pt x="437" y="112"/>
                    <a:pt x="436" y="115"/>
                    <a:pt x="434" y="118"/>
                  </a:cubicBezTo>
                  <a:cubicBezTo>
                    <a:pt x="433" y="119"/>
                    <a:pt x="432" y="122"/>
                    <a:pt x="433" y="122"/>
                  </a:cubicBezTo>
                  <a:cubicBezTo>
                    <a:pt x="433" y="122"/>
                    <a:pt x="433" y="122"/>
                    <a:pt x="434" y="122"/>
                  </a:cubicBezTo>
                  <a:cubicBezTo>
                    <a:pt x="435" y="122"/>
                    <a:pt x="437" y="120"/>
                    <a:pt x="440" y="118"/>
                  </a:cubicBezTo>
                  <a:cubicBezTo>
                    <a:pt x="443" y="116"/>
                    <a:pt x="447" y="113"/>
                    <a:pt x="451" y="113"/>
                  </a:cubicBezTo>
                  <a:cubicBezTo>
                    <a:pt x="452" y="113"/>
                    <a:pt x="452" y="113"/>
                    <a:pt x="453" y="113"/>
                  </a:cubicBezTo>
                  <a:cubicBezTo>
                    <a:pt x="455" y="113"/>
                    <a:pt x="458" y="114"/>
                    <a:pt x="461" y="116"/>
                  </a:cubicBezTo>
                  <a:cubicBezTo>
                    <a:pt x="466" y="118"/>
                    <a:pt x="471" y="120"/>
                    <a:pt x="477" y="120"/>
                  </a:cubicBezTo>
                  <a:cubicBezTo>
                    <a:pt x="478" y="120"/>
                    <a:pt x="480" y="120"/>
                    <a:pt x="481" y="120"/>
                  </a:cubicBezTo>
                  <a:cubicBezTo>
                    <a:pt x="486" y="118"/>
                    <a:pt x="490" y="118"/>
                    <a:pt x="494" y="118"/>
                  </a:cubicBezTo>
                  <a:cubicBezTo>
                    <a:pt x="505" y="118"/>
                    <a:pt x="515" y="123"/>
                    <a:pt x="525" y="133"/>
                  </a:cubicBezTo>
                  <a:cubicBezTo>
                    <a:pt x="536" y="145"/>
                    <a:pt x="547" y="152"/>
                    <a:pt x="558" y="152"/>
                  </a:cubicBezTo>
                  <a:cubicBezTo>
                    <a:pt x="558" y="152"/>
                    <a:pt x="559" y="152"/>
                    <a:pt x="559" y="151"/>
                  </a:cubicBezTo>
                  <a:cubicBezTo>
                    <a:pt x="560" y="151"/>
                    <a:pt x="561" y="151"/>
                    <a:pt x="562" y="151"/>
                  </a:cubicBezTo>
                  <a:cubicBezTo>
                    <a:pt x="563" y="151"/>
                    <a:pt x="564" y="151"/>
                    <a:pt x="564" y="151"/>
                  </a:cubicBezTo>
                  <a:cubicBezTo>
                    <a:pt x="568" y="151"/>
                    <a:pt x="570" y="153"/>
                    <a:pt x="572" y="160"/>
                  </a:cubicBezTo>
                  <a:cubicBezTo>
                    <a:pt x="573" y="162"/>
                    <a:pt x="573" y="164"/>
                    <a:pt x="574" y="166"/>
                  </a:cubicBezTo>
                  <a:cubicBezTo>
                    <a:pt x="577" y="177"/>
                    <a:pt x="580" y="190"/>
                    <a:pt x="575" y="203"/>
                  </a:cubicBezTo>
                  <a:cubicBezTo>
                    <a:pt x="569" y="219"/>
                    <a:pt x="559" y="230"/>
                    <a:pt x="554" y="232"/>
                  </a:cubicBezTo>
                  <a:cubicBezTo>
                    <a:pt x="553" y="232"/>
                    <a:pt x="552" y="233"/>
                    <a:pt x="551" y="233"/>
                  </a:cubicBezTo>
                  <a:cubicBezTo>
                    <a:pt x="548" y="234"/>
                    <a:pt x="544" y="235"/>
                    <a:pt x="541" y="242"/>
                  </a:cubicBezTo>
                  <a:cubicBezTo>
                    <a:pt x="540" y="243"/>
                    <a:pt x="540" y="244"/>
                    <a:pt x="540" y="245"/>
                  </a:cubicBezTo>
                  <a:cubicBezTo>
                    <a:pt x="536" y="254"/>
                    <a:pt x="533" y="263"/>
                    <a:pt x="529" y="265"/>
                  </a:cubicBezTo>
                  <a:cubicBezTo>
                    <a:pt x="528" y="266"/>
                    <a:pt x="527" y="266"/>
                    <a:pt x="526" y="266"/>
                  </a:cubicBezTo>
                  <a:cubicBezTo>
                    <a:pt x="524" y="266"/>
                    <a:pt x="523" y="265"/>
                    <a:pt x="522" y="264"/>
                  </a:cubicBezTo>
                  <a:cubicBezTo>
                    <a:pt x="521" y="263"/>
                    <a:pt x="520" y="262"/>
                    <a:pt x="520" y="262"/>
                  </a:cubicBezTo>
                  <a:cubicBezTo>
                    <a:pt x="518" y="262"/>
                    <a:pt x="517" y="263"/>
                    <a:pt x="517" y="264"/>
                  </a:cubicBezTo>
                  <a:cubicBezTo>
                    <a:pt x="516" y="265"/>
                    <a:pt x="517" y="265"/>
                    <a:pt x="517" y="265"/>
                  </a:cubicBezTo>
                  <a:cubicBezTo>
                    <a:pt x="519" y="266"/>
                    <a:pt x="520" y="267"/>
                    <a:pt x="520" y="268"/>
                  </a:cubicBezTo>
                  <a:cubicBezTo>
                    <a:pt x="520" y="270"/>
                    <a:pt x="520" y="271"/>
                    <a:pt x="518" y="272"/>
                  </a:cubicBezTo>
                  <a:cubicBezTo>
                    <a:pt x="515" y="275"/>
                    <a:pt x="515" y="284"/>
                    <a:pt x="515" y="293"/>
                  </a:cubicBezTo>
                  <a:cubicBezTo>
                    <a:pt x="515" y="296"/>
                    <a:pt x="516" y="299"/>
                    <a:pt x="516" y="302"/>
                  </a:cubicBezTo>
                  <a:cubicBezTo>
                    <a:pt x="517" y="308"/>
                    <a:pt x="518" y="315"/>
                    <a:pt x="515" y="322"/>
                  </a:cubicBezTo>
                  <a:cubicBezTo>
                    <a:pt x="513" y="327"/>
                    <a:pt x="514" y="331"/>
                    <a:pt x="514" y="334"/>
                  </a:cubicBezTo>
                  <a:cubicBezTo>
                    <a:pt x="514" y="336"/>
                    <a:pt x="515" y="338"/>
                    <a:pt x="514" y="340"/>
                  </a:cubicBezTo>
                  <a:cubicBezTo>
                    <a:pt x="513" y="341"/>
                    <a:pt x="511" y="342"/>
                    <a:pt x="510" y="343"/>
                  </a:cubicBezTo>
                  <a:cubicBezTo>
                    <a:pt x="508" y="344"/>
                    <a:pt x="506" y="345"/>
                    <a:pt x="506" y="347"/>
                  </a:cubicBezTo>
                  <a:cubicBezTo>
                    <a:pt x="506" y="349"/>
                    <a:pt x="506" y="352"/>
                    <a:pt x="505" y="355"/>
                  </a:cubicBezTo>
                  <a:cubicBezTo>
                    <a:pt x="505" y="358"/>
                    <a:pt x="504" y="362"/>
                    <a:pt x="504" y="365"/>
                  </a:cubicBezTo>
                  <a:cubicBezTo>
                    <a:pt x="504" y="369"/>
                    <a:pt x="502" y="369"/>
                    <a:pt x="501" y="370"/>
                  </a:cubicBezTo>
                  <a:cubicBezTo>
                    <a:pt x="500" y="371"/>
                    <a:pt x="499" y="371"/>
                    <a:pt x="499" y="373"/>
                  </a:cubicBezTo>
                  <a:cubicBezTo>
                    <a:pt x="498" y="374"/>
                    <a:pt x="498" y="375"/>
                    <a:pt x="498" y="376"/>
                  </a:cubicBezTo>
                  <a:cubicBezTo>
                    <a:pt x="497" y="380"/>
                    <a:pt x="496" y="384"/>
                    <a:pt x="493" y="387"/>
                  </a:cubicBezTo>
                  <a:cubicBezTo>
                    <a:pt x="489" y="390"/>
                    <a:pt x="487" y="393"/>
                    <a:pt x="487" y="399"/>
                  </a:cubicBezTo>
                  <a:cubicBezTo>
                    <a:pt x="487" y="406"/>
                    <a:pt x="485" y="408"/>
                    <a:pt x="480" y="408"/>
                  </a:cubicBezTo>
                  <a:cubicBezTo>
                    <a:pt x="476" y="408"/>
                    <a:pt x="472" y="411"/>
                    <a:pt x="472" y="416"/>
                  </a:cubicBezTo>
                  <a:cubicBezTo>
                    <a:pt x="472" y="420"/>
                    <a:pt x="469" y="421"/>
                    <a:pt x="464" y="421"/>
                  </a:cubicBezTo>
                  <a:cubicBezTo>
                    <a:pt x="463" y="421"/>
                    <a:pt x="462" y="421"/>
                    <a:pt x="461" y="421"/>
                  </a:cubicBezTo>
                  <a:cubicBezTo>
                    <a:pt x="461" y="421"/>
                    <a:pt x="460" y="421"/>
                    <a:pt x="459" y="421"/>
                  </a:cubicBezTo>
                  <a:cubicBezTo>
                    <a:pt x="456" y="421"/>
                    <a:pt x="453" y="420"/>
                    <a:pt x="450" y="420"/>
                  </a:cubicBezTo>
                  <a:cubicBezTo>
                    <a:pt x="446" y="419"/>
                    <a:pt x="443" y="419"/>
                    <a:pt x="440" y="419"/>
                  </a:cubicBezTo>
                  <a:cubicBezTo>
                    <a:pt x="438" y="419"/>
                    <a:pt x="436" y="419"/>
                    <a:pt x="435" y="420"/>
                  </a:cubicBezTo>
                  <a:cubicBezTo>
                    <a:pt x="434" y="421"/>
                    <a:pt x="434" y="422"/>
                    <a:pt x="433" y="422"/>
                  </a:cubicBezTo>
                  <a:cubicBezTo>
                    <a:pt x="430" y="425"/>
                    <a:pt x="427" y="428"/>
                    <a:pt x="424" y="429"/>
                  </a:cubicBezTo>
                  <a:cubicBezTo>
                    <a:pt x="422" y="429"/>
                    <a:pt x="421" y="430"/>
                    <a:pt x="421" y="431"/>
                  </a:cubicBezTo>
                  <a:cubicBezTo>
                    <a:pt x="420" y="432"/>
                    <a:pt x="420" y="433"/>
                    <a:pt x="416" y="433"/>
                  </a:cubicBezTo>
                  <a:cubicBezTo>
                    <a:pt x="408" y="434"/>
                    <a:pt x="404" y="435"/>
                    <a:pt x="397" y="442"/>
                  </a:cubicBezTo>
                  <a:cubicBezTo>
                    <a:pt x="390" y="449"/>
                    <a:pt x="383" y="456"/>
                    <a:pt x="378" y="456"/>
                  </a:cubicBezTo>
                  <a:cubicBezTo>
                    <a:pt x="376" y="456"/>
                    <a:pt x="376" y="457"/>
                    <a:pt x="376" y="459"/>
                  </a:cubicBezTo>
                  <a:cubicBezTo>
                    <a:pt x="376" y="461"/>
                    <a:pt x="376" y="464"/>
                    <a:pt x="374" y="466"/>
                  </a:cubicBezTo>
                  <a:cubicBezTo>
                    <a:pt x="371" y="470"/>
                    <a:pt x="372" y="475"/>
                    <a:pt x="373" y="481"/>
                  </a:cubicBezTo>
                  <a:cubicBezTo>
                    <a:pt x="373" y="483"/>
                    <a:pt x="374" y="485"/>
                    <a:pt x="374" y="487"/>
                  </a:cubicBezTo>
                  <a:cubicBezTo>
                    <a:pt x="374" y="497"/>
                    <a:pt x="374" y="508"/>
                    <a:pt x="369" y="509"/>
                  </a:cubicBezTo>
                  <a:cubicBezTo>
                    <a:pt x="364" y="510"/>
                    <a:pt x="360" y="514"/>
                    <a:pt x="355" y="524"/>
                  </a:cubicBezTo>
                  <a:cubicBezTo>
                    <a:pt x="354" y="526"/>
                    <a:pt x="353" y="528"/>
                    <a:pt x="353" y="529"/>
                  </a:cubicBezTo>
                  <a:cubicBezTo>
                    <a:pt x="348" y="539"/>
                    <a:pt x="344" y="547"/>
                    <a:pt x="336" y="553"/>
                  </a:cubicBezTo>
                  <a:cubicBezTo>
                    <a:pt x="331" y="556"/>
                    <a:pt x="330" y="557"/>
                    <a:pt x="329" y="557"/>
                  </a:cubicBezTo>
                  <a:cubicBezTo>
                    <a:pt x="329" y="557"/>
                    <a:pt x="329" y="557"/>
                    <a:pt x="328" y="556"/>
                  </a:cubicBezTo>
                  <a:cubicBezTo>
                    <a:pt x="328" y="556"/>
                    <a:pt x="329" y="554"/>
                    <a:pt x="334" y="547"/>
                  </a:cubicBezTo>
                  <a:cubicBezTo>
                    <a:pt x="339" y="541"/>
                    <a:pt x="341" y="536"/>
                    <a:pt x="340" y="534"/>
                  </a:cubicBezTo>
                  <a:cubicBezTo>
                    <a:pt x="340" y="533"/>
                    <a:pt x="338" y="533"/>
                    <a:pt x="335" y="535"/>
                  </a:cubicBezTo>
                  <a:cubicBezTo>
                    <a:pt x="330" y="537"/>
                    <a:pt x="330" y="539"/>
                    <a:pt x="330" y="541"/>
                  </a:cubicBezTo>
                  <a:cubicBezTo>
                    <a:pt x="331" y="544"/>
                    <a:pt x="331" y="547"/>
                    <a:pt x="327" y="550"/>
                  </a:cubicBezTo>
                  <a:cubicBezTo>
                    <a:pt x="323" y="554"/>
                    <a:pt x="323" y="557"/>
                    <a:pt x="322" y="560"/>
                  </a:cubicBezTo>
                  <a:cubicBezTo>
                    <a:pt x="322" y="562"/>
                    <a:pt x="321" y="564"/>
                    <a:pt x="319" y="568"/>
                  </a:cubicBezTo>
                  <a:cubicBezTo>
                    <a:pt x="318" y="570"/>
                    <a:pt x="317" y="572"/>
                    <a:pt x="317" y="574"/>
                  </a:cubicBezTo>
                  <a:cubicBezTo>
                    <a:pt x="316" y="578"/>
                    <a:pt x="315" y="582"/>
                    <a:pt x="308" y="586"/>
                  </a:cubicBezTo>
                  <a:cubicBezTo>
                    <a:pt x="305" y="588"/>
                    <a:pt x="303" y="591"/>
                    <a:pt x="302" y="593"/>
                  </a:cubicBezTo>
                  <a:lnTo>
                    <a:pt x="301" y="593"/>
                  </a:lnTo>
                  <a:close/>
                  <a:moveTo>
                    <a:pt x="271" y="544"/>
                  </a:moveTo>
                  <a:cubicBezTo>
                    <a:pt x="272" y="544"/>
                    <a:pt x="273" y="545"/>
                    <a:pt x="274" y="546"/>
                  </a:cubicBezTo>
                  <a:cubicBezTo>
                    <a:pt x="276" y="549"/>
                    <a:pt x="281" y="552"/>
                    <a:pt x="285" y="555"/>
                  </a:cubicBezTo>
                  <a:cubicBezTo>
                    <a:pt x="287" y="556"/>
                    <a:pt x="289" y="557"/>
                    <a:pt x="290" y="558"/>
                  </a:cubicBezTo>
                  <a:cubicBezTo>
                    <a:pt x="291" y="559"/>
                    <a:pt x="292" y="560"/>
                    <a:pt x="293" y="561"/>
                  </a:cubicBezTo>
                  <a:cubicBezTo>
                    <a:pt x="296" y="562"/>
                    <a:pt x="300" y="565"/>
                    <a:pt x="300" y="570"/>
                  </a:cubicBezTo>
                  <a:cubicBezTo>
                    <a:pt x="300" y="571"/>
                    <a:pt x="300" y="573"/>
                    <a:pt x="300" y="574"/>
                  </a:cubicBezTo>
                  <a:cubicBezTo>
                    <a:pt x="300" y="579"/>
                    <a:pt x="299" y="586"/>
                    <a:pt x="301" y="591"/>
                  </a:cubicBezTo>
                  <a:cubicBezTo>
                    <a:pt x="303" y="589"/>
                    <a:pt x="305" y="587"/>
                    <a:pt x="308" y="585"/>
                  </a:cubicBezTo>
                  <a:cubicBezTo>
                    <a:pt x="314" y="581"/>
                    <a:pt x="315" y="578"/>
                    <a:pt x="316" y="574"/>
                  </a:cubicBezTo>
                  <a:cubicBezTo>
                    <a:pt x="316" y="572"/>
                    <a:pt x="317" y="570"/>
                    <a:pt x="319" y="567"/>
                  </a:cubicBezTo>
                  <a:cubicBezTo>
                    <a:pt x="320" y="564"/>
                    <a:pt x="321" y="562"/>
                    <a:pt x="321" y="560"/>
                  </a:cubicBezTo>
                  <a:cubicBezTo>
                    <a:pt x="322" y="556"/>
                    <a:pt x="322" y="554"/>
                    <a:pt x="326" y="549"/>
                  </a:cubicBezTo>
                  <a:cubicBezTo>
                    <a:pt x="330" y="546"/>
                    <a:pt x="330" y="544"/>
                    <a:pt x="329" y="541"/>
                  </a:cubicBezTo>
                  <a:cubicBezTo>
                    <a:pt x="329" y="539"/>
                    <a:pt x="329" y="536"/>
                    <a:pt x="334" y="534"/>
                  </a:cubicBezTo>
                  <a:cubicBezTo>
                    <a:pt x="336" y="533"/>
                    <a:pt x="337" y="533"/>
                    <a:pt x="339" y="533"/>
                  </a:cubicBezTo>
                  <a:cubicBezTo>
                    <a:pt x="340" y="533"/>
                    <a:pt x="341" y="533"/>
                    <a:pt x="341" y="534"/>
                  </a:cubicBezTo>
                  <a:cubicBezTo>
                    <a:pt x="342" y="536"/>
                    <a:pt x="340" y="542"/>
                    <a:pt x="335" y="548"/>
                  </a:cubicBezTo>
                  <a:cubicBezTo>
                    <a:pt x="334" y="549"/>
                    <a:pt x="330" y="554"/>
                    <a:pt x="329" y="556"/>
                  </a:cubicBezTo>
                  <a:cubicBezTo>
                    <a:pt x="330" y="556"/>
                    <a:pt x="332" y="555"/>
                    <a:pt x="335" y="552"/>
                  </a:cubicBezTo>
                  <a:cubicBezTo>
                    <a:pt x="344" y="546"/>
                    <a:pt x="347" y="538"/>
                    <a:pt x="352" y="529"/>
                  </a:cubicBezTo>
                  <a:cubicBezTo>
                    <a:pt x="352" y="527"/>
                    <a:pt x="353" y="525"/>
                    <a:pt x="354" y="524"/>
                  </a:cubicBezTo>
                  <a:cubicBezTo>
                    <a:pt x="359" y="513"/>
                    <a:pt x="363" y="509"/>
                    <a:pt x="369" y="508"/>
                  </a:cubicBezTo>
                  <a:cubicBezTo>
                    <a:pt x="372" y="508"/>
                    <a:pt x="374" y="500"/>
                    <a:pt x="373" y="488"/>
                  </a:cubicBezTo>
                  <a:cubicBezTo>
                    <a:pt x="373" y="485"/>
                    <a:pt x="372" y="483"/>
                    <a:pt x="372" y="481"/>
                  </a:cubicBezTo>
                  <a:cubicBezTo>
                    <a:pt x="371" y="475"/>
                    <a:pt x="370" y="470"/>
                    <a:pt x="373" y="466"/>
                  </a:cubicBezTo>
                  <a:cubicBezTo>
                    <a:pt x="375" y="463"/>
                    <a:pt x="375" y="461"/>
                    <a:pt x="375" y="459"/>
                  </a:cubicBezTo>
                  <a:cubicBezTo>
                    <a:pt x="375" y="457"/>
                    <a:pt x="375" y="455"/>
                    <a:pt x="378" y="455"/>
                  </a:cubicBezTo>
                  <a:cubicBezTo>
                    <a:pt x="382" y="455"/>
                    <a:pt x="389" y="448"/>
                    <a:pt x="396" y="441"/>
                  </a:cubicBezTo>
                  <a:cubicBezTo>
                    <a:pt x="403" y="434"/>
                    <a:pt x="408" y="433"/>
                    <a:pt x="415" y="432"/>
                  </a:cubicBezTo>
                  <a:cubicBezTo>
                    <a:pt x="419" y="432"/>
                    <a:pt x="420" y="431"/>
                    <a:pt x="420" y="430"/>
                  </a:cubicBezTo>
                  <a:cubicBezTo>
                    <a:pt x="421" y="430"/>
                    <a:pt x="421" y="429"/>
                    <a:pt x="423" y="428"/>
                  </a:cubicBezTo>
                  <a:cubicBezTo>
                    <a:pt x="427" y="427"/>
                    <a:pt x="430" y="424"/>
                    <a:pt x="432" y="422"/>
                  </a:cubicBezTo>
                  <a:cubicBezTo>
                    <a:pt x="433" y="421"/>
                    <a:pt x="434" y="420"/>
                    <a:pt x="434" y="419"/>
                  </a:cubicBezTo>
                  <a:cubicBezTo>
                    <a:pt x="436" y="418"/>
                    <a:pt x="437" y="418"/>
                    <a:pt x="440" y="418"/>
                  </a:cubicBezTo>
                  <a:cubicBezTo>
                    <a:pt x="443" y="418"/>
                    <a:pt x="446" y="418"/>
                    <a:pt x="450" y="419"/>
                  </a:cubicBezTo>
                  <a:cubicBezTo>
                    <a:pt x="453" y="419"/>
                    <a:pt x="456" y="420"/>
                    <a:pt x="459" y="420"/>
                  </a:cubicBezTo>
                  <a:cubicBezTo>
                    <a:pt x="460" y="420"/>
                    <a:pt x="461" y="420"/>
                    <a:pt x="461" y="420"/>
                  </a:cubicBezTo>
                  <a:cubicBezTo>
                    <a:pt x="462" y="420"/>
                    <a:pt x="463" y="420"/>
                    <a:pt x="464" y="420"/>
                  </a:cubicBezTo>
                  <a:cubicBezTo>
                    <a:pt x="469" y="420"/>
                    <a:pt x="471" y="419"/>
                    <a:pt x="471" y="416"/>
                  </a:cubicBezTo>
                  <a:cubicBezTo>
                    <a:pt x="471" y="411"/>
                    <a:pt x="475" y="407"/>
                    <a:pt x="480" y="407"/>
                  </a:cubicBezTo>
                  <a:cubicBezTo>
                    <a:pt x="484" y="407"/>
                    <a:pt x="486" y="406"/>
                    <a:pt x="486" y="399"/>
                  </a:cubicBezTo>
                  <a:cubicBezTo>
                    <a:pt x="486" y="393"/>
                    <a:pt x="488" y="389"/>
                    <a:pt x="492" y="386"/>
                  </a:cubicBezTo>
                  <a:cubicBezTo>
                    <a:pt x="495" y="384"/>
                    <a:pt x="496" y="379"/>
                    <a:pt x="497" y="376"/>
                  </a:cubicBezTo>
                  <a:cubicBezTo>
                    <a:pt x="497" y="375"/>
                    <a:pt x="497" y="373"/>
                    <a:pt x="498" y="373"/>
                  </a:cubicBezTo>
                  <a:cubicBezTo>
                    <a:pt x="498" y="370"/>
                    <a:pt x="499" y="370"/>
                    <a:pt x="501" y="369"/>
                  </a:cubicBezTo>
                  <a:cubicBezTo>
                    <a:pt x="502" y="369"/>
                    <a:pt x="503" y="368"/>
                    <a:pt x="503" y="365"/>
                  </a:cubicBezTo>
                  <a:cubicBezTo>
                    <a:pt x="503" y="362"/>
                    <a:pt x="504" y="358"/>
                    <a:pt x="504" y="355"/>
                  </a:cubicBezTo>
                  <a:cubicBezTo>
                    <a:pt x="505" y="352"/>
                    <a:pt x="505" y="349"/>
                    <a:pt x="505" y="347"/>
                  </a:cubicBezTo>
                  <a:cubicBezTo>
                    <a:pt x="505" y="344"/>
                    <a:pt x="507" y="343"/>
                    <a:pt x="509" y="342"/>
                  </a:cubicBezTo>
                  <a:cubicBezTo>
                    <a:pt x="511" y="341"/>
                    <a:pt x="512" y="341"/>
                    <a:pt x="513" y="339"/>
                  </a:cubicBezTo>
                  <a:cubicBezTo>
                    <a:pt x="514" y="338"/>
                    <a:pt x="513" y="336"/>
                    <a:pt x="513" y="334"/>
                  </a:cubicBezTo>
                  <a:cubicBezTo>
                    <a:pt x="513" y="331"/>
                    <a:pt x="512" y="327"/>
                    <a:pt x="514" y="321"/>
                  </a:cubicBezTo>
                  <a:cubicBezTo>
                    <a:pt x="517" y="315"/>
                    <a:pt x="516" y="308"/>
                    <a:pt x="515" y="302"/>
                  </a:cubicBezTo>
                  <a:cubicBezTo>
                    <a:pt x="515" y="299"/>
                    <a:pt x="514" y="296"/>
                    <a:pt x="514" y="293"/>
                  </a:cubicBezTo>
                  <a:cubicBezTo>
                    <a:pt x="514" y="284"/>
                    <a:pt x="514" y="274"/>
                    <a:pt x="518" y="271"/>
                  </a:cubicBezTo>
                  <a:cubicBezTo>
                    <a:pt x="519" y="270"/>
                    <a:pt x="519" y="269"/>
                    <a:pt x="519" y="269"/>
                  </a:cubicBezTo>
                  <a:cubicBezTo>
                    <a:pt x="519" y="268"/>
                    <a:pt x="518" y="267"/>
                    <a:pt x="517" y="266"/>
                  </a:cubicBezTo>
                  <a:cubicBezTo>
                    <a:pt x="516" y="266"/>
                    <a:pt x="515" y="265"/>
                    <a:pt x="516" y="264"/>
                  </a:cubicBezTo>
                  <a:cubicBezTo>
                    <a:pt x="516" y="262"/>
                    <a:pt x="518" y="261"/>
                    <a:pt x="520" y="261"/>
                  </a:cubicBezTo>
                  <a:cubicBezTo>
                    <a:pt x="521" y="261"/>
                    <a:pt x="521" y="262"/>
                    <a:pt x="522" y="263"/>
                  </a:cubicBezTo>
                  <a:cubicBezTo>
                    <a:pt x="523" y="264"/>
                    <a:pt x="525" y="265"/>
                    <a:pt x="526" y="265"/>
                  </a:cubicBezTo>
                  <a:cubicBezTo>
                    <a:pt x="527" y="265"/>
                    <a:pt x="528" y="265"/>
                    <a:pt x="528" y="264"/>
                  </a:cubicBezTo>
                  <a:cubicBezTo>
                    <a:pt x="532" y="262"/>
                    <a:pt x="536" y="253"/>
                    <a:pt x="539" y="245"/>
                  </a:cubicBezTo>
                  <a:cubicBezTo>
                    <a:pt x="539" y="244"/>
                    <a:pt x="539" y="243"/>
                    <a:pt x="540" y="242"/>
                  </a:cubicBezTo>
                  <a:cubicBezTo>
                    <a:pt x="543" y="234"/>
                    <a:pt x="547" y="233"/>
                    <a:pt x="551" y="232"/>
                  </a:cubicBezTo>
                  <a:cubicBezTo>
                    <a:pt x="552" y="232"/>
                    <a:pt x="553" y="231"/>
                    <a:pt x="554" y="231"/>
                  </a:cubicBezTo>
                  <a:cubicBezTo>
                    <a:pt x="559" y="229"/>
                    <a:pt x="568" y="218"/>
                    <a:pt x="574" y="202"/>
                  </a:cubicBezTo>
                  <a:cubicBezTo>
                    <a:pt x="579" y="190"/>
                    <a:pt x="576" y="177"/>
                    <a:pt x="573" y="167"/>
                  </a:cubicBezTo>
                  <a:cubicBezTo>
                    <a:pt x="572" y="164"/>
                    <a:pt x="572" y="162"/>
                    <a:pt x="571" y="160"/>
                  </a:cubicBezTo>
                  <a:cubicBezTo>
                    <a:pt x="569" y="153"/>
                    <a:pt x="567" y="152"/>
                    <a:pt x="564" y="152"/>
                  </a:cubicBezTo>
                  <a:cubicBezTo>
                    <a:pt x="564" y="152"/>
                    <a:pt x="563" y="152"/>
                    <a:pt x="562" y="152"/>
                  </a:cubicBezTo>
                  <a:cubicBezTo>
                    <a:pt x="561" y="152"/>
                    <a:pt x="560" y="152"/>
                    <a:pt x="559" y="152"/>
                  </a:cubicBezTo>
                  <a:cubicBezTo>
                    <a:pt x="559" y="153"/>
                    <a:pt x="558" y="153"/>
                    <a:pt x="558" y="153"/>
                  </a:cubicBezTo>
                  <a:cubicBezTo>
                    <a:pt x="547" y="153"/>
                    <a:pt x="535" y="146"/>
                    <a:pt x="524" y="134"/>
                  </a:cubicBezTo>
                  <a:cubicBezTo>
                    <a:pt x="515" y="124"/>
                    <a:pt x="505" y="119"/>
                    <a:pt x="494" y="119"/>
                  </a:cubicBezTo>
                  <a:cubicBezTo>
                    <a:pt x="490" y="119"/>
                    <a:pt x="486" y="119"/>
                    <a:pt x="482" y="121"/>
                  </a:cubicBezTo>
                  <a:cubicBezTo>
                    <a:pt x="480" y="121"/>
                    <a:pt x="479" y="121"/>
                    <a:pt x="477" y="121"/>
                  </a:cubicBezTo>
                  <a:cubicBezTo>
                    <a:pt x="471" y="121"/>
                    <a:pt x="465" y="119"/>
                    <a:pt x="460" y="117"/>
                  </a:cubicBezTo>
                  <a:cubicBezTo>
                    <a:pt x="457" y="115"/>
                    <a:pt x="455" y="114"/>
                    <a:pt x="453" y="114"/>
                  </a:cubicBezTo>
                  <a:cubicBezTo>
                    <a:pt x="452" y="114"/>
                    <a:pt x="452" y="114"/>
                    <a:pt x="451" y="114"/>
                  </a:cubicBezTo>
                  <a:cubicBezTo>
                    <a:pt x="447" y="114"/>
                    <a:pt x="444" y="117"/>
                    <a:pt x="440" y="119"/>
                  </a:cubicBezTo>
                  <a:cubicBezTo>
                    <a:pt x="438" y="121"/>
                    <a:pt x="436" y="122"/>
                    <a:pt x="434" y="123"/>
                  </a:cubicBezTo>
                  <a:cubicBezTo>
                    <a:pt x="433" y="124"/>
                    <a:pt x="432" y="123"/>
                    <a:pt x="432" y="123"/>
                  </a:cubicBezTo>
                  <a:cubicBezTo>
                    <a:pt x="431" y="122"/>
                    <a:pt x="432" y="120"/>
                    <a:pt x="433" y="117"/>
                  </a:cubicBezTo>
                  <a:cubicBezTo>
                    <a:pt x="435" y="115"/>
                    <a:pt x="436" y="111"/>
                    <a:pt x="436" y="109"/>
                  </a:cubicBezTo>
                  <a:cubicBezTo>
                    <a:pt x="436" y="106"/>
                    <a:pt x="431" y="100"/>
                    <a:pt x="402" y="89"/>
                  </a:cubicBezTo>
                  <a:cubicBezTo>
                    <a:pt x="397" y="87"/>
                    <a:pt x="393" y="86"/>
                    <a:pt x="390" y="86"/>
                  </a:cubicBezTo>
                  <a:cubicBezTo>
                    <a:pt x="384" y="86"/>
                    <a:pt x="382" y="89"/>
                    <a:pt x="382" y="95"/>
                  </a:cubicBezTo>
                  <a:cubicBezTo>
                    <a:pt x="382" y="97"/>
                    <a:pt x="382" y="99"/>
                    <a:pt x="380" y="99"/>
                  </a:cubicBezTo>
                  <a:cubicBezTo>
                    <a:pt x="379" y="99"/>
                    <a:pt x="379" y="99"/>
                    <a:pt x="378" y="98"/>
                  </a:cubicBezTo>
                  <a:cubicBezTo>
                    <a:pt x="377" y="98"/>
                    <a:pt x="376" y="98"/>
                    <a:pt x="376" y="98"/>
                  </a:cubicBezTo>
                  <a:cubicBezTo>
                    <a:pt x="375" y="98"/>
                    <a:pt x="373" y="98"/>
                    <a:pt x="371" y="102"/>
                  </a:cubicBezTo>
                  <a:cubicBezTo>
                    <a:pt x="369" y="107"/>
                    <a:pt x="366" y="108"/>
                    <a:pt x="365" y="108"/>
                  </a:cubicBezTo>
                  <a:cubicBezTo>
                    <a:pt x="363" y="108"/>
                    <a:pt x="362" y="107"/>
                    <a:pt x="361" y="105"/>
                  </a:cubicBezTo>
                  <a:cubicBezTo>
                    <a:pt x="361" y="104"/>
                    <a:pt x="362" y="102"/>
                    <a:pt x="363" y="102"/>
                  </a:cubicBezTo>
                  <a:cubicBezTo>
                    <a:pt x="368" y="99"/>
                    <a:pt x="374" y="92"/>
                    <a:pt x="376" y="85"/>
                  </a:cubicBezTo>
                  <a:cubicBezTo>
                    <a:pt x="376" y="84"/>
                    <a:pt x="376" y="84"/>
                    <a:pt x="375" y="83"/>
                  </a:cubicBezTo>
                  <a:cubicBezTo>
                    <a:pt x="373" y="80"/>
                    <a:pt x="362" y="77"/>
                    <a:pt x="354" y="77"/>
                  </a:cubicBezTo>
                  <a:cubicBezTo>
                    <a:pt x="351" y="77"/>
                    <a:pt x="349" y="77"/>
                    <a:pt x="347" y="78"/>
                  </a:cubicBezTo>
                  <a:cubicBezTo>
                    <a:pt x="343" y="79"/>
                    <a:pt x="342" y="83"/>
                    <a:pt x="342" y="86"/>
                  </a:cubicBezTo>
                  <a:cubicBezTo>
                    <a:pt x="342" y="88"/>
                    <a:pt x="341" y="90"/>
                    <a:pt x="339" y="90"/>
                  </a:cubicBezTo>
                  <a:cubicBezTo>
                    <a:pt x="339" y="90"/>
                    <a:pt x="338" y="90"/>
                    <a:pt x="337" y="89"/>
                  </a:cubicBezTo>
                  <a:cubicBezTo>
                    <a:pt x="334" y="88"/>
                    <a:pt x="333" y="85"/>
                    <a:pt x="334" y="82"/>
                  </a:cubicBezTo>
                  <a:cubicBezTo>
                    <a:pt x="335" y="79"/>
                    <a:pt x="338" y="76"/>
                    <a:pt x="341" y="76"/>
                  </a:cubicBezTo>
                  <a:cubicBezTo>
                    <a:pt x="341" y="76"/>
                    <a:pt x="341" y="76"/>
                    <a:pt x="342" y="76"/>
                  </a:cubicBezTo>
                  <a:cubicBezTo>
                    <a:pt x="345" y="76"/>
                    <a:pt x="350" y="70"/>
                    <a:pt x="355" y="59"/>
                  </a:cubicBezTo>
                  <a:cubicBezTo>
                    <a:pt x="358" y="54"/>
                    <a:pt x="354" y="52"/>
                    <a:pt x="350" y="49"/>
                  </a:cubicBezTo>
                  <a:cubicBezTo>
                    <a:pt x="348" y="47"/>
                    <a:pt x="345" y="46"/>
                    <a:pt x="343" y="44"/>
                  </a:cubicBezTo>
                  <a:cubicBezTo>
                    <a:pt x="341" y="40"/>
                    <a:pt x="339" y="35"/>
                    <a:pt x="338" y="29"/>
                  </a:cubicBezTo>
                  <a:cubicBezTo>
                    <a:pt x="337" y="23"/>
                    <a:pt x="336" y="18"/>
                    <a:pt x="334" y="16"/>
                  </a:cubicBezTo>
                  <a:cubicBezTo>
                    <a:pt x="327" y="23"/>
                    <a:pt x="319" y="32"/>
                    <a:pt x="317" y="39"/>
                  </a:cubicBezTo>
                  <a:cubicBezTo>
                    <a:pt x="315" y="44"/>
                    <a:pt x="313" y="45"/>
                    <a:pt x="310" y="45"/>
                  </a:cubicBezTo>
                  <a:cubicBezTo>
                    <a:pt x="310" y="45"/>
                    <a:pt x="310" y="45"/>
                    <a:pt x="310" y="45"/>
                  </a:cubicBezTo>
                  <a:cubicBezTo>
                    <a:pt x="309" y="45"/>
                    <a:pt x="309" y="45"/>
                    <a:pt x="308" y="45"/>
                  </a:cubicBezTo>
                  <a:cubicBezTo>
                    <a:pt x="307" y="45"/>
                    <a:pt x="307" y="45"/>
                    <a:pt x="307" y="45"/>
                  </a:cubicBezTo>
                  <a:cubicBezTo>
                    <a:pt x="305" y="45"/>
                    <a:pt x="303" y="45"/>
                    <a:pt x="301" y="46"/>
                  </a:cubicBezTo>
                  <a:cubicBezTo>
                    <a:pt x="294" y="48"/>
                    <a:pt x="289" y="46"/>
                    <a:pt x="286" y="41"/>
                  </a:cubicBezTo>
                  <a:cubicBezTo>
                    <a:pt x="286" y="40"/>
                    <a:pt x="284" y="40"/>
                    <a:pt x="283" y="40"/>
                  </a:cubicBezTo>
                  <a:cubicBezTo>
                    <a:pt x="281" y="40"/>
                    <a:pt x="279" y="40"/>
                    <a:pt x="277" y="40"/>
                  </a:cubicBezTo>
                  <a:cubicBezTo>
                    <a:pt x="275" y="41"/>
                    <a:pt x="272" y="41"/>
                    <a:pt x="270" y="41"/>
                  </a:cubicBezTo>
                  <a:cubicBezTo>
                    <a:pt x="268" y="41"/>
                    <a:pt x="267" y="42"/>
                    <a:pt x="267" y="45"/>
                  </a:cubicBezTo>
                  <a:cubicBezTo>
                    <a:pt x="267" y="47"/>
                    <a:pt x="266" y="49"/>
                    <a:pt x="265" y="50"/>
                  </a:cubicBezTo>
                  <a:cubicBezTo>
                    <a:pt x="264" y="50"/>
                    <a:pt x="263" y="50"/>
                    <a:pt x="262" y="50"/>
                  </a:cubicBezTo>
                  <a:cubicBezTo>
                    <a:pt x="260" y="50"/>
                    <a:pt x="258" y="50"/>
                    <a:pt x="256" y="49"/>
                  </a:cubicBezTo>
                  <a:cubicBezTo>
                    <a:pt x="254" y="49"/>
                    <a:pt x="252" y="48"/>
                    <a:pt x="250" y="48"/>
                  </a:cubicBezTo>
                  <a:cubicBezTo>
                    <a:pt x="249" y="48"/>
                    <a:pt x="248" y="49"/>
                    <a:pt x="247" y="49"/>
                  </a:cubicBezTo>
                  <a:cubicBezTo>
                    <a:pt x="245" y="52"/>
                    <a:pt x="244" y="51"/>
                    <a:pt x="242" y="51"/>
                  </a:cubicBezTo>
                  <a:cubicBezTo>
                    <a:pt x="241" y="51"/>
                    <a:pt x="241" y="51"/>
                    <a:pt x="240" y="53"/>
                  </a:cubicBezTo>
                  <a:cubicBezTo>
                    <a:pt x="239" y="55"/>
                    <a:pt x="236" y="55"/>
                    <a:pt x="234" y="55"/>
                  </a:cubicBezTo>
                  <a:cubicBezTo>
                    <a:pt x="232" y="55"/>
                    <a:pt x="231" y="56"/>
                    <a:pt x="230" y="56"/>
                  </a:cubicBezTo>
                  <a:cubicBezTo>
                    <a:pt x="229" y="57"/>
                    <a:pt x="228" y="58"/>
                    <a:pt x="226" y="58"/>
                  </a:cubicBezTo>
                  <a:cubicBezTo>
                    <a:pt x="223" y="58"/>
                    <a:pt x="219" y="57"/>
                    <a:pt x="214" y="51"/>
                  </a:cubicBezTo>
                  <a:cubicBezTo>
                    <a:pt x="209" y="45"/>
                    <a:pt x="207" y="37"/>
                    <a:pt x="208" y="32"/>
                  </a:cubicBezTo>
                  <a:cubicBezTo>
                    <a:pt x="208" y="28"/>
                    <a:pt x="209" y="26"/>
                    <a:pt x="211" y="25"/>
                  </a:cubicBezTo>
                  <a:cubicBezTo>
                    <a:pt x="212" y="23"/>
                    <a:pt x="213" y="21"/>
                    <a:pt x="213" y="18"/>
                  </a:cubicBezTo>
                  <a:cubicBezTo>
                    <a:pt x="213" y="16"/>
                    <a:pt x="211" y="14"/>
                    <a:pt x="209" y="13"/>
                  </a:cubicBezTo>
                  <a:cubicBezTo>
                    <a:pt x="207" y="12"/>
                    <a:pt x="207" y="9"/>
                    <a:pt x="207" y="7"/>
                  </a:cubicBezTo>
                  <a:cubicBezTo>
                    <a:pt x="206" y="4"/>
                    <a:pt x="206" y="1"/>
                    <a:pt x="203" y="1"/>
                  </a:cubicBezTo>
                  <a:cubicBezTo>
                    <a:pt x="200" y="1"/>
                    <a:pt x="199" y="3"/>
                    <a:pt x="198" y="5"/>
                  </a:cubicBezTo>
                  <a:cubicBezTo>
                    <a:pt x="197" y="7"/>
                    <a:pt x="196" y="9"/>
                    <a:pt x="195" y="9"/>
                  </a:cubicBezTo>
                  <a:cubicBezTo>
                    <a:pt x="193" y="10"/>
                    <a:pt x="191" y="11"/>
                    <a:pt x="189" y="12"/>
                  </a:cubicBezTo>
                  <a:cubicBezTo>
                    <a:pt x="185" y="14"/>
                    <a:pt x="179" y="17"/>
                    <a:pt x="176" y="16"/>
                  </a:cubicBezTo>
                  <a:cubicBezTo>
                    <a:pt x="172" y="15"/>
                    <a:pt x="167" y="17"/>
                    <a:pt x="167" y="21"/>
                  </a:cubicBezTo>
                  <a:cubicBezTo>
                    <a:pt x="167" y="24"/>
                    <a:pt x="166" y="25"/>
                    <a:pt x="164" y="25"/>
                  </a:cubicBezTo>
                  <a:cubicBezTo>
                    <a:pt x="163" y="25"/>
                    <a:pt x="161" y="24"/>
                    <a:pt x="160" y="21"/>
                  </a:cubicBezTo>
                  <a:cubicBezTo>
                    <a:pt x="160" y="19"/>
                    <a:pt x="157" y="19"/>
                    <a:pt x="154" y="19"/>
                  </a:cubicBezTo>
                  <a:cubicBezTo>
                    <a:pt x="151" y="19"/>
                    <a:pt x="149" y="18"/>
                    <a:pt x="148" y="17"/>
                  </a:cubicBezTo>
                  <a:cubicBezTo>
                    <a:pt x="147" y="16"/>
                    <a:pt x="145" y="16"/>
                    <a:pt x="143" y="16"/>
                  </a:cubicBezTo>
                  <a:cubicBezTo>
                    <a:pt x="140" y="16"/>
                    <a:pt x="138" y="16"/>
                    <a:pt x="138" y="17"/>
                  </a:cubicBezTo>
                  <a:cubicBezTo>
                    <a:pt x="138" y="17"/>
                    <a:pt x="138" y="17"/>
                    <a:pt x="139" y="18"/>
                  </a:cubicBezTo>
                  <a:cubicBezTo>
                    <a:pt x="144" y="21"/>
                    <a:pt x="145" y="25"/>
                    <a:pt x="145" y="29"/>
                  </a:cubicBezTo>
                  <a:cubicBezTo>
                    <a:pt x="145" y="31"/>
                    <a:pt x="145" y="32"/>
                    <a:pt x="146" y="33"/>
                  </a:cubicBezTo>
                  <a:cubicBezTo>
                    <a:pt x="147" y="34"/>
                    <a:pt x="149" y="35"/>
                    <a:pt x="149" y="39"/>
                  </a:cubicBezTo>
                  <a:cubicBezTo>
                    <a:pt x="149" y="41"/>
                    <a:pt x="150" y="41"/>
                    <a:pt x="150" y="41"/>
                  </a:cubicBezTo>
                  <a:cubicBezTo>
                    <a:pt x="151" y="41"/>
                    <a:pt x="151" y="41"/>
                    <a:pt x="152" y="40"/>
                  </a:cubicBezTo>
                  <a:cubicBezTo>
                    <a:pt x="153" y="40"/>
                    <a:pt x="155" y="40"/>
                    <a:pt x="156" y="40"/>
                  </a:cubicBezTo>
                  <a:cubicBezTo>
                    <a:pt x="157" y="40"/>
                    <a:pt x="158" y="41"/>
                    <a:pt x="158" y="42"/>
                  </a:cubicBezTo>
                  <a:cubicBezTo>
                    <a:pt x="158" y="44"/>
                    <a:pt x="157" y="46"/>
                    <a:pt x="154" y="47"/>
                  </a:cubicBezTo>
                  <a:cubicBezTo>
                    <a:pt x="150" y="48"/>
                    <a:pt x="147" y="50"/>
                    <a:pt x="146" y="54"/>
                  </a:cubicBezTo>
                  <a:cubicBezTo>
                    <a:pt x="145" y="57"/>
                    <a:pt x="143" y="57"/>
                    <a:pt x="141" y="58"/>
                  </a:cubicBezTo>
                  <a:cubicBezTo>
                    <a:pt x="140" y="58"/>
                    <a:pt x="138" y="58"/>
                    <a:pt x="136" y="59"/>
                  </a:cubicBezTo>
                  <a:cubicBezTo>
                    <a:pt x="135" y="60"/>
                    <a:pt x="135" y="60"/>
                    <a:pt x="135" y="60"/>
                  </a:cubicBezTo>
                  <a:cubicBezTo>
                    <a:pt x="132" y="63"/>
                    <a:pt x="130" y="65"/>
                    <a:pt x="127" y="65"/>
                  </a:cubicBezTo>
                  <a:cubicBezTo>
                    <a:pt x="126" y="65"/>
                    <a:pt x="126" y="65"/>
                    <a:pt x="126" y="65"/>
                  </a:cubicBezTo>
                  <a:cubicBezTo>
                    <a:pt x="123" y="63"/>
                    <a:pt x="121" y="64"/>
                    <a:pt x="118" y="66"/>
                  </a:cubicBezTo>
                  <a:cubicBezTo>
                    <a:pt x="118" y="66"/>
                    <a:pt x="118" y="66"/>
                    <a:pt x="118" y="66"/>
                  </a:cubicBezTo>
                  <a:cubicBezTo>
                    <a:pt x="117" y="67"/>
                    <a:pt x="117" y="67"/>
                    <a:pt x="116" y="67"/>
                  </a:cubicBezTo>
                  <a:cubicBezTo>
                    <a:pt x="114" y="67"/>
                    <a:pt x="113" y="66"/>
                    <a:pt x="111" y="64"/>
                  </a:cubicBezTo>
                  <a:cubicBezTo>
                    <a:pt x="110" y="63"/>
                    <a:pt x="110" y="63"/>
                    <a:pt x="109" y="63"/>
                  </a:cubicBezTo>
                  <a:cubicBezTo>
                    <a:pt x="107" y="61"/>
                    <a:pt x="106" y="59"/>
                    <a:pt x="105" y="57"/>
                  </a:cubicBezTo>
                  <a:cubicBezTo>
                    <a:pt x="103" y="54"/>
                    <a:pt x="101" y="51"/>
                    <a:pt x="98" y="48"/>
                  </a:cubicBezTo>
                  <a:cubicBezTo>
                    <a:pt x="94" y="50"/>
                    <a:pt x="88" y="52"/>
                    <a:pt x="84" y="52"/>
                  </a:cubicBezTo>
                  <a:cubicBezTo>
                    <a:pt x="83" y="52"/>
                    <a:pt x="82" y="52"/>
                    <a:pt x="80" y="52"/>
                  </a:cubicBezTo>
                  <a:cubicBezTo>
                    <a:pt x="78" y="52"/>
                    <a:pt x="75" y="52"/>
                    <a:pt x="73" y="52"/>
                  </a:cubicBezTo>
                  <a:cubicBezTo>
                    <a:pt x="64" y="52"/>
                    <a:pt x="63" y="53"/>
                    <a:pt x="62" y="53"/>
                  </a:cubicBezTo>
                  <a:cubicBezTo>
                    <a:pt x="62" y="55"/>
                    <a:pt x="62" y="57"/>
                    <a:pt x="63" y="58"/>
                  </a:cubicBezTo>
                  <a:cubicBezTo>
                    <a:pt x="64" y="60"/>
                    <a:pt x="65" y="61"/>
                    <a:pt x="66" y="61"/>
                  </a:cubicBezTo>
                  <a:cubicBezTo>
                    <a:pt x="69" y="61"/>
                    <a:pt x="71" y="63"/>
                    <a:pt x="71" y="64"/>
                  </a:cubicBezTo>
                  <a:cubicBezTo>
                    <a:pt x="71" y="65"/>
                    <a:pt x="71" y="66"/>
                    <a:pt x="69" y="68"/>
                  </a:cubicBezTo>
                  <a:cubicBezTo>
                    <a:pt x="67" y="69"/>
                    <a:pt x="65" y="69"/>
                    <a:pt x="63" y="69"/>
                  </a:cubicBezTo>
                  <a:cubicBezTo>
                    <a:pt x="61" y="70"/>
                    <a:pt x="59" y="70"/>
                    <a:pt x="59" y="75"/>
                  </a:cubicBezTo>
                  <a:cubicBezTo>
                    <a:pt x="59" y="79"/>
                    <a:pt x="62" y="83"/>
                    <a:pt x="64" y="86"/>
                  </a:cubicBezTo>
                  <a:cubicBezTo>
                    <a:pt x="67" y="90"/>
                    <a:pt x="70" y="94"/>
                    <a:pt x="68" y="99"/>
                  </a:cubicBezTo>
                  <a:cubicBezTo>
                    <a:pt x="67" y="103"/>
                    <a:pt x="66" y="114"/>
                    <a:pt x="66" y="118"/>
                  </a:cubicBezTo>
                  <a:cubicBezTo>
                    <a:pt x="66" y="122"/>
                    <a:pt x="64" y="138"/>
                    <a:pt x="60" y="139"/>
                  </a:cubicBezTo>
                  <a:cubicBezTo>
                    <a:pt x="58" y="139"/>
                    <a:pt x="57" y="139"/>
                    <a:pt x="55" y="138"/>
                  </a:cubicBezTo>
                  <a:cubicBezTo>
                    <a:pt x="54" y="138"/>
                    <a:pt x="53" y="138"/>
                    <a:pt x="52" y="138"/>
                  </a:cubicBezTo>
                  <a:cubicBezTo>
                    <a:pt x="50" y="138"/>
                    <a:pt x="49" y="138"/>
                    <a:pt x="47" y="139"/>
                  </a:cubicBezTo>
                  <a:cubicBezTo>
                    <a:pt x="45" y="142"/>
                    <a:pt x="42" y="142"/>
                    <a:pt x="39" y="143"/>
                  </a:cubicBezTo>
                  <a:cubicBezTo>
                    <a:pt x="36" y="143"/>
                    <a:pt x="33" y="144"/>
                    <a:pt x="30" y="146"/>
                  </a:cubicBezTo>
                  <a:cubicBezTo>
                    <a:pt x="27" y="148"/>
                    <a:pt x="24" y="149"/>
                    <a:pt x="22" y="150"/>
                  </a:cubicBezTo>
                  <a:cubicBezTo>
                    <a:pt x="19" y="151"/>
                    <a:pt x="17" y="151"/>
                    <a:pt x="17" y="154"/>
                  </a:cubicBezTo>
                  <a:cubicBezTo>
                    <a:pt x="17" y="157"/>
                    <a:pt x="15" y="159"/>
                    <a:pt x="14" y="161"/>
                  </a:cubicBezTo>
                  <a:cubicBezTo>
                    <a:pt x="13" y="163"/>
                    <a:pt x="12" y="165"/>
                    <a:pt x="12" y="168"/>
                  </a:cubicBezTo>
                  <a:cubicBezTo>
                    <a:pt x="13" y="171"/>
                    <a:pt x="11" y="172"/>
                    <a:pt x="9" y="173"/>
                  </a:cubicBezTo>
                  <a:cubicBezTo>
                    <a:pt x="8" y="174"/>
                    <a:pt x="7" y="175"/>
                    <a:pt x="6" y="176"/>
                  </a:cubicBezTo>
                  <a:cubicBezTo>
                    <a:pt x="4" y="178"/>
                    <a:pt x="4" y="179"/>
                    <a:pt x="4" y="181"/>
                  </a:cubicBezTo>
                  <a:cubicBezTo>
                    <a:pt x="5" y="182"/>
                    <a:pt x="5" y="184"/>
                    <a:pt x="3" y="185"/>
                  </a:cubicBezTo>
                  <a:cubicBezTo>
                    <a:pt x="1" y="188"/>
                    <a:pt x="4" y="192"/>
                    <a:pt x="7" y="196"/>
                  </a:cubicBezTo>
                  <a:cubicBezTo>
                    <a:pt x="7" y="197"/>
                    <a:pt x="7" y="197"/>
                    <a:pt x="7" y="197"/>
                  </a:cubicBezTo>
                  <a:cubicBezTo>
                    <a:pt x="8" y="198"/>
                    <a:pt x="9" y="199"/>
                    <a:pt x="9" y="200"/>
                  </a:cubicBezTo>
                  <a:cubicBezTo>
                    <a:pt x="12" y="204"/>
                    <a:pt x="14" y="207"/>
                    <a:pt x="13" y="210"/>
                  </a:cubicBezTo>
                  <a:cubicBezTo>
                    <a:pt x="13" y="212"/>
                    <a:pt x="14" y="213"/>
                    <a:pt x="14" y="214"/>
                  </a:cubicBezTo>
                  <a:cubicBezTo>
                    <a:pt x="16" y="215"/>
                    <a:pt x="18" y="215"/>
                    <a:pt x="20" y="215"/>
                  </a:cubicBezTo>
                  <a:cubicBezTo>
                    <a:pt x="23" y="215"/>
                    <a:pt x="23" y="217"/>
                    <a:pt x="24" y="219"/>
                  </a:cubicBezTo>
                  <a:cubicBezTo>
                    <a:pt x="24" y="221"/>
                    <a:pt x="25" y="223"/>
                    <a:pt x="28" y="223"/>
                  </a:cubicBezTo>
                  <a:cubicBezTo>
                    <a:pt x="30" y="223"/>
                    <a:pt x="31" y="223"/>
                    <a:pt x="33" y="224"/>
                  </a:cubicBezTo>
                  <a:cubicBezTo>
                    <a:pt x="35" y="224"/>
                    <a:pt x="36" y="224"/>
                    <a:pt x="37" y="224"/>
                  </a:cubicBezTo>
                  <a:cubicBezTo>
                    <a:pt x="41" y="224"/>
                    <a:pt x="42" y="223"/>
                    <a:pt x="43" y="221"/>
                  </a:cubicBezTo>
                  <a:cubicBezTo>
                    <a:pt x="44" y="219"/>
                    <a:pt x="47" y="217"/>
                    <a:pt x="48" y="217"/>
                  </a:cubicBezTo>
                  <a:cubicBezTo>
                    <a:pt x="49" y="217"/>
                    <a:pt x="50" y="217"/>
                    <a:pt x="50" y="220"/>
                  </a:cubicBezTo>
                  <a:cubicBezTo>
                    <a:pt x="50" y="221"/>
                    <a:pt x="50" y="222"/>
                    <a:pt x="50" y="224"/>
                  </a:cubicBezTo>
                  <a:cubicBezTo>
                    <a:pt x="50" y="228"/>
                    <a:pt x="50" y="237"/>
                    <a:pt x="52" y="239"/>
                  </a:cubicBezTo>
                  <a:cubicBezTo>
                    <a:pt x="53" y="239"/>
                    <a:pt x="53" y="239"/>
                    <a:pt x="53" y="239"/>
                  </a:cubicBezTo>
                  <a:cubicBezTo>
                    <a:pt x="55" y="238"/>
                    <a:pt x="58" y="238"/>
                    <a:pt x="62" y="238"/>
                  </a:cubicBezTo>
                  <a:cubicBezTo>
                    <a:pt x="66" y="238"/>
                    <a:pt x="70" y="238"/>
                    <a:pt x="73" y="239"/>
                  </a:cubicBezTo>
                  <a:cubicBezTo>
                    <a:pt x="77" y="241"/>
                    <a:pt x="81" y="240"/>
                    <a:pt x="84" y="236"/>
                  </a:cubicBezTo>
                  <a:cubicBezTo>
                    <a:pt x="86" y="235"/>
                    <a:pt x="88" y="234"/>
                    <a:pt x="91" y="233"/>
                  </a:cubicBezTo>
                  <a:cubicBezTo>
                    <a:pt x="92" y="232"/>
                    <a:pt x="94" y="231"/>
                    <a:pt x="97" y="230"/>
                  </a:cubicBezTo>
                  <a:cubicBezTo>
                    <a:pt x="98" y="229"/>
                    <a:pt x="100" y="228"/>
                    <a:pt x="101" y="228"/>
                  </a:cubicBezTo>
                  <a:cubicBezTo>
                    <a:pt x="105" y="225"/>
                    <a:pt x="110" y="222"/>
                    <a:pt x="114" y="222"/>
                  </a:cubicBezTo>
                  <a:cubicBezTo>
                    <a:pt x="116" y="222"/>
                    <a:pt x="118" y="222"/>
                    <a:pt x="120" y="221"/>
                  </a:cubicBezTo>
                  <a:cubicBezTo>
                    <a:pt x="122" y="221"/>
                    <a:pt x="124" y="221"/>
                    <a:pt x="126" y="221"/>
                  </a:cubicBezTo>
                  <a:cubicBezTo>
                    <a:pt x="127" y="221"/>
                    <a:pt x="128" y="221"/>
                    <a:pt x="129" y="222"/>
                  </a:cubicBezTo>
                  <a:cubicBezTo>
                    <a:pt x="129" y="222"/>
                    <a:pt x="129" y="223"/>
                    <a:pt x="129" y="224"/>
                  </a:cubicBezTo>
                  <a:cubicBezTo>
                    <a:pt x="127" y="228"/>
                    <a:pt x="127" y="244"/>
                    <a:pt x="133" y="251"/>
                  </a:cubicBezTo>
                  <a:cubicBezTo>
                    <a:pt x="139" y="258"/>
                    <a:pt x="143" y="262"/>
                    <a:pt x="148" y="262"/>
                  </a:cubicBezTo>
                  <a:cubicBezTo>
                    <a:pt x="149" y="262"/>
                    <a:pt x="149" y="262"/>
                    <a:pt x="150" y="262"/>
                  </a:cubicBezTo>
                  <a:cubicBezTo>
                    <a:pt x="151" y="262"/>
                    <a:pt x="152" y="261"/>
                    <a:pt x="152" y="261"/>
                  </a:cubicBezTo>
                  <a:cubicBezTo>
                    <a:pt x="154" y="261"/>
                    <a:pt x="156" y="262"/>
                    <a:pt x="157" y="263"/>
                  </a:cubicBezTo>
                  <a:cubicBezTo>
                    <a:pt x="158" y="263"/>
                    <a:pt x="158" y="264"/>
                    <a:pt x="160" y="264"/>
                  </a:cubicBezTo>
                  <a:cubicBezTo>
                    <a:pt x="163" y="264"/>
                    <a:pt x="164" y="265"/>
                    <a:pt x="164" y="267"/>
                  </a:cubicBezTo>
                  <a:cubicBezTo>
                    <a:pt x="165" y="268"/>
                    <a:pt x="165" y="269"/>
                    <a:pt x="167" y="269"/>
                  </a:cubicBezTo>
                  <a:cubicBezTo>
                    <a:pt x="169" y="269"/>
                    <a:pt x="179" y="269"/>
                    <a:pt x="179" y="275"/>
                  </a:cubicBezTo>
                  <a:cubicBezTo>
                    <a:pt x="179" y="276"/>
                    <a:pt x="181" y="277"/>
                    <a:pt x="185" y="277"/>
                  </a:cubicBezTo>
                  <a:cubicBezTo>
                    <a:pt x="185" y="277"/>
                    <a:pt x="186" y="277"/>
                    <a:pt x="187" y="277"/>
                  </a:cubicBezTo>
                  <a:cubicBezTo>
                    <a:pt x="188" y="277"/>
                    <a:pt x="189" y="277"/>
                    <a:pt x="189" y="277"/>
                  </a:cubicBezTo>
                  <a:cubicBezTo>
                    <a:pt x="192" y="277"/>
                    <a:pt x="194" y="277"/>
                    <a:pt x="195" y="278"/>
                  </a:cubicBezTo>
                  <a:cubicBezTo>
                    <a:pt x="195" y="278"/>
                    <a:pt x="195" y="279"/>
                    <a:pt x="196" y="279"/>
                  </a:cubicBezTo>
                  <a:cubicBezTo>
                    <a:pt x="199" y="281"/>
                    <a:pt x="201" y="284"/>
                    <a:pt x="201" y="288"/>
                  </a:cubicBezTo>
                  <a:cubicBezTo>
                    <a:pt x="200" y="291"/>
                    <a:pt x="201" y="293"/>
                    <a:pt x="203" y="294"/>
                  </a:cubicBezTo>
                  <a:cubicBezTo>
                    <a:pt x="204" y="296"/>
                    <a:pt x="204" y="297"/>
                    <a:pt x="204" y="298"/>
                  </a:cubicBezTo>
                  <a:cubicBezTo>
                    <a:pt x="204" y="299"/>
                    <a:pt x="203" y="300"/>
                    <a:pt x="202" y="300"/>
                  </a:cubicBezTo>
                  <a:cubicBezTo>
                    <a:pt x="200" y="301"/>
                    <a:pt x="201" y="302"/>
                    <a:pt x="202" y="305"/>
                  </a:cubicBezTo>
                  <a:cubicBezTo>
                    <a:pt x="203" y="307"/>
                    <a:pt x="204" y="309"/>
                    <a:pt x="204" y="312"/>
                  </a:cubicBezTo>
                  <a:cubicBezTo>
                    <a:pt x="205" y="316"/>
                    <a:pt x="209" y="318"/>
                    <a:pt x="218" y="318"/>
                  </a:cubicBezTo>
                  <a:cubicBezTo>
                    <a:pt x="218" y="318"/>
                    <a:pt x="219" y="318"/>
                    <a:pt x="220" y="318"/>
                  </a:cubicBezTo>
                  <a:cubicBezTo>
                    <a:pt x="221" y="318"/>
                    <a:pt x="222" y="318"/>
                    <a:pt x="223" y="318"/>
                  </a:cubicBezTo>
                  <a:cubicBezTo>
                    <a:pt x="230" y="318"/>
                    <a:pt x="232" y="320"/>
                    <a:pt x="232" y="326"/>
                  </a:cubicBezTo>
                  <a:cubicBezTo>
                    <a:pt x="232" y="330"/>
                    <a:pt x="234" y="332"/>
                    <a:pt x="236" y="334"/>
                  </a:cubicBezTo>
                  <a:cubicBezTo>
                    <a:pt x="238" y="335"/>
                    <a:pt x="240" y="337"/>
                    <a:pt x="241" y="340"/>
                  </a:cubicBezTo>
                  <a:cubicBezTo>
                    <a:pt x="242" y="344"/>
                    <a:pt x="241" y="348"/>
                    <a:pt x="240" y="352"/>
                  </a:cubicBezTo>
                  <a:cubicBezTo>
                    <a:pt x="240" y="355"/>
                    <a:pt x="239" y="357"/>
                    <a:pt x="239" y="359"/>
                  </a:cubicBezTo>
                  <a:cubicBezTo>
                    <a:pt x="240" y="363"/>
                    <a:pt x="238" y="367"/>
                    <a:pt x="235" y="369"/>
                  </a:cubicBezTo>
                  <a:cubicBezTo>
                    <a:pt x="237" y="372"/>
                    <a:pt x="238" y="374"/>
                    <a:pt x="237" y="375"/>
                  </a:cubicBezTo>
                  <a:cubicBezTo>
                    <a:pt x="237" y="376"/>
                    <a:pt x="237" y="377"/>
                    <a:pt x="235" y="377"/>
                  </a:cubicBezTo>
                  <a:cubicBezTo>
                    <a:pt x="234" y="378"/>
                    <a:pt x="234" y="379"/>
                    <a:pt x="236" y="382"/>
                  </a:cubicBezTo>
                  <a:cubicBezTo>
                    <a:pt x="237" y="385"/>
                    <a:pt x="239" y="390"/>
                    <a:pt x="238" y="395"/>
                  </a:cubicBezTo>
                  <a:cubicBezTo>
                    <a:pt x="238" y="395"/>
                    <a:pt x="238" y="395"/>
                    <a:pt x="238" y="395"/>
                  </a:cubicBezTo>
                  <a:cubicBezTo>
                    <a:pt x="237" y="400"/>
                    <a:pt x="236" y="403"/>
                    <a:pt x="237" y="404"/>
                  </a:cubicBezTo>
                  <a:cubicBezTo>
                    <a:pt x="238" y="405"/>
                    <a:pt x="240" y="406"/>
                    <a:pt x="245" y="406"/>
                  </a:cubicBezTo>
                  <a:cubicBezTo>
                    <a:pt x="250" y="406"/>
                    <a:pt x="252" y="407"/>
                    <a:pt x="254" y="408"/>
                  </a:cubicBezTo>
                  <a:cubicBezTo>
                    <a:pt x="255" y="408"/>
                    <a:pt x="256" y="409"/>
                    <a:pt x="257" y="408"/>
                  </a:cubicBezTo>
                  <a:cubicBezTo>
                    <a:pt x="258" y="407"/>
                    <a:pt x="258" y="407"/>
                    <a:pt x="259" y="407"/>
                  </a:cubicBezTo>
                  <a:cubicBezTo>
                    <a:pt x="263" y="407"/>
                    <a:pt x="267" y="416"/>
                    <a:pt x="268" y="420"/>
                  </a:cubicBezTo>
                  <a:cubicBezTo>
                    <a:pt x="270" y="427"/>
                    <a:pt x="274" y="436"/>
                    <a:pt x="275" y="436"/>
                  </a:cubicBezTo>
                  <a:cubicBezTo>
                    <a:pt x="275" y="436"/>
                    <a:pt x="276" y="435"/>
                    <a:pt x="277" y="435"/>
                  </a:cubicBezTo>
                  <a:cubicBezTo>
                    <a:pt x="279" y="434"/>
                    <a:pt x="281" y="433"/>
                    <a:pt x="284" y="433"/>
                  </a:cubicBezTo>
                  <a:cubicBezTo>
                    <a:pt x="285" y="433"/>
                    <a:pt x="286" y="433"/>
                    <a:pt x="287" y="433"/>
                  </a:cubicBezTo>
                  <a:cubicBezTo>
                    <a:pt x="291" y="435"/>
                    <a:pt x="289" y="443"/>
                    <a:pt x="288" y="451"/>
                  </a:cubicBezTo>
                  <a:cubicBezTo>
                    <a:pt x="287" y="454"/>
                    <a:pt x="286" y="457"/>
                    <a:pt x="286" y="459"/>
                  </a:cubicBezTo>
                  <a:cubicBezTo>
                    <a:pt x="287" y="459"/>
                    <a:pt x="288" y="459"/>
                    <a:pt x="289" y="459"/>
                  </a:cubicBezTo>
                  <a:cubicBezTo>
                    <a:pt x="292" y="459"/>
                    <a:pt x="294" y="459"/>
                    <a:pt x="295" y="460"/>
                  </a:cubicBezTo>
                  <a:cubicBezTo>
                    <a:pt x="298" y="461"/>
                    <a:pt x="300" y="479"/>
                    <a:pt x="298" y="483"/>
                  </a:cubicBezTo>
                  <a:cubicBezTo>
                    <a:pt x="297" y="485"/>
                    <a:pt x="293" y="487"/>
                    <a:pt x="288" y="489"/>
                  </a:cubicBezTo>
                  <a:cubicBezTo>
                    <a:pt x="286" y="490"/>
                    <a:pt x="283" y="491"/>
                    <a:pt x="280" y="493"/>
                  </a:cubicBezTo>
                  <a:cubicBezTo>
                    <a:pt x="275" y="496"/>
                    <a:pt x="262" y="509"/>
                    <a:pt x="255" y="519"/>
                  </a:cubicBezTo>
                  <a:cubicBezTo>
                    <a:pt x="253" y="524"/>
                    <a:pt x="249" y="527"/>
                    <a:pt x="246" y="531"/>
                  </a:cubicBezTo>
                  <a:cubicBezTo>
                    <a:pt x="245" y="532"/>
                    <a:pt x="244" y="533"/>
                    <a:pt x="243" y="534"/>
                  </a:cubicBezTo>
                  <a:cubicBezTo>
                    <a:pt x="244" y="534"/>
                    <a:pt x="246" y="534"/>
                    <a:pt x="246" y="533"/>
                  </a:cubicBezTo>
                  <a:cubicBezTo>
                    <a:pt x="247" y="533"/>
                    <a:pt x="249" y="533"/>
                    <a:pt x="250" y="533"/>
                  </a:cubicBezTo>
                  <a:cubicBezTo>
                    <a:pt x="253" y="533"/>
                    <a:pt x="256" y="535"/>
                    <a:pt x="259" y="538"/>
                  </a:cubicBezTo>
                  <a:cubicBezTo>
                    <a:pt x="262" y="541"/>
                    <a:pt x="263" y="544"/>
                    <a:pt x="264" y="546"/>
                  </a:cubicBezTo>
                  <a:cubicBezTo>
                    <a:pt x="264" y="547"/>
                    <a:pt x="265" y="548"/>
                    <a:pt x="265" y="548"/>
                  </a:cubicBezTo>
                  <a:cubicBezTo>
                    <a:pt x="266" y="548"/>
                    <a:pt x="266" y="547"/>
                    <a:pt x="267" y="547"/>
                  </a:cubicBezTo>
                  <a:cubicBezTo>
                    <a:pt x="268" y="545"/>
                    <a:pt x="269" y="544"/>
                    <a:pt x="271" y="5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1" name="Freeform 108"/>
            <p:cNvSpPr>
              <a:spLocks noEditPoints="1"/>
            </p:cNvSpPr>
            <p:nvPr/>
          </p:nvSpPr>
          <p:spPr>
            <a:xfrm>
              <a:off x="3325814" y="4586288"/>
              <a:ext cx="125413" cy="133350"/>
            </a:xfrm>
            <a:custGeom>
              <a:gdLst>
                <a:gd name="T0" fmla="*/ 28 w 74"/>
                <a:gd name="T1" fmla="*/ 76 h 78"/>
                <a:gd name="T2" fmla="*/ 10 w 74"/>
                <a:gd name="T3" fmla="*/ 71 h 78"/>
                <a:gd name="T4" fmla="*/ 4 w 74"/>
                <a:gd name="T5" fmla="*/ 69 h 78"/>
                <a:gd name="T6" fmla="*/ 4 w 74"/>
                <a:gd name="T7" fmla="*/ 68 h 78"/>
                <a:gd name="T8" fmla="*/ 4 w 74"/>
                <a:gd name="T9" fmla="*/ 62 h 78"/>
                <a:gd name="T10" fmla="*/ 2 w 74"/>
                <a:gd name="T11" fmla="*/ 45 h 78"/>
                <a:gd name="T12" fmla="*/ 7 w 74"/>
                <a:gd name="T13" fmla="*/ 18 h 78"/>
                <a:gd name="T14" fmla="*/ 14 w 74"/>
                <a:gd name="T15" fmla="*/ 1 h 78"/>
                <a:gd name="T16" fmla="*/ 14 w 74"/>
                <a:gd name="T17" fmla="*/ 1 h 78"/>
                <a:gd name="T18" fmla="*/ 22 w 74"/>
                <a:gd name="T19" fmla="*/ 0 h 78"/>
                <a:gd name="T20" fmla="*/ 36 w 74"/>
                <a:gd name="T21" fmla="*/ 13 h 78"/>
                <a:gd name="T22" fmla="*/ 39 w 74"/>
                <a:gd name="T23" fmla="*/ 14 h 78"/>
                <a:gd name="T24" fmla="*/ 46 w 74"/>
                <a:gd name="T25" fmla="*/ 13 h 78"/>
                <a:gd name="T26" fmla="*/ 62 w 74"/>
                <a:gd name="T27" fmla="*/ 25 h 78"/>
                <a:gd name="T28" fmla="*/ 72 w 74"/>
                <a:gd name="T29" fmla="*/ 37 h 78"/>
                <a:gd name="T30" fmla="*/ 74 w 74"/>
                <a:gd name="T31" fmla="*/ 59 h 78"/>
                <a:gd name="T32" fmla="*/ 74 w 74"/>
                <a:gd name="T33" fmla="*/ 60 h 78"/>
                <a:gd name="T34" fmla="*/ 62 w 74"/>
                <a:gd name="T35" fmla="*/ 73 h 78"/>
                <a:gd name="T36" fmla="*/ 48 w 74"/>
                <a:gd name="T37" fmla="*/ 77 h 78"/>
                <a:gd name="T38" fmla="*/ 38 w 74"/>
                <a:gd name="T39" fmla="*/ 76 h 78"/>
                <a:gd name="T40" fmla="*/ 33 w 74"/>
                <a:gd name="T41" fmla="*/ 78 h 78"/>
                <a:gd name="T42" fmla="*/ 29 w 74"/>
                <a:gd name="T43" fmla="*/ 75 h 78"/>
                <a:gd name="T44" fmla="*/ 34 w 74"/>
                <a:gd name="T45" fmla="*/ 76 h 78"/>
                <a:gd name="T46" fmla="*/ 40 w 74"/>
                <a:gd name="T47" fmla="*/ 75 h 78"/>
                <a:gd name="T48" fmla="*/ 48 w 74"/>
                <a:gd name="T49" fmla="*/ 76 h 78"/>
                <a:gd name="T50" fmla="*/ 70 w 74"/>
                <a:gd name="T51" fmla="*/ 63 h 78"/>
                <a:gd name="T52" fmla="*/ 71 w 74"/>
                <a:gd name="T53" fmla="*/ 41 h 78"/>
                <a:gd name="T54" fmla="*/ 65 w 74"/>
                <a:gd name="T55" fmla="*/ 28 h 78"/>
                <a:gd name="T56" fmla="*/ 56 w 74"/>
                <a:gd name="T57" fmla="*/ 23 h 78"/>
                <a:gd name="T58" fmla="*/ 43 w 74"/>
                <a:gd name="T59" fmla="*/ 12 h 78"/>
                <a:gd name="T60" fmla="*/ 38 w 74"/>
                <a:gd name="T61" fmla="*/ 16 h 78"/>
                <a:gd name="T62" fmla="*/ 31 w 74"/>
                <a:gd name="T63" fmla="*/ 6 h 78"/>
                <a:gd name="T64" fmla="*/ 19 w 74"/>
                <a:gd name="T65" fmla="*/ 1 h 78"/>
                <a:gd name="T66" fmla="*/ 10 w 74"/>
                <a:gd name="T67" fmla="*/ 9 h 78"/>
                <a:gd name="T68" fmla="*/ 5 w 74"/>
                <a:gd name="T69" fmla="*/ 34 h 78"/>
                <a:gd name="T70" fmla="*/ 1 w 74"/>
                <a:gd name="T71" fmla="*/ 53 h 78"/>
                <a:gd name="T72" fmla="*/ 5 w 74"/>
                <a:gd name="T73" fmla="*/ 62 h 78"/>
                <a:gd name="T74" fmla="*/ 5 w 74"/>
                <a:gd name="T75" fmla="*/ 68 h 78"/>
                <a:gd name="T76" fmla="*/ 12 w 74"/>
                <a:gd name="T77" fmla="*/ 70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78">
                  <a:moveTo>
                    <a:pt x="33" y="78"/>
                  </a:moveTo>
                  <a:cubicBezTo>
                    <a:pt x="32" y="78"/>
                    <a:pt x="30" y="77"/>
                    <a:pt x="28" y="76"/>
                  </a:cubicBezTo>
                  <a:cubicBezTo>
                    <a:pt x="23" y="74"/>
                    <a:pt x="17" y="71"/>
                    <a:pt x="12" y="71"/>
                  </a:cubicBezTo>
                  <a:cubicBezTo>
                    <a:pt x="11" y="71"/>
                    <a:pt x="10" y="71"/>
                    <a:pt x="10" y="71"/>
                  </a:cubicBezTo>
                  <a:cubicBezTo>
                    <a:pt x="7" y="72"/>
                    <a:pt x="5" y="70"/>
                    <a:pt x="4" y="69"/>
                  </a:cubicBezTo>
                  <a:cubicBezTo>
                    <a:pt x="4" y="69"/>
                    <a:pt x="4" y="69"/>
                    <a:pt x="4" y="69"/>
                  </a:cubicBezTo>
                  <a:cubicBezTo>
                    <a:pt x="3" y="68"/>
                    <a:pt x="3" y="68"/>
                    <a:pt x="3" y="68"/>
                  </a:cubicBezTo>
                  <a:cubicBezTo>
                    <a:pt x="4" y="68"/>
                    <a:pt x="4" y="68"/>
                    <a:pt x="4" y="68"/>
                  </a:cubicBezTo>
                  <a:cubicBezTo>
                    <a:pt x="5" y="63"/>
                    <a:pt x="5" y="62"/>
                    <a:pt x="5" y="62"/>
                  </a:cubicBezTo>
                  <a:cubicBezTo>
                    <a:pt x="4" y="62"/>
                    <a:pt x="4" y="62"/>
                    <a:pt x="4" y="62"/>
                  </a:cubicBezTo>
                  <a:cubicBezTo>
                    <a:pt x="2" y="61"/>
                    <a:pt x="0" y="61"/>
                    <a:pt x="0" y="53"/>
                  </a:cubicBezTo>
                  <a:cubicBezTo>
                    <a:pt x="0" y="49"/>
                    <a:pt x="1" y="47"/>
                    <a:pt x="2" y="45"/>
                  </a:cubicBezTo>
                  <a:cubicBezTo>
                    <a:pt x="3" y="43"/>
                    <a:pt x="4" y="40"/>
                    <a:pt x="4" y="34"/>
                  </a:cubicBezTo>
                  <a:cubicBezTo>
                    <a:pt x="4" y="28"/>
                    <a:pt x="6" y="22"/>
                    <a:pt x="7" y="18"/>
                  </a:cubicBezTo>
                  <a:cubicBezTo>
                    <a:pt x="8" y="15"/>
                    <a:pt x="9" y="12"/>
                    <a:pt x="9" y="9"/>
                  </a:cubicBezTo>
                  <a:cubicBezTo>
                    <a:pt x="9" y="7"/>
                    <a:pt x="11" y="4"/>
                    <a:pt x="14" y="1"/>
                  </a:cubicBezTo>
                  <a:cubicBezTo>
                    <a:pt x="14" y="1"/>
                    <a:pt x="14" y="1"/>
                    <a:pt x="14" y="1"/>
                  </a:cubicBezTo>
                  <a:cubicBezTo>
                    <a:pt x="14" y="1"/>
                    <a:pt x="14" y="1"/>
                    <a:pt x="14" y="1"/>
                  </a:cubicBezTo>
                  <a:cubicBezTo>
                    <a:pt x="16" y="1"/>
                    <a:pt x="17" y="1"/>
                    <a:pt x="18" y="0"/>
                  </a:cubicBezTo>
                  <a:cubicBezTo>
                    <a:pt x="19" y="0"/>
                    <a:pt x="21" y="0"/>
                    <a:pt x="22" y="0"/>
                  </a:cubicBezTo>
                  <a:cubicBezTo>
                    <a:pt x="25" y="0"/>
                    <a:pt x="28" y="2"/>
                    <a:pt x="31" y="5"/>
                  </a:cubicBezTo>
                  <a:cubicBezTo>
                    <a:pt x="34" y="8"/>
                    <a:pt x="35" y="11"/>
                    <a:pt x="36" y="13"/>
                  </a:cubicBezTo>
                  <a:cubicBezTo>
                    <a:pt x="36" y="14"/>
                    <a:pt x="37" y="15"/>
                    <a:pt x="37" y="15"/>
                  </a:cubicBezTo>
                  <a:cubicBezTo>
                    <a:pt x="38" y="15"/>
                    <a:pt x="38" y="14"/>
                    <a:pt x="39" y="14"/>
                  </a:cubicBezTo>
                  <a:cubicBezTo>
                    <a:pt x="40" y="12"/>
                    <a:pt x="41" y="11"/>
                    <a:pt x="43" y="11"/>
                  </a:cubicBezTo>
                  <a:cubicBezTo>
                    <a:pt x="44" y="11"/>
                    <a:pt x="45" y="12"/>
                    <a:pt x="46" y="13"/>
                  </a:cubicBezTo>
                  <a:cubicBezTo>
                    <a:pt x="48" y="16"/>
                    <a:pt x="53" y="19"/>
                    <a:pt x="57" y="22"/>
                  </a:cubicBezTo>
                  <a:cubicBezTo>
                    <a:pt x="59" y="23"/>
                    <a:pt x="61" y="24"/>
                    <a:pt x="62" y="25"/>
                  </a:cubicBezTo>
                  <a:cubicBezTo>
                    <a:pt x="63" y="26"/>
                    <a:pt x="64" y="27"/>
                    <a:pt x="65" y="28"/>
                  </a:cubicBezTo>
                  <a:cubicBezTo>
                    <a:pt x="68" y="29"/>
                    <a:pt x="72" y="32"/>
                    <a:pt x="72" y="37"/>
                  </a:cubicBezTo>
                  <a:cubicBezTo>
                    <a:pt x="72" y="38"/>
                    <a:pt x="72" y="40"/>
                    <a:pt x="72" y="41"/>
                  </a:cubicBezTo>
                  <a:cubicBezTo>
                    <a:pt x="71" y="46"/>
                    <a:pt x="71" y="53"/>
                    <a:pt x="74" y="59"/>
                  </a:cubicBezTo>
                  <a:cubicBezTo>
                    <a:pt x="74" y="59"/>
                    <a:pt x="74" y="59"/>
                    <a:pt x="74" y="59"/>
                  </a:cubicBezTo>
                  <a:cubicBezTo>
                    <a:pt x="74" y="60"/>
                    <a:pt x="74" y="60"/>
                    <a:pt x="74" y="60"/>
                  </a:cubicBezTo>
                  <a:cubicBezTo>
                    <a:pt x="73" y="61"/>
                    <a:pt x="72" y="62"/>
                    <a:pt x="71" y="64"/>
                  </a:cubicBezTo>
                  <a:cubicBezTo>
                    <a:pt x="68" y="68"/>
                    <a:pt x="66" y="71"/>
                    <a:pt x="62" y="73"/>
                  </a:cubicBezTo>
                  <a:cubicBezTo>
                    <a:pt x="58" y="76"/>
                    <a:pt x="53" y="77"/>
                    <a:pt x="48" y="77"/>
                  </a:cubicBezTo>
                  <a:cubicBezTo>
                    <a:pt x="48" y="77"/>
                    <a:pt x="48" y="77"/>
                    <a:pt x="48" y="77"/>
                  </a:cubicBezTo>
                  <a:cubicBezTo>
                    <a:pt x="45" y="77"/>
                    <a:pt x="42" y="77"/>
                    <a:pt x="40" y="76"/>
                  </a:cubicBezTo>
                  <a:cubicBezTo>
                    <a:pt x="39" y="76"/>
                    <a:pt x="38" y="76"/>
                    <a:pt x="38" y="76"/>
                  </a:cubicBezTo>
                  <a:cubicBezTo>
                    <a:pt x="36" y="76"/>
                    <a:pt x="36" y="77"/>
                    <a:pt x="35" y="77"/>
                  </a:cubicBezTo>
                  <a:cubicBezTo>
                    <a:pt x="34" y="77"/>
                    <a:pt x="34" y="78"/>
                    <a:pt x="33" y="78"/>
                  </a:cubicBezTo>
                  <a:close/>
                  <a:moveTo>
                    <a:pt x="12" y="70"/>
                  </a:moveTo>
                  <a:cubicBezTo>
                    <a:pt x="17" y="70"/>
                    <a:pt x="23" y="73"/>
                    <a:pt x="29" y="75"/>
                  </a:cubicBezTo>
                  <a:cubicBezTo>
                    <a:pt x="30" y="76"/>
                    <a:pt x="32" y="77"/>
                    <a:pt x="33" y="77"/>
                  </a:cubicBezTo>
                  <a:cubicBezTo>
                    <a:pt x="34" y="76"/>
                    <a:pt x="34" y="76"/>
                    <a:pt x="34" y="76"/>
                  </a:cubicBezTo>
                  <a:cubicBezTo>
                    <a:pt x="35" y="76"/>
                    <a:pt x="36" y="75"/>
                    <a:pt x="38" y="75"/>
                  </a:cubicBezTo>
                  <a:cubicBezTo>
                    <a:pt x="38" y="75"/>
                    <a:pt x="39" y="75"/>
                    <a:pt x="40" y="75"/>
                  </a:cubicBezTo>
                  <a:cubicBezTo>
                    <a:pt x="42" y="76"/>
                    <a:pt x="45" y="76"/>
                    <a:pt x="48" y="76"/>
                  </a:cubicBezTo>
                  <a:cubicBezTo>
                    <a:pt x="48" y="76"/>
                    <a:pt x="48" y="76"/>
                    <a:pt x="48" y="76"/>
                  </a:cubicBezTo>
                  <a:cubicBezTo>
                    <a:pt x="53" y="76"/>
                    <a:pt x="57" y="75"/>
                    <a:pt x="61" y="72"/>
                  </a:cubicBezTo>
                  <a:cubicBezTo>
                    <a:pt x="65" y="70"/>
                    <a:pt x="67" y="67"/>
                    <a:pt x="70" y="63"/>
                  </a:cubicBezTo>
                  <a:cubicBezTo>
                    <a:pt x="71" y="62"/>
                    <a:pt x="72" y="61"/>
                    <a:pt x="73" y="59"/>
                  </a:cubicBezTo>
                  <a:cubicBezTo>
                    <a:pt x="70" y="53"/>
                    <a:pt x="70" y="46"/>
                    <a:pt x="71" y="41"/>
                  </a:cubicBezTo>
                  <a:cubicBezTo>
                    <a:pt x="71" y="40"/>
                    <a:pt x="71" y="38"/>
                    <a:pt x="71" y="37"/>
                  </a:cubicBezTo>
                  <a:cubicBezTo>
                    <a:pt x="71" y="33"/>
                    <a:pt x="68" y="30"/>
                    <a:pt x="65" y="28"/>
                  </a:cubicBezTo>
                  <a:cubicBezTo>
                    <a:pt x="63" y="28"/>
                    <a:pt x="62" y="27"/>
                    <a:pt x="62" y="26"/>
                  </a:cubicBezTo>
                  <a:cubicBezTo>
                    <a:pt x="61" y="25"/>
                    <a:pt x="59" y="24"/>
                    <a:pt x="56" y="23"/>
                  </a:cubicBezTo>
                  <a:cubicBezTo>
                    <a:pt x="52" y="20"/>
                    <a:pt x="48" y="17"/>
                    <a:pt x="45" y="14"/>
                  </a:cubicBezTo>
                  <a:cubicBezTo>
                    <a:pt x="44" y="12"/>
                    <a:pt x="44" y="12"/>
                    <a:pt x="43" y="12"/>
                  </a:cubicBezTo>
                  <a:cubicBezTo>
                    <a:pt x="42" y="12"/>
                    <a:pt x="41" y="13"/>
                    <a:pt x="40" y="14"/>
                  </a:cubicBezTo>
                  <a:cubicBezTo>
                    <a:pt x="39" y="15"/>
                    <a:pt x="38" y="16"/>
                    <a:pt x="38" y="16"/>
                  </a:cubicBezTo>
                  <a:cubicBezTo>
                    <a:pt x="36" y="16"/>
                    <a:pt x="36" y="15"/>
                    <a:pt x="35" y="13"/>
                  </a:cubicBezTo>
                  <a:cubicBezTo>
                    <a:pt x="34" y="12"/>
                    <a:pt x="33" y="9"/>
                    <a:pt x="31" y="6"/>
                  </a:cubicBezTo>
                  <a:cubicBezTo>
                    <a:pt x="28" y="2"/>
                    <a:pt x="25" y="1"/>
                    <a:pt x="22" y="1"/>
                  </a:cubicBezTo>
                  <a:cubicBezTo>
                    <a:pt x="21" y="1"/>
                    <a:pt x="20" y="1"/>
                    <a:pt x="19" y="1"/>
                  </a:cubicBezTo>
                  <a:cubicBezTo>
                    <a:pt x="18" y="2"/>
                    <a:pt x="16" y="2"/>
                    <a:pt x="14" y="2"/>
                  </a:cubicBezTo>
                  <a:cubicBezTo>
                    <a:pt x="12" y="4"/>
                    <a:pt x="10" y="7"/>
                    <a:pt x="10" y="9"/>
                  </a:cubicBezTo>
                  <a:cubicBezTo>
                    <a:pt x="10" y="12"/>
                    <a:pt x="9" y="15"/>
                    <a:pt x="8" y="18"/>
                  </a:cubicBezTo>
                  <a:cubicBezTo>
                    <a:pt x="7" y="23"/>
                    <a:pt x="5" y="28"/>
                    <a:pt x="5" y="34"/>
                  </a:cubicBezTo>
                  <a:cubicBezTo>
                    <a:pt x="5" y="41"/>
                    <a:pt x="4" y="43"/>
                    <a:pt x="3" y="45"/>
                  </a:cubicBezTo>
                  <a:cubicBezTo>
                    <a:pt x="2" y="47"/>
                    <a:pt x="1" y="49"/>
                    <a:pt x="1" y="53"/>
                  </a:cubicBezTo>
                  <a:cubicBezTo>
                    <a:pt x="1" y="60"/>
                    <a:pt x="3" y="61"/>
                    <a:pt x="4" y="61"/>
                  </a:cubicBezTo>
                  <a:cubicBezTo>
                    <a:pt x="5" y="61"/>
                    <a:pt x="5" y="61"/>
                    <a:pt x="5" y="62"/>
                  </a:cubicBezTo>
                  <a:cubicBezTo>
                    <a:pt x="6" y="62"/>
                    <a:pt x="6" y="63"/>
                    <a:pt x="5" y="68"/>
                  </a:cubicBezTo>
                  <a:cubicBezTo>
                    <a:pt x="5" y="68"/>
                    <a:pt x="5" y="68"/>
                    <a:pt x="5" y="68"/>
                  </a:cubicBezTo>
                  <a:cubicBezTo>
                    <a:pt x="6" y="70"/>
                    <a:pt x="7" y="71"/>
                    <a:pt x="10" y="70"/>
                  </a:cubicBezTo>
                  <a:cubicBezTo>
                    <a:pt x="10" y="70"/>
                    <a:pt x="11" y="70"/>
                    <a:pt x="12" y="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2" name="Freeform 109"/>
            <p:cNvSpPr>
              <a:spLocks noEditPoints="1"/>
            </p:cNvSpPr>
            <p:nvPr/>
          </p:nvSpPr>
          <p:spPr>
            <a:xfrm>
              <a:off x="2944814" y="4365625"/>
              <a:ext cx="503238" cy="981075"/>
            </a:xfrm>
            <a:custGeom>
              <a:gdLst>
                <a:gd name="T0" fmla="*/ 73 w 296"/>
                <a:gd name="T1" fmla="*/ 575 h 578"/>
                <a:gd name="T2" fmla="*/ 77 w 296"/>
                <a:gd name="T3" fmla="*/ 540 h 578"/>
                <a:gd name="T4" fmla="*/ 104 w 296"/>
                <a:gd name="T5" fmla="*/ 576 h 578"/>
                <a:gd name="T6" fmla="*/ 122 w 296"/>
                <a:gd name="T7" fmla="*/ 571 h 578"/>
                <a:gd name="T8" fmla="*/ 75 w 296"/>
                <a:gd name="T9" fmla="*/ 542 h 578"/>
                <a:gd name="T10" fmla="*/ 98 w 296"/>
                <a:gd name="T11" fmla="*/ 576 h 578"/>
                <a:gd name="T12" fmla="*/ 45 w 296"/>
                <a:gd name="T13" fmla="*/ 514 h 578"/>
                <a:gd name="T14" fmla="*/ 6 w 296"/>
                <a:gd name="T15" fmla="*/ 488 h 578"/>
                <a:gd name="T16" fmla="*/ 17 w 296"/>
                <a:gd name="T17" fmla="*/ 440 h 578"/>
                <a:gd name="T18" fmla="*/ 27 w 296"/>
                <a:gd name="T19" fmla="*/ 403 h 578"/>
                <a:gd name="T20" fmla="*/ 36 w 296"/>
                <a:gd name="T21" fmla="*/ 376 h 578"/>
                <a:gd name="T22" fmla="*/ 26 w 296"/>
                <a:gd name="T23" fmla="*/ 332 h 578"/>
                <a:gd name="T24" fmla="*/ 32 w 296"/>
                <a:gd name="T25" fmla="*/ 281 h 578"/>
                <a:gd name="T26" fmla="*/ 45 w 296"/>
                <a:gd name="T27" fmla="*/ 230 h 578"/>
                <a:gd name="T28" fmla="*/ 54 w 296"/>
                <a:gd name="T29" fmla="*/ 181 h 578"/>
                <a:gd name="T30" fmla="*/ 53 w 296"/>
                <a:gd name="T31" fmla="*/ 119 h 578"/>
                <a:gd name="T32" fmla="*/ 75 w 296"/>
                <a:gd name="T33" fmla="*/ 71 h 578"/>
                <a:gd name="T34" fmla="*/ 95 w 296"/>
                <a:gd name="T35" fmla="*/ 13 h 578"/>
                <a:gd name="T36" fmla="*/ 137 w 296"/>
                <a:gd name="T37" fmla="*/ 10 h 578"/>
                <a:gd name="T38" fmla="*/ 160 w 296"/>
                <a:gd name="T39" fmla="*/ 2 h 578"/>
                <a:gd name="T40" fmla="*/ 228 w 296"/>
                <a:gd name="T41" fmla="*/ 74 h 578"/>
                <a:gd name="T42" fmla="*/ 250 w 296"/>
                <a:gd name="T43" fmla="*/ 88 h 578"/>
                <a:gd name="T44" fmla="*/ 281 w 296"/>
                <a:gd name="T45" fmla="*/ 57 h 578"/>
                <a:gd name="T46" fmla="*/ 251 w 296"/>
                <a:gd name="T47" fmla="*/ 116 h 578"/>
                <a:gd name="T48" fmla="*/ 229 w 296"/>
                <a:gd name="T49" fmla="*/ 192 h 578"/>
                <a:gd name="T50" fmla="*/ 242 w 296"/>
                <a:gd name="T51" fmla="*/ 214 h 578"/>
                <a:gd name="T52" fmla="*/ 209 w 296"/>
                <a:gd name="T53" fmla="*/ 273 h 578"/>
                <a:gd name="T54" fmla="*/ 165 w 296"/>
                <a:gd name="T55" fmla="*/ 301 h 578"/>
                <a:gd name="T56" fmla="*/ 128 w 296"/>
                <a:gd name="T57" fmla="*/ 330 h 578"/>
                <a:gd name="T58" fmla="*/ 141 w 296"/>
                <a:gd name="T59" fmla="*/ 345 h 578"/>
                <a:gd name="T60" fmla="*/ 119 w 296"/>
                <a:gd name="T61" fmla="*/ 375 h 578"/>
                <a:gd name="T62" fmla="*/ 115 w 296"/>
                <a:gd name="T63" fmla="*/ 428 h 578"/>
                <a:gd name="T64" fmla="*/ 69 w 296"/>
                <a:gd name="T65" fmla="*/ 483 h 578"/>
                <a:gd name="T66" fmla="*/ 63 w 296"/>
                <a:gd name="T67" fmla="*/ 518 h 578"/>
                <a:gd name="T68" fmla="*/ 65 w 296"/>
                <a:gd name="T69" fmla="*/ 494 h 578"/>
                <a:gd name="T70" fmla="*/ 105 w 296"/>
                <a:gd name="T71" fmla="*/ 444 h 578"/>
                <a:gd name="T72" fmla="*/ 115 w 296"/>
                <a:gd name="T73" fmla="*/ 382 h 578"/>
                <a:gd name="T74" fmla="*/ 133 w 296"/>
                <a:gd name="T75" fmla="*/ 339 h 578"/>
                <a:gd name="T76" fmla="*/ 132 w 296"/>
                <a:gd name="T77" fmla="*/ 334 h 578"/>
                <a:gd name="T78" fmla="*/ 149 w 296"/>
                <a:gd name="T79" fmla="*/ 313 h 578"/>
                <a:gd name="T80" fmla="*/ 172 w 296"/>
                <a:gd name="T81" fmla="*/ 274 h 578"/>
                <a:gd name="T82" fmla="*/ 239 w 296"/>
                <a:gd name="T83" fmla="*/ 227 h 578"/>
                <a:gd name="T84" fmla="*/ 229 w 296"/>
                <a:gd name="T85" fmla="*/ 192 h 578"/>
                <a:gd name="T86" fmla="*/ 251 w 296"/>
                <a:gd name="T87" fmla="*/ 116 h 578"/>
                <a:gd name="T88" fmla="*/ 277 w 296"/>
                <a:gd name="T89" fmla="*/ 79 h 578"/>
                <a:gd name="T90" fmla="*/ 250 w 296"/>
                <a:gd name="T91" fmla="*/ 88 h 578"/>
                <a:gd name="T92" fmla="*/ 227 w 296"/>
                <a:gd name="T93" fmla="*/ 74 h 578"/>
                <a:gd name="T94" fmla="*/ 159 w 296"/>
                <a:gd name="T95" fmla="*/ 2 h 578"/>
                <a:gd name="T96" fmla="*/ 119 w 296"/>
                <a:gd name="T97" fmla="*/ 4 h 578"/>
                <a:gd name="T98" fmla="*/ 77 w 296"/>
                <a:gd name="T99" fmla="*/ 47 h 578"/>
                <a:gd name="T100" fmla="*/ 69 w 296"/>
                <a:gd name="T101" fmla="*/ 86 h 578"/>
                <a:gd name="T102" fmla="*/ 48 w 296"/>
                <a:gd name="T103" fmla="*/ 146 h 578"/>
                <a:gd name="T104" fmla="*/ 51 w 296"/>
                <a:gd name="T105" fmla="*/ 205 h 578"/>
                <a:gd name="T106" fmla="*/ 39 w 296"/>
                <a:gd name="T107" fmla="*/ 265 h 578"/>
                <a:gd name="T108" fmla="*/ 24 w 296"/>
                <a:gd name="T109" fmla="*/ 307 h 578"/>
                <a:gd name="T110" fmla="*/ 27 w 296"/>
                <a:gd name="T111" fmla="*/ 359 h 578"/>
                <a:gd name="T112" fmla="*/ 27 w 296"/>
                <a:gd name="T113" fmla="*/ 380 h 578"/>
                <a:gd name="T114" fmla="*/ 28 w 296"/>
                <a:gd name="T115" fmla="*/ 415 h 578"/>
                <a:gd name="T116" fmla="*/ 11 w 296"/>
                <a:gd name="T117" fmla="*/ 456 h 578"/>
                <a:gd name="T118" fmla="*/ 21 w 296"/>
                <a:gd name="T119" fmla="*/ 493 h 578"/>
                <a:gd name="T120" fmla="*/ 63 w 296"/>
                <a:gd name="T121" fmla="*/ 518 h 5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578">
                  <a:moveTo>
                    <a:pt x="101" y="578"/>
                  </a:moveTo>
                  <a:cubicBezTo>
                    <a:pt x="101" y="578"/>
                    <a:pt x="101" y="578"/>
                    <a:pt x="101" y="578"/>
                  </a:cubicBezTo>
                  <a:cubicBezTo>
                    <a:pt x="100" y="578"/>
                    <a:pt x="99" y="577"/>
                    <a:pt x="98" y="577"/>
                  </a:cubicBezTo>
                  <a:cubicBezTo>
                    <a:pt x="98" y="577"/>
                    <a:pt x="98" y="577"/>
                    <a:pt x="97" y="577"/>
                  </a:cubicBezTo>
                  <a:cubicBezTo>
                    <a:pt x="97" y="577"/>
                    <a:pt x="97" y="577"/>
                    <a:pt x="97" y="577"/>
                  </a:cubicBezTo>
                  <a:cubicBezTo>
                    <a:pt x="95" y="575"/>
                    <a:pt x="92" y="575"/>
                    <a:pt x="87" y="575"/>
                  </a:cubicBezTo>
                  <a:cubicBezTo>
                    <a:pt x="83" y="575"/>
                    <a:pt x="80" y="575"/>
                    <a:pt x="78" y="575"/>
                  </a:cubicBezTo>
                  <a:cubicBezTo>
                    <a:pt x="75" y="575"/>
                    <a:pt x="74" y="575"/>
                    <a:pt x="73" y="575"/>
                  </a:cubicBezTo>
                  <a:cubicBezTo>
                    <a:pt x="72" y="575"/>
                    <a:pt x="70" y="575"/>
                    <a:pt x="72" y="527"/>
                  </a:cubicBezTo>
                  <a:cubicBezTo>
                    <a:pt x="72" y="526"/>
                    <a:pt x="72" y="526"/>
                    <a:pt x="72" y="526"/>
                  </a:cubicBezTo>
                  <a:cubicBezTo>
                    <a:pt x="73" y="526"/>
                    <a:pt x="73" y="526"/>
                    <a:pt x="73" y="526"/>
                  </a:cubicBezTo>
                  <a:cubicBezTo>
                    <a:pt x="76" y="527"/>
                    <a:pt x="79" y="530"/>
                    <a:pt x="79" y="533"/>
                  </a:cubicBezTo>
                  <a:cubicBezTo>
                    <a:pt x="80" y="534"/>
                    <a:pt x="79" y="535"/>
                    <a:pt x="78" y="535"/>
                  </a:cubicBezTo>
                  <a:cubicBezTo>
                    <a:pt x="76" y="536"/>
                    <a:pt x="74" y="539"/>
                    <a:pt x="74" y="540"/>
                  </a:cubicBezTo>
                  <a:cubicBezTo>
                    <a:pt x="75" y="541"/>
                    <a:pt x="75" y="541"/>
                    <a:pt x="75" y="541"/>
                  </a:cubicBezTo>
                  <a:cubicBezTo>
                    <a:pt x="76" y="541"/>
                    <a:pt x="76" y="541"/>
                    <a:pt x="77" y="540"/>
                  </a:cubicBezTo>
                  <a:cubicBezTo>
                    <a:pt x="80" y="540"/>
                    <a:pt x="81" y="541"/>
                    <a:pt x="81" y="543"/>
                  </a:cubicBezTo>
                  <a:cubicBezTo>
                    <a:pt x="82" y="544"/>
                    <a:pt x="82" y="546"/>
                    <a:pt x="84" y="547"/>
                  </a:cubicBezTo>
                  <a:cubicBezTo>
                    <a:pt x="85" y="548"/>
                    <a:pt x="86" y="549"/>
                    <a:pt x="87" y="550"/>
                  </a:cubicBezTo>
                  <a:cubicBezTo>
                    <a:pt x="94" y="556"/>
                    <a:pt x="106" y="566"/>
                    <a:pt x="112" y="566"/>
                  </a:cubicBezTo>
                  <a:cubicBezTo>
                    <a:pt x="120" y="567"/>
                    <a:pt x="124" y="567"/>
                    <a:pt x="124" y="569"/>
                  </a:cubicBezTo>
                  <a:cubicBezTo>
                    <a:pt x="125" y="570"/>
                    <a:pt x="123" y="571"/>
                    <a:pt x="122" y="572"/>
                  </a:cubicBezTo>
                  <a:cubicBezTo>
                    <a:pt x="120" y="573"/>
                    <a:pt x="116" y="574"/>
                    <a:pt x="113" y="574"/>
                  </a:cubicBezTo>
                  <a:cubicBezTo>
                    <a:pt x="109" y="574"/>
                    <a:pt x="106" y="575"/>
                    <a:pt x="104" y="576"/>
                  </a:cubicBezTo>
                  <a:cubicBezTo>
                    <a:pt x="104" y="577"/>
                    <a:pt x="103" y="578"/>
                    <a:pt x="101" y="578"/>
                  </a:cubicBezTo>
                  <a:close/>
                  <a:moveTo>
                    <a:pt x="98" y="576"/>
                  </a:moveTo>
                  <a:cubicBezTo>
                    <a:pt x="98" y="576"/>
                    <a:pt x="98" y="576"/>
                    <a:pt x="99" y="576"/>
                  </a:cubicBezTo>
                  <a:cubicBezTo>
                    <a:pt x="100" y="576"/>
                    <a:pt x="101" y="577"/>
                    <a:pt x="101" y="577"/>
                  </a:cubicBezTo>
                  <a:cubicBezTo>
                    <a:pt x="101" y="577"/>
                    <a:pt x="101" y="577"/>
                    <a:pt x="101" y="577"/>
                  </a:cubicBezTo>
                  <a:cubicBezTo>
                    <a:pt x="102" y="577"/>
                    <a:pt x="103" y="576"/>
                    <a:pt x="104" y="576"/>
                  </a:cubicBezTo>
                  <a:cubicBezTo>
                    <a:pt x="105" y="574"/>
                    <a:pt x="109" y="573"/>
                    <a:pt x="113" y="573"/>
                  </a:cubicBezTo>
                  <a:cubicBezTo>
                    <a:pt x="116" y="573"/>
                    <a:pt x="119" y="572"/>
                    <a:pt x="122" y="571"/>
                  </a:cubicBezTo>
                  <a:cubicBezTo>
                    <a:pt x="123" y="570"/>
                    <a:pt x="123" y="570"/>
                    <a:pt x="123" y="569"/>
                  </a:cubicBezTo>
                  <a:cubicBezTo>
                    <a:pt x="123" y="569"/>
                    <a:pt x="122" y="568"/>
                    <a:pt x="112" y="567"/>
                  </a:cubicBezTo>
                  <a:cubicBezTo>
                    <a:pt x="106" y="567"/>
                    <a:pt x="94" y="557"/>
                    <a:pt x="87" y="551"/>
                  </a:cubicBezTo>
                  <a:cubicBezTo>
                    <a:pt x="85" y="550"/>
                    <a:pt x="84" y="549"/>
                    <a:pt x="83" y="548"/>
                  </a:cubicBezTo>
                  <a:cubicBezTo>
                    <a:pt x="81" y="546"/>
                    <a:pt x="81" y="545"/>
                    <a:pt x="80" y="543"/>
                  </a:cubicBezTo>
                  <a:cubicBezTo>
                    <a:pt x="80" y="542"/>
                    <a:pt x="80" y="541"/>
                    <a:pt x="78" y="541"/>
                  </a:cubicBezTo>
                  <a:cubicBezTo>
                    <a:pt x="77" y="541"/>
                    <a:pt x="77" y="541"/>
                    <a:pt x="77" y="541"/>
                  </a:cubicBezTo>
                  <a:cubicBezTo>
                    <a:pt x="76" y="542"/>
                    <a:pt x="76" y="542"/>
                    <a:pt x="75" y="542"/>
                  </a:cubicBezTo>
                  <a:cubicBezTo>
                    <a:pt x="74" y="542"/>
                    <a:pt x="73" y="541"/>
                    <a:pt x="73" y="540"/>
                  </a:cubicBezTo>
                  <a:cubicBezTo>
                    <a:pt x="73" y="538"/>
                    <a:pt x="76" y="535"/>
                    <a:pt x="78" y="534"/>
                  </a:cubicBezTo>
                  <a:cubicBezTo>
                    <a:pt x="78" y="534"/>
                    <a:pt x="78" y="534"/>
                    <a:pt x="78" y="533"/>
                  </a:cubicBezTo>
                  <a:cubicBezTo>
                    <a:pt x="78" y="531"/>
                    <a:pt x="76" y="528"/>
                    <a:pt x="73" y="528"/>
                  </a:cubicBezTo>
                  <a:cubicBezTo>
                    <a:pt x="72" y="554"/>
                    <a:pt x="72" y="573"/>
                    <a:pt x="73" y="574"/>
                  </a:cubicBezTo>
                  <a:cubicBezTo>
                    <a:pt x="74" y="574"/>
                    <a:pt x="76" y="574"/>
                    <a:pt x="78" y="574"/>
                  </a:cubicBezTo>
                  <a:cubicBezTo>
                    <a:pt x="80" y="574"/>
                    <a:pt x="83" y="574"/>
                    <a:pt x="87" y="574"/>
                  </a:cubicBezTo>
                  <a:cubicBezTo>
                    <a:pt x="92" y="574"/>
                    <a:pt x="96" y="574"/>
                    <a:pt x="98" y="576"/>
                  </a:cubicBezTo>
                  <a:close/>
                  <a:moveTo>
                    <a:pt x="74" y="522"/>
                  </a:moveTo>
                  <a:cubicBezTo>
                    <a:pt x="73" y="522"/>
                    <a:pt x="71" y="521"/>
                    <a:pt x="69" y="521"/>
                  </a:cubicBezTo>
                  <a:cubicBezTo>
                    <a:pt x="67" y="520"/>
                    <a:pt x="65" y="519"/>
                    <a:pt x="63" y="519"/>
                  </a:cubicBezTo>
                  <a:cubicBezTo>
                    <a:pt x="63" y="519"/>
                    <a:pt x="62" y="519"/>
                    <a:pt x="62" y="520"/>
                  </a:cubicBezTo>
                  <a:cubicBezTo>
                    <a:pt x="61" y="520"/>
                    <a:pt x="61" y="520"/>
                    <a:pt x="61" y="520"/>
                  </a:cubicBezTo>
                  <a:cubicBezTo>
                    <a:pt x="61" y="520"/>
                    <a:pt x="61" y="520"/>
                    <a:pt x="61" y="520"/>
                  </a:cubicBezTo>
                  <a:cubicBezTo>
                    <a:pt x="59" y="517"/>
                    <a:pt x="56" y="516"/>
                    <a:pt x="54" y="515"/>
                  </a:cubicBezTo>
                  <a:cubicBezTo>
                    <a:pt x="52" y="515"/>
                    <a:pt x="49" y="514"/>
                    <a:pt x="45" y="514"/>
                  </a:cubicBezTo>
                  <a:cubicBezTo>
                    <a:pt x="38" y="514"/>
                    <a:pt x="29" y="515"/>
                    <a:pt x="28" y="516"/>
                  </a:cubicBezTo>
                  <a:cubicBezTo>
                    <a:pt x="26" y="516"/>
                    <a:pt x="24" y="514"/>
                    <a:pt x="23" y="512"/>
                  </a:cubicBezTo>
                  <a:cubicBezTo>
                    <a:pt x="22" y="511"/>
                    <a:pt x="22" y="509"/>
                    <a:pt x="21" y="509"/>
                  </a:cubicBezTo>
                  <a:cubicBezTo>
                    <a:pt x="20" y="509"/>
                    <a:pt x="20" y="509"/>
                    <a:pt x="20" y="509"/>
                  </a:cubicBezTo>
                  <a:cubicBezTo>
                    <a:pt x="18" y="506"/>
                    <a:pt x="18" y="497"/>
                    <a:pt x="20" y="492"/>
                  </a:cubicBezTo>
                  <a:cubicBezTo>
                    <a:pt x="20" y="491"/>
                    <a:pt x="20" y="491"/>
                    <a:pt x="20" y="491"/>
                  </a:cubicBezTo>
                  <a:cubicBezTo>
                    <a:pt x="19" y="489"/>
                    <a:pt x="15" y="489"/>
                    <a:pt x="12" y="489"/>
                  </a:cubicBezTo>
                  <a:cubicBezTo>
                    <a:pt x="10" y="489"/>
                    <a:pt x="8" y="489"/>
                    <a:pt x="6" y="488"/>
                  </a:cubicBezTo>
                  <a:cubicBezTo>
                    <a:pt x="4" y="487"/>
                    <a:pt x="5" y="486"/>
                    <a:pt x="5" y="484"/>
                  </a:cubicBezTo>
                  <a:cubicBezTo>
                    <a:pt x="5" y="483"/>
                    <a:pt x="5" y="481"/>
                    <a:pt x="4" y="479"/>
                  </a:cubicBezTo>
                  <a:cubicBezTo>
                    <a:pt x="0" y="475"/>
                    <a:pt x="2" y="470"/>
                    <a:pt x="2" y="467"/>
                  </a:cubicBezTo>
                  <a:cubicBezTo>
                    <a:pt x="3" y="466"/>
                    <a:pt x="3" y="465"/>
                    <a:pt x="3" y="465"/>
                  </a:cubicBezTo>
                  <a:cubicBezTo>
                    <a:pt x="3" y="462"/>
                    <a:pt x="6" y="455"/>
                    <a:pt x="11" y="455"/>
                  </a:cubicBezTo>
                  <a:cubicBezTo>
                    <a:pt x="13" y="455"/>
                    <a:pt x="14" y="453"/>
                    <a:pt x="14" y="451"/>
                  </a:cubicBezTo>
                  <a:cubicBezTo>
                    <a:pt x="14" y="449"/>
                    <a:pt x="15" y="446"/>
                    <a:pt x="17" y="445"/>
                  </a:cubicBezTo>
                  <a:cubicBezTo>
                    <a:pt x="19" y="443"/>
                    <a:pt x="18" y="442"/>
                    <a:pt x="17" y="440"/>
                  </a:cubicBezTo>
                  <a:cubicBezTo>
                    <a:pt x="16" y="437"/>
                    <a:pt x="14" y="435"/>
                    <a:pt x="17" y="433"/>
                  </a:cubicBezTo>
                  <a:cubicBezTo>
                    <a:pt x="18" y="432"/>
                    <a:pt x="18" y="431"/>
                    <a:pt x="19" y="429"/>
                  </a:cubicBezTo>
                  <a:cubicBezTo>
                    <a:pt x="19" y="427"/>
                    <a:pt x="19" y="424"/>
                    <a:pt x="23" y="424"/>
                  </a:cubicBezTo>
                  <a:cubicBezTo>
                    <a:pt x="26" y="423"/>
                    <a:pt x="26" y="422"/>
                    <a:pt x="25" y="419"/>
                  </a:cubicBezTo>
                  <a:cubicBezTo>
                    <a:pt x="25" y="417"/>
                    <a:pt x="25" y="414"/>
                    <a:pt x="27" y="414"/>
                  </a:cubicBezTo>
                  <a:cubicBezTo>
                    <a:pt x="28" y="414"/>
                    <a:pt x="28" y="413"/>
                    <a:pt x="29" y="413"/>
                  </a:cubicBezTo>
                  <a:cubicBezTo>
                    <a:pt x="29" y="412"/>
                    <a:pt x="29" y="411"/>
                    <a:pt x="28" y="409"/>
                  </a:cubicBezTo>
                  <a:cubicBezTo>
                    <a:pt x="28" y="407"/>
                    <a:pt x="27" y="405"/>
                    <a:pt x="27" y="403"/>
                  </a:cubicBezTo>
                  <a:cubicBezTo>
                    <a:pt x="28" y="401"/>
                    <a:pt x="28" y="399"/>
                    <a:pt x="27" y="397"/>
                  </a:cubicBezTo>
                  <a:cubicBezTo>
                    <a:pt x="27" y="395"/>
                    <a:pt x="26" y="392"/>
                    <a:pt x="30" y="391"/>
                  </a:cubicBezTo>
                  <a:cubicBezTo>
                    <a:pt x="31" y="390"/>
                    <a:pt x="32" y="390"/>
                    <a:pt x="32" y="389"/>
                  </a:cubicBezTo>
                  <a:cubicBezTo>
                    <a:pt x="33" y="387"/>
                    <a:pt x="31" y="385"/>
                    <a:pt x="28" y="382"/>
                  </a:cubicBezTo>
                  <a:cubicBezTo>
                    <a:pt x="27" y="382"/>
                    <a:pt x="26" y="381"/>
                    <a:pt x="26" y="380"/>
                  </a:cubicBezTo>
                  <a:cubicBezTo>
                    <a:pt x="26" y="378"/>
                    <a:pt x="29" y="378"/>
                    <a:pt x="34" y="378"/>
                  </a:cubicBezTo>
                  <a:cubicBezTo>
                    <a:pt x="35" y="378"/>
                    <a:pt x="35" y="378"/>
                    <a:pt x="35" y="378"/>
                  </a:cubicBezTo>
                  <a:cubicBezTo>
                    <a:pt x="36" y="377"/>
                    <a:pt x="36" y="377"/>
                    <a:pt x="36" y="376"/>
                  </a:cubicBezTo>
                  <a:cubicBezTo>
                    <a:pt x="36" y="374"/>
                    <a:pt x="34" y="372"/>
                    <a:pt x="32" y="373"/>
                  </a:cubicBezTo>
                  <a:cubicBezTo>
                    <a:pt x="29" y="374"/>
                    <a:pt x="26" y="373"/>
                    <a:pt x="25" y="370"/>
                  </a:cubicBezTo>
                  <a:cubicBezTo>
                    <a:pt x="24" y="368"/>
                    <a:pt x="25" y="366"/>
                    <a:pt x="27" y="364"/>
                  </a:cubicBezTo>
                  <a:cubicBezTo>
                    <a:pt x="29" y="363"/>
                    <a:pt x="28" y="361"/>
                    <a:pt x="26" y="359"/>
                  </a:cubicBezTo>
                  <a:cubicBezTo>
                    <a:pt x="25" y="358"/>
                    <a:pt x="24" y="357"/>
                    <a:pt x="24" y="355"/>
                  </a:cubicBezTo>
                  <a:cubicBezTo>
                    <a:pt x="26" y="353"/>
                    <a:pt x="26" y="350"/>
                    <a:pt x="23" y="348"/>
                  </a:cubicBezTo>
                  <a:cubicBezTo>
                    <a:pt x="21" y="347"/>
                    <a:pt x="22" y="341"/>
                    <a:pt x="22" y="337"/>
                  </a:cubicBezTo>
                  <a:cubicBezTo>
                    <a:pt x="23" y="336"/>
                    <a:pt x="24" y="332"/>
                    <a:pt x="26" y="332"/>
                  </a:cubicBezTo>
                  <a:cubicBezTo>
                    <a:pt x="27" y="332"/>
                    <a:pt x="27" y="325"/>
                    <a:pt x="26" y="321"/>
                  </a:cubicBezTo>
                  <a:cubicBezTo>
                    <a:pt x="26" y="319"/>
                    <a:pt x="26" y="318"/>
                    <a:pt x="26" y="317"/>
                  </a:cubicBezTo>
                  <a:cubicBezTo>
                    <a:pt x="26" y="315"/>
                    <a:pt x="25" y="314"/>
                    <a:pt x="25" y="312"/>
                  </a:cubicBezTo>
                  <a:cubicBezTo>
                    <a:pt x="24" y="310"/>
                    <a:pt x="23" y="308"/>
                    <a:pt x="23" y="307"/>
                  </a:cubicBezTo>
                  <a:cubicBezTo>
                    <a:pt x="23" y="305"/>
                    <a:pt x="24" y="304"/>
                    <a:pt x="25" y="303"/>
                  </a:cubicBezTo>
                  <a:cubicBezTo>
                    <a:pt x="26" y="302"/>
                    <a:pt x="27" y="300"/>
                    <a:pt x="27" y="297"/>
                  </a:cubicBezTo>
                  <a:cubicBezTo>
                    <a:pt x="27" y="291"/>
                    <a:pt x="28" y="288"/>
                    <a:pt x="31" y="287"/>
                  </a:cubicBezTo>
                  <a:cubicBezTo>
                    <a:pt x="33" y="287"/>
                    <a:pt x="32" y="284"/>
                    <a:pt x="32" y="281"/>
                  </a:cubicBezTo>
                  <a:cubicBezTo>
                    <a:pt x="32" y="280"/>
                    <a:pt x="32" y="278"/>
                    <a:pt x="32" y="277"/>
                  </a:cubicBezTo>
                  <a:cubicBezTo>
                    <a:pt x="32" y="275"/>
                    <a:pt x="34" y="274"/>
                    <a:pt x="36" y="274"/>
                  </a:cubicBezTo>
                  <a:cubicBezTo>
                    <a:pt x="38" y="274"/>
                    <a:pt x="40" y="274"/>
                    <a:pt x="40" y="271"/>
                  </a:cubicBezTo>
                  <a:cubicBezTo>
                    <a:pt x="41" y="268"/>
                    <a:pt x="39" y="267"/>
                    <a:pt x="38" y="266"/>
                  </a:cubicBezTo>
                  <a:cubicBezTo>
                    <a:pt x="37" y="265"/>
                    <a:pt x="36" y="264"/>
                    <a:pt x="37" y="263"/>
                  </a:cubicBezTo>
                  <a:cubicBezTo>
                    <a:pt x="37" y="260"/>
                    <a:pt x="37" y="258"/>
                    <a:pt x="37" y="254"/>
                  </a:cubicBezTo>
                  <a:cubicBezTo>
                    <a:pt x="36" y="251"/>
                    <a:pt x="36" y="248"/>
                    <a:pt x="36" y="243"/>
                  </a:cubicBezTo>
                  <a:cubicBezTo>
                    <a:pt x="36" y="236"/>
                    <a:pt x="41" y="233"/>
                    <a:pt x="45" y="230"/>
                  </a:cubicBezTo>
                  <a:cubicBezTo>
                    <a:pt x="46" y="230"/>
                    <a:pt x="47" y="229"/>
                    <a:pt x="47" y="229"/>
                  </a:cubicBezTo>
                  <a:cubicBezTo>
                    <a:pt x="48" y="228"/>
                    <a:pt x="48" y="224"/>
                    <a:pt x="47" y="220"/>
                  </a:cubicBezTo>
                  <a:cubicBezTo>
                    <a:pt x="46" y="216"/>
                    <a:pt x="45" y="211"/>
                    <a:pt x="47" y="210"/>
                  </a:cubicBezTo>
                  <a:cubicBezTo>
                    <a:pt x="49" y="209"/>
                    <a:pt x="49" y="207"/>
                    <a:pt x="50" y="205"/>
                  </a:cubicBezTo>
                  <a:cubicBezTo>
                    <a:pt x="50" y="203"/>
                    <a:pt x="50" y="201"/>
                    <a:pt x="52" y="200"/>
                  </a:cubicBezTo>
                  <a:cubicBezTo>
                    <a:pt x="53" y="199"/>
                    <a:pt x="54" y="196"/>
                    <a:pt x="54" y="193"/>
                  </a:cubicBezTo>
                  <a:cubicBezTo>
                    <a:pt x="54" y="192"/>
                    <a:pt x="55" y="190"/>
                    <a:pt x="55" y="188"/>
                  </a:cubicBezTo>
                  <a:cubicBezTo>
                    <a:pt x="56" y="185"/>
                    <a:pt x="55" y="183"/>
                    <a:pt x="54" y="181"/>
                  </a:cubicBezTo>
                  <a:cubicBezTo>
                    <a:pt x="53" y="179"/>
                    <a:pt x="52" y="178"/>
                    <a:pt x="52" y="175"/>
                  </a:cubicBezTo>
                  <a:cubicBezTo>
                    <a:pt x="52" y="171"/>
                    <a:pt x="51" y="167"/>
                    <a:pt x="47" y="161"/>
                  </a:cubicBezTo>
                  <a:cubicBezTo>
                    <a:pt x="44" y="157"/>
                    <a:pt x="44" y="149"/>
                    <a:pt x="46" y="146"/>
                  </a:cubicBezTo>
                  <a:cubicBezTo>
                    <a:pt x="46" y="145"/>
                    <a:pt x="47" y="145"/>
                    <a:pt x="48" y="145"/>
                  </a:cubicBezTo>
                  <a:cubicBezTo>
                    <a:pt x="48" y="145"/>
                    <a:pt x="49" y="143"/>
                    <a:pt x="49" y="141"/>
                  </a:cubicBezTo>
                  <a:cubicBezTo>
                    <a:pt x="50" y="138"/>
                    <a:pt x="51" y="134"/>
                    <a:pt x="54" y="133"/>
                  </a:cubicBezTo>
                  <a:cubicBezTo>
                    <a:pt x="54" y="133"/>
                    <a:pt x="55" y="133"/>
                    <a:pt x="55" y="132"/>
                  </a:cubicBezTo>
                  <a:cubicBezTo>
                    <a:pt x="57" y="129"/>
                    <a:pt x="55" y="124"/>
                    <a:pt x="53" y="119"/>
                  </a:cubicBezTo>
                  <a:cubicBezTo>
                    <a:pt x="52" y="115"/>
                    <a:pt x="54" y="115"/>
                    <a:pt x="55" y="114"/>
                  </a:cubicBezTo>
                  <a:cubicBezTo>
                    <a:pt x="56" y="113"/>
                    <a:pt x="57" y="113"/>
                    <a:pt x="57" y="111"/>
                  </a:cubicBezTo>
                  <a:cubicBezTo>
                    <a:pt x="57" y="106"/>
                    <a:pt x="60" y="99"/>
                    <a:pt x="64" y="98"/>
                  </a:cubicBezTo>
                  <a:cubicBezTo>
                    <a:pt x="68" y="96"/>
                    <a:pt x="68" y="88"/>
                    <a:pt x="68" y="86"/>
                  </a:cubicBezTo>
                  <a:cubicBezTo>
                    <a:pt x="68" y="84"/>
                    <a:pt x="70" y="82"/>
                    <a:pt x="73" y="81"/>
                  </a:cubicBezTo>
                  <a:cubicBezTo>
                    <a:pt x="74" y="80"/>
                    <a:pt x="76" y="79"/>
                    <a:pt x="77" y="78"/>
                  </a:cubicBezTo>
                  <a:cubicBezTo>
                    <a:pt x="78" y="78"/>
                    <a:pt x="77" y="76"/>
                    <a:pt x="76" y="75"/>
                  </a:cubicBezTo>
                  <a:cubicBezTo>
                    <a:pt x="75" y="73"/>
                    <a:pt x="75" y="72"/>
                    <a:pt x="75" y="71"/>
                  </a:cubicBezTo>
                  <a:cubicBezTo>
                    <a:pt x="75" y="70"/>
                    <a:pt x="76" y="69"/>
                    <a:pt x="77" y="69"/>
                  </a:cubicBezTo>
                  <a:cubicBezTo>
                    <a:pt x="79" y="67"/>
                    <a:pt x="77" y="64"/>
                    <a:pt x="76" y="60"/>
                  </a:cubicBezTo>
                  <a:cubicBezTo>
                    <a:pt x="75" y="57"/>
                    <a:pt x="74" y="54"/>
                    <a:pt x="75" y="53"/>
                  </a:cubicBezTo>
                  <a:cubicBezTo>
                    <a:pt x="77" y="52"/>
                    <a:pt x="76" y="50"/>
                    <a:pt x="76" y="47"/>
                  </a:cubicBezTo>
                  <a:cubicBezTo>
                    <a:pt x="76" y="46"/>
                    <a:pt x="76" y="44"/>
                    <a:pt x="76" y="43"/>
                  </a:cubicBezTo>
                  <a:cubicBezTo>
                    <a:pt x="76" y="41"/>
                    <a:pt x="81" y="38"/>
                    <a:pt x="85" y="35"/>
                  </a:cubicBezTo>
                  <a:cubicBezTo>
                    <a:pt x="89" y="33"/>
                    <a:pt x="92" y="31"/>
                    <a:pt x="93" y="30"/>
                  </a:cubicBezTo>
                  <a:cubicBezTo>
                    <a:pt x="94" y="28"/>
                    <a:pt x="95" y="20"/>
                    <a:pt x="95" y="13"/>
                  </a:cubicBezTo>
                  <a:cubicBezTo>
                    <a:pt x="95" y="13"/>
                    <a:pt x="95" y="13"/>
                    <a:pt x="95" y="13"/>
                  </a:cubicBezTo>
                  <a:cubicBezTo>
                    <a:pt x="96" y="12"/>
                    <a:pt x="96" y="12"/>
                    <a:pt x="96" y="12"/>
                  </a:cubicBezTo>
                  <a:cubicBezTo>
                    <a:pt x="100" y="10"/>
                    <a:pt x="103" y="7"/>
                    <a:pt x="106" y="4"/>
                  </a:cubicBezTo>
                  <a:cubicBezTo>
                    <a:pt x="109" y="1"/>
                    <a:pt x="110" y="0"/>
                    <a:pt x="112" y="0"/>
                  </a:cubicBezTo>
                  <a:cubicBezTo>
                    <a:pt x="113" y="0"/>
                    <a:pt x="114" y="1"/>
                    <a:pt x="115" y="1"/>
                  </a:cubicBezTo>
                  <a:cubicBezTo>
                    <a:pt x="116" y="2"/>
                    <a:pt x="117" y="3"/>
                    <a:pt x="120" y="3"/>
                  </a:cubicBezTo>
                  <a:cubicBezTo>
                    <a:pt x="120" y="3"/>
                    <a:pt x="121" y="3"/>
                    <a:pt x="122" y="3"/>
                  </a:cubicBezTo>
                  <a:cubicBezTo>
                    <a:pt x="128" y="4"/>
                    <a:pt x="134" y="5"/>
                    <a:pt x="137" y="10"/>
                  </a:cubicBezTo>
                  <a:cubicBezTo>
                    <a:pt x="137" y="11"/>
                    <a:pt x="138" y="12"/>
                    <a:pt x="138" y="12"/>
                  </a:cubicBezTo>
                  <a:cubicBezTo>
                    <a:pt x="139" y="12"/>
                    <a:pt x="141" y="8"/>
                    <a:pt x="142" y="6"/>
                  </a:cubicBezTo>
                  <a:cubicBezTo>
                    <a:pt x="143" y="4"/>
                    <a:pt x="144" y="2"/>
                    <a:pt x="145" y="2"/>
                  </a:cubicBezTo>
                  <a:cubicBezTo>
                    <a:pt x="145" y="1"/>
                    <a:pt x="147" y="0"/>
                    <a:pt x="149" y="0"/>
                  </a:cubicBezTo>
                  <a:cubicBezTo>
                    <a:pt x="152" y="0"/>
                    <a:pt x="155" y="1"/>
                    <a:pt x="157" y="1"/>
                  </a:cubicBezTo>
                  <a:cubicBezTo>
                    <a:pt x="158" y="1"/>
                    <a:pt x="159" y="1"/>
                    <a:pt x="159" y="1"/>
                  </a:cubicBezTo>
                  <a:cubicBezTo>
                    <a:pt x="160" y="1"/>
                    <a:pt x="160" y="1"/>
                    <a:pt x="160" y="1"/>
                  </a:cubicBezTo>
                  <a:cubicBezTo>
                    <a:pt x="160" y="2"/>
                    <a:pt x="160" y="2"/>
                    <a:pt x="160" y="2"/>
                  </a:cubicBezTo>
                  <a:cubicBezTo>
                    <a:pt x="163" y="7"/>
                    <a:pt x="173" y="18"/>
                    <a:pt x="180" y="22"/>
                  </a:cubicBezTo>
                  <a:cubicBezTo>
                    <a:pt x="183" y="24"/>
                    <a:pt x="185" y="26"/>
                    <a:pt x="186" y="27"/>
                  </a:cubicBezTo>
                  <a:cubicBezTo>
                    <a:pt x="189" y="30"/>
                    <a:pt x="190" y="31"/>
                    <a:pt x="196" y="32"/>
                  </a:cubicBezTo>
                  <a:cubicBezTo>
                    <a:pt x="205" y="33"/>
                    <a:pt x="209" y="37"/>
                    <a:pt x="212" y="40"/>
                  </a:cubicBezTo>
                  <a:cubicBezTo>
                    <a:pt x="214" y="42"/>
                    <a:pt x="221" y="45"/>
                    <a:pt x="227" y="48"/>
                  </a:cubicBezTo>
                  <a:cubicBezTo>
                    <a:pt x="234" y="51"/>
                    <a:pt x="238" y="53"/>
                    <a:pt x="239" y="54"/>
                  </a:cubicBezTo>
                  <a:cubicBezTo>
                    <a:pt x="240" y="56"/>
                    <a:pt x="238" y="58"/>
                    <a:pt x="235" y="62"/>
                  </a:cubicBezTo>
                  <a:cubicBezTo>
                    <a:pt x="232" y="65"/>
                    <a:pt x="228" y="70"/>
                    <a:pt x="228" y="74"/>
                  </a:cubicBezTo>
                  <a:cubicBezTo>
                    <a:pt x="228" y="79"/>
                    <a:pt x="226" y="81"/>
                    <a:pt x="224" y="82"/>
                  </a:cubicBezTo>
                  <a:cubicBezTo>
                    <a:pt x="224" y="83"/>
                    <a:pt x="223" y="83"/>
                    <a:pt x="223" y="84"/>
                  </a:cubicBezTo>
                  <a:cubicBezTo>
                    <a:pt x="223" y="85"/>
                    <a:pt x="226" y="85"/>
                    <a:pt x="229" y="85"/>
                  </a:cubicBezTo>
                  <a:cubicBezTo>
                    <a:pt x="232" y="85"/>
                    <a:pt x="235" y="85"/>
                    <a:pt x="237" y="86"/>
                  </a:cubicBezTo>
                  <a:cubicBezTo>
                    <a:pt x="237" y="87"/>
                    <a:pt x="238" y="87"/>
                    <a:pt x="239" y="87"/>
                  </a:cubicBezTo>
                  <a:cubicBezTo>
                    <a:pt x="240" y="87"/>
                    <a:pt x="241" y="87"/>
                    <a:pt x="242" y="87"/>
                  </a:cubicBezTo>
                  <a:cubicBezTo>
                    <a:pt x="244" y="87"/>
                    <a:pt x="245" y="86"/>
                    <a:pt x="246" y="86"/>
                  </a:cubicBezTo>
                  <a:cubicBezTo>
                    <a:pt x="248" y="86"/>
                    <a:pt x="249" y="87"/>
                    <a:pt x="250" y="88"/>
                  </a:cubicBezTo>
                  <a:cubicBezTo>
                    <a:pt x="251" y="88"/>
                    <a:pt x="252" y="88"/>
                    <a:pt x="253" y="88"/>
                  </a:cubicBezTo>
                  <a:cubicBezTo>
                    <a:pt x="254" y="88"/>
                    <a:pt x="256" y="87"/>
                    <a:pt x="258" y="86"/>
                  </a:cubicBezTo>
                  <a:cubicBezTo>
                    <a:pt x="260" y="85"/>
                    <a:pt x="261" y="84"/>
                    <a:pt x="263" y="85"/>
                  </a:cubicBezTo>
                  <a:cubicBezTo>
                    <a:pt x="264" y="85"/>
                    <a:pt x="266" y="84"/>
                    <a:pt x="268" y="82"/>
                  </a:cubicBezTo>
                  <a:cubicBezTo>
                    <a:pt x="270" y="81"/>
                    <a:pt x="272" y="79"/>
                    <a:pt x="274" y="79"/>
                  </a:cubicBezTo>
                  <a:cubicBezTo>
                    <a:pt x="275" y="79"/>
                    <a:pt x="276" y="79"/>
                    <a:pt x="276" y="78"/>
                  </a:cubicBezTo>
                  <a:cubicBezTo>
                    <a:pt x="279" y="74"/>
                    <a:pt x="282" y="63"/>
                    <a:pt x="281" y="58"/>
                  </a:cubicBezTo>
                  <a:cubicBezTo>
                    <a:pt x="281" y="57"/>
                    <a:pt x="281" y="57"/>
                    <a:pt x="281" y="57"/>
                  </a:cubicBezTo>
                  <a:cubicBezTo>
                    <a:pt x="281" y="56"/>
                    <a:pt x="281" y="56"/>
                    <a:pt x="281" y="56"/>
                  </a:cubicBezTo>
                  <a:cubicBezTo>
                    <a:pt x="282" y="56"/>
                    <a:pt x="282" y="56"/>
                    <a:pt x="282" y="56"/>
                  </a:cubicBezTo>
                  <a:cubicBezTo>
                    <a:pt x="283" y="56"/>
                    <a:pt x="284" y="56"/>
                    <a:pt x="285" y="56"/>
                  </a:cubicBezTo>
                  <a:cubicBezTo>
                    <a:pt x="288" y="56"/>
                    <a:pt x="290" y="56"/>
                    <a:pt x="291" y="57"/>
                  </a:cubicBezTo>
                  <a:cubicBezTo>
                    <a:pt x="294" y="58"/>
                    <a:pt x="296" y="76"/>
                    <a:pt x="294" y="80"/>
                  </a:cubicBezTo>
                  <a:cubicBezTo>
                    <a:pt x="293" y="82"/>
                    <a:pt x="289" y="84"/>
                    <a:pt x="284" y="86"/>
                  </a:cubicBezTo>
                  <a:cubicBezTo>
                    <a:pt x="282" y="87"/>
                    <a:pt x="279" y="88"/>
                    <a:pt x="276" y="90"/>
                  </a:cubicBezTo>
                  <a:cubicBezTo>
                    <a:pt x="271" y="93"/>
                    <a:pt x="258" y="106"/>
                    <a:pt x="251" y="116"/>
                  </a:cubicBezTo>
                  <a:cubicBezTo>
                    <a:pt x="249" y="121"/>
                    <a:pt x="245" y="124"/>
                    <a:pt x="242" y="128"/>
                  </a:cubicBezTo>
                  <a:cubicBezTo>
                    <a:pt x="238" y="132"/>
                    <a:pt x="234" y="136"/>
                    <a:pt x="234" y="139"/>
                  </a:cubicBezTo>
                  <a:cubicBezTo>
                    <a:pt x="234" y="142"/>
                    <a:pt x="233" y="145"/>
                    <a:pt x="232" y="148"/>
                  </a:cubicBezTo>
                  <a:cubicBezTo>
                    <a:pt x="231" y="153"/>
                    <a:pt x="229" y="158"/>
                    <a:pt x="229" y="164"/>
                  </a:cubicBezTo>
                  <a:cubicBezTo>
                    <a:pt x="229" y="171"/>
                    <a:pt x="228" y="173"/>
                    <a:pt x="227" y="175"/>
                  </a:cubicBezTo>
                  <a:cubicBezTo>
                    <a:pt x="226" y="177"/>
                    <a:pt x="225" y="179"/>
                    <a:pt x="225" y="183"/>
                  </a:cubicBezTo>
                  <a:cubicBezTo>
                    <a:pt x="225" y="190"/>
                    <a:pt x="227" y="191"/>
                    <a:pt x="228" y="191"/>
                  </a:cubicBezTo>
                  <a:cubicBezTo>
                    <a:pt x="229" y="191"/>
                    <a:pt x="229" y="191"/>
                    <a:pt x="229" y="192"/>
                  </a:cubicBezTo>
                  <a:cubicBezTo>
                    <a:pt x="230" y="192"/>
                    <a:pt x="230" y="193"/>
                    <a:pt x="228" y="198"/>
                  </a:cubicBezTo>
                  <a:cubicBezTo>
                    <a:pt x="228" y="199"/>
                    <a:pt x="228" y="199"/>
                    <a:pt x="228" y="199"/>
                  </a:cubicBezTo>
                  <a:cubicBezTo>
                    <a:pt x="228" y="199"/>
                    <a:pt x="228" y="199"/>
                    <a:pt x="228" y="199"/>
                  </a:cubicBezTo>
                  <a:cubicBezTo>
                    <a:pt x="227" y="198"/>
                    <a:pt x="227" y="198"/>
                    <a:pt x="226" y="198"/>
                  </a:cubicBezTo>
                  <a:cubicBezTo>
                    <a:pt x="225" y="198"/>
                    <a:pt x="224" y="198"/>
                    <a:pt x="223" y="199"/>
                  </a:cubicBezTo>
                  <a:cubicBezTo>
                    <a:pt x="222" y="201"/>
                    <a:pt x="221" y="202"/>
                    <a:pt x="222" y="203"/>
                  </a:cubicBezTo>
                  <a:cubicBezTo>
                    <a:pt x="223" y="206"/>
                    <a:pt x="228" y="208"/>
                    <a:pt x="233" y="209"/>
                  </a:cubicBezTo>
                  <a:cubicBezTo>
                    <a:pt x="238" y="209"/>
                    <a:pt x="241" y="211"/>
                    <a:pt x="242" y="214"/>
                  </a:cubicBezTo>
                  <a:cubicBezTo>
                    <a:pt x="243" y="215"/>
                    <a:pt x="243" y="216"/>
                    <a:pt x="242" y="218"/>
                  </a:cubicBezTo>
                  <a:cubicBezTo>
                    <a:pt x="239" y="221"/>
                    <a:pt x="239" y="224"/>
                    <a:pt x="240" y="227"/>
                  </a:cubicBezTo>
                  <a:cubicBezTo>
                    <a:pt x="240" y="228"/>
                    <a:pt x="242" y="229"/>
                    <a:pt x="244" y="230"/>
                  </a:cubicBezTo>
                  <a:cubicBezTo>
                    <a:pt x="247" y="230"/>
                    <a:pt x="250" y="232"/>
                    <a:pt x="251" y="234"/>
                  </a:cubicBezTo>
                  <a:cubicBezTo>
                    <a:pt x="252" y="236"/>
                    <a:pt x="251" y="238"/>
                    <a:pt x="250" y="240"/>
                  </a:cubicBezTo>
                  <a:cubicBezTo>
                    <a:pt x="249" y="242"/>
                    <a:pt x="248" y="244"/>
                    <a:pt x="246" y="247"/>
                  </a:cubicBezTo>
                  <a:cubicBezTo>
                    <a:pt x="242" y="251"/>
                    <a:pt x="238" y="256"/>
                    <a:pt x="237" y="259"/>
                  </a:cubicBezTo>
                  <a:cubicBezTo>
                    <a:pt x="236" y="264"/>
                    <a:pt x="224" y="270"/>
                    <a:pt x="209" y="273"/>
                  </a:cubicBezTo>
                  <a:cubicBezTo>
                    <a:pt x="198" y="275"/>
                    <a:pt x="187" y="277"/>
                    <a:pt x="179" y="277"/>
                  </a:cubicBezTo>
                  <a:cubicBezTo>
                    <a:pt x="175" y="277"/>
                    <a:pt x="172" y="276"/>
                    <a:pt x="171" y="275"/>
                  </a:cubicBezTo>
                  <a:cubicBezTo>
                    <a:pt x="170" y="274"/>
                    <a:pt x="168" y="274"/>
                    <a:pt x="167" y="276"/>
                  </a:cubicBezTo>
                  <a:cubicBezTo>
                    <a:pt x="166" y="277"/>
                    <a:pt x="166" y="279"/>
                    <a:pt x="167" y="280"/>
                  </a:cubicBezTo>
                  <a:cubicBezTo>
                    <a:pt x="167" y="282"/>
                    <a:pt x="168" y="283"/>
                    <a:pt x="169" y="284"/>
                  </a:cubicBezTo>
                  <a:cubicBezTo>
                    <a:pt x="170" y="286"/>
                    <a:pt x="170" y="287"/>
                    <a:pt x="170" y="288"/>
                  </a:cubicBezTo>
                  <a:cubicBezTo>
                    <a:pt x="170" y="289"/>
                    <a:pt x="169" y="290"/>
                    <a:pt x="167" y="291"/>
                  </a:cubicBezTo>
                  <a:cubicBezTo>
                    <a:pt x="163" y="294"/>
                    <a:pt x="164" y="298"/>
                    <a:pt x="165" y="301"/>
                  </a:cubicBezTo>
                  <a:cubicBezTo>
                    <a:pt x="166" y="303"/>
                    <a:pt x="166" y="304"/>
                    <a:pt x="166" y="305"/>
                  </a:cubicBezTo>
                  <a:cubicBezTo>
                    <a:pt x="166" y="309"/>
                    <a:pt x="159" y="314"/>
                    <a:pt x="149" y="314"/>
                  </a:cubicBezTo>
                  <a:cubicBezTo>
                    <a:pt x="144" y="313"/>
                    <a:pt x="139" y="311"/>
                    <a:pt x="135" y="309"/>
                  </a:cubicBezTo>
                  <a:cubicBezTo>
                    <a:pt x="132" y="308"/>
                    <a:pt x="129" y="307"/>
                    <a:pt x="128" y="307"/>
                  </a:cubicBezTo>
                  <a:cubicBezTo>
                    <a:pt x="127" y="307"/>
                    <a:pt x="126" y="307"/>
                    <a:pt x="126" y="307"/>
                  </a:cubicBezTo>
                  <a:cubicBezTo>
                    <a:pt x="124" y="311"/>
                    <a:pt x="125" y="318"/>
                    <a:pt x="127" y="320"/>
                  </a:cubicBezTo>
                  <a:cubicBezTo>
                    <a:pt x="127" y="322"/>
                    <a:pt x="127" y="324"/>
                    <a:pt x="127" y="326"/>
                  </a:cubicBezTo>
                  <a:cubicBezTo>
                    <a:pt x="127" y="327"/>
                    <a:pt x="127" y="329"/>
                    <a:pt x="128" y="330"/>
                  </a:cubicBezTo>
                  <a:cubicBezTo>
                    <a:pt x="128" y="331"/>
                    <a:pt x="128" y="331"/>
                    <a:pt x="129" y="331"/>
                  </a:cubicBezTo>
                  <a:cubicBezTo>
                    <a:pt x="130" y="331"/>
                    <a:pt x="131" y="332"/>
                    <a:pt x="133" y="333"/>
                  </a:cubicBezTo>
                  <a:cubicBezTo>
                    <a:pt x="134" y="334"/>
                    <a:pt x="135" y="335"/>
                    <a:pt x="137" y="335"/>
                  </a:cubicBezTo>
                  <a:cubicBezTo>
                    <a:pt x="137" y="335"/>
                    <a:pt x="138" y="334"/>
                    <a:pt x="139" y="333"/>
                  </a:cubicBezTo>
                  <a:cubicBezTo>
                    <a:pt x="140" y="332"/>
                    <a:pt x="141" y="331"/>
                    <a:pt x="143" y="331"/>
                  </a:cubicBezTo>
                  <a:cubicBezTo>
                    <a:pt x="144" y="331"/>
                    <a:pt x="146" y="331"/>
                    <a:pt x="147" y="332"/>
                  </a:cubicBezTo>
                  <a:cubicBezTo>
                    <a:pt x="149" y="334"/>
                    <a:pt x="150" y="336"/>
                    <a:pt x="149" y="338"/>
                  </a:cubicBezTo>
                  <a:cubicBezTo>
                    <a:pt x="148" y="342"/>
                    <a:pt x="144" y="345"/>
                    <a:pt x="141" y="345"/>
                  </a:cubicBezTo>
                  <a:cubicBezTo>
                    <a:pt x="139" y="345"/>
                    <a:pt x="138" y="343"/>
                    <a:pt x="137" y="342"/>
                  </a:cubicBezTo>
                  <a:cubicBezTo>
                    <a:pt x="136" y="341"/>
                    <a:pt x="136" y="340"/>
                    <a:pt x="133" y="340"/>
                  </a:cubicBezTo>
                  <a:cubicBezTo>
                    <a:pt x="131" y="340"/>
                    <a:pt x="129" y="341"/>
                    <a:pt x="129" y="342"/>
                  </a:cubicBezTo>
                  <a:cubicBezTo>
                    <a:pt x="129" y="343"/>
                    <a:pt x="131" y="344"/>
                    <a:pt x="132" y="345"/>
                  </a:cubicBezTo>
                  <a:cubicBezTo>
                    <a:pt x="134" y="345"/>
                    <a:pt x="135" y="346"/>
                    <a:pt x="134" y="347"/>
                  </a:cubicBezTo>
                  <a:cubicBezTo>
                    <a:pt x="134" y="348"/>
                    <a:pt x="132" y="350"/>
                    <a:pt x="128" y="350"/>
                  </a:cubicBezTo>
                  <a:cubicBezTo>
                    <a:pt x="123" y="351"/>
                    <a:pt x="123" y="359"/>
                    <a:pt x="123" y="365"/>
                  </a:cubicBezTo>
                  <a:cubicBezTo>
                    <a:pt x="123" y="370"/>
                    <a:pt x="122" y="373"/>
                    <a:pt x="119" y="375"/>
                  </a:cubicBezTo>
                  <a:cubicBezTo>
                    <a:pt x="118" y="376"/>
                    <a:pt x="118" y="378"/>
                    <a:pt x="118" y="379"/>
                  </a:cubicBezTo>
                  <a:cubicBezTo>
                    <a:pt x="118" y="381"/>
                    <a:pt x="118" y="383"/>
                    <a:pt x="115" y="383"/>
                  </a:cubicBezTo>
                  <a:cubicBezTo>
                    <a:pt x="101" y="384"/>
                    <a:pt x="95" y="391"/>
                    <a:pt x="92" y="396"/>
                  </a:cubicBezTo>
                  <a:cubicBezTo>
                    <a:pt x="90" y="400"/>
                    <a:pt x="89" y="404"/>
                    <a:pt x="91" y="407"/>
                  </a:cubicBezTo>
                  <a:cubicBezTo>
                    <a:pt x="93" y="413"/>
                    <a:pt x="99" y="417"/>
                    <a:pt x="101" y="418"/>
                  </a:cubicBezTo>
                  <a:cubicBezTo>
                    <a:pt x="102" y="418"/>
                    <a:pt x="105" y="419"/>
                    <a:pt x="107" y="419"/>
                  </a:cubicBezTo>
                  <a:cubicBezTo>
                    <a:pt x="111" y="419"/>
                    <a:pt x="116" y="420"/>
                    <a:pt x="116" y="422"/>
                  </a:cubicBezTo>
                  <a:cubicBezTo>
                    <a:pt x="116" y="424"/>
                    <a:pt x="115" y="426"/>
                    <a:pt x="115" y="428"/>
                  </a:cubicBezTo>
                  <a:cubicBezTo>
                    <a:pt x="114" y="431"/>
                    <a:pt x="113" y="435"/>
                    <a:pt x="113" y="436"/>
                  </a:cubicBezTo>
                  <a:cubicBezTo>
                    <a:pt x="115" y="438"/>
                    <a:pt x="111" y="441"/>
                    <a:pt x="105" y="445"/>
                  </a:cubicBezTo>
                  <a:cubicBezTo>
                    <a:pt x="102" y="447"/>
                    <a:pt x="99" y="449"/>
                    <a:pt x="96" y="451"/>
                  </a:cubicBezTo>
                  <a:cubicBezTo>
                    <a:pt x="96" y="451"/>
                    <a:pt x="96" y="451"/>
                    <a:pt x="96" y="451"/>
                  </a:cubicBezTo>
                  <a:cubicBezTo>
                    <a:pt x="90" y="457"/>
                    <a:pt x="86" y="459"/>
                    <a:pt x="86" y="467"/>
                  </a:cubicBezTo>
                  <a:cubicBezTo>
                    <a:pt x="86" y="475"/>
                    <a:pt x="80" y="478"/>
                    <a:pt x="77" y="478"/>
                  </a:cubicBezTo>
                  <a:cubicBezTo>
                    <a:pt x="75" y="477"/>
                    <a:pt x="75" y="478"/>
                    <a:pt x="73" y="479"/>
                  </a:cubicBezTo>
                  <a:cubicBezTo>
                    <a:pt x="72" y="481"/>
                    <a:pt x="71" y="482"/>
                    <a:pt x="69" y="483"/>
                  </a:cubicBezTo>
                  <a:cubicBezTo>
                    <a:pt x="66" y="486"/>
                    <a:pt x="66" y="491"/>
                    <a:pt x="66" y="494"/>
                  </a:cubicBezTo>
                  <a:cubicBezTo>
                    <a:pt x="66" y="495"/>
                    <a:pt x="66" y="496"/>
                    <a:pt x="66" y="496"/>
                  </a:cubicBezTo>
                  <a:cubicBezTo>
                    <a:pt x="66" y="498"/>
                    <a:pt x="67" y="500"/>
                    <a:pt x="67" y="502"/>
                  </a:cubicBezTo>
                  <a:cubicBezTo>
                    <a:pt x="68" y="504"/>
                    <a:pt x="68" y="506"/>
                    <a:pt x="68" y="507"/>
                  </a:cubicBezTo>
                  <a:cubicBezTo>
                    <a:pt x="68" y="509"/>
                    <a:pt x="70" y="511"/>
                    <a:pt x="72" y="513"/>
                  </a:cubicBezTo>
                  <a:cubicBezTo>
                    <a:pt x="75" y="517"/>
                    <a:pt x="77" y="520"/>
                    <a:pt x="76" y="521"/>
                  </a:cubicBezTo>
                  <a:cubicBezTo>
                    <a:pt x="75" y="522"/>
                    <a:pt x="75" y="522"/>
                    <a:pt x="74" y="522"/>
                  </a:cubicBezTo>
                  <a:close/>
                  <a:moveTo>
                    <a:pt x="63" y="518"/>
                  </a:moveTo>
                  <a:cubicBezTo>
                    <a:pt x="65" y="518"/>
                    <a:pt x="67" y="519"/>
                    <a:pt x="70" y="520"/>
                  </a:cubicBezTo>
                  <a:cubicBezTo>
                    <a:pt x="71" y="520"/>
                    <a:pt x="73" y="521"/>
                    <a:pt x="74" y="521"/>
                  </a:cubicBezTo>
                  <a:cubicBezTo>
                    <a:pt x="75" y="521"/>
                    <a:pt x="75" y="521"/>
                    <a:pt x="75" y="521"/>
                  </a:cubicBezTo>
                  <a:cubicBezTo>
                    <a:pt x="76" y="520"/>
                    <a:pt x="73" y="516"/>
                    <a:pt x="71" y="514"/>
                  </a:cubicBezTo>
                  <a:cubicBezTo>
                    <a:pt x="69" y="511"/>
                    <a:pt x="67" y="509"/>
                    <a:pt x="67" y="507"/>
                  </a:cubicBezTo>
                  <a:cubicBezTo>
                    <a:pt x="67" y="506"/>
                    <a:pt x="67" y="504"/>
                    <a:pt x="66" y="502"/>
                  </a:cubicBezTo>
                  <a:cubicBezTo>
                    <a:pt x="66" y="500"/>
                    <a:pt x="65" y="498"/>
                    <a:pt x="65" y="496"/>
                  </a:cubicBezTo>
                  <a:cubicBezTo>
                    <a:pt x="65" y="496"/>
                    <a:pt x="65" y="495"/>
                    <a:pt x="65" y="494"/>
                  </a:cubicBezTo>
                  <a:cubicBezTo>
                    <a:pt x="65" y="491"/>
                    <a:pt x="65" y="485"/>
                    <a:pt x="69" y="482"/>
                  </a:cubicBezTo>
                  <a:cubicBezTo>
                    <a:pt x="70" y="481"/>
                    <a:pt x="72" y="480"/>
                    <a:pt x="72" y="479"/>
                  </a:cubicBezTo>
                  <a:cubicBezTo>
                    <a:pt x="74" y="477"/>
                    <a:pt x="75" y="476"/>
                    <a:pt x="77" y="477"/>
                  </a:cubicBezTo>
                  <a:cubicBezTo>
                    <a:pt x="77" y="477"/>
                    <a:pt x="77" y="477"/>
                    <a:pt x="77" y="477"/>
                  </a:cubicBezTo>
                  <a:cubicBezTo>
                    <a:pt x="80" y="477"/>
                    <a:pt x="85" y="474"/>
                    <a:pt x="85" y="467"/>
                  </a:cubicBezTo>
                  <a:cubicBezTo>
                    <a:pt x="85" y="459"/>
                    <a:pt x="89" y="456"/>
                    <a:pt x="95" y="451"/>
                  </a:cubicBezTo>
                  <a:cubicBezTo>
                    <a:pt x="96" y="450"/>
                    <a:pt x="96" y="450"/>
                    <a:pt x="96" y="450"/>
                  </a:cubicBezTo>
                  <a:cubicBezTo>
                    <a:pt x="98" y="448"/>
                    <a:pt x="102" y="446"/>
                    <a:pt x="105" y="444"/>
                  </a:cubicBezTo>
                  <a:cubicBezTo>
                    <a:pt x="109" y="441"/>
                    <a:pt x="113" y="438"/>
                    <a:pt x="113" y="437"/>
                  </a:cubicBezTo>
                  <a:cubicBezTo>
                    <a:pt x="112" y="435"/>
                    <a:pt x="113" y="431"/>
                    <a:pt x="114" y="428"/>
                  </a:cubicBezTo>
                  <a:cubicBezTo>
                    <a:pt x="115" y="425"/>
                    <a:pt x="115" y="423"/>
                    <a:pt x="115" y="422"/>
                  </a:cubicBezTo>
                  <a:cubicBezTo>
                    <a:pt x="115" y="421"/>
                    <a:pt x="110" y="420"/>
                    <a:pt x="107" y="420"/>
                  </a:cubicBezTo>
                  <a:cubicBezTo>
                    <a:pt x="104" y="420"/>
                    <a:pt x="102" y="419"/>
                    <a:pt x="101" y="419"/>
                  </a:cubicBezTo>
                  <a:cubicBezTo>
                    <a:pt x="99" y="418"/>
                    <a:pt x="92" y="414"/>
                    <a:pt x="90" y="408"/>
                  </a:cubicBezTo>
                  <a:cubicBezTo>
                    <a:pt x="88" y="404"/>
                    <a:pt x="89" y="400"/>
                    <a:pt x="91" y="396"/>
                  </a:cubicBezTo>
                  <a:cubicBezTo>
                    <a:pt x="94" y="390"/>
                    <a:pt x="100" y="383"/>
                    <a:pt x="115" y="382"/>
                  </a:cubicBezTo>
                  <a:cubicBezTo>
                    <a:pt x="116" y="382"/>
                    <a:pt x="117" y="381"/>
                    <a:pt x="117" y="379"/>
                  </a:cubicBezTo>
                  <a:cubicBezTo>
                    <a:pt x="117" y="377"/>
                    <a:pt x="117" y="375"/>
                    <a:pt x="118" y="374"/>
                  </a:cubicBezTo>
                  <a:cubicBezTo>
                    <a:pt x="121" y="373"/>
                    <a:pt x="122" y="370"/>
                    <a:pt x="122" y="365"/>
                  </a:cubicBezTo>
                  <a:cubicBezTo>
                    <a:pt x="122" y="359"/>
                    <a:pt x="122" y="350"/>
                    <a:pt x="128" y="349"/>
                  </a:cubicBezTo>
                  <a:cubicBezTo>
                    <a:pt x="132" y="349"/>
                    <a:pt x="133" y="348"/>
                    <a:pt x="133" y="347"/>
                  </a:cubicBezTo>
                  <a:cubicBezTo>
                    <a:pt x="134" y="346"/>
                    <a:pt x="133" y="346"/>
                    <a:pt x="132" y="346"/>
                  </a:cubicBezTo>
                  <a:cubicBezTo>
                    <a:pt x="130" y="345"/>
                    <a:pt x="128" y="343"/>
                    <a:pt x="128" y="342"/>
                  </a:cubicBezTo>
                  <a:cubicBezTo>
                    <a:pt x="128" y="341"/>
                    <a:pt x="129" y="339"/>
                    <a:pt x="133" y="339"/>
                  </a:cubicBezTo>
                  <a:cubicBezTo>
                    <a:pt x="136" y="338"/>
                    <a:pt x="137" y="340"/>
                    <a:pt x="138" y="342"/>
                  </a:cubicBezTo>
                  <a:cubicBezTo>
                    <a:pt x="139" y="343"/>
                    <a:pt x="139" y="344"/>
                    <a:pt x="141" y="344"/>
                  </a:cubicBezTo>
                  <a:cubicBezTo>
                    <a:pt x="143" y="344"/>
                    <a:pt x="147" y="341"/>
                    <a:pt x="148" y="338"/>
                  </a:cubicBezTo>
                  <a:cubicBezTo>
                    <a:pt x="148" y="337"/>
                    <a:pt x="148" y="335"/>
                    <a:pt x="146" y="333"/>
                  </a:cubicBezTo>
                  <a:cubicBezTo>
                    <a:pt x="145" y="332"/>
                    <a:pt x="144" y="332"/>
                    <a:pt x="143" y="332"/>
                  </a:cubicBezTo>
                  <a:cubicBezTo>
                    <a:pt x="142" y="332"/>
                    <a:pt x="141" y="333"/>
                    <a:pt x="140" y="334"/>
                  </a:cubicBezTo>
                  <a:cubicBezTo>
                    <a:pt x="139" y="335"/>
                    <a:pt x="138" y="336"/>
                    <a:pt x="137" y="336"/>
                  </a:cubicBezTo>
                  <a:cubicBezTo>
                    <a:pt x="135" y="336"/>
                    <a:pt x="133" y="335"/>
                    <a:pt x="132" y="334"/>
                  </a:cubicBezTo>
                  <a:cubicBezTo>
                    <a:pt x="131" y="333"/>
                    <a:pt x="130" y="332"/>
                    <a:pt x="129" y="332"/>
                  </a:cubicBezTo>
                  <a:cubicBezTo>
                    <a:pt x="128" y="332"/>
                    <a:pt x="127" y="331"/>
                    <a:pt x="127" y="330"/>
                  </a:cubicBezTo>
                  <a:cubicBezTo>
                    <a:pt x="126" y="329"/>
                    <a:pt x="126" y="327"/>
                    <a:pt x="126" y="326"/>
                  </a:cubicBezTo>
                  <a:cubicBezTo>
                    <a:pt x="126" y="324"/>
                    <a:pt x="126" y="322"/>
                    <a:pt x="126" y="321"/>
                  </a:cubicBezTo>
                  <a:cubicBezTo>
                    <a:pt x="125" y="318"/>
                    <a:pt x="122" y="311"/>
                    <a:pt x="125" y="307"/>
                  </a:cubicBezTo>
                  <a:cubicBezTo>
                    <a:pt x="126" y="306"/>
                    <a:pt x="127" y="306"/>
                    <a:pt x="128" y="306"/>
                  </a:cubicBezTo>
                  <a:cubicBezTo>
                    <a:pt x="130" y="306"/>
                    <a:pt x="132" y="307"/>
                    <a:pt x="136" y="308"/>
                  </a:cubicBezTo>
                  <a:cubicBezTo>
                    <a:pt x="140" y="310"/>
                    <a:pt x="144" y="312"/>
                    <a:pt x="149" y="313"/>
                  </a:cubicBezTo>
                  <a:cubicBezTo>
                    <a:pt x="158" y="313"/>
                    <a:pt x="165" y="308"/>
                    <a:pt x="165" y="305"/>
                  </a:cubicBezTo>
                  <a:cubicBezTo>
                    <a:pt x="165" y="304"/>
                    <a:pt x="165" y="303"/>
                    <a:pt x="164" y="301"/>
                  </a:cubicBezTo>
                  <a:cubicBezTo>
                    <a:pt x="163" y="298"/>
                    <a:pt x="162" y="294"/>
                    <a:pt x="167" y="291"/>
                  </a:cubicBezTo>
                  <a:cubicBezTo>
                    <a:pt x="168" y="290"/>
                    <a:pt x="169" y="289"/>
                    <a:pt x="169" y="288"/>
                  </a:cubicBezTo>
                  <a:cubicBezTo>
                    <a:pt x="169" y="287"/>
                    <a:pt x="169" y="286"/>
                    <a:pt x="168" y="285"/>
                  </a:cubicBezTo>
                  <a:cubicBezTo>
                    <a:pt x="167" y="284"/>
                    <a:pt x="166" y="283"/>
                    <a:pt x="166" y="281"/>
                  </a:cubicBezTo>
                  <a:cubicBezTo>
                    <a:pt x="165" y="279"/>
                    <a:pt x="165" y="277"/>
                    <a:pt x="166" y="275"/>
                  </a:cubicBezTo>
                  <a:cubicBezTo>
                    <a:pt x="168" y="273"/>
                    <a:pt x="170" y="273"/>
                    <a:pt x="172" y="274"/>
                  </a:cubicBezTo>
                  <a:cubicBezTo>
                    <a:pt x="172" y="275"/>
                    <a:pt x="174" y="276"/>
                    <a:pt x="179" y="276"/>
                  </a:cubicBezTo>
                  <a:cubicBezTo>
                    <a:pt x="187" y="276"/>
                    <a:pt x="198" y="274"/>
                    <a:pt x="209" y="272"/>
                  </a:cubicBezTo>
                  <a:cubicBezTo>
                    <a:pt x="225" y="269"/>
                    <a:pt x="235" y="263"/>
                    <a:pt x="236" y="259"/>
                  </a:cubicBezTo>
                  <a:cubicBezTo>
                    <a:pt x="237" y="256"/>
                    <a:pt x="241" y="251"/>
                    <a:pt x="245" y="246"/>
                  </a:cubicBezTo>
                  <a:cubicBezTo>
                    <a:pt x="247" y="243"/>
                    <a:pt x="249" y="241"/>
                    <a:pt x="249" y="240"/>
                  </a:cubicBezTo>
                  <a:cubicBezTo>
                    <a:pt x="250" y="238"/>
                    <a:pt x="251" y="236"/>
                    <a:pt x="250" y="235"/>
                  </a:cubicBezTo>
                  <a:cubicBezTo>
                    <a:pt x="249" y="233"/>
                    <a:pt x="247" y="231"/>
                    <a:pt x="244" y="231"/>
                  </a:cubicBezTo>
                  <a:cubicBezTo>
                    <a:pt x="240" y="230"/>
                    <a:pt x="239" y="228"/>
                    <a:pt x="239" y="227"/>
                  </a:cubicBezTo>
                  <a:cubicBezTo>
                    <a:pt x="238" y="224"/>
                    <a:pt x="238" y="220"/>
                    <a:pt x="241" y="217"/>
                  </a:cubicBezTo>
                  <a:cubicBezTo>
                    <a:pt x="242" y="216"/>
                    <a:pt x="242" y="215"/>
                    <a:pt x="242" y="214"/>
                  </a:cubicBezTo>
                  <a:cubicBezTo>
                    <a:pt x="241" y="212"/>
                    <a:pt x="237" y="210"/>
                    <a:pt x="233" y="210"/>
                  </a:cubicBezTo>
                  <a:cubicBezTo>
                    <a:pt x="229" y="209"/>
                    <a:pt x="222" y="207"/>
                    <a:pt x="221" y="203"/>
                  </a:cubicBezTo>
                  <a:cubicBezTo>
                    <a:pt x="220" y="202"/>
                    <a:pt x="221" y="200"/>
                    <a:pt x="222" y="199"/>
                  </a:cubicBezTo>
                  <a:cubicBezTo>
                    <a:pt x="224" y="197"/>
                    <a:pt x="225" y="197"/>
                    <a:pt x="226" y="197"/>
                  </a:cubicBezTo>
                  <a:cubicBezTo>
                    <a:pt x="227" y="197"/>
                    <a:pt x="227" y="197"/>
                    <a:pt x="228" y="197"/>
                  </a:cubicBezTo>
                  <a:cubicBezTo>
                    <a:pt x="229" y="193"/>
                    <a:pt x="229" y="192"/>
                    <a:pt x="229" y="192"/>
                  </a:cubicBezTo>
                  <a:cubicBezTo>
                    <a:pt x="228" y="192"/>
                    <a:pt x="228" y="192"/>
                    <a:pt x="228" y="192"/>
                  </a:cubicBezTo>
                  <a:cubicBezTo>
                    <a:pt x="226" y="191"/>
                    <a:pt x="224" y="191"/>
                    <a:pt x="224" y="183"/>
                  </a:cubicBezTo>
                  <a:cubicBezTo>
                    <a:pt x="224" y="179"/>
                    <a:pt x="225" y="177"/>
                    <a:pt x="226" y="175"/>
                  </a:cubicBezTo>
                  <a:cubicBezTo>
                    <a:pt x="227" y="173"/>
                    <a:pt x="228" y="170"/>
                    <a:pt x="228" y="164"/>
                  </a:cubicBezTo>
                  <a:cubicBezTo>
                    <a:pt x="228" y="158"/>
                    <a:pt x="230" y="152"/>
                    <a:pt x="231" y="148"/>
                  </a:cubicBezTo>
                  <a:cubicBezTo>
                    <a:pt x="232" y="145"/>
                    <a:pt x="233" y="142"/>
                    <a:pt x="233" y="139"/>
                  </a:cubicBezTo>
                  <a:cubicBezTo>
                    <a:pt x="233" y="136"/>
                    <a:pt x="237" y="132"/>
                    <a:pt x="241" y="127"/>
                  </a:cubicBezTo>
                  <a:cubicBezTo>
                    <a:pt x="244" y="124"/>
                    <a:pt x="248" y="120"/>
                    <a:pt x="251" y="116"/>
                  </a:cubicBezTo>
                  <a:cubicBezTo>
                    <a:pt x="257" y="105"/>
                    <a:pt x="271" y="92"/>
                    <a:pt x="276" y="89"/>
                  </a:cubicBezTo>
                  <a:cubicBezTo>
                    <a:pt x="278" y="88"/>
                    <a:pt x="281" y="86"/>
                    <a:pt x="284" y="85"/>
                  </a:cubicBezTo>
                  <a:cubicBezTo>
                    <a:pt x="288" y="83"/>
                    <a:pt x="293" y="81"/>
                    <a:pt x="293" y="79"/>
                  </a:cubicBezTo>
                  <a:cubicBezTo>
                    <a:pt x="295" y="76"/>
                    <a:pt x="293" y="59"/>
                    <a:pt x="291" y="58"/>
                  </a:cubicBezTo>
                  <a:cubicBezTo>
                    <a:pt x="290" y="58"/>
                    <a:pt x="289" y="57"/>
                    <a:pt x="285" y="57"/>
                  </a:cubicBezTo>
                  <a:cubicBezTo>
                    <a:pt x="284" y="57"/>
                    <a:pt x="283" y="57"/>
                    <a:pt x="282" y="57"/>
                  </a:cubicBezTo>
                  <a:cubicBezTo>
                    <a:pt x="282" y="58"/>
                    <a:pt x="282" y="58"/>
                    <a:pt x="282" y="58"/>
                  </a:cubicBezTo>
                  <a:cubicBezTo>
                    <a:pt x="283" y="63"/>
                    <a:pt x="280" y="75"/>
                    <a:pt x="277" y="79"/>
                  </a:cubicBezTo>
                  <a:cubicBezTo>
                    <a:pt x="276" y="80"/>
                    <a:pt x="275" y="80"/>
                    <a:pt x="274" y="80"/>
                  </a:cubicBezTo>
                  <a:cubicBezTo>
                    <a:pt x="274" y="80"/>
                    <a:pt x="274" y="80"/>
                    <a:pt x="274" y="80"/>
                  </a:cubicBezTo>
                  <a:cubicBezTo>
                    <a:pt x="272" y="80"/>
                    <a:pt x="270" y="82"/>
                    <a:pt x="268" y="83"/>
                  </a:cubicBezTo>
                  <a:cubicBezTo>
                    <a:pt x="267" y="85"/>
                    <a:pt x="265" y="86"/>
                    <a:pt x="263" y="86"/>
                  </a:cubicBezTo>
                  <a:cubicBezTo>
                    <a:pt x="263" y="86"/>
                    <a:pt x="263" y="86"/>
                    <a:pt x="263" y="86"/>
                  </a:cubicBezTo>
                  <a:cubicBezTo>
                    <a:pt x="262" y="86"/>
                    <a:pt x="260" y="86"/>
                    <a:pt x="258" y="87"/>
                  </a:cubicBezTo>
                  <a:cubicBezTo>
                    <a:pt x="256" y="88"/>
                    <a:pt x="254" y="89"/>
                    <a:pt x="253" y="89"/>
                  </a:cubicBezTo>
                  <a:cubicBezTo>
                    <a:pt x="252" y="89"/>
                    <a:pt x="251" y="89"/>
                    <a:pt x="250" y="88"/>
                  </a:cubicBezTo>
                  <a:cubicBezTo>
                    <a:pt x="249" y="88"/>
                    <a:pt x="248" y="87"/>
                    <a:pt x="246" y="87"/>
                  </a:cubicBezTo>
                  <a:cubicBezTo>
                    <a:pt x="245" y="87"/>
                    <a:pt x="244" y="88"/>
                    <a:pt x="243" y="88"/>
                  </a:cubicBezTo>
                  <a:cubicBezTo>
                    <a:pt x="242" y="88"/>
                    <a:pt x="240" y="88"/>
                    <a:pt x="239" y="88"/>
                  </a:cubicBezTo>
                  <a:cubicBezTo>
                    <a:pt x="238" y="88"/>
                    <a:pt x="237" y="88"/>
                    <a:pt x="236" y="87"/>
                  </a:cubicBezTo>
                  <a:cubicBezTo>
                    <a:pt x="234" y="86"/>
                    <a:pt x="231" y="86"/>
                    <a:pt x="229" y="86"/>
                  </a:cubicBezTo>
                  <a:cubicBezTo>
                    <a:pt x="225" y="86"/>
                    <a:pt x="222" y="85"/>
                    <a:pt x="222" y="84"/>
                  </a:cubicBezTo>
                  <a:cubicBezTo>
                    <a:pt x="222" y="82"/>
                    <a:pt x="223" y="82"/>
                    <a:pt x="224" y="81"/>
                  </a:cubicBezTo>
                  <a:cubicBezTo>
                    <a:pt x="225" y="80"/>
                    <a:pt x="227" y="79"/>
                    <a:pt x="227" y="74"/>
                  </a:cubicBezTo>
                  <a:cubicBezTo>
                    <a:pt x="227" y="69"/>
                    <a:pt x="231" y="65"/>
                    <a:pt x="234" y="61"/>
                  </a:cubicBezTo>
                  <a:cubicBezTo>
                    <a:pt x="237" y="58"/>
                    <a:pt x="239" y="56"/>
                    <a:pt x="238" y="55"/>
                  </a:cubicBezTo>
                  <a:cubicBezTo>
                    <a:pt x="238" y="53"/>
                    <a:pt x="232" y="51"/>
                    <a:pt x="226" y="49"/>
                  </a:cubicBezTo>
                  <a:cubicBezTo>
                    <a:pt x="220" y="46"/>
                    <a:pt x="213" y="43"/>
                    <a:pt x="211" y="41"/>
                  </a:cubicBezTo>
                  <a:cubicBezTo>
                    <a:pt x="209" y="38"/>
                    <a:pt x="205" y="34"/>
                    <a:pt x="196" y="33"/>
                  </a:cubicBezTo>
                  <a:cubicBezTo>
                    <a:pt x="190" y="32"/>
                    <a:pt x="188" y="30"/>
                    <a:pt x="185" y="28"/>
                  </a:cubicBezTo>
                  <a:cubicBezTo>
                    <a:pt x="184" y="26"/>
                    <a:pt x="182" y="25"/>
                    <a:pt x="179" y="23"/>
                  </a:cubicBezTo>
                  <a:cubicBezTo>
                    <a:pt x="172" y="19"/>
                    <a:pt x="162" y="8"/>
                    <a:pt x="159" y="2"/>
                  </a:cubicBezTo>
                  <a:cubicBezTo>
                    <a:pt x="158" y="2"/>
                    <a:pt x="158" y="2"/>
                    <a:pt x="157" y="2"/>
                  </a:cubicBezTo>
                  <a:cubicBezTo>
                    <a:pt x="155" y="2"/>
                    <a:pt x="152" y="1"/>
                    <a:pt x="149" y="1"/>
                  </a:cubicBezTo>
                  <a:cubicBezTo>
                    <a:pt x="147" y="1"/>
                    <a:pt x="146" y="2"/>
                    <a:pt x="145" y="2"/>
                  </a:cubicBezTo>
                  <a:cubicBezTo>
                    <a:pt x="145" y="3"/>
                    <a:pt x="144" y="4"/>
                    <a:pt x="143" y="6"/>
                  </a:cubicBezTo>
                  <a:cubicBezTo>
                    <a:pt x="142" y="9"/>
                    <a:pt x="140" y="13"/>
                    <a:pt x="138" y="13"/>
                  </a:cubicBezTo>
                  <a:cubicBezTo>
                    <a:pt x="137" y="13"/>
                    <a:pt x="137" y="12"/>
                    <a:pt x="136" y="11"/>
                  </a:cubicBezTo>
                  <a:cubicBezTo>
                    <a:pt x="133" y="6"/>
                    <a:pt x="128" y="5"/>
                    <a:pt x="122" y="4"/>
                  </a:cubicBezTo>
                  <a:cubicBezTo>
                    <a:pt x="121" y="4"/>
                    <a:pt x="120" y="4"/>
                    <a:pt x="119" y="4"/>
                  </a:cubicBezTo>
                  <a:cubicBezTo>
                    <a:pt x="117" y="4"/>
                    <a:pt x="116" y="3"/>
                    <a:pt x="114" y="2"/>
                  </a:cubicBezTo>
                  <a:cubicBezTo>
                    <a:pt x="114" y="1"/>
                    <a:pt x="113" y="1"/>
                    <a:pt x="112" y="1"/>
                  </a:cubicBezTo>
                  <a:cubicBezTo>
                    <a:pt x="111" y="1"/>
                    <a:pt x="109" y="2"/>
                    <a:pt x="107" y="4"/>
                  </a:cubicBezTo>
                  <a:cubicBezTo>
                    <a:pt x="104" y="7"/>
                    <a:pt x="100" y="11"/>
                    <a:pt x="96" y="13"/>
                  </a:cubicBezTo>
                  <a:cubicBezTo>
                    <a:pt x="96" y="20"/>
                    <a:pt x="95" y="28"/>
                    <a:pt x="93" y="30"/>
                  </a:cubicBezTo>
                  <a:cubicBezTo>
                    <a:pt x="93" y="32"/>
                    <a:pt x="89" y="34"/>
                    <a:pt x="86" y="36"/>
                  </a:cubicBezTo>
                  <a:cubicBezTo>
                    <a:pt x="82" y="38"/>
                    <a:pt x="77" y="41"/>
                    <a:pt x="77" y="43"/>
                  </a:cubicBezTo>
                  <a:cubicBezTo>
                    <a:pt x="77" y="44"/>
                    <a:pt x="77" y="46"/>
                    <a:pt x="77" y="47"/>
                  </a:cubicBezTo>
                  <a:cubicBezTo>
                    <a:pt x="77" y="50"/>
                    <a:pt x="78" y="52"/>
                    <a:pt x="76" y="54"/>
                  </a:cubicBezTo>
                  <a:cubicBezTo>
                    <a:pt x="75" y="55"/>
                    <a:pt x="76" y="57"/>
                    <a:pt x="77" y="60"/>
                  </a:cubicBezTo>
                  <a:cubicBezTo>
                    <a:pt x="78" y="64"/>
                    <a:pt x="80" y="68"/>
                    <a:pt x="77" y="70"/>
                  </a:cubicBezTo>
                  <a:cubicBezTo>
                    <a:pt x="76" y="70"/>
                    <a:pt x="76" y="70"/>
                    <a:pt x="76" y="71"/>
                  </a:cubicBezTo>
                  <a:cubicBezTo>
                    <a:pt x="76" y="72"/>
                    <a:pt x="76" y="73"/>
                    <a:pt x="77" y="74"/>
                  </a:cubicBezTo>
                  <a:cubicBezTo>
                    <a:pt x="78" y="76"/>
                    <a:pt x="79" y="78"/>
                    <a:pt x="78" y="79"/>
                  </a:cubicBezTo>
                  <a:cubicBezTo>
                    <a:pt x="76" y="80"/>
                    <a:pt x="75" y="81"/>
                    <a:pt x="74" y="82"/>
                  </a:cubicBezTo>
                  <a:cubicBezTo>
                    <a:pt x="71" y="83"/>
                    <a:pt x="69" y="84"/>
                    <a:pt x="69" y="86"/>
                  </a:cubicBezTo>
                  <a:cubicBezTo>
                    <a:pt x="69" y="89"/>
                    <a:pt x="69" y="97"/>
                    <a:pt x="64" y="98"/>
                  </a:cubicBezTo>
                  <a:cubicBezTo>
                    <a:pt x="61" y="100"/>
                    <a:pt x="58" y="106"/>
                    <a:pt x="58" y="111"/>
                  </a:cubicBezTo>
                  <a:cubicBezTo>
                    <a:pt x="58" y="114"/>
                    <a:pt x="57" y="114"/>
                    <a:pt x="55" y="115"/>
                  </a:cubicBezTo>
                  <a:cubicBezTo>
                    <a:pt x="54" y="115"/>
                    <a:pt x="53" y="116"/>
                    <a:pt x="54" y="119"/>
                  </a:cubicBezTo>
                  <a:cubicBezTo>
                    <a:pt x="56" y="124"/>
                    <a:pt x="58" y="129"/>
                    <a:pt x="56" y="132"/>
                  </a:cubicBezTo>
                  <a:cubicBezTo>
                    <a:pt x="56" y="133"/>
                    <a:pt x="55" y="134"/>
                    <a:pt x="54" y="134"/>
                  </a:cubicBezTo>
                  <a:cubicBezTo>
                    <a:pt x="51" y="135"/>
                    <a:pt x="51" y="138"/>
                    <a:pt x="50" y="141"/>
                  </a:cubicBezTo>
                  <a:cubicBezTo>
                    <a:pt x="50" y="144"/>
                    <a:pt x="49" y="146"/>
                    <a:pt x="48" y="146"/>
                  </a:cubicBezTo>
                  <a:cubicBezTo>
                    <a:pt x="47" y="146"/>
                    <a:pt x="47" y="146"/>
                    <a:pt x="47" y="147"/>
                  </a:cubicBezTo>
                  <a:cubicBezTo>
                    <a:pt x="45" y="150"/>
                    <a:pt x="45" y="157"/>
                    <a:pt x="48" y="161"/>
                  </a:cubicBezTo>
                  <a:cubicBezTo>
                    <a:pt x="52" y="166"/>
                    <a:pt x="53" y="171"/>
                    <a:pt x="53" y="175"/>
                  </a:cubicBezTo>
                  <a:cubicBezTo>
                    <a:pt x="53" y="177"/>
                    <a:pt x="54" y="179"/>
                    <a:pt x="55" y="180"/>
                  </a:cubicBezTo>
                  <a:cubicBezTo>
                    <a:pt x="56" y="183"/>
                    <a:pt x="57" y="185"/>
                    <a:pt x="56" y="188"/>
                  </a:cubicBezTo>
                  <a:cubicBezTo>
                    <a:pt x="56" y="190"/>
                    <a:pt x="55" y="192"/>
                    <a:pt x="55" y="194"/>
                  </a:cubicBezTo>
                  <a:cubicBezTo>
                    <a:pt x="55" y="197"/>
                    <a:pt x="54" y="199"/>
                    <a:pt x="52" y="201"/>
                  </a:cubicBezTo>
                  <a:cubicBezTo>
                    <a:pt x="51" y="201"/>
                    <a:pt x="51" y="203"/>
                    <a:pt x="51" y="205"/>
                  </a:cubicBezTo>
                  <a:cubicBezTo>
                    <a:pt x="50" y="207"/>
                    <a:pt x="50" y="210"/>
                    <a:pt x="48" y="211"/>
                  </a:cubicBezTo>
                  <a:cubicBezTo>
                    <a:pt x="46" y="212"/>
                    <a:pt x="47" y="216"/>
                    <a:pt x="48" y="220"/>
                  </a:cubicBezTo>
                  <a:cubicBezTo>
                    <a:pt x="49" y="224"/>
                    <a:pt x="50" y="228"/>
                    <a:pt x="48" y="229"/>
                  </a:cubicBezTo>
                  <a:cubicBezTo>
                    <a:pt x="47" y="230"/>
                    <a:pt x="46" y="231"/>
                    <a:pt x="45" y="231"/>
                  </a:cubicBezTo>
                  <a:cubicBezTo>
                    <a:pt x="42" y="233"/>
                    <a:pt x="37" y="236"/>
                    <a:pt x="37" y="243"/>
                  </a:cubicBezTo>
                  <a:cubicBezTo>
                    <a:pt x="37" y="248"/>
                    <a:pt x="37" y="251"/>
                    <a:pt x="38" y="254"/>
                  </a:cubicBezTo>
                  <a:cubicBezTo>
                    <a:pt x="38" y="258"/>
                    <a:pt x="38" y="260"/>
                    <a:pt x="38" y="263"/>
                  </a:cubicBezTo>
                  <a:cubicBezTo>
                    <a:pt x="37" y="264"/>
                    <a:pt x="38" y="265"/>
                    <a:pt x="39" y="265"/>
                  </a:cubicBezTo>
                  <a:cubicBezTo>
                    <a:pt x="40" y="266"/>
                    <a:pt x="42" y="268"/>
                    <a:pt x="41" y="271"/>
                  </a:cubicBezTo>
                  <a:cubicBezTo>
                    <a:pt x="41" y="275"/>
                    <a:pt x="38" y="275"/>
                    <a:pt x="36" y="275"/>
                  </a:cubicBezTo>
                  <a:cubicBezTo>
                    <a:pt x="34" y="275"/>
                    <a:pt x="33" y="276"/>
                    <a:pt x="33" y="277"/>
                  </a:cubicBezTo>
                  <a:cubicBezTo>
                    <a:pt x="33" y="278"/>
                    <a:pt x="33" y="280"/>
                    <a:pt x="33" y="281"/>
                  </a:cubicBezTo>
                  <a:cubicBezTo>
                    <a:pt x="33" y="284"/>
                    <a:pt x="34" y="288"/>
                    <a:pt x="32" y="288"/>
                  </a:cubicBezTo>
                  <a:cubicBezTo>
                    <a:pt x="30" y="288"/>
                    <a:pt x="28" y="290"/>
                    <a:pt x="28" y="297"/>
                  </a:cubicBezTo>
                  <a:cubicBezTo>
                    <a:pt x="28" y="301"/>
                    <a:pt x="27" y="302"/>
                    <a:pt x="25" y="304"/>
                  </a:cubicBezTo>
                  <a:cubicBezTo>
                    <a:pt x="25" y="305"/>
                    <a:pt x="24" y="306"/>
                    <a:pt x="24" y="307"/>
                  </a:cubicBezTo>
                  <a:cubicBezTo>
                    <a:pt x="24" y="308"/>
                    <a:pt x="25" y="310"/>
                    <a:pt x="25" y="312"/>
                  </a:cubicBezTo>
                  <a:cubicBezTo>
                    <a:pt x="26" y="313"/>
                    <a:pt x="27" y="315"/>
                    <a:pt x="27" y="317"/>
                  </a:cubicBezTo>
                  <a:cubicBezTo>
                    <a:pt x="27" y="318"/>
                    <a:pt x="27" y="319"/>
                    <a:pt x="27" y="321"/>
                  </a:cubicBezTo>
                  <a:cubicBezTo>
                    <a:pt x="28" y="327"/>
                    <a:pt x="28" y="333"/>
                    <a:pt x="26" y="333"/>
                  </a:cubicBezTo>
                  <a:cubicBezTo>
                    <a:pt x="25" y="333"/>
                    <a:pt x="24" y="335"/>
                    <a:pt x="23" y="338"/>
                  </a:cubicBezTo>
                  <a:cubicBezTo>
                    <a:pt x="22" y="342"/>
                    <a:pt x="23" y="347"/>
                    <a:pt x="24" y="347"/>
                  </a:cubicBezTo>
                  <a:cubicBezTo>
                    <a:pt x="27" y="349"/>
                    <a:pt x="27" y="353"/>
                    <a:pt x="25" y="356"/>
                  </a:cubicBezTo>
                  <a:cubicBezTo>
                    <a:pt x="25" y="357"/>
                    <a:pt x="26" y="357"/>
                    <a:pt x="27" y="359"/>
                  </a:cubicBezTo>
                  <a:cubicBezTo>
                    <a:pt x="28" y="360"/>
                    <a:pt x="30" y="363"/>
                    <a:pt x="27" y="365"/>
                  </a:cubicBezTo>
                  <a:cubicBezTo>
                    <a:pt x="26" y="367"/>
                    <a:pt x="25" y="368"/>
                    <a:pt x="26" y="370"/>
                  </a:cubicBezTo>
                  <a:cubicBezTo>
                    <a:pt x="27" y="372"/>
                    <a:pt x="29" y="372"/>
                    <a:pt x="31" y="372"/>
                  </a:cubicBezTo>
                  <a:cubicBezTo>
                    <a:pt x="32" y="372"/>
                    <a:pt x="32" y="372"/>
                    <a:pt x="32" y="372"/>
                  </a:cubicBezTo>
                  <a:cubicBezTo>
                    <a:pt x="35" y="372"/>
                    <a:pt x="37" y="374"/>
                    <a:pt x="37" y="376"/>
                  </a:cubicBezTo>
                  <a:cubicBezTo>
                    <a:pt x="37" y="377"/>
                    <a:pt x="36" y="378"/>
                    <a:pt x="36" y="378"/>
                  </a:cubicBezTo>
                  <a:cubicBezTo>
                    <a:pt x="35" y="379"/>
                    <a:pt x="35" y="379"/>
                    <a:pt x="34" y="379"/>
                  </a:cubicBezTo>
                  <a:cubicBezTo>
                    <a:pt x="31" y="379"/>
                    <a:pt x="27" y="379"/>
                    <a:pt x="27" y="380"/>
                  </a:cubicBezTo>
                  <a:cubicBezTo>
                    <a:pt x="27" y="380"/>
                    <a:pt x="27" y="380"/>
                    <a:pt x="28" y="381"/>
                  </a:cubicBezTo>
                  <a:cubicBezTo>
                    <a:pt x="32" y="384"/>
                    <a:pt x="34" y="387"/>
                    <a:pt x="33" y="389"/>
                  </a:cubicBezTo>
                  <a:cubicBezTo>
                    <a:pt x="33" y="390"/>
                    <a:pt x="32" y="391"/>
                    <a:pt x="30" y="392"/>
                  </a:cubicBezTo>
                  <a:cubicBezTo>
                    <a:pt x="27" y="393"/>
                    <a:pt x="28" y="395"/>
                    <a:pt x="28" y="397"/>
                  </a:cubicBezTo>
                  <a:cubicBezTo>
                    <a:pt x="29" y="399"/>
                    <a:pt x="29" y="401"/>
                    <a:pt x="28" y="403"/>
                  </a:cubicBezTo>
                  <a:cubicBezTo>
                    <a:pt x="28" y="405"/>
                    <a:pt x="29" y="407"/>
                    <a:pt x="29" y="409"/>
                  </a:cubicBezTo>
                  <a:cubicBezTo>
                    <a:pt x="30" y="411"/>
                    <a:pt x="30" y="412"/>
                    <a:pt x="29" y="413"/>
                  </a:cubicBezTo>
                  <a:cubicBezTo>
                    <a:pt x="29" y="414"/>
                    <a:pt x="29" y="414"/>
                    <a:pt x="28" y="415"/>
                  </a:cubicBezTo>
                  <a:cubicBezTo>
                    <a:pt x="26" y="415"/>
                    <a:pt x="26" y="417"/>
                    <a:pt x="26" y="419"/>
                  </a:cubicBezTo>
                  <a:cubicBezTo>
                    <a:pt x="27" y="421"/>
                    <a:pt x="27" y="424"/>
                    <a:pt x="23" y="425"/>
                  </a:cubicBezTo>
                  <a:cubicBezTo>
                    <a:pt x="20" y="425"/>
                    <a:pt x="20" y="427"/>
                    <a:pt x="20" y="429"/>
                  </a:cubicBezTo>
                  <a:cubicBezTo>
                    <a:pt x="19" y="431"/>
                    <a:pt x="19" y="433"/>
                    <a:pt x="17" y="434"/>
                  </a:cubicBezTo>
                  <a:cubicBezTo>
                    <a:pt x="16" y="435"/>
                    <a:pt x="17" y="437"/>
                    <a:pt x="18" y="439"/>
                  </a:cubicBezTo>
                  <a:cubicBezTo>
                    <a:pt x="19" y="441"/>
                    <a:pt x="21" y="444"/>
                    <a:pt x="18" y="446"/>
                  </a:cubicBezTo>
                  <a:cubicBezTo>
                    <a:pt x="16" y="447"/>
                    <a:pt x="15" y="449"/>
                    <a:pt x="15" y="451"/>
                  </a:cubicBezTo>
                  <a:cubicBezTo>
                    <a:pt x="15" y="453"/>
                    <a:pt x="14" y="456"/>
                    <a:pt x="11" y="456"/>
                  </a:cubicBezTo>
                  <a:cubicBezTo>
                    <a:pt x="7" y="456"/>
                    <a:pt x="4" y="462"/>
                    <a:pt x="4" y="465"/>
                  </a:cubicBezTo>
                  <a:cubicBezTo>
                    <a:pt x="4" y="466"/>
                    <a:pt x="4" y="466"/>
                    <a:pt x="3" y="467"/>
                  </a:cubicBezTo>
                  <a:cubicBezTo>
                    <a:pt x="3" y="470"/>
                    <a:pt x="1" y="475"/>
                    <a:pt x="4" y="478"/>
                  </a:cubicBezTo>
                  <a:cubicBezTo>
                    <a:pt x="7" y="481"/>
                    <a:pt x="6" y="483"/>
                    <a:pt x="6" y="484"/>
                  </a:cubicBezTo>
                  <a:cubicBezTo>
                    <a:pt x="6" y="486"/>
                    <a:pt x="5" y="487"/>
                    <a:pt x="7" y="488"/>
                  </a:cubicBezTo>
                  <a:cubicBezTo>
                    <a:pt x="8" y="488"/>
                    <a:pt x="10" y="488"/>
                    <a:pt x="12" y="488"/>
                  </a:cubicBezTo>
                  <a:cubicBezTo>
                    <a:pt x="16" y="488"/>
                    <a:pt x="19" y="488"/>
                    <a:pt x="20" y="490"/>
                  </a:cubicBezTo>
                  <a:cubicBezTo>
                    <a:pt x="21" y="491"/>
                    <a:pt x="21" y="492"/>
                    <a:pt x="21" y="493"/>
                  </a:cubicBezTo>
                  <a:cubicBezTo>
                    <a:pt x="19" y="497"/>
                    <a:pt x="19" y="506"/>
                    <a:pt x="21" y="508"/>
                  </a:cubicBezTo>
                  <a:cubicBezTo>
                    <a:pt x="21" y="508"/>
                    <a:pt x="21" y="508"/>
                    <a:pt x="21" y="508"/>
                  </a:cubicBezTo>
                  <a:cubicBezTo>
                    <a:pt x="22" y="508"/>
                    <a:pt x="23" y="510"/>
                    <a:pt x="24" y="511"/>
                  </a:cubicBezTo>
                  <a:cubicBezTo>
                    <a:pt x="25" y="513"/>
                    <a:pt x="26" y="515"/>
                    <a:pt x="28" y="515"/>
                  </a:cubicBezTo>
                  <a:cubicBezTo>
                    <a:pt x="29" y="514"/>
                    <a:pt x="38" y="513"/>
                    <a:pt x="45" y="513"/>
                  </a:cubicBezTo>
                  <a:cubicBezTo>
                    <a:pt x="49" y="513"/>
                    <a:pt x="52" y="514"/>
                    <a:pt x="54" y="514"/>
                  </a:cubicBezTo>
                  <a:cubicBezTo>
                    <a:pt x="57" y="515"/>
                    <a:pt x="59" y="516"/>
                    <a:pt x="62" y="519"/>
                  </a:cubicBezTo>
                  <a:cubicBezTo>
                    <a:pt x="62" y="518"/>
                    <a:pt x="63" y="518"/>
                    <a:pt x="63" y="5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3" name="Freeform 110"/>
            <p:cNvSpPr>
              <a:spLocks noEditPoints="1"/>
            </p:cNvSpPr>
            <p:nvPr/>
          </p:nvSpPr>
          <p:spPr>
            <a:xfrm>
              <a:off x="2894014" y="4252913"/>
              <a:ext cx="222250" cy="1112838"/>
            </a:xfrm>
            <a:custGeom>
              <a:gdLst>
                <a:gd name="T0" fmla="*/ 73 w 131"/>
                <a:gd name="T1" fmla="*/ 647 h 656"/>
                <a:gd name="T2" fmla="*/ 74 w 131"/>
                <a:gd name="T3" fmla="*/ 626 h 656"/>
                <a:gd name="T4" fmla="*/ 89 w 131"/>
                <a:gd name="T5" fmla="*/ 610 h 656"/>
                <a:gd name="T6" fmla="*/ 56 w 131"/>
                <a:gd name="T7" fmla="*/ 618 h 656"/>
                <a:gd name="T8" fmla="*/ 31 w 131"/>
                <a:gd name="T9" fmla="*/ 620 h 656"/>
                <a:gd name="T10" fmla="*/ 58 w 131"/>
                <a:gd name="T11" fmla="*/ 599 h 656"/>
                <a:gd name="T12" fmla="*/ 55 w 131"/>
                <a:gd name="T13" fmla="*/ 593 h 656"/>
                <a:gd name="T14" fmla="*/ 44 w 131"/>
                <a:gd name="T15" fmla="*/ 580 h 656"/>
                <a:gd name="T16" fmla="*/ 21 w 131"/>
                <a:gd name="T17" fmla="*/ 568 h 656"/>
                <a:gd name="T18" fmla="*/ 20 w 131"/>
                <a:gd name="T19" fmla="*/ 544 h 656"/>
                <a:gd name="T20" fmla="*/ 4 w 131"/>
                <a:gd name="T21" fmla="*/ 535 h 656"/>
                <a:gd name="T22" fmla="*/ 13 w 131"/>
                <a:gd name="T23" fmla="*/ 505 h 656"/>
                <a:gd name="T24" fmla="*/ 21 w 131"/>
                <a:gd name="T25" fmla="*/ 490 h 656"/>
                <a:gd name="T26" fmla="*/ 9 w 131"/>
                <a:gd name="T27" fmla="*/ 465 h 656"/>
                <a:gd name="T28" fmla="*/ 29 w 131"/>
                <a:gd name="T29" fmla="*/ 455 h 656"/>
                <a:gd name="T30" fmla="*/ 37 w 131"/>
                <a:gd name="T31" fmla="*/ 446 h 656"/>
                <a:gd name="T32" fmla="*/ 43 w 131"/>
                <a:gd name="T33" fmla="*/ 394 h 656"/>
                <a:gd name="T34" fmla="*/ 20 w 131"/>
                <a:gd name="T35" fmla="*/ 410 h 656"/>
                <a:gd name="T36" fmla="*/ 33 w 131"/>
                <a:gd name="T37" fmla="*/ 311 h 656"/>
                <a:gd name="T38" fmla="*/ 62 w 131"/>
                <a:gd name="T39" fmla="*/ 185 h 656"/>
                <a:gd name="T40" fmla="*/ 80 w 131"/>
                <a:gd name="T41" fmla="*/ 19 h 656"/>
                <a:gd name="T42" fmla="*/ 108 w 131"/>
                <a:gd name="T43" fmla="*/ 30 h 656"/>
                <a:gd name="T44" fmla="*/ 126 w 131"/>
                <a:gd name="T45" fmla="*/ 80 h 656"/>
                <a:gd name="T46" fmla="*/ 94 w 131"/>
                <a:gd name="T47" fmla="*/ 165 h 656"/>
                <a:gd name="T48" fmla="*/ 85 w 131"/>
                <a:gd name="T49" fmla="*/ 261 h 656"/>
                <a:gd name="T50" fmla="*/ 63 w 131"/>
                <a:gd name="T51" fmla="*/ 344 h 656"/>
                <a:gd name="T52" fmla="*/ 57 w 131"/>
                <a:gd name="T53" fmla="*/ 426 h 656"/>
                <a:gd name="T54" fmla="*/ 58 w 131"/>
                <a:gd name="T55" fmla="*/ 470 h 656"/>
                <a:gd name="T56" fmla="*/ 33 w 131"/>
                <a:gd name="T57" fmla="*/ 534 h 656"/>
                <a:gd name="T58" fmla="*/ 92 w 131"/>
                <a:gd name="T59" fmla="*/ 586 h 656"/>
                <a:gd name="T60" fmla="*/ 128 w 131"/>
                <a:gd name="T61" fmla="*/ 643 h 656"/>
                <a:gd name="T62" fmla="*/ 103 w 131"/>
                <a:gd name="T63" fmla="*/ 649 h 656"/>
                <a:gd name="T64" fmla="*/ 103 w 131"/>
                <a:gd name="T65" fmla="*/ 642 h 656"/>
                <a:gd name="T66" fmla="*/ 50 w 131"/>
                <a:gd name="T67" fmla="*/ 576 h 656"/>
                <a:gd name="T68" fmla="*/ 47 w 131"/>
                <a:gd name="T69" fmla="*/ 500 h 656"/>
                <a:gd name="T70" fmla="*/ 64 w 131"/>
                <a:gd name="T71" fmla="*/ 445 h 656"/>
                <a:gd name="T72" fmla="*/ 55 w 131"/>
                <a:gd name="T73" fmla="*/ 379 h 656"/>
                <a:gd name="T74" fmla="*/ 75 w 131"/>
                <a:gd name="T75" fmla="*/ 297 h 656"/>
                <a:gd name="T76" fmla="*/ 79 w 131"/>
                <a:gd name="T77" fmla="*/ 208 h 656"/>
                <a:gd name="T78" fmla="*/ 106 w 131"/>
                <a:gd name="T79" fmla="*/ 127 h 656"/>
                <a:gd name="T80" fmla="*/ 101 w 131"/>
                <a:gd name="T81" fmla="*/ 45 h 656"/>
                <a:gd name="T82" fmla="*/ 84 w 131"/>
                <a:gd name="T83" fmla="*/ 13 h 656"/>
                <a:gd name="T84" fmla="*/ 67 w 131"/>
                <a:gd name="T85" fmla="*/ 163 h 656"/>
                <a:gd name="T86" fmla="*/ 41 w 131"/>
                <a:gd name="T87" fmla="*/ 300 h 656"/>
                <a:gd name="T88" fmla="*/ 29 w 131"/>
                <a:gd name="T89" fmla="*/ 393 h 656"/>
                <a:gd name="T90" fmla="*/ 43 w 131"/>
                <a:gd name="T91" fmla="*/ 393 h 656"/>
                <a:gd name="T92" fmla="*/ 37 w 131"/>
                <a:gd name="T93" fmla="*/ 447 h 656"/>
                <a:gd name="T94" fmla="*/ 28 w 131"/>
                <a:gd name="T95" fmla="*/ 455 h 656"/>
                <a:gd name="T96" fmla="*/ 10 w 131"/>
                <a:gd name="T97" fmla="*/ 470 h 656"/>
                <a:gd name="T98" fmla="*/ 23 w 131"/>
                <a:gd name="T99" fmla="*/ 488 h 656"/>
                <a:gd name="T100" fmla="*/ 12 w 131"/>
                <a:gd name="T101" fmla="*/ 506 h 656"/>
                <a:gd name="T102" fmla="*/ 5 w 131"/>
                <a:gd name="T103" fmla="*/ 534 h 656"/>
                <a:gd name="T104" fmla="*/ 17 w 131"/>
                <a:gd name="T105" fmla="*/ 553 h 656"/>
                <a:gd name="T106" fmla="*/ 25 w 131"/>
                <a:gd name="T107" fmla="*/ 566 h 656"/>
                <a:gd name="T108" fmla="*/ 44 w 131"/>
                <a:gd name="T109" fmla="*/ 583 h 656"/>
                <a:gd name="T110" fmla="*/ 51 w 131"/>
                <a:gd name="T111" fmla="*/ 595 h 656"/>
                <a:gd name="T112" fmla="*/ 64 w 131"/>
                <a:gd name="T113" fmla="*/ 598 h 656"/>
                <a:gd name="T114" fmla="*/ 32 w 131"/>
                <a:gd name="T115" fmla="*/ 619 h 656"/>
                <a:gd name="T116" fmla="*/ 66 w 131"/>
                <a:gd name="T117" fmla="*/ 615 h 656"/>
                <a:gd name="T118" fmla="*/ 87 w 131"/>
                <a:gd name="T119" fmla="*/ 613 h 656"/>
                <a:gd name="T120" fmla="*/ 64 w 131"/>
                <a:gd name="T121" fmla="*/ 620 h 656"/>
                <a:gd name="T122" fmla="*/ 75 w 131"/>
                <a:gd name="T123" fmla="*/ 643 h 6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 h="656">
                  <a:moveTo>
                    <a:pt x="110" y="656"/>
                  </a:moveTo>
                  <a:cubicBezTo>
                    <a:pt x="109" y="656"/>
                    <a:pt x="109" y="656"/>
                    <a:pt x="109" y="656"/>
                  </a:cubicBezTo>
                  <a:cubicBezTo>
                    <a:pt x="107" y="655"/>
                    <a:pt x="104" y="652"/>
                    <a:pt x="102" y="650"/>
                  </a:cubicBezTo>
                  <a:cubicBezTo>
                    <a:pt x="99" y="646"/>
                    <a:pt x="96" y="643"/>
                    <a:pt x="94" y="645"/>
                  </a:cubicBezTo>
                  <a:cubicBezTo>
                    <a:pt x="92" y="646"/>
                    <a:pt x="93" y="647"/>
                    <a:pt x="93" y="649"/>
                  </a:cubicBezTo>
                  <a:cubicBezTo>
                    <a:pt x="94" y="649"/>
                    <a:pt x="94" y="650"/>
                    <a:pt x="94" y="650"/>
                  </a:cubicBezTo>
                  <a:cubicBezTo>
                    <a:pt x="93" y="651"/>
                    <a:pt x="93" y="651"/>
                    <a:pt x="93" y="651"/>
                  </a:cubicBezTo>
                  <a:cubicBezTo>
                    <a:pt x="92" y="651"/>
                    <a:pt x="91" y="650"/>
                    <a:pt x="88" y="650"/>
                  </a:cubicBezTo>
                  <a:cubicBezTo>
                    <a:pt x="82" y="648"/>
                    <a:pt x="81" y="643"/>
                    <a:pt x="81" y="640"/>
                  </a:cubicBezTo>
                  <a:cubicBezTo>
                    <a:pt x="80" y="637"/>
                    <a:pt x="80" y="636"/>
                    <a:pt x="78" y="636"/>
                  </a:cubicBezTo>
                  <a:cubicBezTo>
                    <a:pt x="76" y="637"/>
                    <a:pt x="76" y="640"/>
                    <a:pt x="76" y="643"/>
                  </a:cubicBezTo>
                  <a:cubicBezTo>
                    <a:pt x="76" y="646"/>
                    <a:pt x="76" y="648"/>
                    <a:pt x="74" y="648"/>
                  </a:cubicBezTo>
                  <a:cubicBezTo>
                    <a:pt x="74" y="648"/>
                    <a:pt x="73" y="648"/>
                    <a:pt x="73" y="647"/>
                  </a:cubicBezTo>
                  <a:cubicBezTo>
                    <a:pt x="71" y="646"/>
                    <a:pt x="70" y="643"/>
                    <a:pt x="70" y="641"/>
                  </a:cubicBezTo>
                  <a:cubicBezTo>
                    <a:pt x="69" y="638"/>
                    <a:pt x="68" y="635"/>
                    <a:pt x="66" y="635"/>
                  </a:cubicBezTo>
                  <a:cubicBezTo>
                    <a:pt x="65" y="634"/>
                    <a:pt x="64" y="634"/>
                    <a:pt x="64" y="634"/>
                  </a:cubicBezTo>
                  <a:cubicBezTo>
                    <a:pt x="62" y="634"/>
                    <a:pt x="61" y="635"/>
                    <a:pt x="60" y="635"/>
                  </a:cubicBezTo>
                  <a:cubicBezTo>
                    <a:pt x="59" y="635"/>
                    <a:pt x="58" y="635"/>
                    <a:pt x="57" y="635"/>
                  </a:cubicBezTo>
                  <a:cubicBezTo>
                    <a:pt x="55" y="635"/>
                    <a:pt x="55" y="633"/>
                    <a:pt x="55" y="632"/>
                  </a:cubicBezTo>
                  <a:cubicBezTo>
                    <a:pt x="55" y="628"/>
                    <a:pt x="58" y="628"/>
                    <a:pt x="61" y="628"/>
                  </a:cubicBezTo>
                  <a:cubicBezTo>
                    <a:pt x="62" y="627"/>
                    <a:pt x="63" y="627"/>
                    <a:pt x="63" y="627"/>
                  </a:cubicBezTo>
                  <a:cubicBezTo>
                    <a:pt x="63" y="627"/>
                    <a:pt x="63" y="627"/>
                    <a:pt x="62" y="626"/>
                  </a:cubicBezTo>
                  <a:cubicBezTo>
                    <a:pt x="61" y="625"/>
                    <a:pt x="60" y="623"/>
                    <a:pt x="61" y="621"/>
                  </a:cubicBezTo>
                  <a:cubicBezTo>
                    <a:pt x="61" y="620"/>
                    <a:pt x="63" y="619"/>
                    <a:pt x="64" y="619"/>
                  </a:cubicBezTo>
                  <a:cubicBezTo>
                    <a:pt x="65" y="619"/>
                    <a:pt x="66" y="619"/>
                    <a:pt x="67" y="620"/>
                  </a:cubicBezTo>
                  <a:cubicBezTo>
                    <a:pt x="69" y="623"/>
                    <a:pt x="73" y="626"/>
                    <a:pt x="74" y="626"/>
                  </a:cubicBezTo>
                  <a:cubicBezTo>
                    <a:pt x="74" y="626"/>
                    <a:pt x="74" y="626"/>
                    <a:pt x="74" y="626"/>
                  </a:cubicBezTo>
                  <a:cubicBezTo>
                    <a:pt x="74" y="626"/>
                    <a:pt x="74" y="626"/>
                    <a:pt x="73" y="623"/>
                  </a:cubicBezTo>
                  <a:cubicBezTo>
                    <a:pt x="71" y="620"/>
                    <a:pt x="71" y="617"/>
                    <a:pt x="72" y="615"/>
                  </a:cubicBezTo>
                  <a:cubicBezTo>
                    <a:pt x="73" y="613"/>
                    <a:pt x="75" y="613"/>
                    <a:pt x="76" y="614"/>
                  </a:cubicBezTo>
                  <a:cubicBezTo>
                    <a:pt x="78" y="614"/>
                    <a:pt x="78" y="617"/>
                    <a:pt x="79" y="620"/>
                  </a:cubicBezTo>
                  <a:cubicBezTo>
                    <a:pt x="79" y="623"/>
                    <a:pt x="80" y="626"/>
                    <a:pt x="81" y="626"/>
                  </a:cubicBezTo>
                  <a:cubicBezTo>
                    <a:pt x="82" y="626"/>
                    <a:pt x="82" y="626"/>
                    <a:pt x="82" y="626"/>
                  </a:cubicBezTo>
                  <a:cubicBezTo>
                    <a:pt x="83" y="625"/>
                    <a:pt x="84" y="625"/>
                    <a:pt x="84" y="624"/>
                  </a:cubicBezTo>
                  <a:cubicBezTo>
                    <a:pt x="84" y="623"/>
                    <a:pt x="83" y="622"/>
                    <a:pt x="83" y="621"/>
                  </a:cubicBezTo>
                  <a:cubicBezTo>
                    <a:pt x="82" y="619"/>
                    <a:pt x="81" y="617"/>
                    <a:pt x="81" y="616"/>
                  </a:cubicBezTo>
                  <a:cubicBezTo>
                    <a:pt x="82" y="614"/>
                    <a:pt x="85" y="613"/>
                    <a:pt x="87" y="612"/>
                  </a:cubicBezTo>
                  <a:cubicBezTo>
                    <a:pt x="88" y="612"/>
                    <a:pt x="90" y="611"/>
                    <a:pt x="90" y="611"/>
                  </a:cubicBezTo>
                  <a:cubicBezTo>
                    <a:pt x="90" y="610"/>
                    <a:pt x="90" y="610"/>
                    <a:pt x="89" y="610"/>
                  </a:cubicBezTo>
                  <a:cubicBezTo>
                    <a:pt x="89" y="609"/>
                    <a:pt x="88" y="609"/>
                    <a:pt x="87" y="609"/>
                  </a:cubicBezTo>
                  <a:cubicBezTo>
                    <a:pt x="86" y="609"/>
                    <a:pt x="85" y="609"/>
                    <a:pt x="84" y="610"/>
                  </a:cubicBezTo>
                  <a:cubicBezTo>
                    <a:pt x="83" y="610"/>
                    <a:pt x="81" y="611"/>
                    <a:pt x="80" y="611"/>
                  </a:cubicBezTo>
                  <a:cubicBezTo>
                    <a:pt x="78" y="611"/>
                    <a:pt x="77" y="610"/>
                    <a:pt x="76" y="609"/>
                  </a:cubicBezTo>
                  <a:cubicBezTo>
                    <a:pt x="74" y="607"/>
                    <a:pt x="73" y="605"/>
                    <a:pt x="74" y="604"/>
                  </a:cubicBezTo>
                  <a:cubicBezTo>
                    <a:pt x="74" y="602"/>
                    <a:pt x="76" y="601"/>
                    <a:pt x="79" y="600"/>
                  </a:cubicBezTo>
                  <a:cubicBezTo>
                    <a:pt x="82" y="598"/>
                    <a:pt x="85" y="595"/>
                    <a:pt x="84" y="594"/>
                  </a:cubicBezTo>
                  <a:cubicBezTo>
                    <a:pt x="84" y="593"/>
                    <a:pt x="84" y="593"/>
                    <a:pt x="83" y="593"/>
                  </a:cubicBezTo>
                  <a:cubicBezTo>
                    <a:pt x="83" y="593"/>
                    <a:pt x="82" y="593"/>
                    <a:pt x="81" y="594"/>
                  </a:cubicBezTo>
                  <a:cubicBezTo>
                    <a:pt x="73" y="596"/>
                    <a:pt x="67" y="600"/>
                    <a:pt x="68" y="607"/>
                  </a:cubicBezTo>
                  <a:cubicBezTo>
                    <a:pt x="69" y="610"/>
                    <a:pt x="69" y="613"/>
                    <a:pt x="67" y="615"/>
                  </a:cubicBezTo>
                  <a:cubicBezTo>
                    <a:pt x="65" y="617"/>
                    <a:pt x="63" y="619"/>
                    <a:pt x="60" y="619"/>
                  </a:cubicBezTo>
                  <a:cubicBezTo>
                    <a:pt x="59" y="619"/>
                    <a:pt x="58" y="618"/>
                    <a:pt x="56" y="618"/>
                  </a:cubicBezTo>
                  <a:cubicBezTo>
                    <a:pt x="55" y="617"/>
                    <a:pt x="54" y="617"/>
                    <a:pt x="53" y="617"/>
                  </a:cubicBezTo>
                  <a:cubicBezTo>
                    <a:pt x="52" y="617"/>
                    <a:pt x="51" y="618"/>
                    <a:pt x="50" y="619"/>
                  </a:cubicBezTo>
                  <a:cubicBezTo>
                    <a:pt x="50" y="620"/>
                    <a:pt x="50" y="621"/>
                    <a:pt x="51" y="621"/>
                  </a:cubicBezTo>
                  <a:cubicBezTo>
                    <a:pt x="52" y="621"/>
                    <a:pt x="52" y="622"/>
                    <a:pt x="53" y="622"/>
                  </a:cubicBezTo>
                  <a:cubicBezTo>
                    <a:pt x="54" y="622"/>
                    <a:pt x="55" y="623"/>
                    <a:pt x="56" y="624"/>
                  </a:cubicBezTo>
                  <a:cubicBezTo>
                    <a:pt x="56" y="625"/>
                    <a:pt x="55" y="625"/>
                    <a:pt x="54" y="627"/>
                  </a:cubicBezTo>
                  <a:cubicBezTo>
                    <a:pt x="53" y="628"/>
                    <a:pt x="52" y="628"/>
                    <a:pt x="51" y="628"/>
                  </a:cubicBezTo>
                  <a:cubicBezTo>
                    <a:pt x="50" y="628"/>
                    <a:pt x="49" y="627"/>
                    <a:pt x="48" y="626"/>
                  </a:cubicBezTo>
                  <a:cubicBezTo>
                    <a:pt x="47" y="625"/>
                    <a:pt x="46" y="624"/>
                    <a:pt x="44" y="623"/>
                  </a:cubicBezTo>
                  <a:cubicBezTo>
                    <a:pt x="42" y="622"/>
                    <a:pt x="41" y="622"/>
                    <a:pt x="40" y="622"/>
                  </a:cubicBezTo>
                  <a:cubicBezTo>
                    <a:pt x="39" y="622"/>
                    <a:pt x="38" y="622"/>
                    <a:pt x="38" y="622"/>
                  </a:cubicBezTo>
                  <a:cubicBezTo>
                    <a:pt x="37" y="622"/>
                    <a:pt x="36" y="622"/>
                    <a:pt x="36" y="622"/>
                  </a:cubicBezTo>
                  <a:cubicBezTo>
                    <a:pt x="34" y="622"/>
                    <a:pt x="33" y="621"/>
                    <a:pt x="31" y="620"/>
                  </a:cubicBezTo>
                  <a:cubicBezTo>
                    <a:pt x="28" y="617"/>
                    <a:pt x="26" y="613"/>
                    <a:pt x="27" y="611"/>
                  </a:cubicBezTo>
                  <a:cubicBezTo>
                    <a:pt x="27" y="610"/>
                    <a:pt x="28" y="609"/>
                    <a:pt x="30" y="609"/>
                  </a:cubicBezTo>
                  <a:cubicBezTo>
                    <a:pt x="32" y="610"/>
                    <a:pt x="34" y="610"/>
                    <a:pt x="36" y="611"/>
                  </a:cubicBezTo>
                  <a:cubicBezTo>
                    <a:pt x="39" y="612"/>
                    <a:pt x="42" y="613"/>
                    <a:pt x="43" y="613"/>
                  </a:cubicBezTo>
                  <a:cubicBezTo>
                    <a:pt x="44" y="613"/>
                    <a:pt x="44" y="613"/>
                    <a:pt x="45" y="613"/>
                  </a:cubicBezTo>
                  <a:cubicBezTo>
                    <a:pt x="45" y="612"/>
                    <a:pt x="45" y="612"/>
                    <a:pt x="45" y="612"/>
                  </a:cubicBezTo>
                  <a:cubicBezTo>
                    <a:pt x="45" y="609"/>
                    <a:pt x="46" y="607"/>
                    <a:pt x="47" y="605"/>
                  </a:cubicBezTo>
                  <a:cubicBezTo>
                    <a:pt x="49" y="603"/>
                    <a:pt x="51" y="603"/>
                    <a:pt x="53" y="604"/>
                  </a:cubicBezTo>
                  <a:cubicBezTo>
                    <a:pt x="54" y="605"/>
                    <a:pt x="55" y="605"/>
                    <a:pt x="56" y="605"/>
                  </a:cubicBezTo>
                  <a:cubicBezTo>
                    <a:pt x="59" y="605"/>
                    <a:pt x="62" y="604"/>
                    <a:pt x="63" y="602"/>
                  </a:cubicBezTo>
                  <a:cubicBezTo>
                    <a:pt x="64" y="601"/>
                    <a:pt x="64" y="600"/>
                    <a:pt x="63" y="599"/>
                  </a:cubicBezTo>
                  <a:cubicBezTo>
                    <a:pt x="63" y="598"/>
                    <a:pt x="62" y="598"/>
                    <a:pt x="62" y="598"/>
                  </a:cubicBezTo>
                  <a:cubicBezTo>
                    <a:pt x="61" y="598"/>
                    <a:pt x="59" y="598"/>
                    <a:pt x="58" y="599"/>
                  </a:cubicBezTo>
                  <a:cubicBezTo>
                    <a:pt x="55" y="601"/>
                    <a:pt x="52" y="603"/>
                    <a:pt x="47" y="602"/>
                  </a:cubicBezTo>
                  <a:cubicBezTo>
                    <a:pt x="43" y="602"/>
                    <a:pt x="41" y="604"/>
                    <a:pt x="40" y="606"/>
                  </a:cubicBezTo>
                  <a:cubicBezTo>
                    <a:pt x="38" y="607"/>
                    <a:pt x="37" y="608"/>
                    <a:pt x="35" y="608"/>
                  </a:cubicBezTo>
                  <a:cubicBezTo>
                    <a:pt x="34" y="608"/>
                    <a:pt x="34" y="608"/>
                    <a:pt x="34" y="608"/>
                  </a:cubicBezTo>
                  <a:cubicBezTo>
                    <a:pt x="32" y="607"/>
                    <a:pt x="31" y="607"/>
                    <a:pt x="31" y="606"/>
                  </a:cubicBezTo>
                  <a:cubicBezTo>
                    <a:pt x="31" y="606"/>
                    <a:pt x="31" y="605"/>
                    <a:pt x="32" y="605"/>
                  </a:cubicBezTo>
                  <a:cubicBezTo>
                    <a:pt x="32" y="604"/>
                    <a:pt x="33" y="603"/>
                    <a:pt x="33" y="601"/>
                  </a:cubicBezTo>
                  <a:cubicBezTo>
                    <a:pt x="33" y="598"/>
                    <a:pt x="38" y="595"/>
                    <a:pt x="40" y="595"/>
                  </a:cubicBezTo>
                  <a:cubicBezTo>
                    <a:pt x="41" y="595"/>
                    <a:pt x="42" y="595"/>
                    <a:pt x="42" y="596"/>
                  </a:cubicBezTo>
                  <a:cubicBezTo>
                    <a:pt x="43" y="597"/>
                    <a:pt x="44" y="597"/>
                    <a:pt x="44" y="597"/>
                  </a:cubicBezTo>
                  <a:cubicBezTo>
                    <a:pt x="47" y="597"/>
                    <a:pt x="50" y="596"/>
                    <a:pt x="50" y="595"/>
                  </a:cubicBezTo>
                  <a:cubicBezTo>
                    <a:pt x="51" y="593"/>
                    <a:pt x="52" y="593"/>
                    <a:pt x="54" y="593"/>
                  </a:cubicBezTo>
                  <a:cubicBezTo>
                    <a:pt x="55" y="593"/>
                    <a:pt x="55" y="593"/>
                    <a:pt x="55" y="593"/>
                  </a:cubicBezTo>
                  <a:cubicBezTo>
                    <a:pt x="56" y="593"/>
                    <a:pt x="56" y="593"/>
                    <a:pt x="57" y="593"/>
                  </a:cubicBezTo>
                  <a:cubicBezTo>
                    <a:pt x="59" y="593"/>
                    <a:pt x="59" y="593"/>
                    <a:pt x="59" y="593"/>
                  </a:cubicBezTo>
                  <a:cubicBezTo>
                    <a:pt x="59" y="592"/>
                    <a:pt x="59" y="592"/>
                    <a:pt x="59" y="592"/>
                  </a:cubicBezTo>
                  <a:cubicBezTo>
                    <a:pt x="59" y="590"/>
                    <a:pt x="53" y="589"/>
                    <a:pt x="47" y="589"/>
                  </a:cubicBezTo>
                  <a:cubicBezTo>
                    <a:pt x="43" y="589"/>
                    <a:pt x="39" y="590"/>
                    <a:pt x="38" y="591"/>
                  </a:cubicBezTo>
                  <a:cubicBezTo>
                    <a:pt x="38" y="591"/>
                    <a:pt x="38" y="591"/>
                    <a:pt x="38" y="591"/>
                  </a:cubicBezTo>
                  <a:cubicBezTo>
                    <a:pt x="35" y="594"/>
                    <a:pt x="33" y="596"/>
                    <a:pt x="30" y="596"/>
                  </a:cubicBezTo>
                  <a:cubicBezTo>
                    <a:pt x="29" y="596"/>
                    <a:pt x="28" y="596"/>
                    <a:pt x="27" y="594"/>
                  </a:cubicBezTo>
                  <a:cubicBezTo>
                    <a:pt x="25" y="592"/>
                    <a:pt x="25" y="590"/>
                    <a:pt x="26" y="588"/>
                  </a:cubicBezTo>
                  <a:cubicBezTo>
                    <a:pt x="27" y="585"/>
                    <a:pt x="29" y="584"/>
                    <a:pt x="31" y="585"/>
                  </a:cubicBezTo>
                  <a:cubicBezTo>
                    <a:pt x="32" y="585"/>
                    <a:pt x="33" y="585"/>
                    <a:pt x="34" y="585"/>
                  </a:cubicBezTo>
                  <a:cubicBezTo>
                    <a:pt x="37" y="585"/>
                    <a:pt x="42" y="584"/>
                    <a:pt x="43" y="582"/>
                  </a:cubicBezTo>
                  <a:cubicBezTo>
                    <a:pt x="44" y="581"/>
                    <a:pt x="44" y="581"/>
                    <a:pt x="44" y="580"/>
                  </a:cubicBezTo>
                  <a:cubicBezTo>
                    <a:pt x="43" y="578"/>
                    <a:pt x="39" y="575"/>
                    <a:pt x="37" y="575"/>
                  </a:cubicBezTo>
                  <a:cubicBezTo>
                    <a:pt x="36" y="575"/>
                    <a:pt x="35" y="576"/>
                    <a:pt x="35" y="577"/>
                  </a:cubicBezTo>
                  <a:cubicBezTo>
                    <a:pt x="35" y="580"/>
                    <a:pt x="34" y="582"/>
                    <a:pt x="32" y="582"/>
                  </a:cubicBezTo>
                  <a:cubicBezTo>
                    <a:pt x="31" y="582"/>
                    <a:pt x="30" y="581"/>
                    <a:pt x="29" y="579"/>
                  </a:cubicBezTo>
                  <a:cubicBezTo>
                    <a:pt x="29" y="578"/>
                    <a:pt x="28" y="577"/>
                    <a:pt x="27" y="577"/>
                  </a:cubicBezTo>
                  <a:cubicBezTo>
                    <a:pt x="26" y="577"/>
                    <a:pt x="25" y="577"/>
                    <a:pt x="24" y="578"/>
                  </a:cubicBezTo>
                  <a:cubicBezTo>
                    <a:pt x="23" y="578"/>
                    <a:pt x="22" y="578"/>
                    <a:pt x="21" y="578"/>
                  </a:cubicBezTo>
                  <a:cubicBezTo>
                    <a:pt x="20" y="578"/>
                    <a:pt x="20" y="578"/>
                    <a:pt x="20" y="577"/>
                  </a:cubicBezTo>
                  <a:cubicBezTo>
                    <a:pt x="20" y="575"/>
                    <a:pt x="24" y="571"/>
                    <a:pt x="28" y="570"/>
                  </a:cubicBezTo>
                  <a:cubicBezTo>
                    <a:pt x="29" y="570"/>
                    <a:pt x="30" y="569"/>
                    <a:pt x="30" y="568"/>
                  </a:cubicBezTo>
                  <a:cubicBezTo>
                    <a:pt x="29" y="567"/>
                    <a:pt x="28" y="566"/>
                    <a:pt x="27" y="566"/>
                  </a:cubicBezTo>
                  <a:cubicBezTo>
                    <a:pt x="26" y="566"/>
                    <a:pt x="26" y="566"/>
                    <a:pt x="25" y="566"/>
                  </a:cubicBezTo>
                  <a:cubicBezTo>
                    <a:pt x="23" y="567"/>
                    <a:pt x="22" y="568"/>
                    <a:pt x="21" y="568"/>
                  </a:cubicBezTo>
                  <a:cubicBezTo>
                    <a:pt x="21" y="568"/>
                    <a:pt x="20" y="567"/>
                    <a:pt x="19" y="567"/>
                  </a:cubicBezTo>
                  <a:cubicBezTo>
                    <a:pt x="19" y="567"/>
                    <a:pt x="18" y="566"/>
                    <a:pt x="17" y="566"/>
                  </a:cubicBezTo>
                  <a:cubicBezTo>
                    <a:pt x="16" y="566"/>
                    <a:pt x="15" y="567"/>
                    <a:pt x="14" y="568"/>
                  </a:cubicBezTo>
                  <a:cubicBezTo>
                    <a:pt x="13" y="568"/>
                    <a:pt x="12" y="569"/>
                    <a:pt x="11" y="569"/>
                  </a:cubicBezTo>
                  <a:cubicBezTo>
                    <a:pt x="10" y="569"/>
                    <a:pt x="10" y="569"/>
                    <a:pt x="9" y="568"/>
                  </a:cubicBezTo>
                  <a:cubicBezTo>
                    <a:pt x="8" y="567"/>
                    <a:pt x="9" y="565"/>
                    <a:pt x="10" y="564"/>
                  </a:cubicBezTo>
                  <a:cubicBezTo>
                    <a:pt x="11" y="562"/>
                    <a:pt x="12" y="561"/>
                    <a:pt x="10" y="560"/>
                  </a:cubicBezTo>
                  <a:cubicBezTo>
                    <a:pt x="9" y="559"/>
                    <a:pt x="8" y="559"/>
                    <a:pt x="9" y="558"/>
                  </a:cubicBezTo>
                  <a:cubicBezTo>
                    <a:pt x="9" y="558"/>
                    <a:pt x="9" y="557"/>
                    <a:pt x="11" y="557"/>
                  </a:cubicBezTo>
                  <a:cubicBezTo>
                    <a:pt x="13" y="557"/>
                    <a:pt x="15" y="557"/>
                    <a:pt x="15" y="555"/>
                  </a:cubicBezTo>
                  <a:cubicBezTo>
                    <a:pt x="14" y="553"/>
                    <a:pt x="16" y="552"/>
                    <a:pt x="17" y="552"/>
                  </a:cubicBezTo>
                  <a:cubicBezTo>
                    <a:pt x="18" y="552"/>
                    <a:pt x="18" y="551"/>
                    <a:pt x="18" y="550"/>
                  </a:cubicBezTo>
                  <a:cubicBezTo>
                    <a:pt x="18" y="548"/>
                    <a:pt x="19" y="546"/>
                    <a:pt x="20" y="544"/>
                  </a:cubicBezTo>
                  <a:cubicBezTo>
                    <a:pt x="20" y="542"/>
                    <a:pt x="21" y="540"/>
                    <a:pt x="21" y="539"/>
                  </a:cubicBezTo>
                  <a:cubicBezTo>
                    <a:pt x="21" y="538"/>
                    <a:pt x="21" y="536"/>
                    <a:pt x="22" y="535"/>
                  </a:cubicBezTo>
                  <a:cubicBezTo>
                    <a:pt x="24" y="533"/>
                    <a:pt x="25" y="531"/>
                    <a:pt x="23" y="529"/>
                  </a:cubicBezTo>
                  <a:cubicBezTo>
                    <a:pt x="22" y="528"/>
                    <a:pt x="22" y="528"/>
                    <a:pt x="21" y="528"/>
                  </a:cubicBezTo>
                  <a:cubicBezTo>
                    <a:pt x="20" y="528"/>
                    <a:pt x="19" y="529"/>
                    <a:pt x="19" y="530"/>
                  </a:cubicBezTo>
                  <a:cubicBezTo>
                    <a:pt x="18" y="531"/>
                    <a:pt x="17" y="534"/>
                    <a:pt x="17" y="535"/>
                  </a:cubicBezTo>
                  <a:cubicBezTo>
                    <a:pt x="18" y="537"/>
                    <a:pt x="18" y="539"/>
                    <a:pt x="17" y="540"/>
                  </a:cubicBezTo>
                  <a:cubicBezTo>
                    <a:pt x="16" y="541"/>
                    <a:pt x="14" y="542"/>
                    <a:pt x="12" y="542"/>
                  </a:cubicBezTo>
                  <a:cubicBezTo>
                    <a:pt x="9" y="541"/>
                    <a:pt x="10" y="539"/>
                    <a:pt x="10" y="538"/>
                  </a:cubicBezTo>
                  <a:cubicBezTo>
                    <a:pt x="10" y="537"/>
                    <a:pt x="10" y="537"/>
                    <a:pt x="10" y="537"/>
                  </a:cubicBezTo>
                  <a:cubicBezTo>
                    <a:pt x="10" y="537"/>
                    <a:pt x="10" y="537"/>
                    <a:pt x="9" y="537"/>
                  </a:cubicBezTo>
                  <a:cubicBezTo>
                    <a:pt x="8" y="538"/>
                    <a:pt x="8" y="538"/>
                    <a:pt x="8" y="538"/>
                  </a:cubicBezTo>
                  <a:cubicBezTo>
                    <a:pt x="6" y="538"/>
                    <a:pt x="4" y="536"/>
                    <a:pt x="4" y="535"/>
                  </a:cubicBezTo>
                  <a:cubicBezTo>
                    <a:pt x="3" y="533"/>
                    <a:pt x="4" y="531"/>
                    <a:pt x="5" y="530"/>
                  </a:cubicBezTo>
                  <a:cubicBezTo>
                    <a:pt x="10" y="527"/>
                    <a:pt x="12" y="525"/>
                    <a:pt x="13" y="522"/>
                  </a:cubicBezTo>
                  <a:cubicBezTo>
                    <a:pt x="14" y="520"/>
                    <a:pt x="15" y="520"/>
                    <a:pt x="17" y="519"/>
                  </a:cubicBezTo>
                  <a:cubicBezTo>
                    <a:pt x="19" y="519"/>
                    <a:pt x="20" y="519"/>
                    <a:pt x="20" y="516"/>
                  </a:cubicBezTo>
                  <a:cubicBezTo>
                    <a:pt x="20" y="514"/>
                    <a:pt x="20" y="513"/>
                    <a:pt x="19" y="513"/>
                  </a:cubicBezTo>
                  <a:cubicBezTo>
                    <a:pt x="17" y="513"/>
                    <a:pt x="16" y="514"/>
                    <a:pt x="15" y="515"/>
                  </a:cubicBezTo>
                  <a:cubicBezTo>
                    <a:pt x="14" y="518"/>
                    <a:pt x="10" y="520"/>
                    <a:pt x="8" y="520"/>
                  </a:cubicBezTo>
                  <a:cubicBezTo>
                    <a:pt x="6" y="520"/>
                    <a:pt x="6" y="519"/>
                    <a:pt x="5" y="518"/>
                  </a:cubicBezTo>
                  <a:cubicBezTo>
                    <a:pt x="4" y="516"/>
                    <a:pt x="3" y="515"/>
                    <a:pt x="2" y="514"/>
                  </a:cubicBezTo>
                  <a:cubicBezTo>
                    <a:pt x="1" y="513"/>
                    <a:pt x="1" y="512"/>
                    <a:pt x="1" y="511"/>
                  </a:cubicBezTo>
                  <a:cubicBezTo>
                    <a:pt x="2" y="508"/>
                    <a:pt x="8" y="504"/>
                    <a:pt x="11" y="504"/>
                  </a:cubicBezTo>
                  <a:cubicBezTo>
                    <a:pt x="11" y="504"/>
                    <a:pt x="12" y="504"/>
                    <a:pt x="12" y="505"/>
                  </a:cubicBezTo>
                  <a:cubicBezTo>
                    <a:pt x="13" y="505"/>
                    <a:pt x="13" y="505"/>
                    <a:pt x="13" y="505"/>
                  </a:cubicBezTo>
                  <a:cubicBezTo>
                    <a:pt x="14" y="506"/>
                    <a:pt x="16" y="506"/>
                    <a:pt x="17" y="506"/>
                  </a:cubicBezTo>
                  <a:cubicBezTo>
                    <a:pt x="18" y="506"/>
                    <a:pt x="19" y="506"/>
                    <a:pt x="20" y="504"/>
                  </a:cubicBezTo>
                  <a:cubicBezTo>
                    <a:pt x="21" y="503"/>
                    <a:pt x="22" y="502"/>
                    <a:pt x="23" y="502"/>
                  </a:cubicBezTo>
                  <a:cubicBezTo>
                    <a:pt x="26" y="502"/>
                    <a:pt x="30" y="506"/>
                    <a:pt x="31" y="506"/>
                  </a:cubicBezTo>
                  <a:cubicBezTo>
                    <a:pt x="31" y="507"/>
                    <a:pt x="31" y="507"/>
                    <a:pt x="31" y="507"/>
                  </a:cubicBezTo>
                  <a:cubicBezTo>
                    <a:pt x="31" y="507"/>
                    <a:pt x="32" y="506"/>
                    <a:pt x="32" y="505"/>
                  </a:cubicBezTo>
                  <a:cubicBezTo>
                    <a:pt x="32" y="504"/>
                    <a:pt x="32" y="502"/>
                    <a:pt x="30" y="501"/>
                  </a:cubicBezTo>
                  <a:cubicBezTo>
                    <a:pt x="28" y="501"/>
                    <a:pt x="26" y="501"/>
                    <a:pt x="24" y="502"/>
                  </a:cubicBezTo>
                  <a:cubicBezTo>
                    <a:pt x="22" y="502"/>
                    <a:pt x="21" y="502"/>
                    <a:pt x="19" y="502"/>
                  </a:cubicBezTo>
                  <a:cubicBezTo>
                    <a:pt x="17" y="502"/>
                    <a:pt x="16" y="501"/>
                    <a:pt x="16" y="500"/>
                  </a:cubicBezTo>
                  <a:cubicBezTo>
                    <a:pt x="15" y="497"/>
                    <a:pt x="16" y="493"/>
                    <a:pt x="18" y="491"/>
                  </a:cubicBezTo>
                  <a:cubicBezTo>
                    <a:pt x="19" y="490"/>
                    <a:pt x="20" y="490"/>
                    <a:pt x="21" y="490"/>
                  </a:cubicBezTo>
                  <a:cubicBezTo>
                    <a:pt x="21" y="490"/>
                    <a:pt x="21" y="490"/>
                    <a:pt x="21" y="490"/>
                  </a:cubicBezTo>
                  <a:cubicBezTo>
                    <a:pt x="22" y="490"/>
                    <a:pt x="22" y="489"/>
                    <a:pt x="22" y="488"/>
                  </a:cubicBezTo>
                  <a:cubicBezTo>
                    <a:pt x="22" y="486"/>
                    <a:pt x="22" y="484"/>
                    <a:pt x="19" y="484"/>
                  </a:cubicBezTo>
                  <a:cubicBezTo>
                    <a:pt x="18" y="483"/>
                    <a:pt x="16" y="484"/>
                    <a:pt x="15" y="484"/>
                  </a:cubicBezTo>
                  <a:cubicBezTo>
                    <a:pt x="14" y="484"/>
                    <a:pt x="14" y="485"/>
                    <a:pt x="13" y="485"/>
                  </a:cubicBezTo>
                  <a:cubicBezTo>
                    <a:pt x="12" y="485"/>
                    <a:pt x="11" y="484"/>
                    <a:pt x="11" y="482"/>
                  </a:cubicBezTo>
                  <a:cubicBezTo>
                    <a:pt x="10" y="481"/>
                    <a:pt x="9" y="480"/>
                    <a:pt x="7" y="480"/>
                  </a:cubicBezTo>
                  <a:cubicBezTo>
                    <a:pt x="6" y="480"/>
                    <a:pt x="5" y="481"/>
                    <a:pt x="5" y="482"/>
                  </a:cubicBezTo>
                  <a:cubicBezTo>
                    <a:pt x="5" y="485"/>
                    <a:pt x="2" y="485"/>
                    <a:pt x="1" y="484"/>
                  </a:cubicBezTo>
                  <a:cubicBezTo>
                    <a:pt x="0" y="483"/>
                    <a:pt x="0" y="482"/>
                    <a:pt x="0" y="481"/>
                  </a:cubicBezTo>
                  <a:cubicBezTo>
                    <a:pt x="1" y="478"/>
                    <a:pt x="6" y="473"/>
                    <a:pt x="10" y="472"/>
                  </a:cubicBezTo>
                  <a:cubicBezTo>
                    <a:pt x="10" y="472"/>
                    <a:pt x="10" y="472"/>
                    <a:pt x="10" y="472"/>
                  </a:cubicBezTo>
                  <a:cubicBezTo>
                    <a:pt x="10" y="472"/>
                    <a:pt x="10" y="471"/>
                    <a:pt x="9" y="471"/>
                  </a:cubicBezTo>
                  <a:cubicBezTo>
                    <a:pt x="8" y="469"/>
                    <a:pt x="7" y="467"/>
                    <a:pt x="9" y="465"/>
                  </a:cubicBezTo>
                  <a:cubicBezTo>
                    <a:pt x="10" y="464"/>
                    <a:pt x="12" y="463"/>
                    <a:pt x="14" y="463"/>
                  </a:cubicBezTo>
                  <a:cubicBezTo>
                    <a:pt x="16" y="462"/>
                    <a:pt x="17" y="462"/>
                    <a:pt x="17" y="460"/>
                  </a:cubicBezTo>
                  <a:cubicBezTo>
                    <a:pt x="17" y="459"/>
                    <a:pt x="17" y="458"/>
                    <a:pt x="18" y="458"/>
                  </a:cubicBezTo>
                  <a:cubicBezTo>
                    <a:pt x="18" y="457"/>
                    <a:pt x="19" y="457"/>
                    <a:pt x="20" y="457"/>
                  </a:cubicBezTo>
                  <a:cubicBezTo>
                    <a:pt x="21" y="457"/>
                    <a:pt x="21" y="457"/>
                    <a:pt x="21" y="457"/>
                  </a:cubicBezTo>
                  <a:cubicBezTo>
                    <a:pt x="22" y="457"/>
                    <a:pt x="23" y="457"/>
                    <a:pt x="23" y="457"/>
                  </a:cubicBezTo>
                  <a:cubicBezTo>
                    <a:pt x="25" y="457"/>
                    <a:pt x="25" y="457"/>
                    <a:pt x="25" y="456"/>
                  </a:cubicBezTo>
                  <a:cubicBezTo>
                    <a:pt x="25" y="454"/>
                    <a:pt x="23" y="452"/>
                    <a:pt x="22" y="451"/>
                  </a:cubicBezTo>
                  <a:cubicBezTo>
                    <a:pt x="20" y="449"/>
                    <a:pt x="18" y="447"/>
                    <a:pt x="19" y="446"/>
                  </a:cubicBezTo>
                  <a:cubicBezTo>
                    <a:pt x="19" y="445"/>
                    <a:pt x="19" y="444"/>
                    <a:pt x="20" y="444"/>
                  </a:cubicBezTo>
                  <a:cubicBezTo>
                    <a:pt x="21" y="444"/>
                    <a:pt x="21" y="444"/>
                    <a:pt x="22" y="444"/>
                  </a:cubicBezTo>
                  <a:cubicBezTo>
                    <a:pt x="25" y="444"/>
                    <a:pt x="27" y="446"/>
                    <a:pt x="29" y="449"/>
                  </a:cubicBezTo>
                  <a:cubicBezTo>
                    <a:pt x="30" y="451"/>
                    <a:pt x="30" y="454"/>
                    <a:pt x="29" y="455"/>
                  </a:cubicBezTo>
                  <a:cubicBezTo>
                    <a:pt x="28" y="457"/>
                    <a:pt x="26" y="458"/>
                    <a:pt x="25" y="459"/>
                  </a:cubicBezTo>
                  <a:cubicBezTo>
                    <a:pt x="24" y="461"/>
                    <a:pt x="22" y="463"/>
                    <a:pt x="22" y="464"/>
                  </a:cubicBezTo>
                  <a:cubicBezTo>
                    <a:pt x="22" y="464"/>
                    <a:pt x="22" y="464"/>
                    <a:pt x="22" y="464"/>
                  </a:cubicBezTo>
                  <a:cubicBezTo>
                    <a:pt x="22" y="465"/>
                    <a:pt x="23" y="465"/>
                    <a:pt x="23" y="465"/>
                  </a:cubicBezTo>
                  <a:cubicBezTo>
                    <a:pt x="25" y="467"/>
                    <a:pt x="28" y="469"/>
                    <a:pt x="29" y="469"/>
                  </a:cubicBezTo>
                  <a:cubicBezTo>
                    <a:pt x="30" y="469"/>
                    <a:pt x="30" y="469"/>
                    <a:pt x="31" y="468"/>
                  </a:cubicBezTo>
                  <a:cubicBezTo>
                    <a:pt x="31" y="467"/>
                    <a:pt x="31" y="465"/>
                    <a:pt x="30" y="464"/>
                  </a:cubicBezTo>
                  <a:cubicBezTo>
                    <a:pt x="29" y="462"/>
                    <a:pt x="28" y="460"/>
                    <a:pt x="30" y="459"/>
                  </a:cubicBezTo>
                  <a:cubicBezTo>
                    <a:pt x="31" y="457"/>
                    <a:pt x="33" y="457"/>
                    <a:pt x="35" y="457"/>
                  </a:cubicBezTo>
                  <a:cubicBezTo>
                    <a:pt x="36" y="457"/>
                    <a:pt x="37" y="457"/>
                    <a:pt x="37" y="456"/>
                  </a:cubicBezTo>
                  <a:cubicBezTo>
                    <a:pt x="37" y="456"/>
                    <a:pt x="37" y="456"/>
                    <a:pt x="37" y="455"/>
                  </a:cubicBezTo>
                  <a:cubicBezTo>
                    <a:pt x="35" y="452"/>
                    <a:pt x="34" y="449"/>
                    <a:pt x="35" y="447"/>
                  </a:cubicBezTo>
                  <a:cubicBezTo>
                    <a:pt x="35" y="446"/>
                    <a:pt x="36" y="446"/>
                    <a:pt x="37" y="446"/>
                  </a:cubicBezTo>
                  <a:cubicBezTo>
                    <a:pt x="37" y="445"/>
                    <a:pt x="37" y="445"/>
                    <a:pt x="37" y="445"/>
                  </a:cubicBezTo>
                  <a:cubicBezTo>
                    <a:pt x="37" y="445"/>
                    <a:pt x="37" y="444"/>
                    <a:pt x="37" y="443"/>
                  </a:cubicBezTo>
                  <a:cubicBezTo>
                    <a:pt x="36" y="442"/>
                    <a:pt x="35" y="440"/>
                    <a:pt x="37" y="439"/>
                  </a:cubicBezTo>
                  <a:cubicBezTo>
                    <a:pt x="37" y="439"/>
                    <a:pt x="37" y="439"/>
                    <a:pt x="37" y="438"/>
                  </a:cubicBezTo>
                  <a:cubicBezTo>
                    <a:pt x="36" y="437"/>
                    <a:pt x="36" y="436"/>
                    <a:pt x="36" y="433"/>
                  </a:cubicBezTo>
                  <a:cubicBezTo>
                    <a:pt x="36" y="430"/>
                    <a:pt x="37" y="429"/>
                    <a:pt x="38" y="428"/>
                  </a:cubicBezTo>
                  <a:cubicBezTo>
                    <a:pt x="39" y="426"/>
                    <a:pt x="39" y="426"/>
                    <a:pt x="38" y="424"/>
                  </a:cubicBezTo>
                  <a:cubicBezTo>
                    <a:pt x="37" y="420"/>
                    <a:pt x="39" y="416"/>
                    <a:pt x="41" y="413"/>
                  </a:cubicBezTo>
                  <a:cubicBezTo>
                    <a:pt x="41" y="412"/>
                    <a:pt x="42" y="412"/>
                    <a:pt x="42" y="412"/>
                  </a:cubicBezTo>
                  <a:cubicBezTo>
                    <a:pt x="43" y="410"/>
                    <a:pt x="42" y="408"/>
                    <a:pt x="42" y="406"/>
                  </a:cubicBezTo>
                  <a:cubicBezTo>
                    <a:pt x="41" y="404"/>
                    <a:pt x="41" y="401"/>
                    <a:pt x="43" y="399"/>
                  </a:cubicBezTo>
                  <a:cubicBezTo>
                    <a:pt x="45" y="398"/>
                    <a:pt x="46" y="397"/>
                    <a:pt x="46" y="396"/>
                  </a:cubicBezTo>
                  <a:cubicBezTo>
                    <a:pt x="46" y="395"/>
                    <a:pt x="44" y="394"/>
                    <a:pt x="43" y="394"/>
                  </a:cubicBezTo>
                  <a:cubicBezTo>
                    <a:pt x="41" y="393"/>
                    <a:pt x="41" y="391"/>
                    <a:pt x="41" y="390"/>
                  </a:cubicBezTo>
                  <a:cubicBezTo>
                    <a:pt x="41" y="389"/>
                    <a:pt x="41" y="388"/>
                    <a:pt x="41" y="388"/>
                  </a:cubicBezTo>
                  <a:cubicBezTo>
                    <a:pt x="41" y="388"/>
                    <a:pt x="41" y="388"/>
                    <a:pt x="40" y="388"/>
                  </a:cubicBezTo>
                  <a:cubicBezTo>
                    <a:pt x="39" y="388"/>
                    <a:pt x="39" y="388"/>
                    <a:pt x="39" y="388"/>
                  </a:cubicBezTo>
                  <a:cubicBezTo>
                    <a:pt x="37" y="389"/>
                    <a:pt x="37" y="390"/>
                    <a:pt x="37" y="391"/>
                  </a:cubicBezTo>
                  <a:cubicBezTo>
                    <a:pt x="36" y="392"/>
                    <a:pt x="36" y="394"/>
                    <a:pt x="33" y="394"/>
                  </a:cubicBezTo>
                  <a:cubicBezTo>
                    <a:pt x="33" y="394"/>
                    <a:pt x="32" y="395"/>
                    <a:pt x="32" y="396"/>
                  </a:cubicBezTo>
                  <a:cubicBezTo>
                    <a:pt x="32" y="398"/>
                    <a:pt x="32" y="401"/>
                    <a:pt x="32" y="404"/>
                  </a:cubicBezTo>
                  <a:cubicBezTo>
                    <a:pt x="32" y="411"/>
                    <a:pt x="32" y="419"/>
                    <a:pt x="27" y="420"/>
                  </a:cubicBezTo>
                  <a:cubicBezTo>
                    <a:pt x="26" y="420"/>
                    <a:pt x="26" y="420"/>
                    <a:pt x="26" y="420"/>
                  </a:cubicBezTo>
                  <a:cubicBezTo>
                    <a:pt x="25" y="420"/>
                    <a:pt x="24" y="420"/>
                    <a:pt x="23" y="420"/>
                  </a:cubicBezTo>
                  <a:cubicBezTo>
                    <a:pt x="22" y="420"/>
                    <a:pt x="21" y="420"/>
                    <a:pt x="20" y="419"/>
                  </a:cubicBezTo>
                  <a:cubicBezTo>
                    <a:pt x="19" y="418"/>
                    <a:pt x="19" y="415"/>
                    <a:pt x="20" y="410"/>
                  </a:cubicBezTo>
                  <a:cubicBezTo>
                    <a:pt x="21" y="399"/>
                    <a:pt x="22" y="393"/>
                    <a:pt x="26" y="393"/>
                  </a:cubicBezTo>
                  <a:cubicBezTo>
                    <a:pt x="27" y="393"/>
                    <a:pt x="28" y="393"/>
                    <a:pt x="28" y="393"/>
                  </a:cubicBezTo>
                  <a:cubicBezTo>
                    <a:pt x="29" y="391"/>
                    <a:pt x="29" y="389"/>
                    <a:pt x="27" y="385"/>
                  </a:cubicBezTo>
                  <a:cubicBezTo>
                    <a:pt x="25" y="381"/>
                    <a:pt x="27" y="378"/>
                    <a:pt x="28" y="374"/>
                  </a:cubicBezTo>
                  <a:cubicBezTo>
                    <a:pt x="28" y="372"/>
                    <a:pt x="29" y="370"/>
                    <a:pt x="29" y="368"/>
                  </a:cubicBezTo>
                  <a:cubicBezTo>
                    <a:pt x="29" y="364"/>
                    <a:pt x="30" y="363"/>
                    <a:pt x="31" y="361"/>
                  </a:cubicBezTo>
                  <a:cubicBezTo>
                    <a:pt x="32" y="360"/>
                    <a:pt x="33" y="358"/>
                    <a:pt x="34" y="356"/>
                  </a:cubicBezTo>
                  <a:cubicBezTo>
                    <a:pt x="34" y="354"/>
                    <a:pt x="34" y="354"/>
                    <a:pt x="34" y="354"/>
                  </a:cubicBezTo>
                  <a:cubicBezTo>
                    <a:pt x="36" y="349"/>
                    <a:pt x="36" y="347"/>
                    <a:pt x="33" y="341"/>
                  </a:cubicBezTo>
                  <a:cubicBezTo>
                    <a:pt x="31" y="338"/>
                    <a:pt x="31" y="334"/>
                    <a:pt x="32" y="331"/>
                  </a:cubicBezTo>
                  <a:cubicBezTo>
                    <a:pt x="32" y="328"/>
                    <a:pt x="32" y="326"/>
                    <a:pt x="31" y="323"/>
                  </a:cubicBezTo>
                  <a:cubicBezTo>
                    <a:pt x="29" y="318"/>
                    <a:pt x="29" y="315"/>
                    <a:pt x="30" y="313"/>
                  </a:cubicBezTo>
                  <a:cubicBezTo>
                    <a:pt x="31" y="312"/>
                    <a:pt x="32" y="311"/>
                    <a:pt x="33" y="311"/>
                  </a:cubicBezTo>
                  <a:cubicBezTo>
                    <a:pt x="36" y="311"/>
                    <a:pt x="36" y="310"/>
                    <a:pt x="38" y="305"/>
                  </a:cubicBezTo>
                  <a:cubicBezTo>
                    <a:pt x="38" y="304"/>
                    <a:pt x="39" y="302"/>
                    <a:pt x="40" y="300"/>
                  </a:cubicBezTo>
                  <a:cubicBezTo>
                    <a:pt x="40" y="298"/>
                    <a:pt x="42" y="296"/>
                    <a:pt x="43" y="293"/>
                  </a:cubicBezTo>
                  <a:cubicBezTo>
                    <a:pt x="46" y="286"/>
                    <a:pt x="50" y="276"/>
                    <a:pt x="51" y="269"/>
                  </a:cubicBezTo>
                  <a:cubicBezTo>
                    <a:pt x="51" y="264"/>
                    <a:pt x="53" y="262"/>
                    <a:pt x="54" y="259"/>
                  </a:cubicBezTo>
                  <a:cubicBezTo>
                    <a:pt x="56" y="257"/>
                    <a:pt x="57" y="255"/>
                    <a:pt x="56" y="251"/>
                  </a:cubicBezTo>
                  <a:cubicBezTo>
                    <a:pt x="56" y="247"/>
                    <a:pt x="57" y="245"/>
                    <a:pt x="58" y="244"/>
                  </a:cubicBezTo>
                  <a:cubicBezTo>
                    <a:pt x="59" y="243"/>
                    <a:pt x="59" y="242"/>
                    <a:pt x="59" y="241"/>
                  </a:cubicBezTo>
                  <a:cubicBezTo>
                    <a:pt x="59" y="240"/>
                    <a:pt x="59" y="239"/>
                    <a:pt x="60" y="237"/>
                  </a:cubicBezTo>
                  <a:cubicBezTo>
                    <a:pt x="60" y="230"/>
                    <a:pt x="61" y="217"/>
                    <a:pt x="59" y="209"/>
                  </a:cubicBezTo>
                  <a:cubicBezTo>
                    <a:pt x="58" y="204"/>
                    <a:pt x="60" y="201"/>
                    <a:pt x="62" y="199"/>
                  </a:cubicBezTo>
                  <a:cubicBezTo>
                    <a:pt x="64" y="197"/>
                    <a:pt x="65" y="195"/>
                    <a:pt x="65" y="193"/>
                  </a:cubicBezTo>
                  <a:cubicBezTo>
                    <a:pt x="65" y="191"/>
                    <a:pt x="63" y="188"/>
                    <a:pt x="62" y="185"/>
                  </a:cubicBezTo>
                  <a:cubicBezTo>
                    <a:pt x="59" y="181"/>
                    <a:pt x="57" y="178"/>
                    <a:pt x="60" y="176"/>
                  </a:cubicBezTo>
                  <a:cubicBezTo>
                    <a:pt x="63" y="173"/>
                    <a:pt x="66" y="169"/>
                    <a:pt x="66" y="163"/>
                  </a:cubicBezTo>
                  <a:cubicBezTo>
                    <a:pt x="65" y="160"/>
                    <a:pt x="67" y="157"/>
                    <a:pt x="68" y="155"/>
                  </a:cubicBezTo>
                  <a:cubicBezTo>
                    <a:pt x="69" y="153"/>
                    <a:pt x="70" y="151"/>
                    <a:pt x="70" y="148"/>
                  </a:cubicBezTo>
                  <a:cubicBezTo>
                    <a:pt x="70" y="146"/>
                    <a:pt x="71" y="142"/>
                    <a:pt x="72" y="137"/>
                  </a:cubicBezTo>
                  <a:cubicBezTo>
                    <a:pt x="74" y="130"/>
                    <a:pt x="76" y="121"/>
                    <a:pt x="76" y="115"/>
                  </a:cubicBezTo>
                  <a:cubicBezTo>
                    <a:pt x="76" y="113"/>
                    <a:pt x="76" y="110"/>
                    <a:pt x="76" y="108"/>
                  </a:cubicBezTo>
                  <a:cubicBezTo>
                    <a:pt x="76" y="102"/>
                    <a:pt x="76" y="97"/>
                    <a:pt x="78" y="95"/>
                  </a:cubicBezTo>
                  <a:cubicBezTo>
                    <a:pt x="79" y="95"/>
                    <a:pt x="78" y="94"/>
                    <a:pt x="77" y="93"/>
                  </a:cubicBezTo>
                  <a:cubicBezTo>
                    <a:pt x="76" y="92"/>
                    <a:pt x="75" y="90"/>
                    <a:pt x="76" y="87"/>
                  </a:cubicBezTo>
                  <a:cubicBezTo>
                    <a:pt x="78" y="82"/>
                    <a:pt x="80" y="74"/>
                    <a:pt x="82" y="65"/>
                  </a:cubicBezTo>
                  <a:cubicBezTo>
                    <a:pt x="84" y="56"/>
                    <a:pt x="83" y="33"/>
                    <a:pt x="81" y="28"/>
                  </a:cubicBezTo>
                  <a:cubicBezTo>
                    <a:pt x="80" y="26"/>
                    <a:pt x="80" y="22"/>
                    <a:pt x="80" y="19"/>
                  </a:cubicBezTo>
                  <a:cubicBezTo>
                    <a:pt x="80" y="17"/>
                    <a:pt x="80" y="16"/>
                    <a:pt x="80" y="15"/>
                  </a:cubicBezTo>
                  <a:cubicBezTo>
                    <a:pt x="80" y="15"/>
                    <a:pt x="80" y="15"/>
                    <a:pt x="80" y="15"/>
                  </a:cubicBezTo>
                  <a:cubicBezTo>
                    <a:pt x="81" y="14"/>
                    <a:pt x="81" y="14"/>
                    <a:pt x="81" y="14"/>
                  </a:cubicBezTo>
                  <a:cubicBezTo>
                    <a:pt x="82" y="13"/>
                    <a:pt x="83" y="12"/>
                    <a:pt x="84" y="12"/>
                  </a:cubicBezTo>
                  <a:cubicBezTo>
                    <a:pt x="87" y="11"/>
                    <a:pt x="88" y="7"/>
                    <a:pt x="89" y="4"/>
                  </a:cubicBezTo>
                  <a:cubicBezTo>
                    <a:pt x="89" y="3"/>
                    <a:pt x="89" y="1"/>
                    <a:pt x="90" y="1"/>
                  </a:cubicBezTo>
                  <a:cubicBezTo>
                    <a:pt x="90" y="0"/>
                    <a:pt x="90" y="0"/>
                    <a:pt x="91" y="0"/>
                  </a:cubicBezTo>
                  <a:cubicBezTo>
                    <a:pt x="91" y="0"/>
                    <a:pt x="92" y="1"/>
                    <a:pt x="92" y="2"/>
                  </a:cubicBezTo>
                  <a:cubicBezTo>
                    <a:pt x="93" y="3"/>
                    <a:pt x="94" y="5"/>
                    <a:pt x="97" y="7"/>
                  </a:cubicBezTo>
                  <a:cubicBezTo>
                    <a:pt x="100" y="9"/>
                    <a:pt x="99" y="12"/>
                    <a:pt x="99" y="15"/>
                  </a:cubicBezTo>
                  <a:cubicBezTo>
                    <a:pt x="99" y="18"/>
                    <a:pt x="99" y="20"/>
                    <a:pt x="100" y="23"/>
                  </a:cubicBezTo>
                  <a:cubicBezTo>
                    <a:pt x="102" y="25"/>
                    <a:pt x="104" y="26"/>
                    <a:pt x="105" y="27"/>
                  </a:cubicBezTo>
                  <a:cubicBezTo>
                    <a:pt x="107" y="28"/>
                    <a:pt x="107" y="29"/>
                    <a:pt x="108" y="30"/>
                  </a:cubicBezTo>
                  <a:cubicBezTo>
                    <a:pt x="108" y="30"/>
                    <a:pt x="107" y="31"/>
                    <a:pt x="106" y="31"/>
                  </a:cubicBezTo>
                  <a:cubicBezTo>
                    <a:pt x="105" y="33"/>
                    <a:pt x="105" y="34"/>
                    <a:pt x="105" y="36"/>
                  </a:cubicBezTo>
                  <a:cubicBezTo>
                    <a:pt x="105" y="38"/>
                    <a:pt x="105" y="40"/>
                    <a:pt x="103" y="42"/>
                  </a:cubicBezTo>
                  <a:cubicBezTo>
                    <a:pt x="103" y="42"/>
                    <a:pt x="102" y="43"/>
                    <a:pt x="102" y="45"/>
                  </a:cubicBezTo>
                  <a:cubicBezTo>
                    <a:pt x="103" y="48"/>
                    <a:pt x="106" y="52"/>
                    <a:pt x="108" y="53"/>
                  </a:cubicBezTo>
                  <a:cubicBezTo>
                    <a:pt x="111" y="54"/>
                    <a:pt x="111" y="57"/>
                    <a:pt x="111" y="59"/>
                  </a:cubicBezTo>
                  <a:cubicBezTo>
                    <a:pt x="112" y="62"/>
                    <a:pt x="112" y="65"/>
                    <a:pt x="114" y="66"/>
                  </a:cubicBezTo>
                  <a:cubicBezTo>
                    <a:pt x="116" y="69"/>
                    <a:pt x="117" y="74"/>
                    <a:pt x="117" y="78"/>
                  </a:cubicBezTo>
                  <a:cubicBezTo>
                    <a:pt x="117" y="80"/>
                    <a:pt x="117" y="81"/>
                    <a:pt x="117" y="82"/>
                  </a:cubicBezTo>
                  <a:cubicBezTo>
                    <a:pt x="117" y="83"/>
                    <a:pt x="117" y="83"/>
                    <a:pt x="118" y="83"/>
                  </a:cubicBezTo>
                  <a:cubicBezTo>
                    <a:pt x="120" y="83"/>
                    <a:pt x="122" y="82"/>
                    <a:pt x="126" y="79"/>
                  </a:cubicBezTo>
                  <a:cubicBezTo>
                    <a:pt x="127" y="79"/>
                    <a:pt x="127" y="79"/>
                    <a:pt x="127" y="79"/>
                  </a:cubicBezTo>
                  <a:cubicBezTo>
                    <a:pt x="126" y="80"/>
                    <a:pt x="126" y="80"/>
                    <a:pt x="126" y="80"/>
                  </a:cubicBezTo>
                  <a:cubicBezTo>
                    <a:pt x="126" y="86"/>
                    <a:pt x="125" y="95"/>
                    <a:pt x="123" y="97"/>
                  </a:cubicBezTo>
                  <a:cubicBezTo>
                    <a:pt x="123" y="99"/>
                    <a:pt x="119" y="101"/>
                    <a:pt x="116" y="103"/>
                  </a:cubicBezTo>
                  <a:cubicBezTo>
                    <a:pt x="112" y="105"/>
                    <a:pt x="107" y="108"/>
                    <a:pt x="107" y="110"/>
                  </a:cubicBezTo>
                  <a:cubicBezTo>
                    <a:pt x="107" y="111"/>
                    <a:pt x="107" y="113"/>
                    <a:pt x="107" y="114"/>
                  </a:cubicBezTo>
                  <a:cubicBezTo>
                    <a:pt x="107" y="117"/>
                    <a:pt x="108" y="119"/>
                    <a:pt x="106" y="121"/>
                  </a:cubicBezTo>
                  <a:cubicBezTo>
                    <a:pt x="105" y="122"/>
                    <a:pt x="106" y="124"/>
                    <a:pt x="107" y="127"/>
                  </a:cubicBezTo>
                  <a:cubicBezTo>
                    <a:pt x="108" y="131"/>
                    <a:pt x="110" y="135"/>
                    <a:pt x="107" y="137"/>
                  </a:cubicBezTo>
                  <a:cubicBezTo>
                    <a:pt x="106" y="137"/>
                    <a:pt x="106" y="137"/>
                    <a:pt x="106" y="138"/>
                  </a:cubicBezTo>
                  <a:cubicBezTo>
                    <a:pt x="106" y="139"/>
                    <a:pt x="106" y="140"/>
                    <a:pt x="107" y="141"/>
                  </a:cubicBezTo>
                  <a:cubicBezTo>
                    <a:pt x="108" y="143"/>
                    <a:pt x="109" y="145"/>
                    <a:pt x="108" y="146"/>
                  </a:cubicBezTo>
                  <a:cubicBezTo>
                    <a:pt x="106" y="147"/>
                    <a:pt x="105" y="148"/>
                    <a:pt x="104" y="149"/>
                  </a:cubicBezTo>
                  <a:cubicBezTo>
                    <a:pt x="101" y="150"/>
                    <a:pt x="99" y="151"/>
                    <a:pt x="99" y="153"/>
                  </a:cubicBezTo>
                  <a:cubicBezTo>
                    <a:pt x="99" y="156"/>
                    <a:pt x="99" y="164"/>
                    <a:pt x="94" y="165"/>
                  </a:cubicBezTo>
                  <a:cubicBezTo>
                    <a:pt x="91" y="167"/>
                    <a:pt x="88" y="173"/>
                    <a:pt x="88" y="178"/>
                  </a:cubicBezTo>
                  <a:cubicBezTo>
                    <a:pt x="88" y="181"/>
                    <a:pt x="87" y="181"/>
                    <a:pt x="85" y="182"/>
                  </a:cubicBezTo>
                  <a:cubicBezTo>
                    <a:pt x="84" y="182"/>
                    <a:pt x="83" y="183"/>
                    <a:pt x="84" y="186"/>
                  </a:cubicBezTo>
                  <a:cubicBezTo>
                    <a:pt x="86" y="191"/>
                    <a:pt x="88" y="196"/>
                    <a:pt x="86" y="199"/>
                  </a:cubicBezTo>
                  <a:cubicBezTo>
                    <a:pt x="86" y="200"/>
                    <a:pt x="85" y="201"/>
                    <a:pt x="84" y="201"/>
                  </a:cubicBezTo>
                  <a:cubicBezTo>
                    <a:pt x="81" y="202"/>
                    <a:pt x="81" y="205"/>
                    <a:pt x="80" y="208"/>
                  </a:cubicBezTo>
                  <a:cubicBezTo>
                    <a:pt x="80" y="211"/>
                    <a:pt x="79" y="213"/>
                    <a:pt x="78" y="213"/>
                  </a:cubicBezTo>
                  <a:cubicBezTo>
                    <a:pt x="77" y="213"/>
                    <a:pt x="77" y="213"/>
                    <a:pt x="77" y="214"/>
                  </a:cubicBezTo>
                  <a:cubicBezTo>
                    <a:pt x="75" y="217"/>
                    <a:pt x="75" y="224"/>
                    <a:pt x="78" y="228"/>
                  </a:cubicBezTo>
                  <a:cubicBezTo>
                    <a:pt x="82" y="233"/>
                    <a:pt x="83" y="238"/>
                    <a:pt x="83" y="242"/>
                  </a:cubicBezTo>
                  <a:cubicBezTo>
                    <a:pt x="83" y="244"/>
                    <a:pt x="84" y="246"/>
                    <a:pt x="85" y="247"/>
                  </a:cubicBezTo>
                  <a:cubicBezTo>
                    <a:pt x="86" y="250"/>
                    <a:pt x="87" y="252"/>
                    <a:pt x="86" y="255"/>
                  </a:cubicBezTo>
                  <a:cubicBezTo>
                    <a:pt x="86" y="257"/>
                    <a:pt x="85" y="259"/>
                    <a:pt x="85" y="261"/>
                  </a:cubicBezTo>
                  <a:cubicBezTo>
                    <a:pt x="85" y="264"/>
                    <a:pt x="84" y="266"/>
                    <a:pt x="82" y="268"/>
                  </a:cubicBezTo>
                  <a:cubicBezTo>
                    <a:pt x="81" y="268"/>
                    <a:pt x="81" y="270"/>
                    <a:pt x="81" y="272"/>
                  </a:cubicBezTo>
                  <a:cubicBezTo>
                    <a:pt x="80" y="274"/>
                    <a:pt x="80" y="277"/>
                    <a:pt x="78" y="278"/>
                  </a:cubicBezTo>
                  <a:cubicBezTo>
                    <a:pt x="76" y="279"/>
                    <a:pt x="77" y="283"/>
                    <a:pt x="78" y="287"/>
                  </a:cubicBezTo>
                  <a:cubicBezTo>
                    <a:pt x="79" y="291"/>
                    <a:pt x="80" y="295"/>
                    <a:pt x="78" y="296"/>
                  </a:cubicBezTo>
                  <a:cubicBezTo>
                    <a:pt x="77" y="297"/>
                    <a:pt x="76" y="298"/>
                    <a:pt x="75" y="298"/>
                  </a:cubicBezTo>
                  <a:cubicBezTo>
                    <a:pt x="72" y="300"/>
                    <a:pt x="67" y="303"/>
                    <a:pt x="67" y="310"/>
                  </a:cubicBezTo>
                  <a:cubicBezTo>
                    <a:pt x="67" y="315"/>
                    <a:pt x="67" y="318"/>
                    <a:pt x="68" y="321"/>
                  </a:cubicBezTo>
                  <a:cubicBezTo>
                    <a:pt x="68" y="325"/>
                    <a:pt x="68" y="327"/>
                    <a:pt x="68" y="330"/>
                  </a:cubicBezTo>
                  <a:cubicBezTo>
                    <a:pt x="67" y="331"/>
                    <a:pt x="68" y="332"/>
                    <a:pt x="69" y="332"/>
                  </a:cubicBezTo>
                  <a:cubicBezTo>
                    <a:pt x="70" y="333"/>
                    <a:pt x="72" y="335"/>
                    <a:pt x="71" y="338"/>
                  </a:cubicBezTo>
                  <a:cubicBezTo>
                    <a:pt x="71" y="342"/>
                    <a:pt x="68" y="342"/>
                    <a:pt x="66" y="342"/>
                  </a:cubicBezTo>
                  <a:cubicBezTo>
                    <a:pt x="64" y="342"/>
                    <a:pt x="63" y="343"/>
                    <a:pt x="63" y="344"/>
                  </a:cubicBezTo>
                  <a:cubicBezTo>
                    <a:pt x="63" y="345"/>
                    <a:pt x="63" y="347"/>
                    <a:pt x="63" y="348"/>
                  </a:cubicBezTo>
                  <a:cubicBezTo>
                    <a:pt x="63" y="351"/>
                    <a:pt x="64" y="355"/>
                    <a:pt x="62" y="355"/>
                  </a:cubicBezTo>
                  <a:cubicBezTo>
                    <a:pt x="60" y="355"/>
                    <a:pt x="58" y="357"/>
                    <a:pt x="58" y="364"/>
                  </a:cubicBezTo>
                  <a:cubicBezTo>
                    <a:pt x="58" y="368"/>
                    <a:pt x="57" y="369"/>
                    <a:pt x="55" y="371"/>
                  </a:cubicBezTo>
                  <a:cubicBezTo>
                    <a:pt x="55" y="372"/>
                    <a:pt x="54" y="373"/>
                    <a:pt x="54" y="374"/>
                  </a:cubicBezTo>
                  <a:cubicBezTo>
                    <a:pt x="54" y="375"/>
                    <a:pt x="55" y="377"/>
                    <a:pt x="55" y="379"/>
                  </a:cubicBezTo>
                  <a:cubicBezTo>
                    <a:pt x="56" y="380"/>
                    <a:pt x="57" y="382"/>
                    <a:pt x="57" y="384"/>
                  </a:cubicBezTo>
                  <a:cubicBezTo>
                    <a:pt x="57" y="385"/>
                    <a:pt x="57" y="386"/>
                    <a:pt x="57" y="388"/>
                  </a:cubicBezTo>
                  <a:cubicBezTo>
                    <a:pt x="58" y="394"/>
                    <a:pt x="58" y="400"/>
                    <a:pt x="56" y="400"/>
                  </a:cubicBezTo>
                  <a:cubicBezTo>
                    <a:pt x="55" y="400"/>
                    <a:pt x="54" y="402"/>
                    <a:pt x="53" y="405"/>
                  </a:cubicBezTo>
                  <a:cubicBezTo>
                    <a:pt x="52" y="409"/>
                    <a:pt x="53" y="414"/>
                    <a:pt x="54" y="414"/>
                  </a:cubicBezTo>
                  <a:cubicBezTo>
                    <a:pt x="57" y="416"/>
                    <a:pt x="57" y="420"/>
                    <a:pt x="55" y="423"/>
                  </a:cubicBezTo>
                  <a:cubicBezTo>
                    <a:pt x="55" y="424"/>
                    <a:pt x="56" y="424"/>
                    <a:pt x="57" y="426"/>
                  </a:cubicBezTo>
                  <a:cubicBezTo>
                    <a:pt x="58" y="427"/>
                    <a:pt x="60" y="430"/>
                    <a:pt x="57" y="432"/>
                  </a:cubicBezTo>
                  <a:cubicBezTo>
                    <a:pt x="56" y="434"/>
                    <a:pt x="55" y="435"/>
                    <a:pt x="56" y="437"/>
                  </a:cubicBezTo>
                  <a:cubicBezTo>
                    <a:pt x="57" y="439"/>
                    <a:pt x="59" y="439"/>
                    <a:pt x="61" y="439"/>
                  </a:cubicBezTo>
                  <a:cubicBezTo>
                    <a:pt x="62" y="439"/>
                    <a:pt x="62" y="439"/>
                    <a:pt x="62" y="439"/>
                  </a:cubicBezTo>
                  <a:cubicBezTo>
                    <a:pt x="65" y="439"/>
                    <a:pt x="67" y="441"/>
                    <a:pt x="67" y="443"/>
                  </a:cubicBezTo>
                  <a:cubicBezTo>
                    <a:pt x="67" y="444"/>
                    <a:pt x="66" y="445"/>
                    <a:pt x="66" y="445"/>
                  </a:cubicBezTo>
                  <a:cubicBezTo>
                    <a:pt x="65" y="446"/>
                    <a:pt x="65" y="446"/>
                    <a:pt x="64" y="446"/>
                  </a:cubicBezTo>
                  <a:cubicBezTo>
                    <a:pt x="61" y="446"/>
                    <a:pt x="57" y="446"/>
                    <a:pt x="57" y="447"/>
                  </a:cubicBezTo>
                  <a:cubicBezTo>
                    <a:pt x="57" y="447"/>
                    <a:pt x="57" y="447"/>
                    <a:pt x="58" y="448"/>
                  </a:cubicBezTo>
                  <a:cubicBezTo>
                    <a:pt x="62" y="451"/>
                    <a:pt x="64" y="454"/>
                    <a:pt x="63" y="456"/>
                  </a:cubicBezTo>
                  <a:cubicBezTo>
                    <a:pt x="63" y="457"/>
                    <a:pt x="62" y="458"/>
                    <a:pt x="60" y="459"/>
                  </a:cubicBezTo>
                  <a:cubicBezTo>
                    <a:pt x="57" y="460"/>
                    <a:pt x="58" y="462"/>
                    <a:pt x="58" y="464"/>
                  </a:cubicBezTo>
                  <a:cubicBezTo>
                    <a:pt x="59" y="466"/>
                    <a:pt x="59" y="468"/>
                    <a:pt x="58" y="470"/>
                  </a:cubicBezTo>
                  <a:cubicBezTo>
                    <a:pt x="58" y="472"/>
                    <a:pt x="59" y="474"/>
                    <a:pt x="59" y="476"/>
                  </a:cubicBezTo>
                  <a:cubicBezTo>
                    <a:pt x="60" y="478"/>
                    <a:pt x="60" y="479"/>
                    <a:pt x="59" y="480"/>
                  </a:cubicBezTo>
                  <a:cubicBezTo>
                    <a:pt x="59" y="481"/>
                    <a:pt x="59" y="481"/>
                    <a:pt x="58" y="482"/>
                  </a:cubicBezTo>
                  <a:cubicBezTo>
                    <a:pt x="56" y="482"/>
                    <a:pt x="56" y="484"/>
                    <a:pt x="56" y="486"/>
                  </a:cubicBezTo>
                  <a:cubicBezTo>
                    <a:pt x="57" y="488"/>
                    <a:pt x="57" y="491"/>
                    <a:pt x="53" y="492"/>
                  </a:cubicBezTo>
                  <a:cubicBezTo>
                    <a:pt x="50" y="492"/>
                    <a:pt x="50" y="494"/>
                    <a:pt x="50" y="496"/>
                  </a:cubicBezTo>
                  <a:cubicBezTo>
                    <a:pt x="49" y="498"/>
                    <a:pt x="49" y="500"/>
                    <a:pt x="47" y="501"/>
                  </a:cubicBezTo>
                  <a:cubicBezTo>
                    <a:pt x="46" y="502"/>
                    <a:pt x="47" y="504"/>
                    <a:pt x="48" y="506"/>
                  </a:cubicBezTo>
                  <a:cubicBezTo>
                    <a:pt x="49" y="508"/>
                    <a:pt x="51" y="511"/>
                    <a:pt x="48" y="513"/>
                  </a:cubicBezTo>
                  <a:cubicBezTo>
                    <a:pt x="46" y="514"/>
                    <a:pt x="45" y="516"/>
                    <a:pt x="45" y="518"/>
                  </a:cubicBezTo>
                  <a:cubicBezTo>
                    <a:pt x="45" y="520"/>
                    <a:pt x="44" y="523"/>
                    <a:pt x="41" y="523"/>
                  </a:cubicBezTo>
                  <a:cubicBezTo>
                    <a:pt x="37" y="523"/>
                    <a:pt x="34" y="529"/>
                    <a:pt x="34" y="532"/>
                  </a:cubicBezTo>
                  <a:cubicBezTo>
                    <a:pt x="34" y="533"/>
                    <a:pt x="34" y="533"/>
                    <a:pt x="33" y="534"/>
                  </a:cubicBezTo>
                  <a:cubicBezTo>
                    <a:pt x="33" y="537"/>
                    <a:pt x="31" y="542"/>
                    <a:pt x="34" y="545"/>
                  </a:cubicBezTo>
                  <a:cubicBezTo>
                    <a:pt x="37" y="548"/>
                    <a:pt x="36" y="550"/>
                    <a:pt x="36" y="551"/>
                  </a:cubicBezTo>
                  <a:cubicBezTo>
                    <a:pt x="36" y="553"/>
                    <a:pt x="35" y="554"/>
                    <a:pt x="37" y="555"/>
                  </a:cubicBezTo>
                  <a:cubicBezTo>
                    <a:pt x="38" y="555"/>
                    <a:pt x="40" y="555"/>
                    <a:pt x="42" y="555"/>
                  </a:cubicBezTo>
                  <a:cubicBezTo>
                    <a:pt x="46" y="555"/>
                    <a:pt x="49" y="555"/>
                    <a:pt x="50" y="557"/>
                  </a:cubicBezTo>
                  <a:cubicBezTo>
                    <a:pt x="51" y="558"/>
                    <a:pt x="51" y="559"/>
                    <a:pt x="51" y="560"/>
                  </a:cubicBezTo>
                  <a:cubicBezTo>
                    <a:pt x="49" y="564"/>
                    <a:pt x="49" y="573"/>
                    <a:pt x="51" y="575"/>
                  </a:cubicBezTo>
                  <a:cubicBezTo>
                    <a:pt x="51" y="575"/>
                    <a:pt x="51" y="575"/>
                    <a:pt x="51" y="575"/>
                  </a:cubicBezTo>
                  <a:cubicBezTo>
                    <a:pt x="52" y="575"/>
                    <a:pt x="53" y="577"/>
                    <a:pt x="54" y="578"/>
                  </a:cubicBezTo>
                  <a:cubicBezTo>
                    <a:pt x="55" y="580"/>
                    <a:pt x="56" y="582"/>
                    <a:pt x="58" y="582"/>
                  </a:cubicBezTo>
                  <a:cubicBezTo>
                    <a:pt x="59" y="581"/>
                    <a:pt x="68" y="580"/>
                    <a:pt x="75" y="580"/>
                  </a:cubicBezTo>
                  <a:cubicBezTo>
                    <a:pt x="79" y="580"/>
                    <a:pt x="82" y="581"/>
                    <a:pt x="84" y="581"/>
                  </a:cubicBezTo>
                  <a:cubicBezTo>
                    <a:pt x="87" y="582"/>
                    <a:pt x="89" y="583"/>
                    <a:pt x="92" y="586"/>
                  </a:cubicBezTo>
                  <a:cubicBezTo>
                    <a:pt x="92" y="586"/>
                    <a:pt x="92" y="586"/>
                    <a:pt x="92" y="586"/>
                  </a:cubicBezTo>
                  <a:cubicBezTo>
                    <a:pt x="92" y="587"/>
                    <a:pt x="92" y="587"/>
                    <a:pt x="92" y="587"/>
                  </a:cubicBezTo>
                  <a:cubicBezTo>
                    <a:pt x="91" y="587"/>
                    <a:pt x="91" y="588"/>
                    <a:pt x="90" y="588"/>
                  </a:cubicBezTo>
                  <a:cubicBezTo>
                    <a:pt x="90" y="590"/>
                    <a:pt x="90" y="591"/>
                    <a:pt x="91" y="591"/>
                  </a:cubicBezTo>
                  <a:cubicBezTo>
                    <a:pt x="92" y="593"/>
                    <a:pt x="96" y="593"/>
                    <a:pt x="98" y="593"/>
                  </a:cubicBezTo>
                  <a:cubicBezTo>
                    <a:pt x="99" y="593"/>
                    <a:pt x="100" y="593"/>
                    <a:pt x="100" y="593"/>
                  </a:cubicBezTo>
                  <a:cubicBezTo>
                    <a:pt x="101" y="593"/>
                    <a:pt x="102" y="593"/>
                    <a:pt x="103" y="593"/>
                  </a:cubicBezTo>
                  <a:cubicBezTo>
                    <a:pt x="103" y="594"/>
                    <a:pt x="103" y="594"/>
                    <a:pt x="103" y="594"/>
                  </a:cubicBezTo>
                  <a:cubicBezTo>
                    <a:pt x="103" y="594"/>
                    <a:pt x="103" y="594"/>
                    <a:pt x="103" y="594"/>
                  </a:cubicBezTo>
                  <a:cubicBezTo>
                    <a:pt x="102" y="621"/>
                    <a:pt x="102" y="640"/>
                    <a:pt x="103" y="641"/>
                  </a:cubicBezTo>
                  <a:cubicBezTo>
                    <a:pt x="104" y="641"/>
                    <a:pt x="106" y="641"/>
                    <a:pt x="108" y="641"/>
                  </a:cubicBezTo>
                  <a:cubicBezTo>
                    <a:pt x="110" y="641"/>
                    <a:pt x="113" y="641"/>
                    <a:pt x="117" y="641"/>
                  </a:cubicBezTo>
                  <a:cubicBezTo>
                    <a:pt x="122" y="641"/>
                    <a:pt x="126" y="642"/>
                    <a:pt x="128" y="643"/>
                  </a:cubicBezTo>
                  <a:cubicBezTo>
                    <a:pt x="131" y="645"/>
                    <a:pt x="131" y="645"/>
                    <a:pt x="131" y="645"/>
                  </a:cubicBezTo>
                  <a:cubicBezTo>
                    <a:pt x="127" y="644"/>
                    <a:pt x="127" y="644"/>
                    <a:pt x="127" y="644"/>
                  </a:cubicBezTo>
                  <a:cubicBezTo>
                    <a:pt x="127" y="644"/>
                    <a:pt x="127" y="643"/>
                    <a:pt x="126" y="643"/>
                  </a:cubicBezTo>
                  <a:cubicBezTo>
                    <a:pt x="126" y="643"/>
                    <a:pt x="126" y="644"/>
                    <a:pt x="125" y="644"/>
                  </a:cubicBezTo>
                  <a:cubicBezTo>
                    <a:pt x="125" y="646"/>
                    <a:pt x="124" y="647"/>
                    <a:pt x="121" y="647"/>
                  </a:cubicBezTo>
                  <a:cubicBezTo>
                    <a:pt x="120" y="647"/>
                    <a:pt x="118" y="647"/>
                    <a:pt x="115" y="646"/>
                  </a:cubicBezTo>
                  <a:cubicBezTo>
                    <a:pt x="113" y="645"/>
                    <a:pt x="109" y="644"/>
                    <a:pt x="107" y="644"/>
                  </a:cubicBezTo>
                  <a:cubicBezTo>
                    <a:pt x="106" y="644"/>
                    <a:pt x="106" y="644"/>
                    <a:pt x="106" y="644"/>
                  </a:cubicBezTo>
                  <a:cubicBezTo>
                    <a:pt x="106" y="644"/>
                    <a:pt x="107" y="644"/>
                    <a:pt x="107" y="645"/>
                  </a:cubicBezTo>
                  <a:cubicBezTo>
                    <a:pt x="110" y="648"/>
                    <a:pt x="113" y="653"/>
                    <a:pt x="112" y="655"/>
                  </a:cubicBezTo>
                  <a:cubicBezTo>
                    <a:pt x="111" y="655"/>
                    <a:pt x="111" y="656"/>
                    <a:pt x="110" y="656"/>
                  </a:cubicBezTo>
                  <a:close/>
                  <a:moveTo>
                    <a:pt x="95" y="643"/>
                  </a:moveTo>
                  <a:cubicBezTo>
                    <a:pt x="98" y="643"/>
                    <a:pt x="100" y="646"/>
                    <a:pt x="103" y="649"/>
                  </a:cubicBezTo>
                  <a:cubicBezTo>
                    <a:pt x="105" y="652"/>
                    <a:pt x="107" y="654"/>
                    <a:pt x="109" y="655"/>
                  </a:cubicBezTo>
                  <a:cubicBezTo>
                    <a:pt x="110" y="655"/>
                    <a:pt x="110" y="655"/>
                    <a:pt x="110" y="655"/>
                  </a:cubicBezTo>
                  <a:cubicBezTo>
                    <a:pt x="110" y="655"/>
                    <a:pt x="111" y="655"/>
                    <a:pt x="111" y="654"/>
                  </a:cubicBezTo>
                  <a:cubicBezTo>
                    <a:pt x="111" y="653"/>
                    <a:pt x="109" y="649"/>
                    <a:pt x="107" y="646"/>
                  </a:cubicBezTo>
                  <a:cubicBezTo>
                    <a:pt x="106" y="645"/>
                    <a:pt x="105" y="644"/>
                    <a:pt x="106" y="643"/>
                  </a:cubicBezTo>
                  <a:cubicBezTo>
                    <a:pt x="107" y="643"/>
                    <a:pt x="107" y="643"/>
                    <a:pt x="107" y="643"/>
                  </a:cubicBezTo>
                  <a:cubicBezTo>
                    <a:pt x="109" y="643"/>
                    <a:pt x="112" y="644"/>
                    <a:pt x="115" y="645"/>
                  </a:cubicBezTo>
                  <a:cubicBezTo>
                    <a:pt x="118" y="646"/>
                    <a:pt x="120" y="646"/>
                    <a:pt x="121" y="646"/>
                  </a:cubicBezTo>
                  <a:cubicBezTo>
                    <a:pt x="123" y="646"/>
                    <a:pt x="124" y="646"/>
                    <a:pt x="125" y="644"/>
                  </a:cubicBezTo>
                  <a:cubicBezTo>
                    <a:pt x="125" y="643"/>
                    <a:pt x="125" y="643"/>
                    <a:pt x="125" y="643"/>
                  </a:cubicBezTo>
                  <a:cubicBezTo>
                    <a:pt x="123" y="642"/>
                    <a:pt x="120" y="642"/>
                    <a:pt x="117" y="642"/>
                  </a:cubicBezTo>
                  <a:cubicBezTo>
                    <a:pt x="113" y="642"/>
                    <a:pt x="110" y="642"/>
                    <a:pt x="108" y="642"/>
                  </a:cubicBezTo>
                  <a:cubicBezTo>
                    <a:pt x="105" y="642"/>
                    <a:pt x="104" y="642"/>
                    <a:pt x="103" y="642"/>
                  </a:cubicBezTo>
                  <a:cubicBezTo>
                    <a:pt x="102" y="642"/>
                    <a:pt x="100" y="642"/>
                    <a:pt x="102" y="594"/>
                  </a:cubicBezTo>
                  <a:cubicBezTo>
                    <a:pt x="102" y="594"/>
                    <a:pt x="102" y="594"/>
                    <a:pt x="102" y="594"/>
                  </a:cubicBezTo>
                  <a:cubicBezTo>
                    <a:pt x="101" y="594"/>
                    <a:pt x="101" y="594"/>
                    <a:pt x="100" y="594"/>
                  </a:cubicBezTo>
                  <a:cubicBezTo>
                    <a:pt x="100" y="594"/>
                    <a:pt x="99" y="594"/>
                    <a:pt x="98" y="594"/>
                  </a:cubicBezTo>
                  <a:cubicBezTo>
                    <a:pt x="95" y="594"/>
                    <a:pt x="92" y="594"/>
                    <a:pt x="90" y="592"/>
                  </a:cubicBezTo>
                  <a:cubicBezTo>
                    <a:pt x="89" y="591"/>
                    <a:pt x="89" y="590"/>
                    <a:pt x="89" y="588"/>
                  </a:cubicBezTo>
                  <a:cubicBezTo>
                    <a:pt x="90" y="587"/>
                    <a:pt x="90" y="587"/>
                    <a:pt x="91" y="586"/>
                  </a:cubicBezTo>
                  <a:cubicBezTo>
                    <a:pt x="88" y="584"/>
                    <a:pt x="86" y="583"/>
                    <a:pt x="84" y="582"/>
                  </a:cubicBezTo>
                  <a:cubicBezTo>
                    <a:pt x="82" y="582"/>
                    <a:pt x="79" y="581"/>
                    <a:pt x="75" y="581"/>
                  </a:cubicBezTo>
                  <a:cubicBezTo>
                    <a:pt x="68" y="581"/>
                    <a:pt x="59" y="582"/>
                    <a:pt x="58" y="583"/>
                  </a:cubicBezTo>
                  <a:cubicBezTo>
                    <a:pt x="56" y="583"/>
                    <a:pt x="54" y="581"/>
                    <a:pt x="53" y="579"/>
                  </a:cubicBezTo>
                  <a:cubicBezTo>
                    <a:pt x="52" y="578"/>
                    <a:pt x="52" y="576"/>
                    <a:pt x="51" y="576"/>
                  </a:cubicBezTo>
                  <a:cubicBezTo>
                    <a:pt x="50" y="576"/>
                    <a:pt x="50" y="576"/>
                    <a:pt x="50" y="576"/>
                  </a:cubicBezTo>
                  <a:cubicBezTo>
                    <a:pt x="48" y="573"/>
                    <a:pt x="48" y="564"/>
                    <a:pt x="50" y="559"/>
                  </a:cubicBezTo>
                  <a:cubicBezTo>
                    <a:pt x="50" y="558"/>
                    <a:pt x="50" y="558"/>
                    <a:pt x="50" y="558"/>
                  </a:cubicBezTo>
                  <a:cubicBezTo>
                    <a:pt x="49" y="556"/>
                    <a:pt x="45" y="556"/>
                    <a:pt x="42" y="556"/>
                  </a:cubicBezTo>
                  <a:cubicBezTo>
                    <a:pt x="40" y="556"/>
                    <a:pt x="38" y="556"/>
                    <a:pt x="36" y="555"/>
                  </a:cubicBezTo>
                  <a:cubicBezTo>
                    <a:pt x="34" y="554"/>
                    <a:pt x="35" y="553"/>
                    <a:pt x="35" y="551"/>
                  </a:cubicBezTo>
                  <a:cubicBezTo>
                    <a:pt x="35" y="550"/>
                    <a:pt x="35" y="548"/>
                    <a:pt x="34" y="546"/>
                  </a:cubicBezTo>
                  <a:cubicBezTo>
                    <a:pt x="30" y="542"/>
                    <a:pt x="32" y="537"/>
                    <a:pt x="32" y="534"/>
                  </a:cubicBezTo>
                  <a:cubicBezTo>
                    <a:pt x="33" y="533"/>
                    <a:pt x="33" y="532"/>
                    <a:pt x="33" y="532"/>
                  </a:cubicBezTo>
                  <a:cubicBezTo>
                    <a:pt x="33" y="529"/>
                    <a:pt x="36" y="522"/>
                    <a:pt x="41" y="522"/>
                  </a:cubicBezTo>
                  <a:cubicBezTo>
                    <a:pt x="43" y="522"/>
                    <a:pt x="44" y="520"/>
                    <a:pt x="44" y="518"/>
                  </a:cubicBezTo>
                  <a:cubicBezTo>
                    <a:pt x="44" y="516"/>
                    <a:pt x="45" y="513"/>
                    <a:pt x="47" y="512"/>
                  </a:cubicBezTo>
                  <a:cubicBezTo>
                    <a:pt x="49" y="510"/>
                    <a:pt x="48" y="509"/>
                    <a:pt x="47" y="507"/>
                  </a:cubicBezTo>
                  <a:cubicBezTo>
                    <a:pt x="46" y="504"/>
                    <a:pt x="44" y="502"/>
                    <a:pt x="47" y="500"/>
                  </a:cubicBezTo>
                  <a:cubicBezTo>
                    <a:pt x="48" y="499"/>
                    <a:pt x="48" y="498"/>
                    <a:pt x="49" y="496"/>
                  </a:cubicBezTo>
                  <a:cubicBezTo>
                    <a:pt x="49" y="494"/>
                    <a:pt x="49" y="491"/>
                    <a:pt x="53" y="491"/>
                  </a:cubicBezTo>
                  <a:cubicBezTo>
                    <a:pt x="56" y="490"/>
                    <a:pt x="56" y="489"/>
                    <a:pt x="55" y="486"/>
                  </a:cubicBezTo>
                  <a:cubicBezTo>
                    <a:pt x="55" y="484"/>
                    <a:pt x="55" y="481"/>
                    <a:pt x="57" y="481"/>
                  </a:cubicBezTo>
                  <a:cubicBezTo>
                    <a:pt x="58" y="481"/>
                    <a:pt x="58" y="480"/>
                    <a:pt x="59" y="480"/>
                  </a:cubicBezTo>
                  <a:cubicBezTo>
                    <a:pt x="59" y="479"/>
                    <a:pt x="59" y="478"/>
                    <a:pt x="58" y="476"/>
                  </a:cubicBezTo>
                  <a:cubicBezTo>
                    <a:pt x="58" y="474"/>
                    <a:pt x="57" y="472"/>
                    <a:pt x="57" y="470"/>
                  </a:cubicBezTo>
                  <a:cubicBezTo>
                    <a:pt x="58" y="468"/>
                    <a:pt x="58" y="466"/>
                    <a:pt x="57" y="464"/>
                  </a:cubicBezTo>
                  <a:cubicBezTo>
                    <a:pt x="57" y="462"/>
                    <a:pt x="56" y="459"/>
                    <a:pt x="60" y="458"/>
                  </a:cubicBezTo>
                  <a:cubicBezTo>
                    <a:pt x="61" y="457"/>
                    <a:pt x="62" y="457"/>
                    <a:pt x="62" y="456"/>
                  </a:cubicBezTo>
                  <a:cubicBezTo>
                    <a:pt x="63" y="454"/>
                    <a:pt x="61" y="452"/>
                    <a:pt x="58" y="449"/>
                  </a:cubicBezTo>
                  <a:cubicBezTo>
                    <a:pt x="57" y="449"/>
                    <a:pt x="56" y="448"/>
                    <a:pt x="56" y="447"/>
                  </a:cubicBezTo>
                  <a:cubicBezTo>
                    <a:pt x="56" y="445"/>
                    <a:pt x="59" y="445"/>
                    <a:pt x="64" y="445"/>
                  </a:cubicBezTo>
                  <a:cubicBezTo>
                    <a:pt x="65" y="445"/>
                    <a:pt x="65" y="445"/>
                    <a:pt x="65" y="445"/>
                  </a:cubicBezTo>
                  <a:cubicBezTo>
                    <a:pt x="66" y="444"/>
                    <a:pt x="66" y="444"/>
                    <a:pt x="66" y="443"/>
                  </a:cubicBezTo>
                  <a:cubicBezTo>
                    <a:pt x="66" y="441"/>
                    <a:pt x="64" y="439"/>
                    <a:pt x="62" y="440"/>
                  </a:cubicBezTo>
                  <a:cubicBezTo>
                    <a:pt x="59" y="441"/>
                    <a:pt x="56" y="440"/>
                    <a:pt x="55" y="437"/>
                  </a:cubicBezTo>
                  <a:cubicBezTo>
                    <a:pt x="54" y="435"/>
                    <a:pt x="55" y="433"/>
                    <a:pt x="57" y="431"/>
                  </a:cubicBezTo>
                  <a:cubicBezTo>
                    <a:pt x="59" y="430"/>
                    <a:pt x="58" y="428"/>
                    <a:pt x="56" y="426"/>
                  </a:cubicBezTo>
                  <a:cubicBezTo>
                    <a:pt x="55" y="425"/>
                    <a:pt x="54" y="424"/>
                    <a:pt x="54" y="422"/>
                  </a:cubicBezTo>
                  <a:cubicBezTo>
                    <a:pt x="56" y="420"/>
                    <a:pt x="56" y="417"/>
                    <a:pt x="53" y="415"/>
                  </a:cubicBezTo>
                  <a:cubicBezTo>
                    <a:pt x="51" y="414"/>
                    <a:pt x="52" y="408"/>
                    <a:pt x="52" y="404"/>
                  </a:cubicBezTo>
                  <a:cubicBezTo>
                    <a:pt x="53" y="403"/>
                    <a:pt x="54" y="399"/>
                    <a:pt x="56" y="399"/>
                  </a:cubicBezTo>
                  <a:cubicBezTo>
                    <a:pt x="57" y="399"/>
                    <a:pt x="57" y="392"/>
                    <a:pt x="56" y="388"/>
                  </a:cubicBezTo>
                  <a:cubicBezTo>
                    <a:pt x="56" y="386"/>
                    <a:pt x="56" y="385"/>
                    <a:pt x="56" y="384"/>
                  </a:cubicBezTo>
                  <a:cubicBezTo>
                    <a:pt x="56" y="382"/>
                    <a:pt x="55" y="381"/>
                    <a:pt x="55" y="379"/>
                  </a:cubicBezTo>
                  <a:cubicBezTo>
                    <a:pt x="54" y="377"/>
                    <a:pt x="53" y="375"/>
                    <a:pt x="53" y="374"/>
                  </a:cubicBezTo>
                  <a:cubicBezTo>
                    <a:pt x="53" y="372"/>
                    <a:pt x="54" y="371"/>
                    <a:pt x="55" y="370"/>
                  </a:cubicBezTo>
                  <a:cubicBezTo>
                    <a:pt x="56" y="369"/>
                    <a:pt x="57" y="367"/>
                    <a:pt x="57" y="364"/>
                  </a:cubicBezTo>
                  <a:cubicBezTo>
                    <a:pt x="57" y="358"/>
                    <a:pt x="58" y="355"/>
                    <a:pt x="61" y="354"/>
                  </a:cubicBezTo>
                  <a:cubicBezTo>
                    <a:pt x="63" y="354"/>
                    <a:pt x="62" y="351"/>
                    <a:pt x="62" y="348"/>
                  </a:cubicBezTo>
                  <a:cubicBezTo>
                    <a:pt x="62" y="347"/>
                    <a:pt x="62" y="345"/>
                    <a:pt x="62" y="344"/>
                  </a:cubicBezTo>
                  <a:cubicBezTo>
                    <a:pt x="62" y="342"/>
                    <a:pt x="64" y="341"/>
                    <a:pt x="66" y="341"/>
                  </a:cubicBezTo>
                  <a:cubicBezTo>
                    <a:pt x="68" y="341"/>
                    <a:pt x="70" y="341"/>
                    <a:pt x="70" y="338"/>
                  </a:cubicBezTo>
                  <a:cubicBezTo>
                    <a:pt x="71" y="335"/>
                    <a:pt x="69" y="334"/>
                    <a:pt x="68" y="333"/>
                  </a:cubicBezTo>
                  <a:cubicBezTo>
                    <a:pt x="67" y="332"/>
                    <a:pt x="66" y="331"/>
                    <a:pt x="67" y="330"/>
                  </a:cubicBezTo>
                  <a:cubicBezTo>
                    <a:pt x="67" y="327"/>
                    <a:pt x="67" y="325"/>
                    <a:pt x="67" y="321"/>
                  </a:cubicBezTo>
                  <a:cubicBezTo>
                    <a:pt x="66" y="318"/>
                    <a:pt x="66" y="315"/>
                    <a:pt x="66" y="310"/>
                  </a:cubicBezTo>
                  <a:cubicBezTo>
                    <a:pt x="66" y="303"/>
                    <a:pt x="71" y="300"/>
                    <a:pt x="75" y="297"/>
                  </a:cubicBezTo>
                  <a:cubicBezTo>
                    <a:pt x="76" y="297"/>
                    <a:pt x="77" y="296"/>
                    <a:pt x="77" y="296"/>
                  </a:cubicBezTo>
                  <a:cubicBezTo>
                    <a:pt x="78" y="295"/>
                    <a:pt x="78" y="291"/>
                    <a:pt x="77" y="287"/>
                  </a:cubicBezTo>
                  <a:cubicBezTo>
                    <a:pt x="76" y="283"/>
                    <a:pt x="75" y="278"/>
                    <a:pt x="77" y="277"/>
                  </a:cubicBezTo>
                  <a:cubicBezTo>
                    <a:pt x="79" y="276"/>
                    <a:pt x="79" y="274"/>
                    <a:pt x="80" y="272"/>
                  </a:cubicBezTo>
                  <a:cubicBezTo>
                    <a:pt x="80" y="270"/>
                    <a:pt x="80" y="268"/>
                    <a:pt x="82" y="267"/>
                  </a:cubicBezTo>
                  <a:cubicBezTo>
                    <a:pt x="83" y="266"/>
                    <a:pt x="84" y="263"/>
                    <a:pt x="84" y="260"/>
                  </a:cubicBezTo>
                  <a:cubicBezTo>
                    <a:pt x="84" y="259"/>
                    <a:pt x="85" y="257"/>
                    <a:pt x="85" y="255"/>
                  </a:cubicBezTo>
                  <a:cubicBezTo>
                    <a:pt x="86" y="252"/>
                    <a:pt x="85" y="250"/>
                    <a:pt x="84" y="248"/>
                  </a:cubicBezTo>
                  <a:cubicBezTo>
                    <a:pt x="83" y="246"/>
                    <a:pt x="82" y="245"/>
                    <a:pt x="82" y="242"/>
                  </a:cubicBezTo>
                  <a:cubicBezTo>
                    <a:pt x="82" y="238"/>
                    <a:pt x="81" y="234"/>
                    <a:pt x="77" y="228"/>
                  </a:cubicBezTo>
                  <a:cubicBezTo>
                    <a:pt x="74" y="224"/>
                    <a:pt x="74" y="216"/>
                    <a:pt x="76" y="213"/>
                  </a:cubicBezTo>
                  <a:cubicBezTo>
                    <a:pt x="76" y="212"/>
                    <a:pt x="77" y="212"/>
                    <a:pt x="78" y="212"/>
                  </a:cubicBezTo>
                  <a:cubicBezTo>
                    <a:pt x="78" y="212"/>
                    <a:pt x="79" y="210"/>
                    <a:pt x="79" y="208"/>
                  </a:cubicBezTo>
                  <a:cubicBezTo>
                    <a:pt x="80" y="205"/>
                    <a:pt x="81" y="201"/>
                    <a:pt x="84" y="200"/>
                  </a:cubicBezTo>
                  <a:cubicBezTo>
                    <a:pt x="84" y="200"/>
                    <a:pt x="85" y="200"/>
                    <a:pt x="85" y="199"/>
                  </a:cubicBezTo>
                  <a:cubicBezTo>
                    <a:pt x="87" y="196"/>
                    <a:pt x="85" y="191"/>
                    <a:pt x="83" y="186"/>
                  </a:cubicBezTo>
                  <a:cubicBezTo>
                    <a:pt x="82" y="182"/>
                    <a:pt x="84" y="182"/>
                    <a:pt x="85" y="181"/>
                  </a:cubicBezTo>
                  <a:cubicBezTo>
                    <a:pt x="86" y="180"/>
                    <a:pt x="87" y="180"/>
                    <a:pt x="87" y="178"/>
                  </a:cubicBezTo>
                  <a:cubicBezTo>
                    <a:pt x="87" y="173"/>
                    <a:pt x="90" y="166"/>
                    <a:pt x="94" y="165"/>
                  </a:cubicBezTo>
                  <a:cubicBezTo>
                    <a:pt x="98" y="163"/>
                    <a:pt x="98" y="155"/>
                    <a:pt x="98" y="153"/>
                  </a:cubicBezTo>
                  <a:cubicBezTo>
                    <a:pt x="98" y="151"/>
                    <a:pt x="100" y="149"/>
                    <a:pt x="103" y="148"/>
                  </a:cubicBezTo>
                  <a:cubicBezTo>
                    <a:pt x="104" y="147"/>
                    <a:pt x="106" y="146"/>
                    <a:pt x="107" y="145"/>
                  </a:cubicBezTo>
                  <a:cubicBezTo>
                    <a:pt x="108" y="145"/>
                    <a:pt x="107" y="143"/>
                    <a:pt x="106" y="142"/>
                  </a:cubicBezTo>
                  <a:cubicBezTo>
                    <a:pt x="105" y="140"/>
                    <a:pt x="105" y="139"/>
                    <a:pt x="105" y="138"/>
                  </a:cubicBezTo>
                  <a:cubicBezTo>
                    <a:pt x="105" y="137"/>
                    <a:pt x="106" y="136"/>
                    <a:pt x="107" y="136"/>
                  </a:cubicBezTo>
                  <a:cubicBezTo>
                    <a:pt x="109" y="134"/>
                    <a:pt x="107" y="131"/>
                    <a:pt x="106" y="127"/>
                  </a:cubicBezTo>
                  <a:cubicBezTo>
                    <a:pt x="105" y="124"/>
                    <a:pt x="104" y="121"/>
                    <a:pt x="105" y="120"/>
                  </a:cubicBezTo>
                  <a:cubicBezTo>
                    <a:pt x="107" y="119"/>
                    <a:pt x="106" y="117"/>
                    <a:pt x="106" y="114"/>
                  </a:cubicBezTo>
                  <a:cubicBezTo>
                    <a:pt x="106" y="113"/>
                    <a:pt x="106" y="111"/>
                    <a:pt x="106" y="110"/>
                  </a:cubicBezTo>
                  <a:cubicBezTo>
                    <a:pt x="106" y="108"/>
                    <a:pt x="111" y="105"/>
                    <a:pt x="115" y="102"/>
                  </a:cubicBezTo>
                  <a:cubicBezTo>
                    <a:pt x="119" y="100"/>
                    <a:pt x="122" y="98"/>
                    <a:pt x="123" y="97"/>
                  </a:cubicBezTo>
                  <a:cubicBezTo>
                    <a:pt x="124" y="95"/>
                    <a:pt x="125" y="88"/>
                    <a:pt x="125" y="81"/>
                  </a:cubicBezTo>
                  <a:cubicBezTo>
                    <a:pt x="123" y="82"/>
                    <a:pt x="120" y="84"/>
                    <a:pt x="118" y="84"/>
                  </a:cubicBezTo>
                  <a:cubicBezTo>
                    <a:pt x="117" y="84"/>
                    <a:pt x="117" y="83"/>
                    <a:pt x="116" y="83"/>
                  </a:cubicBezTo>
                  <a:cubicBezTo>
                    <a:pt x="116" y="82"/>
                    <a:pt x="116" y="80"/>
                    <a:pt x="116" y="78"/>
                  </a:cubicBezTo>
                  <a:cubicBezTo>
                    <a:pt x="116" y="74"/>
                    <a:pt x="115" y="69"/>
                    <a:pt x="113" y="67"/>
                  </a:cubicBezTo>
                  <a:cubicBezTo>
                    <a:pt x="111" y="65"/>
                    <a:pt x="111" y="62"/>
                    <a:pt x="110" y="59"/>
                  </a:cubicBezTo>
                  <a:cubicBezTo>
                    <a:pt x="110" y="57"/>
                    <a:pt x="110" y="55"/>
                    <a:pt x="108" y="54"/>
                  </a:cubicBezTo>
                  <a:cubicBezTo>
                    <a:pt x="105" y="53"/>
                    <a:pt x="102" y="48"/>
                    <a:pt x="101" y="45"/>
                  </a:cubicBezTo>
                  <a:cubicBezTo>
                    <a:pt x="101" y="43"/>
                    <a:pt x="102" y="42"/>
                    <a:pt x="103" y="41"/>
                  </a:cubicBezTo>
                  <a:cubicBezTo>
                    <a:pt x="104" y="40"/>
                    <a:pt x="104" y="38"/>
                    <a:pt x="104" y="36"/>
                  </a:cubicBezTo>
                  <a:cubicBezTo>
                    <a:pt x="104" y="34"/>
                    <a:pt x="104" y="32"/>
                    <a:pt x="106" y="31"/>
                  </a:cubicBezTo>
                  <a:cubicBezTo>
                    <a:pt x="106" y="30"/>
                    <a:pt x="107" y="30"/>
                    <a:pt x="107" y="30"/>
                  </a:cubicBezTo>
                  <a:cubicBezTo>
                    <a:pt x="107" y="29"/>
                    <a:pt x="106" y="28"/>
                    <a:pt x="105" y="28"/>
                  </a:cubicBezTo>
                  <a:cubicBezTo>
                    <a:pt x="103" y="27"/>
                    <a:pt x="101" y="25"/>
                    <a:pt x="100" y="23"/>
                  </a:cubicBezTo>
                  <a:cubicBezTo>
                    <a:pt x="97" y="21"/>
                    <a:pt x="98" y="18"/>
                    <a:pt x="98" y="15"/>
                  </a:cubicBezTo>
                  <a:cubicBezTo>
                    <a:pt x="98" y="12"/>
                    <a:pt x="99" y="10"/>
                    <a:pt x="96" y="8"/>
                  </a:cubicBezTo>
                  <a:cubicBezTo>
                    <a:pt x="94" y="6"/>
                    <a:pt x="92" y="3"/>
                    <a:pt x="91" y="2"/>
                  </a:cubicBezTo>
                  <a:cubicBezTo>
                    <a:pt x="91" y="1"/>
                    <a:pt x="91" y="1"/>
                    <a:pt x="91" y="1"/>
                  </a:cubicBezTo>
                  <a:cubicBezTo>
                    <a:pt x="91" y="1"/>
                    <a:pt x="91" y="1"/>
                    <a:pt x="91" y="1"/>
                  </a:cubicBezTo>
                  <a:cubicBezTo>
                    <a:pt x="90" y="2"/>
                    <a:pt x="90" y="3"/>
                    <a:pt x="90" y="4"/>
                  </a:cubicBezTo>
                  <a:cubicBezTo>
                    <a:pt x="89" y="7"/>
                    <a:pt x="88" y="11"/>
                    <a:pt x="84" y="13"/>
                  </a:cubicBezTo>
                  <a:cubicBezTo>
                    <a:pt x="84" y="13"/>
                    <a:pt x="83" y="14"/>
                    <a:pt x="81" y="15"/>
                  </a:cubicBezTo>
                  <a:cubicBezTo>
                    <a:pt x="81" y="16"/>
                    <a:pt x="81" y="17"/>
                    <a:pt x="81" y="19"/>
                  </a:cubicBezTo>
                  <a:cubicBezTo>
                    <a:pt x="81" y="22"/>
                    <a:pt x="81" y="25"/>
                    <a:pt x="82" y="28"/>
                  </a:cubicBezTo>
                  <a:cubicBezTo>
                    <a:pt x="84" y="33"/>
                    <a:pt x="85" y="56"/>
                    <a:pt x="83" y="65"/>
                  </a:cubicBezTo>
                  <a:cubicBezTo>
                    <a:pt x="81" y="75"/>
                    <a:pt x="79" y="82"/>
                    <a:pt x="77" y="87"/>
                  </a:cubicBezTo>
                  <a:cubicBezTo>
                    <a:pt x="76" y="90"/>
                    <a:pt x="77" y="91"/>
                    <a:pt x="78" y="93"/>
                  </a:cubicBezTo>
                  <a:cubicBezTo>
                    <a:pt x="79" y="93"/>
                    <a:pt x="80" y="95"/>
                    <a:pt x="79" y="96"/>
                  </a:cubicBezTo>
                  <a:cubicBezTo>
                    <a:pt x="77" y="98"/>
                    <a:pt x="77" y="102"/>
                    <a:pt x="77" y="108"/>
                  </a:cubicBezTo>
                  <a:cubicBezTo>
                    <a:pt x="77" y="110"/>
                    <a:pt x="77" y="113"/>
                    <a:pt x="77" y="115"/>
                  </a:cubicBezTo>
                  <a:cubicBezTo>
                    <a:pt x="77" y="121"/>
                    <a:pt x="75" y="130"/>
                    <a:pt x="73" y="138"/>
                  </a:cubicBezTo>
                  <a:cubicBezTo>
                    <a:pt x="72" y="142"/>
                    <a:pt x="71" y="146"/>
                    <a:pt x="71" y="148"/>
                  </a:cubicBezTo>
                  <a:cubicBezTo>
                    <a:pt x="71" y="151"/>
                    <a:pt x="70" y="153"/>
                    <a:pt x="69" y="155"/>
                  </a:cubicBezTo>
                  <a:cubicBezTo>
                    <a:pt x="68" y="158"/>
                    <a:pt x="66" y="160"/>
                    <a:pt x="67" y="163"/>
                  </a:cubicBezTo>
                  <a:cubicBezTo>
                    <a:pt x="67" y="170"/>
                    <a:pt x="64" y="173"/>
                    <a:pt x="60" y="176"/>
                  </a:cubicBezTo>
                  <a:cubicBezTo>
                    <a:pt x="59" y="178"/>
                    <a:pt x="61" y="181"/>
                    <a:pt x="62" y="185"/>
                  </a:cubicBezTo>
                  <a:cubicBezTo>
                    <a:pt x="64" y="188"/>
                    <a:pt x="66" y="191"/>
                    <a:pt x="66" y="193"/>
                  </a:cubicBezTo>
                  <a:cubicBezTo>
                    <a:pt x="66" y="196"/>
                    <a:pt x="64" y="197"/>
                    <a:pt x="63" y="199"/>
                  </a:cubicBezTo>
                  <a:cubicBezTo>
                    <a:pt x="61" y="202"/>
                    <a:pt x="59" y="204"/>
                    <a:pt x="60" y="209"/>
                  </a:cubicBezTo>
                  <a:cubicBezTo>
                    <a:pt x="62" y="217"/>
                    <a:pt x="61" y="230"/>
                    <a:pt x="61" y="237"/>
                  </a:cubicBezTo>
                  <a:cubicBezTo>
                    <a:pt x="60" y="239"/>
                    <a:pt x="60" y="240"/>
                    <a:pt x="60" y="241"/>
                  </a:cubicBezTo>
                  <a:cubicBezTo>
                    <a:pt x="60" y="243"/>
                    <a:pt x="60" y="244"/>
                    <a:pt x="59" y="245"/>
                  </a:cubicBezTo>
                  <a:cubicBezTo>
                    <a:pt x="58" y="246"/>
                    <a:pt x="57" y="247"/>
                    <a:pt x="57" y="251"/>
                  </a:cubicBezTo>
                  <a:cubicBezTo>
                    <a:pt x="58" y="255"/>
                    <a:pt x="56" y="257"/>
                    <a:pt x="55" y="260"/>
                  </a:cubicBezTo>
                  <a:cubicBezTo>
                    <a:pt x="54" y="262"/>
                    <a:pt x="52" y="265"/>
                    <a:pt x="52" y="269"/>
                  </a:cubicBezTo>
                  <a:cubicBezTo>
                    <a:pt x="51" y="277"/>
                    <a:pt x="47" y="286"/>
                    <a:pt x="44" y="293"/>
                  </a:cubicBezTo>
                  <a:cubicBezTo>
                    <a:pt x="42" y="296"/>
                    <a:pt x="41" y="298"/>
                    <a:pt x="41" y="300"/>
                  </a:cubicBezTo>
                  <a:cubicBezTo>
                    <a:pt x="40" y="302"/>
                    <a:pt x="39" y="304"/>
                    <a:pt x="39" y="306"/>
                  </a:cubicBezTo>
                  <a:cubicBezTo>
                    <a:pt x="37" y="310"/>
                    <a:pt x="37" y="312"/>
                    <a:pt x="33" y="312"/>
                  </a:cubicBezTo>
                  <a:cubicBezTo>
                    <a:pt x="32" y="312"/>
                    <a:pt x="31" y="313"/>
                    <a:pt x="31" y="314"/>
                  </a:cubicBezTo>
                  <a:cubicBezTo>
                    <a:pt x="30" y="315"/>
                    <a:pt x="30" y="318"/>
                    <a:pt x="32" y="322"/>
                  </a:cubicBezTo>
                  <a:cubicBezTo>
                    <a:pt x="33" y="325"/>
                    <a:pt x="33" y="328"/>
                    <a:pt x="33" y="331"/>
                  </a:cubicBezTo>
                  <a:cubicBezTo>
                    <a:pt x="32" y="334"/>
                    <a:pt x="32" y="337"/>
                    <a:pt x="34" y="341"/>
                  </a:cubicBezTo>
                  <a:cubicBezTo>
                    <a:pt x="37" y="347"/>
                    <a:pt x="37" y="349"/>
                    <a:pt x="35" y="354"/>
                  </a:cubicBezTo>
                  <a:cubicBezTo>
                    <a:pt x="35" y="356"/>
                    <a:pt x="35" y="356"/>
                    <a:pt x="35" y="356"/>
                  </a:cubicBezTo>
                  <a:cubicBezTo>
                    <a:pt x="34" y="358"/>
                    <a:pt x="33" y="360"/>
                    <a:pt x="32" y="361"/>
                  </a:cubicBezTo>
                  <a:cubicBezTo>
                    <a:pt x="31" y="363"/>
                    <a:pt x="30" y="365"/>
                    <a:pt x="30" y="368"/>
                  </a:cubicBezTo>
                  <a:cubicBezTo>
                    <a:pt x="30" y="370"/>
                    <a:pt x="29" y="372"/>
                    <a:pt x="29" y="375"/>
                  </a:cubicBezTo>
                  <a:cubicBezTo>
                    <a:pt x="28" y="378"/>
                    <a:pt x="27" y="381"/>
                    <a:pt x="28" y="385"/>
                  </a:cubicBezTo>
                  <a:cubicBezTo>
                    <a:pt x="30" y="389"/>
                    <a:pt x="30" y="392"/>
                    <a:pt x="29" y="393"/>
                  </a:cubicBezTo>
                  <a:cubicBezTo>
                    <a:pt x="29" y="394"/>
                    <a:pt x="28" y="394"/>
                    <a:pt x="26" y="394"/>
                  </a:cubicBezTo>
                  <a:cubicBezTo>
                    <a:pt x="24" y="394"/>
                    <a:pt x="22" y="399"/>
                    <a:pt x="21" y="410"/>
                  </a:cubicBezTo>
                  <a:cubicBezTo>
                    <a:pt x="20" y="415"/>
                    <a:pt x="20" y="417"/>
                    <a:pt x="21" y="418"/>
                  </a:cubicBezTo>
                  <a:cubicBezTo>
                    <a:pt x="21" y="419"/>
                    <a:pt x="23" y="419"/>
                    <a:pt x="26" y="419"/>
                  </a:cubicBezTo>
                  <a:cubicBezTo>
                    <a:pt x="27" y="419"/>
                    <a:pt x="27" y="419"/>
                    <a:pt x="27" y="419"/>
                  </a:cubicBezTo>
                  <a:cubicBezTo>
                    <a:pt x="31" y="418"/>
                    <a:pt x="31" y="410"/>
                    <a:pt x="31" y="404"/>
                  </a:cubicBezTo>
                  <a:cubicBezTo>
                    <a:pt x="31" y="401"/>
                    <a:pt x="31" y="398"/>
                    <a:pt x="31" y="396"/>
                  </a:cubicBezTo>
                  <a:cubicBezTo>
                    <a:pt x="31" y="395"/>
                    <a:pt x="32" y="393"/>
                    <a:pt x="33" y="393"/>
                  </a:cubicBezTo>
                  <a:cubicBezTo>
                    <a:pt x="35" y="393"/>
                    <a:pt x="35" y="392"/>
                    <a:pt x="36" y="391"/>
                  </a:cubicBezTo>
                  <a:cubicBezTo>
                    <a:pt x="36" y="390"/>
                    <a:pt x="36" y="388"/>
                    <a:pt x="39" y="387"/>
                  </a:cubicBezTo>
                  <a:cubicBezTo>
                    <a:pt x="40" y="387"/>
                    <a:pt x="41" y="387"/>
                    <a:pt x="41" y="387"/>
                  </a:cubicBezTo>
                  <a:cubicBezTo>
                    <a:pt x="42" y="388"/>
                    <a:pt x="42" y="389"/>
                    <a:pt x="42" y="390"/>
                  </a:cubicBezTo>
                  <a:cubicBezTo>
                    <a:pt x="42" y="391"/>
                    <a:pt x="42" y="392"/>
                    <a:pt x="43" y="393"/>
                  </a:cubicBezTo>
                  <a:cubicBezTo>
                    <a:pt x="45" y="393"/>
                    <a:pt x="47" y="395"/>
                    <a:pt x="47" y="396"/>
                  </a:cubicBezTo>
                  <a:cubicBezTo>
                    <a:pt x="47" y="397"/>
                    <a:pt x="46" y="399"/>
                    <a:pt x="44" y="400"/>
                  </a:cubicBezTo>
                  <a:cubicBezTo>
                    <a:pt x="42" y="401"/>
                    <a:pt x="42" y="404"/>
                    <a:pt x="43" y="406"/>
                  </a:cubicBezTo>
                  <a:cubicBezTo>
                    <a:pt x="43" y="408"/>
                    <a:pt x="44" y="410"/>
                    <a:pt x="43" y="412"/>
                  </a:cubicBezTo>
                  <a:cubicBezTo>
                    <a:pt x="43" y="413"/>
                    <a:pt x="42" y="413"/>
                    <a:pt x="42" y="413"/>
                  </a:cubicBezTo>
                  <a:cubicBezTo>
                    <a:pt x="40" y="417"/>
                    <a:pt x="38" y="420"/>
                    <a:pt x="39" y="423"/>
                  </a:cubicBezTo>
                  <a:cubicBezTo>
                    <a:pt x="40" y="426"/>
                    <a:pt x="40" y="427"/>
                    <a:pt x="39" y="428"/>
                  </a:cubicBezTo>
                  <a:cubicBezTo>
                    <a:pt x="38" y="429"/>
                    <a:pt x="37" y="430"/>
                    <a:pt x="37" y="433"/>
                  </a:cubicBezTo>
                  <a:cubicBezTo>
                    <a:pt x="37" y="435"/>
                    <a:pt x="37" y="437"/>
                    <a:pt x="38" y="438"/>
                  </a:cubicBezTo>
                  <a:cubicBezTo>
                    <a:pt x="38" y="439"/>
                    <a:pt x="39" y="439"/>
                    <a:pt x="37" y="440"/>
                  </a:cubicBezTo>
                  <a:cubicBezTo>
                    <a:pt x="37" y="441"/>
                    <a:pt x="37" y="441"/>
                    <a:pt x="37" y="443"/>
                  </a:cubicBezTo>
                  <a:cubicBezTo>
                    <a:pt x="38" y="444"/>
                    <a:pt x="38" y="445"/>
                    <a:pt x="38" y="446"/>
                  </a:cubicBezTo>
                  <a:cubicBezTo>
                    <a:pt x="38" y="446"/>
                    <a:pt x="37" y="446"/>
                    <a:pt x="37" y="447"/>
                  </a:cubicBezTo>
                  <a:cubicBezTo>
                    <a:pt x="36" y="447"/>
                    <a:pt x="36" y="447"/>
                    <a:pt x="36" y="447"/>
                  </a:cubicBezTo>
                  <a:cubicBezTo>
                    <a:pt x="35" y="449"/>
                    <a:pt x="37" y="452"/>
                    <a:pt x="38" y="455"/>
                  </a:cubicBezTo>
                  <a:cubicBezTo>
                    <a:pt x="38" y="455"/>
                    <a:pt x="38" y="456"/>
                    <a:pt x="38" y="457"/>
                  </a:cubicBezTo>
                  <a:cubicBezTo>
                    <a:pt x="37" y="458"/>
                    <a:pt x="36" y="458"/>
                    <a:pt x="35" y="458"/>
                  </a:cubicBezTo>
                  <a:cubicBezTo>
                    <a:pt x="33" y="458"/>
                    <a:pt x="31" y="458"/>
                    <a:pt x="30" y="459"/>
                  </a:cubicBezTo>
                  <a:cubicBezTo>
                    <a:pt x="29" y="460"/>
                    <a:pt x="29" y="461"/>
                    <a:pt x="31" y="463"/>
                  </a:cubicBezTo>
                  <a:cubicBezTo>
                    <a:pt x="32" y="465"/>
                    <a:pt x="33" y="467"/>
                    <a:pt x="32" y="469"/>
                  </a:cubicBezTo>
                  <a:cubicBezTo>
                    <a:pt x="31" y="470"/>
                    <a:pt x="30" y="470"/>
                    <a:pt x="29" y="470"/>
                  </a:cubicBezTo>
                  <a:cubicBezTo>
                    <a:pt x="27" y="470"/>
                    <a:pt x="24" y="468"/>
                    <a:pt x="22" y="466"/>
                  </a:cubicBezTo>
                  <a:cubicBezTo>
                    <a:pt x="22" y="466"/>
                    <a:pt x="22" y="465"/>
                    <a:pt x="21" y="465"/>
                  </a:cubicBezTo>
                  <a:cubicBezTo>
                    <a:pt x="21" y="464"/>
                    <a:pt x="21" y="464"/>
                    <a:pt x="21" y="464"/>
                  </a:cubicBezTo>
                  <a:cubicBezTo>
                    <a:pt x="21" y="462"/>
                    <a:pt x="22" y="460"/>
                    <a:pt x="25" y="458"/>
                  </a:cubicBezTo>
                  <a:cubicBezTo>
                    <a:pt x="26" y="457"/>
                    <a:pt x="27" y="456"/>
                    <a:pt x="28" y="455"/>
                  </a:cubicBezTo>
                  <a:cubicBezTo>
                    <a:pt x="29" y="453"/>
                    <a:pt x="29" y="451"/>
                    <a:pt x="28" y="449"/>
                  </a:cubicBezTo>
                  <a:cubicBezTo>
                    <a:pt x="26" y="446"/>
                    <a:pt x="23" y="444"/>
                    <a:pt x="21" y="445"/>
                  </a:cubicBezTo>
                  <a:cubicBezTo>
                    <a:pt x="20" y="445"/>
                    <a:pt x="20" y="445"/>
                    <a:pt x="20" y="446"/>
                  </a:cubicBezTo>
                  <a:cubicBezTo>
                    <a:pt x="19" y="447"/>
                    <a:pt x="21" y="448"/>
                    <a:pt x="22" y="450"/>
                  </a:cubicBezTo>
                  <a:cubicBezTo>
                    <a:pt x="24" y="452"/>
                    <a:pt x="26" y="454"/>
                    <a:pt x="26" y="456"/>
                  </a:cubicBezTo>
                  <a:cubicBezTo>
                    <a:pt x="26" y="458"/>
                    <a:pt x="25" y="458"/>
                    <a:pt x="23" y="458"/>
                  </a:cubicBezTo>
                  <a:cubicBezTo>
                    <a:pt x="23" y="458"/>
                    <a:pt x="22" y="458"/>
                    <a:pt x="21" y="458"/>
                  </a:cubicBezTo>
                  <a:cubicBezTo>
                    <a:pt x="20" y="458"/>
                    <a:pt x="20" y="458"/>
                    <a:pt x="20" y="458"/>
                  </a:cubicBezTo>
                  <a:cubicBezTo>
                    <a:pt x="19" y="458"/>
                    <a:pt x="19" y="458"/>
                    <a:pt x="18" y="458"/>
                  </a:cubicBezTo>
                  <a:cubicBezTo>
                    <a:pt x="18" y="459"/>
                    <a:pt x="18" y="459"/>
                    <a:pt x="18" y="460"/>
                  </a:cubicBezTo>
                  <a:cubicBezTo>
                    <a:pt x="18" y="463"/>
                    <a:pt x="16" y="463"/>
                    <a:pt x="14" y="464"/>
                  </a:cubicBezTo>
                  <a:cubicBezTo>
                    <a:pt x="12" y="464"/>
                    <a:pt x="11" y="465"/>
                    <a:pt x="10" y="466"/>
                  </a:cubicBezTo>
                  <a:cubicBezTo>
                    <a:pt x="8" y="467"/>
                    <a:pt x="9" y="469"/>
                    <a:pt x="10" y="470"/>
                  </a:cubicBezTo>
                  <a:cubicBezTo>
                    <a:pt x="11" y="471"/>
                    <a:pt x="11" y="472"/>
                    <a:pt x="11" y="472"/>
                  </a:cubicBezTo>
                  <a:cubicBezTo>
                    <a:pt x="11" y="473"/>
                    <a:pt x="11" y="473"/>
                    <a:pt x="10" y="473"/>
                  </a:cubicBezTo>
                  <a:cubicBezTo>
                    <a:pt x="7" y="474"/>
                    <a:pt x="2" y="479"/>
                    <a:pt x="1" y="482"/>
                  </a:cubicBezTo>
                  <a:cubicBezTo>
                    <a:pt x="1" y="482"/>
                    <a:pt x="1" y="483"/>
                    <a:pt x="2" y="483"/>
                  </a:cubicBezTo>
                  <a:cubicBezTo>
                    <a:pt x="2" y="484"/>
                    <a:pt x="2" y="484"/>
                    <a:pt x="3" y="484"/>
                  </a:cubicBezTo>
                  <a:cubicBezTo>
                    <a:pt x="3" y="484"/>
                    <a:pt x="4" y="483"/>
                    <a:pt x="4" y="482"/>
                  </a:cubicBezTo>
                  <a:cubicBezTo>
                    <a:pt x="4" y="480"/>
                    <a:pt x="5" y="479"/>
                    <a:pt x="7" y="479"/>
                  </a:cubicBezTo>
                  <a:cubicBezTo>
                    <a:pt x="9" y="479"/>
                    <a:pt x="11" y="480"/>
                    <a:pt x="12" y="482"/>
                  </a:cubicBezTo>
                  <a:cubicBezTo>
                    <a:pt x="12" y="483"/>
                    <a:pt x="13" y="484"/>
                    <a:pt x="13" y="484"/>
                  </a:cubicBezTo>
                  <a:cubicBezTo>
                    <a:pt x="14" y="484"/>
                    <a:pt x="14" y="483"/>
                    <a:pt x="15" y="483"/>
                  </a:cubicBezTo>
                  <a:cubicBezTo>
                    <a:pt x="16" y="483"/>
                    <a:pt x="17" y="482"/>
                    <a:pt x="18" y="482"/>
                  </a:cubicBezTo>
                  <a:cubicBezTo>
                    <a:pt x="19" y="482"/>
                    <a:pt x="19" y="483"/>
                    <a:pt x="20" y="483"/>
                  </a:cubicBezTo>
                  <a:cubicBezTo>
                    <a:pt x="22" y="483"/>
                    <a:pt x="24" y="486"/>
                    <a:pt x="23" y="488"/>
                  </a:cubicBezTo>
                  <a:cubicBezTo>
                    <a:pt x="23" y="490"/>
                    <a:pt x="22" y="491"/>
                    <a:pt x="21" y="491"/>
                  </a:cubicBezTo>
                  <a:cubicBezTo>
                    <a:pt x="20" y="491"/>
                    <a:pt x="19" y="491"/>
                    <a:pt x="19" y="492"/>
                  </a:cubicBezTo>
                  <a:cubicBezTo>
                    <a:pt x="17" y="494"/>
                    <a:pt x="16" y="496"/>
                    <a:pt x="17" y="500"/>
                  </a:cubicBezTo>
                  <a:cubicBezTo>
                    <a:pt x="17" y="501"/>
                    <a:pt x="18" y="501"/>
                    <a:pt x="19" y="501"/>
                  </a:cubicBezTo>
                  <a:cubicBezTo>
                    <a:pt x="21" y="501"/>
                    <a:pt x="22" y="501"/>
                    <a:pt x="24" y="501"/>
                  </a:cubicBezTo>
                  <a:cubicBezTo>
                    <a:pt x="26" y="500"/>
                    <a:pt x="29" y="500"/>
                    <a:pt x="30" y="500"/>
                  </a:cubicBezTo>
                  <a:cubicBezTo>
                    <a:pt x="32" y="501"/>
                    <a:pt x="33" y="504"/>
                    <a:pt x="33" y="506"/>
                  </a:cubicBezTo>
                  <a:cubicBezTo>
                    <a:pt x="33" y="507"/>
                    <a:pt x="32" y="508"/>
                    <a:pt x="31" y="508"/>
                  </a:cubicBezTo>
                  <a:cubicBezTo>
                    <a:pt x="30" y="507"/>
                    <a:pt x="30" y="507"/>
                    <a:pt x="30" y="507"/>
                  </a:cubicBezTo>
                  <a:cubicBezTo>
                    <a:pt x="28" y="505"/>
                    <a:pt x="25" y="503"/>
                    <a:pt x="23" y="503"/>
                  </a:cubicBezTo>
                  <a:cubicBezTo>
                    <a:pt x="22" y="503"/>
                    <a:pt x="21" y="504"/>
                    <a:pt x="21" y="505"/>
                  </a:cubicBezTo>
                  <a:cubicBezTo>
                    <a:pt x="20" y="506"/>
                    <a:pt x="19" y="507"/>
                    <a:pt x="17" y="507"/>
                  </a:cubicBezTo>
                  <a:cubicBezTo>
                    <a:pt x="15" y="507"/>
                    <a:pt x="14" y="506"/>
                    <a:pt x="12" y="506"/>
                  </a:cubicBezTo>
                  <a:cubicBezTo>
                    <a:pt x="12" y="506"/>
                    <a:pt x="12" y="506"/>
                    <a:pt x="12" y="506"/>
                  </a:cubicBezTo>
                  <a:cubicBezTo>
                    <a:pt x="11" y="505"/>
                    <a:pt x="11" y="505"/>
                    <a:pt x="11" y="505"/>
                  </a:cubicBezTo>
                  <a:cubicBezTo>
                    <a:pt x="8" y="505"/>
                    <a:pt x="3" y="509"/>
                    <a:pt x="2" y="511"/>
                  </a:cubicBezTo>
                  <a:cubicBezTo>
                    <a:pt x="2" y="512"/>
                    <a:pt x="2" y="512"/>
                    <a:pt x="2" y="513"/>
                  </a:cubicBezTo>
                  <a:cubicBezTo>
                    <a:pt x="4" y="514"/>
                    <a:pt x="5" y="516"/>
                    <a:pt x="6" y="517"/>
                  </a:cubicBezTo>
                  <a:cubicBezTo>
                    <a:pt x="6" y="519"/>
                    <a:pt x="7" y="519"/>
                    <a:pt x="8" y="519"/>
                  </a:cubicBezTo>
                  <a:cubicBezTo>
                    <a:pt x="10" y="519"/>
                    <a:pt x="13" y="517"/>
                    <a:pt x="14" y="515"/>
                  </a:cubicBezTo>
                  <a:cubicBezTo>
                    <a:pt x="15" y="513"/>
                    <a:pt x="17" y="512"/>
                    <a:pt x="19" y="512"/>
                  </a:cubicBezTo>
                  <a:cubicBezTo>
                    <a:pt x="19" y="512"/>
                    <a:pt x="21" y="512"/>
                    <a:pt x="21" y="516"/>
                  </a:cubicBezTo>
                  <a:cubicBezTo>
                    <a:pt x="22" y="520"/>
                    <a:pt x="19" y="520"/>
                    <a:pt x="17" y="520"/>
                  </a:cubicBezTo>
                  <a:cubicBezTo>
                    <a:pt x="16" y="521"/>
                    <a:pt x="14" y="521"/>
                    <a:pt x="14" y="522"/>
                  </a:cubicBezTo>
                  <a:cubicBezTo>
                    <a:pt x="13" y="525"/>
                    <a:pt x="10" y="528"/>
                    <a:pt x="6" y="531"/>
                  </a:cubicBezTo>
                  <a:cubicBezTo>
                    <a:pt x="5" y="532"/>
                    <a:pt x="4" y="533"/>
                    <a:pt x="5" y="534"/>
                  </a:cubicBezTo>
                  <a:cubicBezTo>
                    <a:pt x="5" y="536"/>
                    <a:pt x="7" y="537"/>
                    <a:pt x="9" y="536"/>
                  </a:cubicBezTo>
                  <a:cubicBezTo>
                    <a:pt x="10" y="536"/>
                    <a:pt x="10" y="536"/>
                    <a:pt x="10" y="536"/>
                  </a:cubicBezTo>
                  <a:cubicBezTo>
                    <a:pt x="11" y="537"/>
                    <a:pt x="11" y="537"/>
                    <a:pt x="11" y="538"/>
                  </a:cubicBezTo>
                  <a:cubicBezTo>
                    <a:pt x="11" y="539"/>
                    <a:pt x="11" y="540"/>
                    <a:pt x="12" y="541"/>
                  </a:cubicBezTo>
                  <a:cubicBezTo>
                    <a:pt x="14" y="541"/>
                    <a:pt x="15" y="541"/>
                    <a:pt x="16" y="540"/>
                  </a:cubicBezTo>
                  <a:cubicBezTo>
                    <a:pt x="17" y="539"/>
                    <a:pt x="17" y="537"/>
                    <a:pt x="16" y="536"/>
                  </a:cubicBezTo>
                  <a:cubicBezTo>
                    <a:pt x="16" y="534"/>
                    <a:pt x="17" y="531"/>
                    <a:pt x="18" y="529"/>
                  </a:cubicBezTo>
                  <a:cubicBezTo>
                    <a:pt x="19" y="527"/>
                    <a:pt x="22" y="527"/>
                    <a:pt x="23" y="528"/>
                  </a:cubicBezTo>
                  <a:cubicBezTo>
                    <a:pt x="26" y="531"/>
                    <a:pt x="24" y="533"/>
                    <a:pt x="23" y="536"/>
                  </a:cubicBezTo>
                  <a:cubicBezTo>
                    <a:pt x="22" y="537"/>
                    <a:pt x="22" y="538"/>
                    <a:pt x="22" y="539"/>
                  </a:cubicBezTo>
                  <a:cubicBezTo>
                    <a:pt x="22" y="541"/>
                    <a:pt x="21" y="542"/>
                    <a:pt x="21" y="544"/>
                  </a:cubicBezTo>
                  <a:cubicBezTo>
                    <a:pt x="20" y="546"/>
                    <a:pt x="19" y="548"/>
                    <a:pt x="19" y="550"/>
                  </a:cubicBezTo>
                  <a:cubicBezTo>
                    <a:pt x="19" y="552"/>
                    <a:pt x="18" y="552"/>
                    <a:pt x="17" y="553"/>
                  </a:cubicBezTo>
                  <a:cubicBezTo>
                    <a:pt x="16" y="553"/>
                    <a:pt x="15" y="554"/>
                    <a:pt x="16" y="555"/>
                  </a:cubicBezTo>
                  <a:cubicBezTo>
                    <a:pt x="16" y="558"/>
                    <a:pt x="13" y="558"/>
                    <a:pt x="11" y="558"/>
                  </a:cubicBezTo>
                  <a:cubicBezTo>
                    <a:pt x="10" y="558"/>
                    <a:pt x="10" y="558"/>
                    <a:pt x="10" y="558"/>
                  </a:cubicBezTo>
                  <a:cubicBezTo>
                    <a:pt x="10" y="559"/>
                    <a:pt x="10" y="559"/>
                    <a:pt x="10" y="559"/>
                  </a:cubicBezTo>
                  <a:cubicBezTo>
                    <a:pt x="13" y="561"/>
                    <a:pt x="12" y="563"/>
                    <a:pt x="11" y="564"/>
                  </a:cubicBezTo>
                  <a:cubicBezTo>
                    <a:pt x="10" y="566"/>
                    <a:pt x="9" y="567"/>
                    <a:pt x="10" y="568"/>
                  </a:cubicBezTo>
                  <a:cubicBezTo>
                    <a:pt x="11" y="568"/>
                    <a:pt x="11" y="568"/>
                    <a:pt x="11" y="568"/>
                  </a:cubicBezTo>
                  <a:cubicBezTo>
                    <a:pt x="12" y="568"/>
                    <a:pt x="12" y="568"/>
                    <a:pt x="13" y="567"/>
                  </a:cubicBezTo>
                  <a:cubicBezTo>
                    <a:pt x="14" y="566"/>
                    <a:pt x="15" y="565"/>
                    <a:pt x="17" y="565"/>
                  </a:cubicBezTo>
                  <a:cubicBezTo>
                    <a:pt x="17" y="565"/>
                    <a:pt x="17" y="565"/>
                    <a:pt x="18" y="565"/>
                  </a:cubicBezTo>
                  <a:cubicBezTo>
                    <a:pt x="19" y="566"/>
                    <a:pt x="19" y="566"/>
                    <a:pt x="20" y="566"/>
                  </a:cubicBezTo>
                  <a:cubicBezTo>
                    <a:pt x="21" y="567"/>
                    <a:pt x="21" y="567"/>
                    <a:pt x="21" y="567"/>
                  </a:cubicBezTo>
                  <a:cubicBezTo>
                    <a:pt x="22" y="567"/>
                    <a:pt x="23" y="566"/>
                    <a:pt x="25" y="566"/>
                  </a:cubicBezTo>
                  <a:cubicBezTo>
                    <a:pt x="26" y="565"/>
                    <a:pt x="26" y="565"/>
                    <a:pt x="27" y="565"/>
                  </a:cubicBezTo>
                  <a:cubicBezTo>
                    <a:pt x="29" y="565"/>
                    <a:pt x="30" y="567"/>
                    <a:pt x="30" y="568"/>
                  </a:cubicBezTo>
                  <a:cubicBezTo>
                    <a:pt x="31" y="569"/>
                    <a:pt x="30" y="571"/>
                    <a:pt x="28" y="571"/>
                  </a:cubicBezTo>
                  <a:cubicBezTo>
                    <a:pt x="25" y="572"/>
                    <a:pt x="21" y="576"/>
                    <a:pt x="21" y="577"/>
                  </a:cubicBezTo>
                  <a:cubicBezTo>
                    <a:pt x="21" y="577"/>
                    <a:pt x="21" y="577"/>
                    <a:pt x="21" y="577"/>
                  </a:cubicBezTo>
                  <a:cubicBezTo>
                    <a:pt x="22" y="577"/>
                    <a:pt x="23" y="577"/>
                    <a:pt x="24" y="577"/>
                  </a:cubicBezTo>
                  <a:cubicBezTo>
                    <a:pt x="25" y="576"/>
                    <a:pt x="26" y="576"/>
                    <a:pt x="27" y="576"/>
                  </a:cubicBezTo>
                  <a:cubicBezTo>
                    <a:pt x="29" y="576"/>
                    <a:pt x="30" y="577"/>
                    <a:pt x="30" y="578"/>
                  </a:cubicBezTo>
                  <a:cubicBezTo>
                    <a:pt x="31" y="580"/>
                    <a:pt x="31" y="581"/>
                    <a:pt x="32" y="581"/>
                  </a:cubicBezTo>
                  <a:cubicBezTo>
                    <a:pt x="33" y="581"/>
                    <a:pt x="34" y="579"/>
                    <a:pt x="34" y="577"/>
                  </a:cubicBezTo>
                  <a:cubicBezTo>
                    <a:pt x="34" y="575"/>
                    <a:pt x="35" y="574"/>
                    <a:pt x="37" y="574"/>
                  </a:cubicBezTo>
                  <a:cubicBezTo>
                    <a:pt x="39" y="574"/>
                    <a:pt x="44" y="577"/>
                    <a:pt x="45" y="580"/>
                  </a:cubicBezTo>
                  <a:cubicBezTo>
                    <a:pt x="45" y="581"/>
                    <a:pt x="45" y="582"/>
                    <a:pt x="44" y="583"/>
                  </a:cubicBezTo>
                  <a:cubicBezTo>
                    <a:pt x="42" y="585"/>
                    <a:pt x="35" y="587"/>
                    <a:pt x="31" y="586"/>
                  </a:cubicBezTo>
                  <a:cubicBezTo>
                    <a:pt x="29" y="585"/>
                    <a:pt x="27" y="586"/>
                    <a:pt x="26" y="588"/>
                  </a:cubicBezTo>
                  <a:cubicBezTo>
                    <a:pt x="26" y="590"/>
                    <a:pt x="26" y="592"/>
                    <a:pt x="27" y="594"/>
                  </a:cubicBezTo>
                  <a:cubicBezTo>
                    <a:pt x="28" y="595"/>
                    <a:pt x="29" y="595"/>
                    <a:pt x="30" y="595"/>
                  </a:cubicBezTo>
                  <a:cubicBezTo>
                    <a:pt x="32" y="595"/>
                    <a:pt x="34" y="593"/>
                    <a:pt x="37" y="591"/>
                  </a:cubicBezTo>
                  <a:cubicBezTo>
                    <a:pt x="37" y="590"/>
                    <a:pt x="37" y="590"/>
                    <a:pt x="37" y="590"/>
                  </a:cubicBezTo>
                  <a:cubicBezTo>
                    <a:pt x="39" y="589"/>
                    <a:pt x="42" y="588"/>
                    <a:pt x="47" y="588"/>
                  </a:cubicBezTo>
                  <a:cubicBezTo>
                    <a:pt x="53" y="588"/>
                    <a:pt x="59" y="589"/>
                    <a:pt x="60" y="592"/>
                  </a:cubicBezTo>
                  <a:cubicBezTo>
                    <a:pt x="61" y="592"/>
                    <a:pt x="61" y="593"/>
                    <a:pt x="60" y="593"/>
                  </a:cubicBezTo>
                  <a:cubicBezTo>
                    <a:pt x="60" y="594"/>
                    <a:pt x="58" y="594"/>
                    <a:pt x="57" y="594"/>
                  </a:cubicBezTo>
                  <a:cubicBezTo>
                    <a:pt x="56" y="594"/>
                    <a:pt x="56" y="594"/>
                    <a:pt x="55" y="594"/>
                  </a:cubicBezTo>
                  <a:cubicBezTo>
                    <a:pt x="54" y="594"/>
                    <a:pt x="54" y="594"/>
                    <a:pt x="54" y="594"/>
                  </a:cubicBezTo>
                  <a:cubicBezTo>
                    <a:pt x="53" y="594"/>
                    <a:pt x="52" y="594"/>
                    <a:pt x="51" y="595"/>
                  </a:cubicBezTo>
                  <a:cubicBezTo>
                    <a:pt x="51" y="597"/>
                    <a:pt x="47" y="598"/>
                    <a:pt x="44" y="598"/>
                  </a:cubicBezTo>
                  <a:cubicBezTo>
                    <a:pt x="43" y="598"/>
                    <a:pt x="42" y="598"/>
                    <a:pt x="41" y="597"/>
                  </a:cubicBezTo>
                  <a:cubicBezTo>
                    <a:pt x="41" y="596"/>
                    <a:pt x="41" y="596"/>
                    <a:pt x="40" y="596"/>
                  </a:cubicBezTo>
                  <a:cubicBezTo>
                    <a:pt x="38" y="596"/>
                    <a:pt x="34" y="599"/>
                    <a:pt x="34" y="602"/>
                  </a:cubicBezTo>
                  <a:cubicBezTo>
                    <a:pt x="34" y="603"/>
                    <a:pt x="33" y="605"/>
                    <a:pt x="32" y="605"/>
                  </a:cubicBezTo>
                  <a:cubicBezTo>
                    <a:pt x="32" y="606"/>
                    <a:pt x="32" y="606"/>
                    <a:pt x="32" y="606"/>
                  </a:cubicBezTo>
                  <a:cubicBezTo>
                    <a:pt x="32" y="606"/>
                    <a:pt x="32" y="606"/>
                    <a:pt x="34" y="607"/>
                  </a:cubicBezTo>
                  <a:cubicBezTo>
                    <a:pt x="35" y="607"/>
                    <a:pt x="35" y="607"/>
                    <a:pt x="35" y="607"/>
                  </a:cubicBezTo>
                  <a:cubicBezTo>
                    <a:pt x="37" y="607"/>
                    <a:pt x="38" y="606"/>
                    <a:pt x="39" y="605"/>
                  </a:cubicBezTo>
                  <a:cubicBezTo>
                    <a:pt x="40" y="603"/>
                    <a:pt x="42" y="601"/>
                    <a:pt x="47" y="601"/>
                  </a:cubicBezTo>
                  <a:cubicBezTo>
                    <a:pt x="52" y="602"/>
                    <a:pt x="55" y="600"/>
                    <a:pt x="57" y="598"/>
                  </a:cubicBezTo>
                  <a:cubicBezTo>
                    <a:pt x="59" y="597"/>
                    <a:pt x="60" y="597"/>
                    <a:pt x="62" y="597"/>
                  </a:cubicBezTo>
                  <a:cubicBezTo>
                    <a:pt x="63" y="597"/>
                    <a:pt x="64" y="597"/>
                    <a:pt x="64" y="598"/>
                  </a:cubicBezTo>
                  <a:cubicBezTo>
                    <a:pt x="65" y="600"/>
                    <a:pt x="65" y="601"/>
                    <a:pt x="64" y="603"/>
                  </a:cubicBezTo>
                  <a:cubicBezTo>
                    <a:pt x="63" y="605"/>
                    <a:pt x="59" y="606"/>
                    <a:pt x="56" y="606"/>
                  </a:cubicBezTo>
                  <a:cubicBezTo>
                    <a:pt x="55" y="606"/>
                    <a:pt x="53" y="606"/>
                    <a:pt x="52" y="605"/>
                  </a:cubicBezTo>
                  <a:cubicBezTo>
                    <a:pt x="52" y="605"/>
                    <a:pt x="51" y="604"/>
                    <a:pt x="50" y="604"/>
                  </a:cubicBezTo>
                  <a:cubicBezTo>
                    <a:pt x="49" y="604"/>
                    <a:pt x="49" y="605"/>
                    <a:pt x="48" y="606"/>
                  </a:cubicBezTo>
                  <a:cubicBezTo>
                    <a:pt x="47" y="607"/>
                    <a:pt x="46" y="610"/>
                    <a:pt x="46" y="612"/>
                  </a:cubicBezTo>
                  <a:cubicBezTo>
                    <a:pt x="46" y="613"/>
                    <a:pt x="46" y="613"/>
                    <a:pt x="45" y="614"/>
                  </a:cubicBezTo>
                  <a:cubicBezTo>
                    <a:pt x="45" y="614"/>
                    <a:pt x="44" y="614"/>
                    <a:pt x="43" y="614"/>
                  </a:cubicBezTo>
                  <a:cubicBezTo>
                    <a:pt x="42" y="614"/>
                    <a:pt x="39" y="613"/>
                    <a:pt x="36" y="612"/>
                  </a:cubicBezTo>
                  <a:cubicBezTo>
                    <a:pt x="34" y="611"/>
                    <a:pt x="31" y="611"/>
                    <a:pt x="30" y="610"/>
                  </a:cubicBezTo>
                  <a:cubicBezTo>
                    <a:pt x="29" y="610"/>
                    <a:pt x="29" y="610"/>
                    <a:pt x="29" y="610"/>
                  </a:cubicBezTo>
                  <a:cubicBezTo>
                    <a:pt x="28" y="610"/>
                    <a:pt x="28" y="611"/>
                    <a:pt x="27" y="611"/>
                  </a:cubicBezTo>
                  <a:cubicBezTo>
                    <a:pt x="27" y="612"/>
                    <a:pt x="29" y="616"/>
                    <a:pt x="32" y="619"/>
                  </a:cubicBezTo>
                  <a:cubicBezTo>
                    <a:pt x="33" y="621"/>
                    <a:pt x="35" y="621"/>
                    <a:pt x="36" y="621"/>
                  </a:cubicBezTo>
                  <a:cubicBezTo>
                    <a:pt x="36" y="621"/>
                    <a:pt x="37" y="621"/>
                    <a:pt x="38" y="621"/>
                  </a:cubicBezTo>
                  <a:cubicBezTo>
                    <a:pt x="38" y="621"/>
                    <a:pt x="39" y="621"/>
                    <a:pt x="40" y="621"/>
                  </a:cubicBezTo>
                  <a:cubicBezTo>
                    <a:pt x="41" y="621"/>
                    <a:pt x="43" y="621"/>
                    <a:pt x="44" y="622"/>
                  </a:cubicBezTo>
                  <a:cubicBezTo>
                    <a:pt x="46" y="623"/>
                    <a:pt x="47" y="625"/>
                    <a:pt x="48" y="626"/>
                  </a:cubicBezTo>
                  <a:cubicBezTo>
                    <a:pt x="50" y="627"/>
                    <a:pt x="51" y="628"/>
                    <a:pt x="53" y="626"/>
                  </a:cubicBezTo>
                  <a:cubicBezTo>
                    <a:pt x="54" y="625"/>
                    <a:pt x="55" y="624"/>
                    <a:pt x="55" y="624"/>
                  </a:cubicBezTo>
                  <a:cubicBezTo>
                    <a:pt x="54" y="624"/>
                    <a:pt x="54" y="623"/>
                    <a:pt x="53" y="623"/>
                  </a:cubicBezTo>
                  <a:cubicBezTo>
                    <a:pt x="52" y="623"/>
                    <a:pt x="51" y="622"/>
                    <a:pt x="51" y="622"/>
                  </a:cubicBezTo>
                  <a:cubicBezTo>
                    <a:pt x="49" y="621"/>
                    <a:pt x="49" y="620"/>
                    <a:pt x="49" y="619"/>
                  </a:cubicBezTo>
                  <a:cubicBezTo>
                    <a:pt x="50" y="617"/>
                    <a:pt x="51" y="616"/>
                    <a:pt x="53" y="616"/>
                  </a:cubicBezTo>
                  <a:cubicBezTo>
                    <a:pt x="54" y="616"/>
                    <a:pt x="56" y="616"/>
                    <a:pt x="57" y="617"/>
                  </a:cubicBezTo>
                  <a:cubicBezTo>
                    <a:pt x="60" y="618"/>
                    <a:pt x="64" y="617"/>
                    <a:pt x="66" y="615"/>
                  </a:cubicBezTo>
                  <a:cubicBezTo>
                    <a:pt x="68" y="613"/>
                    <a:pt x="68" y="610"/>
                    <a:pt x="67" y="607"/>
                  </a:cubicBezTo>
                  <a:cubicBezTo>
                    <a:pt x="65" y="599"/>
                    <a:pt x="73" y="595"/>
                    <a:pt x="81" y="593"/>
                  </a:cubicBezTo>
                  <a:cubicBezTo>
                    <a:pt x="82" y="592"/>
                    <a:pt x="83" y="592"/>
                    <a:pt x="83" y="592"/>
                  </a:cubicBezTo>
                  <a:cubicBezTo>
                    <a:pt x="85" y="592"/>
                    <a:pt x="85" y="593"/>
                    <a:pt x="85" y="593"/>
                  </a:cubicBezTo>
                  <a:cubicBezTo>
                    <a:pt x="86" y="596"/>
                    <a:pt x="83" y="599"/>
                    <a:pt x="79" y="601"/>
                  </a:cubicBezTo>
                  <a:cubicBezTo>
                    <a:pt x="76" y="602"/>
                    <a:pt x="75" y="603"/>
                    <a:pt x="75" y="604"/>
                  </a:cubicBezTo>
                  <a:cubicBezTo>
                    <a:pt x="74" y="605"/>
                    <a:pt x="75" y="606"/>
                    <a:pt x="77" y="608"/>
                  </a:cubicBezTo>
                  <a:cubicBezTo>
                    <a:pt x="78" y="609"/>
                    <a:pt x="79" y="610"/>
                    <a:pt x="80" y="610"/>
                  </a:cubicBezTo>
                  <a:cubicBezTo>
                    <a:pt x="81" y="610"/>
                    <a:pt x="82" y="609"/>
                    <a:pt x="84" y="609"/>
                  </a:cubicBezTo>
                  <a:cubicBezTo>
                    <a:pt x="85" y="608"/>
                    <a:pt x="86" y="608"/>
                    <a:pt x="87" y="608"/>
                  </a:cubicBezTo>
                  <a:cubicBezTo>
                    <a:pt x="89" y="608"/>
                    <a:pt x="89" y="608"/>
                    <a:pt x="90" y="609"/>
                  </a:cubicBezTo>
                  <a:cubicBezTo>
                    <a:pt x="91" y="610"/>
                    <a:pt x="91" y="610"/>
                    <a:pt x="91" y="611"/>
                  </a:cubicBezTo>
                  <a:cubicBezTo>
                    <a:pt x="91" y="612"/>
                    <a:pt x="89" y="613"/>
                    <a:pt x="87" y="613"/>
                  </a:cubicBezTo>
                  <a:cubicBezTo>
                    <a:pt x="85" y="614"/>
                    <a:pt x="83" y="615"/>
                    <a:pt x="82" y="616"/>
                  </a:cubicBezTo>
                  <a:cubicBezTo>
                    <a:pt x="82" y="617"/>
                    <a:pt x="83" y="619"/>
                    <a:pt x="83" y="620"/>
                  </a:cubicBezTo>
                  <a:cubicBezTo>
                    <a:pt x="84" y="622"/>
                    <a:pt x="85" y="623"/>
                    <a:pt x="85" y="624"/>
                  </a:cubicBezTo>
                  <a:cubicBezTo>
                    <a:pt x="85" y="625"/>
                    <a:pt x="84" y="626"/>
                    <a:pt x="83" y="626"/>
                  </a:cubicBezTo>
                  <a:cubicBezTo>
                    <a:pt x="82" y="627"/>
                    <a:pt x="82" y="627"/>
                    <a:pt x="81" y="627"/>
                  </a:cubicBezTo>
                  <a:cubicBezTo>
                    <a:pt x="79" y="627"/>
                    <a:pt x="78" y="623"/>
                    <a:pt x="78" y="620"/>
                  </a:cubicBezTo>
                  <a:cubicBezTo>
                    <a:pt x="78" y="618"/>
                    <a:pt x="77" y="615"/>
                    <a:pt x="76" y="615"/>
                  </a:cubicBezTo>
                  <a:cubicBezTo>
                    <a:pt x="75" y="614"/>
                    <a:pt x="74" y="614"/>
                    <a:pt x="73" y="615"/>
                  </a:cubicBezTo>
                  <a:cubicBezTo>
                    <a:pt x="72" y="617"/>
                    <a:pt x="72" y="620"/>
                    <a:pt x="74" y="623"/>
                  </a:cubicBezTo>
                  <a:cubicBezTo>
                    <a:pt x="75" y="625"/>
                    <a:pt x="75" y="626"/>
                    <a:pt x="75" y="627"/>
                  </a:cubicBezTo>
                  <a:cubicBezTo>
                    <a:pt x="74" y="627"/>
                    <a:pt x="74" y="627"/>
                    <a:pt x="74" y="627"/>
                  </a:cubicBezTo>
                  <a:cubicBezTo>
                    <a:pt x="72" y="627"/>
                    <a:pt x="66" y="621"/>
                    <a:pt x="66" y="621"/>
                  </a:cubicBezTo>
                  <a:cubicBezTo>
                    <a:pt x="65" y="620"/>
                    <a:pt x="65" y="620"/>
                    <a:pt x="64" y="620"/>
                  </a:cubicBezTo>
                  <a:cubicBezTo>
                    <a:pt x="63" y="620"/>
                    <a:pt x="62" y="621"/>
                    <a:pt x="62" y="622"/>
                  </a:cubicBezTo>
                  <a:cubicBezTo>
                    <a:pt x="61" y="623"/>
                    <a:pt x="62" y="624"/>
                    <a:pt x="63" y="626"/>
                  </a:cubicBezTo>
                  <a:cubicBezTo>
                    <a:pt x="63" y="626"/>
                    <a:pt x="64" y="627"/>
                    <a:pt x="64" y="628"/>
                  </a:cubicBezTo>
                  <a:cubicBezTo>
                    <a:pt x="63" y="628"/>
                    <a:pt x="62" y="628"/>
                    <a:pt x="61" y="629"/>
                  </a:cubicBezTo>
                  <a:cubicBezTo>
                    <a:pt x="58" y="629"/>
                    <a:pt x="56" y="629"/>
                    <a:pt x="56" y="632"/>
                  </a:cubicBezTo>
                  <a:cubicBezTo>
                    <a:pt x="56" y="634"/>
                    <a:pt x="56" y="634"/>
                    <a:pt x="57" y="634"/>
                  </a:cubicBezTo>
                  <a:cubicBezTo>
                    <a:pt x="58" y="634"/>
                    <a:pt x="58" y="634"/>
                    <a:pt x="59" y="634"/>
                  </a:cubicBezTo>
                  <a:cubicBezTo>
                    <a:pt x="61" y="634"/>
                    <a:pt x="62" y="633"/>
                    <a:pt x="64" y="633"/>
                  </a:cubicBezTo>
                  <a:cubicBezTo>
                    <a:pt x="64" y="633"/>
                    <a:pt x="65" y="633"/>
                    <a:pt x="66" y="634"/>
                  </a:cubicBezTo>
                  <a:cubicBezTo>
                    <a:pt x="69" y="634"/>
                    <a:pt x="70" y="638"/>
                    <a:pt x="71" y="641"/>
                  </a:cubicBezTo>
                  <a:cubicBezTo>
                    <a:pt x="71" y="643"/>
                    <a:pt x="72" y="645"/>
                    <a:pt x="73" y="647"/>
                  </a:cubicBezTo>
                  <a:cubicBezTo>
                    <a:pt x="74" y="647"/>
                    <a:pt x="74" y="647"/>
                    <a:pt x="74" y="647"/>
                  </a:cubicBezTo>
                  <a:cubicBezTo>
                    <a:pt x="75" y="647"/>
                    <a:pt x="75" y="645"/>
                    <a:pt x="75" y="643"/>
                  </a:cubicBezTo>
                  <a:cubicBezTo>
                    <a:pt x="75" y="640"/>
                    <a:pt x="75" y="636"/>
                    <a:pt x="78" y="635"/>
                  </a:cubicBezTo>
                  <a:cubicBezTo>
                    <a:pt x="79" y="635"/>
                    <a:pt x="79" y="635"/>
                    <a:pt x="79" y="635"/>
                  </a:cubicBezTo>
                  <a:cubicBezTo>
                    <a:pt x="81" y="635"/>
                    <a:pt x="81" y="637"/>
                    <a:pt x="81" y="639"/>
                  </a:cubicBezTo>
                  <a:cubicBezTo>
                    <a:pt x="82" y="643"/>
                    <a:pt x="83" y="647"/>
                    <a:pt x="89" y="649"/>
                  </a:cubicBezTo>
                  <a:cubicBezTo>
                    <a:pt x="91" y="649"/>
                    <a:pt x="92" y="650"/>
                    <a:pt x="93" y="650"/>
                  </a:cubicBezTo>
                  <a:cubicBezTo>
                    <a:pt x="93" y="650"/>
                    <a:pt x="93" y="650"/>
                    <a:pt x="93" y="650"/>
                  </a:cubicBezTo>
                  <a:cubicBezTo>
                    <a:pt x="93" y="649"/>
                    <a:pt x="93" y="649"/>
                    <a:pt x="93" y="649"/>
                  </a:cubicBezTo>
                  <a:cubicBezTo>
                    <a:pt x="92" y="648"/>
                    <a:pt x="91" y="645"/>
                    <a:pt x="93" y="644"/>
                  </a:cubicBezTo>
                  <a:cubicBezTo>
                    <a:pt x="94" y="643"/>
                    <a:pt x="95" y="643"/>
                    <a:pt x="95" y="6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4" name="Freeform 111"/>
            <p:cNvSpPr>
              <a:spLocks noEditPoints="1"/>
            </p:cNvSpPr>
            <p:nvPr/>
          </p:nvSpPr>
          <p:spPr>
            <a:xfrm>
              <a:off x="3213101" y="4300538"/>
              <a:ext cx="219075" cy="215900"/>
            </a:xfrm>
            <a:custGeom>
              <a:gdLst>
                <a:gd name="T0" fmla="*/ 92 w 129"/>
                <a:gd name="T1" fmla="*/ 127 h 128"/>
                <a:gd name="T2" fmla="*/ 85 w 129"/>
                <a:gd name="T3" fmla="*/ 127 h 128"/>
                <a:gd name="T4" fmla="*/ 78 w 129"/>
                <a:gd name="T5" fmla="*/ 126 h 128"/>
                <a:gd name="T6" fmla="*/ 64 w 129"/>
                <a:gd name="T7" fmla="*/ 123 h 128"/>
                <a:gd name="T8" fmla="*/ 69 w 129"/>
                <a:gd name="T9" fmla="*/ 113 h 128"/>
                <a:gd name="T10" fmla="*/ 80 w 129"/>
                <a:gd name="T11" fmla="*/ 94 h 128"/>
                <a:gd name="T12" fmla="*/ 53 w 129"/>
                <a:gd name="T13" fmla="*/ 80 h 128"/>
                <a:gd name="T14" fmla="*/ 27 w 129"/>
                <a:gd name="T15" fmla="*/ 67 h 128"/>
                <a:gd name="T16" fmla="*/ 1 w 129"/>
                <a:gd name="T17" fmla="*/ 41 h 128"/>
                <a:gd name="T18" fmla="*/ 1 w 129"/>
                <a:gd name="T19" fmla="*/ 40 h 128"/>
                <a:gd name="T20" fmla="*/ 6 w 129"/>
                <a:gd name="T21" fmla="*/ 40 h 128"/>
                <a:gd name="T22" fmla="*/ 21 w 129"/>
                <a:gd name="T23" fmla="*/ 4 h 128"/>
                <a:gd name="T24" fmla="*/ 39 w 129"/>
                <a:gd name="T25" fmla="*/ 1 h 128"/>
                <a:gd name="T26" fmla="*/ 54 w 129"/>
                <a:gd name="T27" fmla="*/ 0 h 128"/>
                <a:gd name="T28" fmla="*/ 65 w 129"/>
                <a:gd name="T29" fmla="*/ 3 h 128"/>
                <a:gd name="T30" fmla="*/ 72 w 129"/>
                <a:gd name="T31" fmla="*/ 5 h 128"/>
                <a:gd name="T32" fmla="*/ 73 w 129"/>
                <a:gd name="T33" fmla="*/ 5 h 128"/>
                <a:gd name="T34" fmla="*/ 73 w 129"/>
                <a:gd name="T35" fmla="*/ 13 h 128"/>
                <a:gd name="T36" fmla="*/ 76 w 129"/>
                <a:gd name="T37" fmla="*/ 31 h 128"/>
                <a:gd name="T38" fmla="*/ 75 w 129"/>
                <a:gd name="T39" fmla="*/ 40 h 128"/>
                <a:gd name="T40" fmla="*/ 92 w 129"/>
                <a:gd name="T41" fmla="*/ 44 h 128"/>
                <a:gd name="T42" fmla="*/ 97 w 129"/>
                <a:gd name="T43" fmla="*/ 43 h 128"/>
                <a:gd name="T44" fmla="*/ 113 w 129"/>
                <a:gd name="T45" fmla="*/ 72 h 128"/>
                <a:gd name="T46" fmla="*/ 122 w 129"/>
                <a:gd name="T47" fmla="*/ 69 h 128"/>
                <a:gd name="T48" fmla="*/ 126 w 129"/>
                <a:gd name="T49" fmla="*/ 87 h 128"/>
                <a:gd name="T50" fmla="*/ 119 w 129"/>
                <a:gd name="T51" fmla="*/ 118 h 128"/>
                <a:gd name="T52" fmla="*/ 116 w 129"/>
                <a:gd name="T53" fmla="*/ 119 h 128"/>
                <a:gd name="T54" fmla="*/ 116 w 129"/>
                <a:gd name="T55" fmla="*/ 119 h 128"/>
                <a:gd name="T56" fmla="*/ 105 w 129"/>
                <a:gd name="T57" fmla="*/ 125 h 128"/>
                <a:gd name="T58" fmla="*/ 100 w 129"/>
                <a:gd name="T59" fmla="*/ 126 h 128"/>
                <a:gd name="T60" fmla="*/ 88 w 129"/>
                <a:gd name="T61" fmla="*/ 125 h 128"/>
                <a:gd name="T62" fmla="*/ 95 w 129"/>
                <a:gd name="T63" fmla="*/ 127 h 128"/>
                <a:gd name="T64" fmla="*/ 105 w 129"/>
                <a:gd name="T65" fmla="*/ 124 h 128"/>
                <a:gd name="T66" fmla="*/ 116 w 129"/>
                <a:gd name="T67" fmla="*/ 118 h 128"/>
                <a:gd name="T68" fmla="*/ 116 w 129"/>
                <a:gd name="T69" fmla="*/ 118 h 128"/>
                <a:gd name="T70" fmla="*/ 123 w 129"/>
                <a:gd name="T71" fmla="*/ 97 h 128"/>
                <a:gd name="T72" fmla="*/ 125 w 129"/>
                <a:gd name="T73" fmla="*/ 70 h 128"/>
                <a:gd name="T74" fmla="*/ 115 w 129"/>
                <a:gd name="T75" fmla="*/ 72 h 128"/>
                <a:gd name="T76" fmla="*/ 105 w 129"/>
                <a:gd name="T77" fmla="*/ 56 h 128"/>
                <a:gd name="T78" fmla="*/ 92 w 129"/>
                <a:gd name="T79" fmla="*/ 45 h 128"/>
                <a:gd name="T80" fmla="*/ 75 w 129"/>
                <a:gd name="T81" fmla="*/ 41 h 128"/>
                <a:gd name="T82" fmla="*/ 75 w 129"/>
                <a:gd name="T83" fmla="*/ 31 h 128"/>
                <a:gd name="T84" fmla="*/ 73 w 129"/>
                <a:gd name="T85" fmla="*/ 13 h 128"/>
                <a:gd name="T86" fmla="*/ 72 w 129"/>
                <a:gd name="T87" fmla="*/ 6 h 128"/>
                <a:gd name="T88" fmla="*/ 65 w 129"/>
                <a:gd name="T89" fmla="*/ 4 h 128"/>
                <a:gd name="T90" fmla="*/ 54 w 129"/>
                <a:gd name="T91" fmla="*/ 1 h 128"/>
                <a:gd name="T92" fmla="*/ 40 w 129"/>
                <a:gd name="T93" fmla="*/ 2 h 128"/>
                <a:gd name="T94" fmla="*/ 22 w 129"/>
                <a:gd name="T95" fmla="*/ 5 h 128"/>
                <a:gd name="T96" fmla="*/ 6 w 129"/>
                <a:gd name="T97" fmla="*/ 41 h 128"/>
                <a:gd name="T98" fmla="*/ 2 w 129"/>
                <a:gd name="T99" fmla="*/ 41 h 128"/>
                <a:gd name="T100" fmla="*/ 28 w 129"/>
                <a:gd name="T101" fmla="*/ 66 h 128"/>
                <a:gd name="T102" fmla="*/ 54 w 129"/>
                <a:gd name="T103" fmla="*/ 79 h 128"/>
                <a:gd name="T104" fmla="*/ 81 w 129"/>
                <a:gd name="T105" fmla="*/ 93 h 128"/>
                <a:gd name="T106" fmla="*/ 70 w 129"/>
                <a:gd name="T107" fmla="*/ 113 h 128"/>
                <a:gd name="T108" fmla="*/ 65 w 129"/>
                <a:gd name="T109" fmla="*/ 123 h 128"/>
                <a:gd name="T110" fmla="*/ 79 w 129"/>
                <a:gd name="T111" fmla="*/ 125 h 128"/>
                <a:gd name="T112" fmla="*/ 84 w 129"/>
                <a:gd name="T113" fmla="*/ 126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9" h="128">
                  <a:moveTo>
                    <a:pt x="95" y="128"/>
                  </a:moveTo>
                  <a:cubicBezTo>
                    <a:pt x="94" y="128"/>
                    <a:pt x="93" y="128"/>
                    <a:pt x="92" y="127"/>
                  </a:cubicBezTo>
                  <a:cubicBezTo>
                    <a:pt x="91" y="127"/>
                    <a:pt x="90" y="126"/>
                    <a:pt x="88" y="126"/>
                  </a:cubicBezTo>
                  <a:cubicBezTo>
                    <a:pt x="87" y="126"/>
                    <a:pt x="86" y="127"/>
                    <a:pt x="85" y="127"/>
                  </a:cubicBezTo>
                  <a:cubicBezTo>
                    <a:pt x="84" y="127"/>
                    <a:pt x="82" y="127"/>
                    <a:pt x="81" y="127"/>
                  </a:cubicBezTo>
                  <a:cubicBezTo>
                    <a:pt x="80" y="127"/>
                    <a:pt x="79" y="127"/>
                    <a:pt x="78" y="126"/>
                  </a:cubicBezTo>
                  <a:cubicBezTo>
                    <a:pt x="76" y="125"/>
                    <a:pt x="73" y="125"/>
                    <a:pt x="71" y="125"/>
                  </a:cubicBezTo>
                  <a:cubicBezTo>
                    <a:pt x="67" y="125"/>
                    <a:pt x="64" y="124"/>
                    <a:pt x="64" y="123"/>
                  </a:cubicBezTo>
                  <a:cubicBezTo>
                    <a:pt x="64" y="121"/>
                    <a:pt x="65" y="121"/>
                    <a:pt x="66" y="120"/>
                  </a:cubicBezTo>
                  <a:cubicBezTo>
                    <a:pt x="67" y="119"/>
                    <a:pt x="69" y="118"/>
                    <a:pt x="69" y="113"/>
                  </a:cubicBezTo>
                  <a:cubicBezTo>
                    <a:pt x="69" y="108"/>
                    <a:pt x="73" y="104"/>
                    <a:pt x="76" y="100"/>
                  </a:cubicBezTo>
                  <a:cubicBezTo>
                    <a:pt x="79" y="97"/>
                    <a:pt x="81" y="95"/>
                    <a:pt x="80" y="94"/>
                  </a:cubicBezTo>
                  <a:cubicBezTo>
                    <a:pt x="80" y="92"/>
                    <a:pt x="74" y="90"/>
                    <a:pt x="68" y="88"/>
                  </a:cubicBezTo>
                  <a:cubicBezTo>
                    <a:pt x="62" y="85"/>
                    <a:pt x="55" y="82"/>
                    <a:pt x="53" y="80"/>
                  </a:cubicBezTo>
                  <a:cubicBezTo>
                    <a:pt x="51" y="77"/>
                    <a:pt x="47" y="73"/>
                    <a:pt x="38" y="72"/>
                  </a:cubicBezTo>
                  <a:cubicBezTo>
                    <a:pt x="32" y="71"/>
                    <a:pt x="30" y="69"/>
                    <a:pt x="27" y="67"/>
                  </a:cubicBezTo>
                  <a:cubicBezTo>
                    <a:pt x="26" y="65"/>
                    <a:pt x="24" y="64"/>
                    <a:pt x="21" y="62"/>
                  </a:cubicBezTo>
                  <a:cubicBezTo>
                    <a:pt x="14" y="58"/>
                    <a:pt x="4" y="47"/>
                    <a:pt x="1" y="41"/>
                  </a:cubicBezTo>
                  <a:cubicBezTo>
                    <a:pt x="0" y="40"/>
                    <a:pt x="0" y="40"/>
                    <a:pt x="0" y="40"/>
                  </a:cubicBezTo>
                  <a:cubicBezTo>
                    <a:pt x="1" y="40"/>
                    <a:pt x="1" y="40"/>
                    <a:pt x="1" y="40"/>
                  </a:cubicBezTo>
                  <a:cubicBezTo>
                    <a:pt x="3" y="40"/>
                    <a:pt x="4" y="41"/>
                    <a:pt x="5" y="41"/>
                  </a:cubicBezTo>
                  <a:cubicBezTo>
                    <a:pt x="6" y="41"/>
                    <a:pt x="6" y="40"/>
                    <a:pt x="6" y="40"/>
                  </a:cubicBezTo>
                  <a:cubicBezTo>
                    <a:pt x="8" y="40"/>
                    <a:pt x="11" y="22"/>
                    <a:pt x="10" y="19"/>
                  </a:cubicBezTo>
                  <a:cubicBezTo>
                    <a:pt x="10" y="15"/>
                    <a:pt x="17" y="8"/>
                    <a:pt x="21" y="4"/>
                  </a:cubicBezTo>
                  <a:cubicBezTo>
                    <a:pt x="24" y="2"/>
                    <a:pt x="28" y="2"/>
                    <a:pt x="32" y="2"/>
                  </a:cubicBezTo>
                  <a:cubicBezTo>
                    <a:pt x="35" y="2"/>
                    <a:pt x="37" y="2"/>
                    <a:pt x="39" y="1"/>
                  </a:cubicBezTo>
                  <a:cubicBezTo>
                    <a:pt x="42" y="0"/>
                    <a:pt x="46" y="0"/>
                    <a:pt x="51" y="0"/>
                  </a:cubicBezTo>
                  <a:cubicBezTo>
                    <a:pt x="52" y="0"/>
                    <a:pt x="53" y="0"/>
                    <a:pt x="54" y="0"/>
                  </a:cubicBezTo>
                  <a:cubicBezTo>
                    <a:pt x="54" y="0"/>
                    <a:pt x="55" y="0"/>
                    <a:pt x="56" y="0"/>
                  </a:cubicBezTo>
                  <a:cubicBezTo>
                    <a:pt x="60" y="0"/>
                    <a:pt x="63" y="2"/>
                    <a:pt x="65" y="3"/>
                  </a:cubicBezTo>
                  <a:cubicBezTo>
                    <a:pt x="67" y="5"/>
                    <a:pt x="69" y="6"/>
                    <a:pt x="70" y="6"/>
                  </a:cubicBezTo>
                  <a:cubicBezTo>
                    <a:pt x="71" y="6"/>
                    <a:pt x="71" y="5"/>
                    <a:pt x="72" y="5"/>
                  </a:cubicBezTo>
                  <a:cubicBezTo>
                    <a:pt x="72" y="5"/>
                    <a:pt x="72" y="5"/>
                    <a:pt x="72" y="5"/>
                  </a:cubicBezTo>
                  <a:cubicBezTo>
                    <a:pt x="73" y="5"/>
                    <a:pt x="73" y="5"/>
                    <a:pt x="73" y="5"/>
                  </a:cubicBezTo>
                  <a:cubicBezTo>
                    <a:pt x="75" y="8"/>
                    <a:pt x="76" y="9"/>
                    <a:pt x="75" y="11"/>
                  </a:cubicBezTo>
                  <a:cubicBezTo>
                    <a:pt x="75" y="12"/>
                    <a:pt x="75" y="13"/>
                    <a:pt x="73" y="13"/>
                  </a:cubicBezTo>
                  <a:cubicBezTo>
                    <a:pt x="72" y="14"/>
                    <a:pt x="72" y="15"/>
                    <a:pt x="74" y="18"/>
                  </a:cubicBezTo>
                  <a:cubicBezTo>
                    <a:pt x="75" y="21"/>
                    <a:pt x="77" y="26"/>
                    <a:pt x="76" y="31"/>
                  </a:cubicBezTo>
                  <a:cubicBezTo>
                    <a:pt x="76" y="31"/>
                    <a:pt x="76" y="31"/>
                    <a:pt x="76" y="31"/>
                  </a:cubicBezTo>
                  <a:cubicBezTo>
                    <a:pt x="75" y="36"/>
                    <a:pt x="74" y="39"/>
                    <a:pt x="75" y="40"/>
                  </a:cubicBezTo>
                  <a:cubicBezTo>
                    <a:pt x="76" y="41"/>
                    <a:pt x="78" y="42"/>
                    <a:pt x="83" y="42"/>
                  </a:cubicBezTo>
                  <a:cubicBezTo>
                    <a:pt x="88" y="42"/>
                    <a:pt x="90" y="43"/>
                    <a:pt x="92" y="44"/>
                  </a:cubicBezTo>
                  <a:cubicBezTo>
                    <a:pt x="93" y="44"/>
                    <a:pt x="94" y="45"/>
                    <a:pt x="95" y="44"/>
                  </a:cubicBezTo>
                  <a:cubicBezTo>
                    <a:pt x="96" y="43"/>
                    <a:pt x="96" y="43"/>
                    <a:pt x="97" y="43"/>
                  </a:cubicBezTo>
                  <a:cubicBezTo>
                    <a:pt x="101" y="43"/>
                    <a:pt x="105" y="52"/>
                    <a:pt x="106" y="56"/>
                  </a:cubicBezTo>
                  <a:cubicBezTo>
                    <a:pt x="108" y="63"/>
                    <a:pt x="112" y="72"/>
                    <a:pt x="113" y="72"/>
                  </a:cubicBezTo>
                  <a:cubicBezTo>
                    <a:pt x="113" y="72"/>
                    <a:pt x="114" y="71"/>
                    <a:pt x="115" y="71"/>
                  </a:cubicBezTo>
                  <a:cubicBezTo>
                    <a:pt x="117" y="70"/>
                    <a:pt x="119" y="69"/>
                    <a:pt x="122" y="69"/>
                  </a:cubicBezTo>
                  <a:cubicBezTo>
                    <a:pt x="123" y="69"/>
                    <a:pt x="124" y="69"/>
                    <a:pt x="125" y="69"/>
                  </a:cubicBezTo>
                  <a:cubicBezTo>
                    <a:pt x="129" y="71"/>
                    <a:pt x="127" y="79"/>
                    <a:pt x="126" y="87"/>
                  </a:cubicBezTo>
                  <a:cubicBezTo>
                    <a:pt x="125" y="91"/>
                    <a:pt x="124" y="95"/>
                    <a:pt x="124" y="97"/>
                  </a:cubicBezTo>
                  <a:cubicBezTo>
                    <a:pt x="125" y="102"/>
                    <a:pt x="122" y="114"/>
                    <a:pt x="119" y="118"/>
                  </a:cubicBezTo>
                  <a:cubicBezTo>
                    <a:pt x="118" y="119"/>
                    <a:pt x="117" y="119"/>
                    <a:pt x="116" y="119"/>
                  </a:cubicBezTo>
                  <a:cubicBezTo>
                    <a:pt x="116" y="119"/>
                    <a:pt x="116" y="119"/>
                    <a:pt x="116" y="119"/>
                  </a:cubicBezTo>
                  <a:cubicBezTo>
                    <a:pt x="116" y="119"/>
                    <a:pt x="116" y="119"/>
                    <a:pt x="116" y="119"/>
                  </a:cubicBezTo>
                  <a:cubicBezTo>
                    <a:pt x="116" y="119"/>
                    <a:pt x="116" y="119"/>
                    <a:pt x="116" y="119"/>
                  </a:cubicBezTo>
                  <a:cubicBezTo>
                    <a:pt x="114" y="119"/>
                    <a:pt x="112" y="121"/>
                    <a:pt x="110" y="122"/>
                  </a:cubicBezTo>
                  <a:cubicBezTo>
                    <a:pt x="109" y="124"/>
                    <a:pt x="107" y="125"/>
                    <a:pt x="105" y="125"/>
                  </a:cubicBezTo>
                  <a:cubicBezTo>
                    <a:pt x="105" y="125"/>
                    <a:pt x="105" y="125"/>
                    <a:pt x="105" y="125"/>
                  </a:cubicBezTo>
                  <a:cubicBezTo>
                    <a:pt x="104" y="125"/>
                    <a:pt x="102" y="125"/>
                    <a:pt x="100" y="126"/>
                  </a:cubicBezTo>
                  <a:cubicBezTo>
                    <a:pt x="98" y="127"/>
                    <a:pt x="96" y="128"/>
                    <a:pt x="95" y="128"/>
                  </a:cubicBezTo>
                  <a:close/>
                  <a:moveTo>
                    <a:pt x="88" y="125"/>
                  </a:moveTo>
                  <a:cubicBezTo>
                    <a:pt x="90" y="125"/>
                    <a:pt x="91" y="126"/>
                    <a:pt x="92" y="127"/>
                  </a:cubicBezTo>
                  <a:cubicBezTo>
                    <a:pt x="93" y="127"/>
                    <a:pt x="94" y="127"/>
                    <a:pt x="95" y="127"/>
                  </a:cubicBezTo>
                  <a:cubicBezTo>
                    <a:pt x="96" y="127"/>
                    <a:pt x="98" y="126"/>
                    <a:pt x="100" y="125"/>
                  </a:cubicBezTo>
                  <a:cubicBezTo>
                    <a:pt x="102" y="124"/>
                    <a:pt x="103" y="123"/>
                    <a:pt x="105" y="124"/>
                  </a:cubicBezTo>
                  <a:cubicBezTo>
                    <a:pt x="106" y="124"/>
                    <a:pt x="108" y="123"/>
                    <a:pt x="110" y="121"/>
                  </a:cubicBezTo>
                  <a:cubicBezTo>
                    <a:pt x="112" y="120"/>
                    <a:pt x="114" y="118"/>
                    <a:pt x="116" y="118"/>
                  </a:cubicBezTo>
                  <a:cubicBezTo>
                    <a:pt x="116" y="118"/>
                    <a:pt x="116" y="118"/>
                    <a:pt x="116" y="118"/>
                  </a:cubicBezTo>
                  <a:cubicBezTo>
                    <a:pt x="116" y="118"/>
                    <a:pt x="116" y="118"/>
                    <a:pt x="116" y="118"/>
                  </a:cubicBezTo>
                  <a:cubicBezTo>
                    <a:pt x="117" y="118"/>
                    <a:pt x="118" y="118"/>
                    <a:pt x="118" y="117"/>
                  </a:cubicBezTo>
                  <a:cubicBezTo>
                    <a:pt x="121" y="113"/>
                    <a:pt x="124" y="102"/>
                    <a:pt x="123" y="97"/>
                  </a:cubicBezTo>
                  <a:cubicBezTo>
                    <a:pt x="123" y="95"/>
                    <a:pt x="124" y="91"/>
                    <a:pt x="125" y="86"/>
                  </a:cubicBezTo>
                  <a:cubicBezTo>
                    <a:pt x="126" y="79"/>
                    <a:pt x="128" y="72"/>
                    <a:pt x="125" y="70"/>
                  </a:cubicBezTo>
                  <a:cubicBezTo>
                    <a:pt x="124" y="70"/>
                    <a:pt x="123" y="70"/>
                    <a:pt x="122" y="70"/>
                  </a:cubicBezTo>
                  <a:cubicBezTo>
                    <a:pt x="119" y="70"/>
                    <a:pt x="117" y="71"/>
                    <a:pt x="115" y="72"/>
                  </a:cubicBezTo>
                  <a:cubicBezTo>
                    <a:pt x="114" y="72"/>
                    <a:pt x="113" y="73"/>
                    <a:pt x="113" y="73"/>
                  </a:cubicBezTo>
                  <a:cubicBezTo>
                    <a:pt x="110" y="73"/>
                    <a:pt x="105" y="57"/>
                    <a:pt x="105" y="56"/>
                  </a:cubicBezTo>
                  <a:cubicBezTo>
                    <a:pt x="104" y="52"/>
                    <a:pt x="99" y="43"/>
                    <a:pt x="96" y="44"/>
                  </a:cubicBezTo>
                  <a:cubicBezTo>
                    <a:pt x="94" y="46"/>
                    <a:pt x="93" y="45"/>
                    <a:pt x="92" y="45"/>
                  </a:cubicBezTo>
                  <a:cubicBezTo>
                    <a:pt x="90" y="44"/>
                    <a:pt x="88" y="43"/>
                    <a:pt x="83" y="43"/>
                  </a:cubicBezTo>
                  <a:cubicBezTo>
                    <a:pt x="79" y="43"/>
                    <a:pt x="76" y="43"/>
                    <a:pt x="75" y="41"/>
                  </a:cubicBezTo>
                  <a:cubicBezTo>
                    <a:pt x="73" y="39"/>
                    <a:pt x="74" y="36"/>
                    <a:pt x="75" y="31"/>
                  </a:cubicBezTo>
                  <a:cubicBezTo>
                    <a:pt x="75" y="31"/>
                    <a:pt x="75" y="31"/>
                    <a:pt x="75" y="31"/>
                  </a:cubicBezTo>
                  <a:cubicBezTo>
                    <a:pt x="76" y="26"/>
                    <a:pt x="74" y="22"/>
                    <a:pt x="73" y="19"/>
                  </a:cubicBezTo>
                  <a:cubicBezTo>
                    <a:pt x="72" y="16"/>
                    <a:pt x="71" y="14"/>
                    <a:pt x="73" y="13"/>
                  </a:cubicBezTo>
                  <a:cubicBezTo>
                    <a:pt x="74" y="12"/>
                    <a:pt x="74" y="11"/>
                    <a:pt x="75" y="11"/>
                  </a:cubicBezTo>
                  <a:cubicBezTo>
                    <a:pt x="75" y="10"/>
                    <a:pt x="74" y="8"/>
                    <a:pt x="72" y="6"/>
                  </a:cubicBezTo>
                  <a:cubicBezTo>
                    <a:pt x="71" y="6"/>
                    <a:pt x="71" y="7"/>
                    <a:pt x="70" y="7"/>
                  </a:cubicBezTo>
                  <a:cubicBezTo>
                    <a:pt x="68" y="7"/>
                    <a:pt x="67" y="5"/>
                    <a:pt x="65" y="4"/>
                  </a:cubicBezTo>
                  <a:cubicBezTo>
                    <a:pt x="62" y="2"/>
                    <a:pt x="59" y="1"/>
                    <a:pt x="56" y="1"/>
                  </a:cubicBezTo>
                  <a:cubicBezTo>
                    <a:pt x="55" y="1"/>
                    <a:pt x="54" y="1"/>
                    <a:pt x="54" y="1"/>
                  </a:cubicBezTo>
                  <a:cubicBezTo>
                    <a:pt x="53" y="1"/>
                    <a:pt x="52" y="1"/>
                    <a:pt x="51" y="1"/>
                  </a:cubicBezTo>
                  <a:cubicBezTo>
                    <a:pt x="46" y="1"/>
                    <a:pt x="42" y="1"/>
                    <a:pt x="40" y="2"/>
                  </a:cubicBezTo>
                  <a:cubicBezTo>
                    <a:pt x="38" y="3"/>
                    <a:pt x="35" y="3"/>
                    <a:pt x="32" y="3"/>
                  </a:cubicBezTo>
                  <a:cubicBezTo>
                    <a:pt x="28" y="3"/>
                    <a:pt x="25" y="3"/>
                    <a:pt x="22" y="5"/>
                  </a:cubicBezTo>
                  <a:cubicBezTo>
                    <a:pt x="17" y="9"/>
                    <a:pt x="11" y="16"/>
                    <a:pt x="11" y="18"/>
                  </a:cubicBezTo>
                  <a:cubicBezTo>
                    <a:pt x="11" y="21"/>
                    <a:pt x="10" y="40"/>
                    <a:pt x="6" y="41"/>
                  </a:cubicBezTo>
                  <a:cubicBezTo>
                    <a:pt x="6" y="41"/>
                    <a:pt x="6" y="42"/>
                    <a:pt x="5" y="42"/>
                  </a:cubicBezTo>
                  <a:cubicBezTo>
                    <a:pt x="4" y="42"/>
                    <a:pt x="3" y="41"/>
                    <a:pt x="2" y="41"/>
                  </a:cubicBezTo>
                  <a:cubicBezTo>
                    <a:pt x="6" y="47"/>
                    <a:pt x="15" y="57"/>
                    <a:pt x="22" y="61"/>
                  </a:cubicBezTo>
                  <a:cubicBezTo>
                    <a:pt x="25" y="63"/>
                    <a:pt x="27" y="65"/>
                    <a:pt x="28" y="66"/>
                  </a:cubicBezTo>
                  <a:cubicBezTo>
                    <a:pt x="31" y="69"/>
                    <a:pt x="32" y="70"/>
                    <a:pt x="38" y="71"/>
                  </a:cubicBezTo>
                  <a:cubicBezTo>
                    <a:pt x="47" y="72"/>
                    <a:pt x="51" y="76"/>
                    <a:pt x="54" y="79"/>
                  </a:cubicBezTo>
                  <a:cubicBezTo>
                    <a:pt x="56" y="81"/>
                    <a:pt x="63" y="84"/>
                    <a:pt x="69" y="87"/>
                  </a:cubicBezTo>
                  <a:cubicBezTo>
                    <a:pt x="76" y="90"/>
                    <a:pt x="80" y="92"/>
                    <a:pt x="81" y="93"/>
                  </a:cubicBezTo>
                  <a:cubicBezTo>
                    <a:pt x="82" y="95"/>
                    <a:pt x="80" y="97"/>
                    <a:pt x="77" y="101"/>
                  </a:cubicBezTo>
                  <a:cubicBezTo>
                    <a:pt x="74" y="104"/>
                    <a:pt x="70" y="109"/>
                    <a:pt x="70" y="113"/>
                  </a:cubicBezTo>
                  <a:cubicBezTo>
                    <a:pt x="70" y="118"/>
                    <a:pt x="68" y="120"/>
                    <a:pt x="66" y="121"/>
                  </a:cubicBezTo>
                  <a:cubicBezTo>
                    <a:pt x="66" y="122"/>
                    <a:pt x="65" y="122"/>
                    <a:pt x="65" y="123"/>
                  </a:cubicBezTo>
                  <a:cubicBezTo>
                    <a:pt x="65" y="124"/>
                    <a:pt x="68" y="124"/>
                    <a:pt x="71" y="124"/>
                  </a:cubicBezTo>
                  <a:cubicBezTo>
                    <a:pt x="74" y="124"/>
                    <a:pt x="77" y="124"/>
                    <a:pt x="79" y="125"/>
                  </a:cubicBezTo>
                  <a:cubicBezTo>
                    <a:pt x="79" y="126"/>
                    <a:pt x="80" y="126"/>
                    <a:pt x="81" y="126"/>
                  </a:cubicBezTo>
                  <a:cubicBezTo>
                    <a:pt x="82" y="126"/>
                    <a:pt x="83" y="126"/>
                    <a:pt x="84" y="126"/>
                  </a:cubicBezTo>
                  <a:cubicBezTo>
                    <a:pt x="86" y="126"/>
                    <a:pt x="87" y="125"/>
                    <a:pt x="88" y="1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5" name="Freeform 112"/>
            <p:cNvSpPr>
              <a:spLocks noEditPoints="1"/>
            </p:cNvSpPr>
            <p:nvPr/>
          </p:nvSpPr>
          <p:spPr>
            <a:xfrm>
              <a:off x="2643189" y="3533775"/>
              <a:ext cx="82550" cy="68263"/>
            </a:xfrm>
            <a:custGeom>
              <a:gdLst>
                <a:gd name="T0" fmla="*/ 44 w 48"/>
                <a:gd name="T1" fmla="*/ 40 h 40"/>
                <a:gd name="T2" fmla="*/ 43 w 48"/>
                <a:gd name="T3" fmla="*/ 40 h 40"/>
                <a:gd name="T4" fmla="*/ 40 w 48"/>
                <a:gd name="T5" fmla="*/ 40 h 40"/>
                <a:gd name="T6" fmla="*/ 33 w 48"/>
                <a:gd name="T7" fmla="*/ 38 h 40"/>
                <a:gd name="T8" fmla="*/ 31 w 48"/>
                <a:gd name="T9" fmla="*/ 32 h 40"/>
                <a:gd name="T10" fmla="*/ 29 w 48"/>
                <a:gd name="T11" fmla="*/ 28 h 40"/>
                <a:gd name="T12" fmla="*/ 21 w 48"/>
                <a:gd name="T13" fmla="*/ 24 h 40"/>
                <a:gd name="T14" fmla="*/ 18 w 48"/>
                <a:gd name="T15" fmla="*/ 21 h 40"/>
                <a:gd name="T16" fmla="*/ 15 w 48"/>
                <a:gd name="T17" fmla="*/ 18 h 40"/>
                <a:gd name="T18" fmla="*/ 13 w 48"/>
                <a:gd name="T19" fmla="*/ 19 h 40"/>
                <a:gd name="T20" fmla="*/ 10 w 48"/>
                <a:gd name="T21" fmla="*/ 21 h 40"/>
                <a:gd name="T22" fmla="*/ 6 w 48"/>
                <a:gd name="T23" fmla="*/ 20 h 40"/>
                <a:gd name="T24" fmla="*/ 0 w 48"/>
                <a:gd name="T25" fmla="*/ 12 h 40"/>
                <a:gd name="T26" fmla="*/ 2 w 48"/>
                <a:gd name="T27" fmla="*/ 6 h 40"/>
                <a:gd name="T28" fmla="*/ 3 w 48"/>
                <a:gd name="T29" fmla="*/ 1 h 40"/>
                <a:gd name="T30" fmla="*/ 3 w 48"/>
                <a:gd name="T31" fmla="*/ 1 h 40"/>
                <a:gd name="T32" fmla="*/ 3 w 48"/>
                <a:gd name="T33" fmla="*/ 1 h 40"/>
                <a:gd name="T34" fmla="*/ 7 w 48"/>
                <a:gd name="T35" fmla="*/ 0 h 40"/>
                <a:gd name="T36" fmla="*/ 12 w 48"/>
                <a:gd name="T37" fmla="*/ 1 h 40"/>
                <a:gd name="T38" fmla="*/ 18 w 48"/>
                <a:gd name="T39" fmla="*/ 2 h 40"/>
                <a:gd name="T40" fmla="*/ 26 w 48"/>
                <a:gd name="T41" fmla="*/ 3 h 40"/>
                <a:gd name="T42" fmla="*/ 33 w 48"/>
                <a:gd name="T43" fmla="*/ 4 h 40"/>
                <a:gd name="T44" fmla="*/ 33 w 48"/>
                <a:gd name="T45" fmla="*/ 4 h 40"/>
                <a:gd name="T46" fmla="*/ 33 w 48"/>
                <a:gd name="T47" fmla="*/ 4 h 40"/>
                <a:gd name="T48" fmla="*/ 48 w 48"/>
                <a:gd name="T49" fmla="*/ 22 h 40"/>
                <a:gd name="T50" fmla="*/ 48 w 48"/>
                <a:gd name="T51" fmla="*/ 23 h 40"/>
                <a:gd name="T52" fmla="*/ 48 w 48"/>
                <a:gd name="T53" fmla="*/ 23 h 40"/>
                <a:gd name="T54" fmla="*/ 46 w 48"/>
                <a:gd name="T55" fmla="*/ 32 h 40"/>
                <a:gd name="T56" fmla="*/ 45 w 48"/>
                <a:gd name="T57" fmla="*/ 37 h 40"/>
                <a:gd name="T58" fmla="*/ 44 w 48"/>
                <a:gd name="T59" fmla="*/ 40 h 40"/>
                <a:gd name="T60" fmla="*/ 15 w 48"/>
                <a:gd name="T61" fmla="*/ 17 h 40"/>
                <a:gd name="T62" fmla="*/ 18 w 48"/>
                <a:gd name="T63" fmla="*/ 20 h 40"/>
                <a:gd name="T64" fmla="*/ 21 w 48"/>
                <a:gd name="T65" fmla="*/ 23 h 40"/>
                <a:gd name="T66" fmla="*/ 30 w 48"/>
                <a:gd name="T67" fmla="*/ 27 h 40"/>
                <a:gd name="T68" fmla="*/ 32 w 48"/>
                <a:gd name="T69" fmla="*/ 32 h 40"/>
                <a:gd name="T70" fmla="*/ 33 w 48"/>
                <a:gd name="T71" fmla="*/ 37 h 40"/>
                <a:gd name="T72" fmla="*/ 40 w 48"/>
                <a:gd name="T73" fmla="*/ 39 h 40"/>
                <a:gd name="T74" fmla="*/ 43 w 48"/>
                <a:gd name="T75" fmla="*/ 39 h 40"/>
                <a:gd name="T76" fmla="*/ 44 w 48"/>
                <a:gd name="T77" fmla="*/ 37 h 40"/>
                <a:gd name="T78" fmla="*/ 45 w 48"/>
                <a:gd name="T79" fmla="*/ 32 h 40"/>
                <a:gd name="T80" fmla="*/ 47 w 48"/>
                <a:gd name="T81" fmla="*/ 23 h 40"/>
                <a:gd name="T82" fmla="*/ 33 w 48"/>
                <a:gd name="T83" fmla="*/ 5 h 40"/>
                <a:gd name="T84" fmla="*/ 26 w 48"/>
                <a:gd name="T85" fmla="*/ 4 h 40"/>
                <a:gd name="T86" fmla="*/ 18 w 48"/>
                <a:gd name="T87" fmla="*/ 3 h 40"/>
                <a:gd name="T88" fmla="*/ 11 w 48"/>
                <a:gd name="T89" fmla="*/ 2 h 40"/>
                <a:gd name="T90" fmla="*/ 7 w 48"/>
                <a:gd name="T91" fmla="*/ 1 h 40"/>
                <a:gd name="T92" fmla="*/ 4 w 48"/>
                <a:gd name="T93" fmla="*/ 1 h 40"/>
                <a:gd name="T94" fmla="*/ 3 w 48"/>
                <a:gd name="T95" fmla="*/ 7 h 40"/>
                <a:gd name="T96" fmla="*/ 1 w 48"/>
                <a:gd name="T97" fmla="*/ 12 h 40"/>
                <a:gd name="T98" fmla="*/ 6 w 48"/>
                <a:gd name="T99" fmla="*/ 19 h 40"/>
                <a:gd name="T100" fmla="*/ 10 w 48"/>
                <a:gd name="T101" fmla="*/ 20 h 40"/>
                <a:gd name="T102" fmla="*/ 12 w 48"/>
                <a:gd name="T103" fmla="*/ 19 h 40"/>
                <a:gd name="T104" fmla="*/ 15 w 48"/>
                <a:gd name="T105" fmla="*/ 17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40">
                  <a:moveTo>
                    <a:pt x="44" y="40"/>
                  </a:moveTo>
                  <a:cubicBezTo>
                    <a:pt x="43" y="40"/>
                    <a:pt x="43" y="40"/>
                    <a:pt x="43" y="40"/>
                  </a:cubicBezTo>
                  <a:cubicBezTo>
                    <a:pt x="42" y="40"/>
                    <a:pt x="41" y="40"/>
                    <a:pt x="40" y="40"/>
                  </a:cubicBezTo>
                  <a:cubicBezTo>
                    <a:pt x="36" y="40"/>
                    <a:pt x="34" y="39"/>
                    <a:pt x="33" y="38"/>
                  </a:cubicBezTo>
                  <a:cubicBezTo>
                    <a:pt x="31" y="37"/>
                    <a:pt x="31" y="35"/>
                    <a:pt x="31" y="32"/>
                  </a:cubicBezTo>
                  <a:cubicBezTo>
                    <a:pt x="31" y="30"/>
                    <a:pt x="30" y="29"/>
                    <a:pt x="29" y="28"/>
                  </a:cubicBezTo>
                  <a:cubicBezTo>
                    <a:pt x="27" y="25"/>
                    <a:pt x="23" y="24"/>
                    <a:pt x="21" y="24"/>
                  </a:cubicBezTo>
                  <a:cubicBezTo>
                    <a:pt x="19" y="24"/>
                    <a:pt x="18" y="22"/>
                    <a:pt x="18" y="21"/>
                  </a:cubicBezTo>
                  <a:cubicBezTo>
                    <a:pt x="17" y="19"/>
                    <a:pt x="16" y="18"/>
                    <a:pt x="15" y="18"/>
                  </a:cubicBezTo>
                  <a:cubicBezTo>
                    <a:pt x="13" y="18"/>
                    <a:pt x="13" y="19"/>
                    <a:pt x="13" y="19"/>
                  </a:cubicBezTo>
                  <a:cubicBezTo>
                    <a:pt x="12" y="20"/>
                    <a:pt x="11" y="21"/>
                    <a:pt x="10" y="21"/>
                  </a:cubicBezTo>
                  <a:cubicBezTo>
                    <a:pt x="9" y="21"/>
                    <a:pt x="8" y="20"/>
                    <a:pt x="6" y="20"/>
                  </a:cubicBezTo>
                  <a:cubicBezTo>
                    <a:pt x="1" y="18"/>
                    <a:pt x="0" y="14"/>
                    <a:pt x="0" y="12"/>
                  </a:cubicBezTo>
                  <a:cubicBezTo>
                    <a:pt x="0" y="10"/>
                    <a:pt x="1" y="7"/>
                    <a:pt x="2" y="6"/>
                  </a:cubicBezTo>
                  <a:cubicBezTo>
                    <a:pt x="3" y="5"/>
                    <a:pt x="4" y="3"/>
                    <a:pt x="3" y="1"/>
                  </a:cubicBezTo>
                  <a:cubicBezTo>
                    <a:pt x="3" y="1"/>
                    <a:pt x="3" y="1"/>
                    <a:pt x="3" y="1"/>
                  </a:cubicBezTo>
                  <a:cubicBezTo>
                    <a:pt x="3" y="1"/>
                    <a:pt x="3" y="1"/>
                    <a:pt x="3" y="1"/>
                  </a:cubicBezTo>
                  <a:cubicBezTo>
                    <a:pt x="5" y="0"/>
                    <a:pt x="6" y="0"/>
                    <a:pt x="7" y="0"/>
                  </a:cubicBezTo>
                  <a:cubicBezTo>
                    <a:pt x="9" y="0"/>
                    <a:pt x="11" y="1"/>
                    <a:pt x="12" y="1"/>
                  </a:cubicBezTo>
                  <a:cubicBezTo>
                    <a:pt x="13" y="2"/>
                    <a:pt x="15" y="2"/>
                    <a:pt x="18" y="2"/>
                  </a:cubicBezTo>
                  <a:cubicBezTo>
                    <a:pt x="21" y="2"/>
                    <a:pt x="24" y="2"/>
                    <a:pt x="26" y="3"/>
                  </a:cubicBezTo>
                  <a:cubicBezTo>
                    <a:pt x="27" y="4"/>
                    <a:pt x="29" y="5"/>
                    <a:pt x="33" y="4"/>
                  </a:cubicBezTo>
                  <a:cubicBezTo>
                    <a:pt x="33" y="4"/>
                    <a:pt x="33" y="4"/>
                    <a:pt x="33" y="4"/>
                  </a:cubicBezTo>
                  <a:cubicBezTo>
                    <a:pt x="33" y="4"/>
                    <a:pt x="33" y="4"/>
                    <a:pt x="33" y="4"/>
                  </a:cubicBezTo>
                  <a:cubicBezTo>
                    <a:pt x="37" y="9"/>
                    <a:pt x="43" y="17"/>
                    <a:pt x="48" y="22"/>
                  </a:cubicBezTo>
                  <a:cubicBezTo>
                    <a:pt x="48" y="23"/>
                    <a:pt x="48" y="23"/>
                    <a:pt x="48" y="23"/>
                  </a:cubicBezTo>
                  <a:cubicBezTo>
                    <a:pt x="48" y="23"/>
                    <a:pt x="48" y="23"/>
                    <a:pt x="48" y="23"/>
                  </a:cubicBezTo>
                  <a:cubicBezTo>
                    <a:pt x="45" y="26"/>
                    <a:pt x="45" y="30"/>
                    <a:pt x="46" y="32"/>
                  </a:cubicBezTo>
                  <a:cubicBezTo>
                    <a:pt x="46" y="33"/>
                    <a:pt x="46" y="35"/>
                    <a:pt x="45" y="37"/>
                  </a:cubicBezTo>
                  <a:cubicBezTo>
                    <a:pt x="44" y="38"/>
                    <a:pt x="44" y="39"/>
                    <a:pt x="44" y="40"/>
                  </a:cubicBezTo>
                  <a:close/>
                  <a:moveTo>
                    <a:pt x="15" y="17"/>
                  </a:moveTo>
                  <a:cubicBezTo>
                    <a:pt x="17" y="17"/>
                    <a:pt x="18" y="19"/>
                    <a:pt x="18" y="20"/>
                  </a:cubicBezTo>
                  <a:cubicBezTo>
                    <a:pt x="19" y="22"/>
                    <a:pt x="20" y="23"/>
                    <a:pt x="21" y="23"/>
                  </a:cubicBezTo>
                  <a:cubicBezTo>
                    <a:pt x="23" y="23"/>
                    <a:pt x="27" y="24"/>
                    <a:pt x="30" y="27"/>
                  </a:cubicBezTo>
                  <a:cubicBezTo>
                    <a:pt x="31" y="29"/>
                    <a:pt x="32" y="30"/>
                    <a:pt x="32" y="32"/>
                  </a:cubicBezTo>
                  <a:cubicBezTo>
                    <a:pt x="32" y="34"/>
                    <a:pt x="32" y="36"/>
                    <a:pt x="33" y="37"/>
                  </a:cubicBezTo>
                  <a:cubicBezTo>
                    <a:pt x="35" y="38"/>
                    <a:pt x="37" y="39"/>
                    <a:pt x="40" y="39"/>
                  </a:cubicBezTo>
                  <a:cubicBezTo>
                    <a:pt x="41" y="39"/>
                    <a:pt x="42" y="39"/>
                    <a:pt x="43" y="39"/>
                  </a:cubicBezTo>
                  <a:cubicBezTo>
                    <a:pt x="43" y="38"/>
                    <a:pt x="44" y="38"/>
                    <a:pt x="44" y="37"/>
                  </a:cubicBezTo>
                  <a:cubicBezTo>
                    <a:pt x="44" y="35"/>
                    <a:pt x="45" y="33"/>
                    <a:pt x="45" y="32"/>
                  </a:cubicBezTo>
                  <a:cubicBezTo>
                    <a:pt x="44" y="30"/>
                    <a:pt x="45" y="26"/>
                    <a:pt x="47" y="23"/>
                  </a:cubicBezTo>
                  <a:cubicBezTo>
                    <a:pt x="42" y="17"/>
                    <a:pt x="36" y="10"/>
                    <a:pt x="33" y="5"/>
                  </a:cubicBezTo>
                  <a:cubicBezTo>
                    <a:pt x="29" y="6"/>
                    <a:pt x="27" y="5"/>
                    <a:pt x="26" y="4"/>
                  </a:cubicBezTo>
                  <a:cubicBezTo>
                    <a:pt x="24" y="3"/>
                    <a:pt x="21" y="3"/>
                    <a:pt x="18" y="3"/>
                  </a:cubicBezTo>
                  <a:cubicBezTo>
                    <a:pt x="15" y="3"/>
                    <a:pt x="13" y="3"/>
                    <a:pt x="11" y="2"/>
                  </a:cubicBezTo>
                  <a:cubicBezTo>
                    <a:pt x="10" y="2"/>
                    <a:pt x="9" y="1"/>
                    <a:pt x="7" y="1"/>
                  </a:cubicBezTo>
                  <a:cubicBezTo>
                    <a:pt x="6" y="1"/>
                    <a:pt x="5" y="1"/>
                    <a:pt x="4" y="1"/>
                  </a:cubicBezTo>
                  <a:cubicBezTo>
                    <a:pt x="5" y="4"/>
                    <a:pt x="4" y="6"/>
                    <a:pt x="3" y="7"/>
                  </a:cubicBezTo>
                  <a:cubicBezTo>
                    <a:pt x="1" y="8"/>
                    <a:pt x="1" y="10"/>
                    <a:pt x="1" y="12"/>
                  </a:cubicBezTo>
                  <a:cubicBezTo>
                    <a:pt x="1" y="13"/>
                    <a:pt x="2" y="17"/>
                    <a:pt x="6" y="19"/>
                  </a:cubicBezTo>
                  <a:cubicBezTo>
                    <a:pt x="8" y="19"/>
                    <a:pt x="9" y="20"/>
                    <a:pt x="10" y="20"/>
                  </a:cubicBezTo>
                  <a:cubicBezTo>
                    <a:pt x="11" y="20"/>
                    <a:pt x="11" y="19"/>
                    <a:pt x="12" y="19"/>
                  </a:cubicBezTo>
                  <a:cubicBezTo>
                    <a:pt x="12" y="18"/>
                    <a:pt x="13" y="17"/>
                    <a:pt x="15" y="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6" name="Freeform 113"/>
            <p:cNvSpPr>
              <a:spLocks noEditPoints="1"/>
            </p:cNvSpPr>
            <p:nvPr/>
          </p:nvSpPr>
          <p:spPr>
            <a:xfrm>
              <a:off x="2716214" y="3568700"/>
              <a:ext cx="146050" cy="63500"/>
            </a:xfrm>
            <a:custGeom>
              <a:gdLst>
                <a:gd name="T0" fmla="*/ 29 w 86"/>
                <a:gd name="T1" fmla="*/ 36 h 38"/>
                <a:gd name="T2" fmla="*/ 19 w 86"/>
                <a:gd name="T3" fmla="*/ 29 h 38"/>
                <a:gd name="T4" fmla="*/ 0 w 86"/>
                <a:gd name="T5" fmla="*/ 20 h 38"/>
                <a:gd name="T6" fmla="*/ 1 w 86"/>
                <a:gd name="T7" fmla="*/ 17 h 38"/>
                <a:gd name="T8" fmla="*/ 4 w 86"/>
                <a:gd name="T9" fmla="*/ 2 h 38"/>
                <a:gd name="T10" fmla="*/ 5 w 86"/>
                <a:gd name="T11" fmla="*/ 2 h 38"/>
                <a:gd name="T12" fmla="*/ 26 w 86"/>
                <a:gd name="T13" fmla="*/ 13 h 38"/>
                <a:gd name="T14" fmla="*/ 52 w 86"/>
                <a:gd name="T15" fmla="*/ 1 h 38"/>
                <a:gd name="T16" fmla="*/ 62 w 86"/>
                <a:gd name="T17" fmla="*/ 4 h 38"/>
                <a:gd name="T18" fmla="*/ 78 w 86"/>
                <a:gd name="T19" fmla="*/ 13 h 38"/>
                <a:gd name="T20" fmla="*/ 86 w 86"/>
                <a:gd name="T21" fmla="*/ 23 h 38"/>
                <a:gd name="T22" fmla="*/ 84 w 86"/>
                <a:gd name="T23" fmla="*/ 28 h 38"/>
                <a:gd name="T24" fmla="*/ 73 w 86"/>
                <a:gd name="T25" fmla="*/ 38 h 38"/>
                <a:gd name="T26" fmla="*/ 64 w 86"/>
                <a:gd name="T27" fmla="*/ 22 h 38"/>
                <a:gd name="T28" fmla="*/ 60 w 86"/>
                <a:gd name="T29" fmla="*/ 13 h 38"/>
                <a:gd name="T30" fmla="*/ 45 w 86"/>
                <a:gd name="T31" fmla="*/ 17 h 38"/>
                <a:gd name="T32" fmla="*/ 37 w 86"/>
                <a:gd name="T33" fmla="*/ 24 h 38"/>
                <a:gd name="T34" fmla="*/ 41 w 86"/>
                <a:gd name="T35" fmla="*/ 33 h 38"/>
                <a:gd name="T36" fmla="*/ 1 w 86"/>
                <a:gd name="T37" fmla="*/ 19 h 38"/>
                <a:gd name="T38" fmla="*/ 25 w 86"/>
                <a:gd name="T39" fmla="*/ 32 h 38"/>
                <a:gd name="T40" fmla="*/ 33 w 86"/>
                <a:gd name="T41" fmla="*/ 37 h 38"/>
                <a:gd name="T42" fmla="*/ 39 w 86"/>
                <a:gd name="T43" fmla="*/ 29 h 38"/>
                <a:gd name="T44" fmla="*/ 40 w 86"/>
                <a:gd name="T45" fmla="*/ 21 h 38"/>
                <a:gd name="T46" fmla="*/ 57 w 86"/>
                <a:gd name="T47" fmla="*/ 11 h 38"/>
                <a:gd name="T48" fmla="*/ 67 w 86"/>
                <a:gd name="T49" fmla="*/ 17 h 38"/>
                <a:gd name="T50" fmla="*/ 73 w 86"/>
                <a:gd name="T51" fmla="*/ 37 h 38"/>
                <a:gd name="T52" fmla="*/ 85 w 86"/>
                <a:gd name="T53" fmla="*/ 24 h 38"/>
                <a:gd name="T54" fmla="*/ 76 w 86"/>
                <a:gd name="T55" fmla="*/ 12 h 38"/>
                <a:gd name="T56" fmla="*/ 56 w 86"/>
                <a:gd name="T57" fmla="*/ 3 h 38"/>
                <a:gd name="T58" fmla="*/ 26 w 86"/>
                <a:gd name="T59" fmla="*/ 14 h 38"/>
                <a:gd name="T60" fmla="*/ 5 w 86"/>
                <a:gd name="T61" fmla="*/ 3 h 38"/>
                <a:gd name="T62" fmla="*/ 2 w 86"/>
                <a:gd name="T63" fmla="*/ 17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38">
                  <a:moveTo>
                    <a:pt x="33" y="38"/>
                  </a:moveTo>
                  <a:cubicBezTo>
                    <a:pt x="32" y="38"/>
                    <a:pt x="30" y="37"/>
                    <a:pt x="29" y="36"/>
                  </a:cubicBezTo>
                  <a:cubicBezTo>
                    <a:pt x="28" y="33"/>
                    <a:pt x="27" y="33"/>
                    <a:pt x="25" y="33"/>
                  </a:cubicBezTo>
                  <a:cubicBezTo>
                    <a:pt x="23" y="32"/>
                    <a:pt x="21" y="32"/>
                    <a:pt x="19" y="29"/>
                  </a:cubicBezTo>
                  <a:cubicBezTo>
                    <a:pt x="15" y="24"/>
                    <a:pt x="6" y="21"/>
                    <a:pt x="0" y="20"/>
                  </a:cubicBezTo>
                  <a:cubicBezTo>
                    <a:pt x="0" y="20"/>
                    <a:pt x="0" y="20"/>
                    <a:pt x="0" y="20"/>
                  </a:cubicBezTo>
                  <a:cubicBezTo>
                    <a:pt x="0" y="20"/>
                    <a:pt x="0" y="20"/>
                    <a:pt x="0" y="20"/>
                  </a:cubicBezTo>
                  <a:cubicBezTo>
                    <a:pt x="0" y="19"/>
                    <a:pt x="0" y="18"/>
                    <a:pt x="1" y="17"/>
                  </a:cubicBezTo>
                  <a:cubicBezTo>
                    <a:pt x="1" y="15"/>
                    <a:pt x="2" y="13"/>
                    <a:pt x="2" y="12"/>
                  </a:cubicBezTo>
                  <a:cubicBezTo>
                    <a:pt x="1" y="10"/>
                    <a:pt x="2" y="6"/>
                    <a:pt x="4" y="2"/>
                  </a:cubicBezTo>
                  <a:cubicBezTo>
                    <a:pt x="4" y="2"/>
                    <a:pt x="4" y="2"/>
                    <a:pt x="4" y="2"/>
                  </a:cubicBezTo>
                  <a:cubicBezTo>
                    <a:pt x="5" y="2"/>
                    <a:pt x="5" y="2"/>
                    <a:pt x="5" y="2"/>
                  </a:cubicBezTo>
                  <a:cubicBezTo>
                    <a:pt x="8" y="6"/>
                    <a:pt x="10" y="8"/>
                    <a:pt x="12" y="9"/>
                  </a:cubicBezTo>
                  <a:cubicBezTo>
                    <a:pt x="16" y="11"/>
                    <a:pt x="21" y="13"/>
                    <a:pt x="26" y="13"/>
                  </a:cubicBezTo>
                  <a:cubicBezTo>
                    <a:pt x="29" y="13"/>
                    <a:pt x="32" y="12"/>
                    <a:pt x="35" y="10"/>
                  </a:cubicBezTo>
                  <a:cubicBezTo>
                    <a:pt x="41" y="4"/>
                    <a:pt x="47" y="1"/>
                    <a:pt x="52" y="1"/>
                  </a:cubicBezTo>
                  <a:cubicBezTo>
                    <a:pt x="53" y="1"/>
                    <a:pt x="55" y="1"/>
                    <a:pt x="56" y="2"/>
                  </a:cubicBezTo>
                  <a:cubicBezTo>
                    <a:pt x="58" y="3"/>
                    <a:pt x="60" y="3"/>
                    <a:pt x="62" y="4"/>
                  </a:cubicBezTo>
                  <a:cubicBezTo>
                    <a:pt x="67" y="5"/>
                    <a:pt x="73" y="6"/>
                    <a:pt x="77" y="12"/>
                  </a:cubicBezTo>
                  <a:cubicBezTo>
                    <a:pt x="78" y="13"/>
                    <a:pt x="78" y="13"/>
                    <a:pt x="78" y="13"/>
                  </a:cubicBezTo>
                  <a:cubicBezTo>
                    <a:pt x="81" y="18"/>
                    <a:pt x="83" y="22"/>
                    <a:pt x="85" y="23"/>
                  </a:cubicBezTo>
                  <a:cubicBezTo>
                    <a:pt x="86" y="23"/>
                    <a:pt x="86" y="23"/>
                    <a:pt x="86" y="23"/>
                  </a:cubicBezTo>
                  <a:cubicBezTo>
                    <a:pt x="86" y="23"/>
                    <a:pt x="86" y="23"/>
                    <a:pt x="86" y="23"/>
                  </a:cubicBezTo>
                  <a:cubicBezTo>
                    <a:pt x="85" y="26"/>
                    <a:pt x="84" y="27"/>
                    <a:pt x="84" y="28"/>
                  </a:cubicBezTo>
                  <a:cubicBezTo>
                    <a:pt x="82" y="29"/>
                    <a:pt x="78" y="34"/>
                    <a:pt x="74" y="38"/>
                  </a:cubicBezTo>
                  <a:cubicBezTo>
                    <a:pt x="73" y="38"/>
                    <a:pt x="73" y="38"/>
                    <a:pt x="73" y="38"/>
                  </a:cubicBezTo>
                  <a:cubicBezTo>
                    <a:pt x="73" y="38"/>
                    <a:pt x="73" y="38"/>
                    <a:pt x="73" y="38"/>
                  </a:cubicBezTo>
                  <a:cubicBezTo>
                    <a:pt x="67" y="32"/>
                    <a:pt x="61" y="26"/>
                    <a:pt x="64" y="22"/>
                  </a:cubicBezTo>
                  <a:cubicBezTo>
                    <a:pt x="66" y="20"/>
                    <a:pt x="66" y="19"/>
                    <a:pt x="66" y="18"/>
                  </a:cubicBezTo>
                  <a:cubicBezTo>
                    <a:pt x="66" y="16"/>
                    <a:pt x="64" y="14"/>
                    <a:pt x="60" y="13"/>
                  </a:cubicBezTo>
                  <a:cubicBezTo>
                    <a:pt x="59" y="12"/>
                    <a:pt x="58" y="12"/>
                    <a:pt x="57" y="12"/>
                  </a:cubicBezTo>
                  <a:cubicBezTo>
                    <a:pt x="52" y="12"/>
                    <a:pt x="46" y="14"/>
                    <a:pt x="45" y="17"/>
                  </a:cubicBezTo>
                  <a:cubicBezTo>
                    <a:pt x="44" y="20"/>
                    <a:pt x="42" y="21"/>
                    <a:pt x="40" y="22"/>
                  </a:cubicBezTo>
                  <a:cubicBezTo>
                    <a:pt x="38" y="23"/>
                    <a:pt x="37" y="23"/>
                    <a:pt x="37" y="24"/>
                  </a:cubicBezTo>
                  <a:cubicBezTo>
                    <a:pt x="38" y="26"/>
                    <a:pt x="39" y="27"/>
                    <a:pt x="40" y="28"/>
                  </a:cubicBezTo>
                  <a:cubicBezTo>
                    <a:pt x="41" y="29"/>
                    <a:pt x="42" y="31"/>
                    <a:pt x="41" y="33"/>
                  </a:cubicBezTo>
                  <a:cubicBezTo>
                    <a:pt x="40" y="35"/>
                    <a:pt x="37" y="38"/>
                    <a:pt x="33" y="38"/>
                  </a:cubicBezTo>
                  <a:close/>
                  <a:moveTo>
                    <a:pt x="1" y="19"/>
                  </a:moveTo>
                  <a:cubicBezTo>
                    <a:pt x="7" y="20"/>
                    <a:pt x="15" y="23"/>
                    <a:pt x="19" y="28"/>
                  </a:cubicBezTo>
                  <a:cubicBezTo>
                    <a:pt x="22" y="31"/>
                    <a:pt x="24" y="31"/>
                    <a:pt x="25" y="32"/>
                  </a:cubicBezTo>
                  <a:cubicBezTo>
                    <a:pt x="27" y="32"/>
                    <a:pt x="29" y="32"/>
                    <a:pt x="30" y="35"/>
                  </a:cubicBezTo>
                  <a:cubicBezTo>
                    <a:pt x="31" y="37"/>
                    <a:pt x="32" y="37"/>
                    <a:pt x="33" y="37"/>
                  </a:cubicBezTo>
                  <a:cubicBezTo>
                    <a:pt x="36" y="37"/>
                    <a:pt x="40" y="34"/>
                    <a:pt x="41" y="32"/>
                  </a:cubicBezTo>
                  <a:cubicBezTo>
                    <a:pt x="41" y="31"/>
                    <a:pt x="40" y="30"/>
                    <a:pt x="39" y="29"/>
                  </a:cubicBezTo>
                  <a:cubicBezTo>
                    <a:pt x="38" y="27"/>
                    <a:pt x="37" y="26"/>
                    <a:pt x="36" y="25"/>
                  </a:cubicBezTo>
                  <a:cubicBezTo>
                    <a:pt x="36" y="22"/>
                    <a:pt x="38" y="22"/>
                    <a:pt x="40" y="21"/>
                  </a:cubicBezTo>
                  <a:cubicBezTo>
                    <a:pt x="41" y="20"/>
                    <a:pt x="43" y="19"/>
                    <a:pt x="44" y="17"/>
                  </a:cubicBezTo>
                  <a:cubicBezTo>
                    <a:pt x="45" y="13"/>
                    <a:pt x="51" y="11"/>
                    <a:pt x="57" y="11"/>
                  </a:cubicBezTo>
                  <a:cubicBezTo>
                    <a:pt x="58" y="11"/>
                    <a:pt x="60" y="11"/>
                    <a:pt x="61" y="12"/>
                  </a:cubicBezTo>
                  <a:cubicBezTo>
                    <a:pt x="64" y="13"/>
                    <a:pt x="67" y="15"/>
                    <a:pt x="67" y="17"/>
                  </a:cubicBezTo>
                  <a:cubicBezTo>
                    <a:pt x="67" y="19"/>
                    <a:pt x="67" y="21"/>
                    <a:pt x="65" y="23"/>
                  </a:cubicBezTo>
                  <a:cubicBezTo>
                    <a:pt x="63" y="26"/>
                    <a:pt x="68" y="31"/>
                    <a:pt x="73" y="37"/>
                  </a:cubicBezTo>
                  <a:cubicBezTo>
                    <a:pt x="77" y="33"/>
                    <a:pt x="81" y="29"/>
                    <a:pt x="83" y="27"/>
                  </a:cubicBezTo>
                  <a:cubicBezTo>
                    <a:pt x="84" y="27"/>
                    <a:pt x="84" y="26"/>
                    <a:pt x="85" y="24"/>
                  </a:cubicBezTo>
                  <a:cubicBezTo>
                    <a:pt x="82" y="22"/>
                    <a:pt x="80" y="19"/>
                    <a:pt x="77" y="14"/>
                  </a:cubicBezTo>
                  <a:cubicBezTo>
                    <a:pt x="76" y="12"/>
                    <a:pt x="76" y="12"/>
                    <a:pt x="76" y="12"/>
                  </a:cubicBezTo>
                  <a:cubicBezTo>
                    <a:pt x="72" y="7"/>
                    <a:pt x="67" y="6"/>
                    <a:pt x="62" y="4"/>
                  </a:cubicBezTo>
                  <a:cubicBezTo>
                    <a:pt x="60" y="4"/>
                    <a:pt x="57" y="3"/>
                    <a:pt x="56" y="3"/>
                  </a:cubicBezTo>
                  <a:cubicBezTo>
                    <a:pt x="50" y="0"/>
                    <a:pt x="43" y="3"/>
                    <a:pt x="35" y="10"/>
                  </a:cubicBezTo>
                  <a:cubicBezTo>
                    <a:pt x="33" y="13"/>
                    <a:pt x="29" y="14"/>
                    <a:pt x="26" y="14"/>
                  </a:cubicBezTo>
                  <a:cubicBezTo>
                    <a:pt x="20" y="14"/>
                    <a:pt x="15" y="12"/>
                    <a:pt x="12" y="10"/>
                  </a:cubicBezTo>
                  <a:cubicBezTo>
                    <a:pt x="10" y="9"/>
                    <a:pt x="8" y="7"/>
                    <a:pt x="5" y="3"/>
                  </a:cubicBezTo>
                  <a:cubicBezTo>
                    <a:pt x="2" y="7"/>
                    <a:pt x="2" y="10"/>
                    <a:pt x="3" y="12"/>
                  </a:cubicBezTo>
                  <a:cubicBezTo>
                    <a:pt x="3" y="13"/>
                    <a:pt x="3" y="15"/>
                    <a:pt x="2" y="17"/>
                  </a:cubicBezTo>
                  <a:cubicBezTo>
                    <a:pt x="1" y="18"/>
                    <a:pt x="1" y="19"/>
                    <a:pt x="1" y="1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7" name="Freeform 114"/>
            <p:cNvSpPr>
              <a:spLocks noEditPoints="1"/>
            </p:cNvSpPr>
            <p:nvPr/>
          </p:nvSpPr>
          <p:spPr>
            <a:xfrm>
              <a:off x="2814639" y="3500438"/>
              <a:ext cx="295275" cy="417513"/>
            </a:xfrm>
            <a:custGeom>
              <a:gdLst>
                <a:gd name="T0" fmla="*/ 123 w 174"/>
                <a:gd name="T1" fmla="*/ 239 h 246"/>
                <a:gd name="T2" fmla="*/ 120 w 174"/>
                <a:gd name="T3" fmla="*/ 218 h 246"/>
                <a:gd name="T4" fmla="*/ 102 w 174"/>
                <a:gd name="T5" fmla="*/ 220 h 246"/>
                <a:gd name="T6" fmla="*/ 82 w 174"/>
                <a:gd name="T7" fmla="*/ 212 h 246"/>
                <a:gd name="T8" fmla="*/ 65 w 174"/>
                <a:gd name="T9" fmla="*/ 193 h 246"/>
                <a:gd name="T10" fmla="*/ 48 w 174"/>
                <a:gd name="T11" fmla="*/ 187 h 246"/>
                <a:gd name="T12" fmla="*/ 33 w 174"/>
                <a:gd name="T13" fmla="*/ 180 h 246"/>
                <a:gd name="T14" fmla="*/ 0 w 174"/>
                <a:gd name="T15" fmla="*/ 162 h 246"/>
                <a:gd name="T16" fmla="*/ 4 w 174"/>
                <a:gd name="T17" fmla="*/ 152 h 246"/>
                <a:gd name="T18" fmla="*/ 25 w 174"/>
                <a:gd name="T19" fmla="*/ 124 h 246"/>
                <a:gd name="T20" fmla="*/ 22 w 174"/>
                <a:gd name="T21" fmla="*/ 90 h 246"/>
                <a:gd name="T22" fmla="*/ 15 w 174"/>
                <a:gd name="T23" fmla="*/ 77 h 246"/>
                <a:gd name="T24" fmla="*/ 27 w 174"/>
                <a:gd name="T25" fmla="*/ 63 h 246"/>
                <a:gd name="T26" fmla="*/ 50 w 174"/>
                <a:gd name="T27" fmla="*/ 34 h 246"/>
                <a:gd name="T28" fmla="*/ 64 w 174"/>
                <a:gd name="T29" fmla="*/ 19 h 246"/>
                <a:gd name="T30" fmla="*/ 77 w 174"/>
                <a:gd name="T31" fmla="*/ 17 h 246"/>
                <a:gd name="T32" fmla="*/ 103 w 174"/>
                <a:gd name="T33" fmla="*/ 4 h 246"/>
                <a:gd name="T34" fmla="*/ 109 w 174"/>
                <a:gd name="T35" fmla="*/ 10 h 246"/>
                <a:gd name="T36" fmla="*/ 102 w 174"/>
                <a:gd name="T37" fmla="*/ 16 h 246"/>
                <a:gd name="T38" fmla="*/ 87 w 174"/>
                <a:gd name="T39" fmla="*/ 43 h 246"/>
                <a:gd name="T40" fmla="*/ 86 w 174"/>
                <a:gd name="T41" fmla="*/ 49 h 246"/>
                <a:gd name="T42" fmla="*/ 98 w 174"/>
                <a:gd name="T43" fmla="*/ 63 h 246"/>
                <a:gd name="T44" fmla="*/ 117 w 174"/>
                <a:gd name="T45" fmla="*/ 80 h 246"/>
                <a:gd name="T46" fmla="*/ 163 w 174"/>
                <a:gd name="T47" fmla="*/ 91 h 246"/>
                <a:gd name="T48" fmla="*/ 168 w 174"/>
                <a:gd name="T49" fmla="*/ 126 h 246"/>
                <a:gd name="T50" fmla="*/ 174 w 174"/>
                <a:gd name="T51" fmla="*/ 153 h 246"/>
                <a:gd name="T52" fmla="*/ 146 w 174"/>
                <a:gd name="T53" fmla="*/ 159 h 246"/>
                <a:gd name="T54" fmla="*/ 144 w 174"/>
                <a:gd name="T55" fmla="*/ 171 h 246"/>
                <a:gd name="T56" fmla="*/ 137 w 174"/>
                <a:gd name="T57" fmla="*/ 193 h 246"/>
                <a:gd name="T58" fmla="*/ 132 w 174"/>
                <a:gd name="T59" fmla="*/ 246 h 246"/>
                <a:gd name="T60" fmla="*/ 131 w 174"/>
                <a:gd name="T61" fmla="*/ 224 h 246"/>
                <a:gd name="T62" fmla="*/ 127 w 174"/>
                <a:gd name="T63" fmla="*/ 241 h 246"/>
                <a:gd name="T64" fmla="*/ 141 w 174"/>
                <a:gd name="T65" fmla="*/ 205 h 246"/>
                <a:gd name="T66" fmla="*/ 141 w 174"/>
                <a:gd name="T67" fmla="*/ 174 h 246"/>
                <a:gd name="T68" fmla="*/ 134 w 174"/>
                <a:gd name="T69" fmla="*/ 160 h 246"/>
                <a:gd name="T70" fmla="*/ 173 w 174"/>
                <a:gd name="T71" fmla="*/ 153 h 246"/>
                <a:gd name="T72" fmla="*/ 171 w 174"/>
                <a:gd name="T73" fmla="*/ 135 h 246"/>
                <a:gd name="T74" fmla="*/ 169 w 174"/>
                <a:gd name="T75" fmla="*/ 94 h 246"/>
                <a:gd name="T76" fmla="*/ 123 w 174"/>
                <a:gd name="T77" fmla="*/ 80 h 246"/>
                <a:gd name="T78" fmla="*/ 99 w 174"/>
                <a:gd name="T79" fmla="*/ 79 h 246"/>
                <a:gd name="T80" fmla="*/ 90 w 174"/>
                <a:gd name="T81" fmla="*/ 53 h 246"/>
                <a:gd name="T82" fmla="*/ 86 w 174"/>
                <a:gd name="T83" fmla="*/ 43 h 246"/>
                <a:gd name="T84" fmla="*/ 101 w 174"/>
                <a:gd name="T85" fmla="*/ 15 h 246"/>
                <a:gd name="T86" fmla="*/ 112 w 174"/>
                <a:gd name="T87" fmla="*/ 1 h 246"/>
                <a:gd name="T88" fmla="*/ 88 w 174"/>
                <a:gd name="T89" fmla="*/ 13 h 246"/>
                <a:gd name="T90" fmla="*/ 69 w 174"/>
                <a:gd name="T91" fmla="*/ 23 h 246"/>
                <a:gd name="T92" fmla="*/ 51 w 174"/>
                <a:gd name="T93" fmla="*/ 32 h 246"/>
                <a:gd name="T94" fmla="*/ 31 w 174"/>
                <a:gd name="T95" fmla="*/ 63 h 246"/>
                <a:gd name="T96" fmla="*/ 17 w 174"/>
                <a:gd name="T97" fmla="*/ 78 h 246"/>
                <a:gd name="T98" fmla="*/ 23 w 174"/>
                <a:gd name="T99" fmla="*/ 102 h 246"/>
                <a:gd name="T100" fmla="*/ 23 w 174"/>
                <a:gd name="T101" fmla="*/ 137 h 246"/>
                <a:gd name="T102" fmla="*/ 1 w 174"/>
                <a:gd name="T103" fmla="*/ 161 h 246"/>
                <a:gd name="T104" fmla="*/ 33 w 174"/>
                <a:gd name="T105" fmla="*/ 179 h 246"/>
                <a:gd name="T106" fmla="*/ 49 w 174"/>
                <a:gd name="T107" fmla="*/ 186 h 246"/>
                <a:gd name="T108" fmla="*/ 70 w 174"/>
                <a:gd name="T109" fmla="*/ 198 h 246"/>
                <a:gd name="T110" fmla="*/ 86 w 174"/>
                <a:gd name="T111" fmla="*/ 217 h 246"/>
                <a:gd name="T112" fmla="*/ 107 w 174"/>
                <a:gd name="T113" fmla="*/ 217 h 2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246">
                  <a:moveTo>
                    <a:pt x="131" y="246"/>
                  </a:moveTo>
                  <a:cubicBezTo>
                    <a:pt x="131" y="246"/>
                    <a:pt x="131" y="246"/>
                    <a:pt x="131" y="246"/>
                  </a:cubicBezTo>
                  <a:cubicBezTo>
                    <a:pt x="130" y="244"/>
                    <a:pt x="128" y="243"/>
                    <a:pt x="127" y="242"/>
                  </a:cubicBezTo>
                  <a:cubicBezTo>
                    <a:pt x="125" y="241"/>
                    <a:pt x="123" y="240"/>
                    <a:pt x="123" y="239"/>
                  </a:cubicBezTo>
                  <a:cubicBezTo>
                    <a:pt x="121" y="236"/>
                    <a:pt x="124" y="233"/>
                    <a:pt x="127" y="230"/>
                  </a:cubicBezTo>
                  <a:cubicBezTo>
                    <a:pt x="128" y="229"/>
                    <a:pt x="130" y="227"/>
                    <a:pt x="130" y="226"/>
                  </a:cubicBezTo>
                  <a:cubicBezTo>
                    <a:pt x="130" y="225"/>
                    <a:pt x="130" y="225"/>
                    <a:pt x="130" y="225"/>
                  </a:cubicBezTo>
                  <a:cubicBezTo>
                    <a:pt x="130" y="223"/>
                    <a:pt x="128" y="221"/>
                    <a:pt x="120" y="218"/>
                  </a:cubicBezTo>
                  <a:cubicBezTo>
                    <a:pt x="119" y="218"/>
                    <a:pt x="117" y="218"/>
                    <a:pt x="116" y="218"/>
                  </a:cubicBezTo>
                  <a:cubicBezTo>
                    <a:pt x="114" y="219"/>
                    <a:pt x="111" y="219"/>
                    <a:pt x="110" y="219"/>
                  </a:cubicBezTo>
                  <a:cubicBezTo>
                    <a:pt x="109" y="218"/>
                    <a:pt x="108" y="218"/>
                    <a:pt x="107" y="218"/>
                  </a:cubicBezTo>
                  <a:cubicBezTo>
                    <a:pt x="106" y="218"/>
                    <a:pt x="103" y="219"/>
                    <a:pt x="102" y="220"/>
                  </a:cubicBezTo>
                  <a:cubicBezTo>
                    <a:pt x="101" y="220"/>
                    <a:pt x="97" y="221"/>
                    <a:pt x="94" y="221"/>
                  </a:cubicBezTo>
                  <a:cubicBezTo>
                    <a:pt x="91" y="221"/>
                    <a:pt x="87" y="221"/>
                    <a:pt x="85" y="219"/>
                  </a:cubicBezTo>
                  <a:cubicBezTo>
                    <a:pt x="85" y="218"/>
                    <a:pt x="85" y="218"/>
                    <a:pt x="85" y="217"/>
                  </a:cubicBezTo>
                  <a:cubicBezTo>
                    <a:pt x="85" y="215"/>
                    <a:pt x="83" y="213"/>
                    <a:pt x="82" y="212"/>
                  </a:cubicBezTo>
                  <a:cubicBezTo>
                    <a:pt x="80" y="211"/>
                    <a:pt x="79" y="210"/>
                    <a:pt x="79" y="208"/>
                  </a:cubicBezTo>
                  <a:cubicBezTo>
                    <a:pt x="79" y="207"/>
                    <a:pt x="79" y="205"/>
                    <a:pt x="77" y="203"/>
                  </a:cubicBezTo>
                  <a:cubicBezTo>
                    <a:pt x="76" y="201"/>
                    <a:pt x="73" y="200"/>
                    <a:pt x="70" y="199"/>
                  </a:cubicBezTo>
                  <a:cubicBezTo>
                    <a:pt x="67" y="199"/>
                    <a:pt x="66" y="196"/>
                    <a:pt x="65" y="193"/>
                  </a:cubicBezTo>
                  <a:cubicBezTo>
                    <a:pt x="64" y="190"/>
                    <a:pt x="63" y="188"/>
                    <a:pt x="62" y="187"/>
                  </a:cubicBezTo>
                  <a:cubicBezTo>
                    <a:pt x="60" y="186"/>
                    <a:pt x="56" y="186"/>
                    <a:pt x="49" y="188"/>
                  </a:cubicBezTo>
                  <a:cubicBezTo>
                    <a:pt x="49" y="188"/>
                    <a:pt x="49" y="188"/>
                    <a:pt x="49" y="188"/>
                  </a:cubicBezTo>
                  <a:cubicBezTo>
                    <a:pt x="48" y="187"/>
                    <a:pt x="48" y="187"/>
                    <a:pt x="48" y="187"/>
                  </a:cubicBezTo>
                  <a:cubicBezTo>
                    <a:pt x="45" y="183"/>
                    <a:pt x="41" y="178"/>
                    <a:pt x="39" y="178"/>
                  </a:cubicBezTo>
                  <a:cubicBezTo>
                    <a:pt x="39" y="178"/>
                    <a:pt x="39" y="178"/>
                    <a:pt x="39" y="179"/>
                  </a:cubicBezTo>
                  <a:cubicBezTo>
                    <a:pt x="38" y="180"/>
                    <a:pt x="36" y="180"/>
                    <a:pt x="33" y="180"/>
                  </a:cubicBezTo>
                  <a:cubicBezTo>
                    <a:pt x="33" y="180"/>
                    <a:pt x="33" y="180"/>
                    <a:pt x="33" y="180"/>
                  </a:cubicBezTo>
                  <a:cubicBezTo>
                    <a:pt x="31" y="180"/>
                    <a:pt x="29" y="180"/>
                    <a:pt x="27" y="179"/>
                  </a:cubicBezTo>
                  <a:cubicBezTo>
                    <a:pt x="25" y="178"/>
                    <a:pt x="24" y="176"/>
                    <a:pt x="22" y="175"/>
                  </a:cubicBezTo>
                  <a:cubicBezTo>
                    <a:pt x="21" y="173"/>
                    <a:pt x="20" y="172"/>
                    <a:pt x="18" y="172"/>
                  </a:cubicBezTo>
                  <a:cubicBezTo>
                    <a:pt x="15" y="172"/>
                    <a:pt x="5" y="166"/>
                    <a:pt x="0" y="162"/>
                  </a:cubicBezTo>
                  <a:cubicBezTo>
                    <a:pt x="0" y="162"/>
                    <a:pt x="0" y="162"/>
                    <a:pt x="0" y="162"/>
                  </a:cubicBezTo>
                  <a:cubicBezTo>
                    <a:pt x="0" y="161"/>
                    <a:pt x="0" y="161"/>
                    <a:pt x="0" y="161"/>
                  </a:cubicBezTo>
                  <a:cubicBezTo>
                    <a:pt x="0" y="159"/>
                    <a:pt x="1" y="155"/>
                    <a:pt x="3" y="155"/>
                  </a:cubicBezTo>
                  <a:cubicBezTo>
                    <a:pt x="3" y="155"/>
                    <a:pt x="4" y="153"/>
                    <a:pt x="4" y="152"/>
                  </a:cubicBezTo>
                  <a:cubicBezTo>
                    <a:pt x="5" y="150"/>
                    <a:pt x="6" y="146"/>
                    <a:pt x="10" y="146"/>
                  </a:cubicBezTo>
                  <a:cubicBezTo>
                    <a:pt x="16" y="145"/>
                    <a:pt x="19" y="143"/>
                    <a:pt x="22" y="136"/>
                  </a:cubicBezTo>
                  <a:cubicBezTo>
                    <a:pt x="23" y="135"/>
                    <a:pt x="23" y="134"/>
                    <a:pt x="24" y="132"/>
                  </a:cubicBezTo>
                  <a:cubicBezTo>
                    <a:pt x="26" y="128"/>
                    <a:pt x="27" y="126"/>
                    <a:pt x="25" y="124"/>
                  </a:cubicBezTo>
                  <a:cubicBezTo>
                    <a:pt x="23" y="121"/>
                    <a:pt x="21" y="109"/>
                    <a:pt x="22" y="104"/>
                  </a:cubicBezTo>
                  <a:cubicBezTo>
                    <a:pt x="22" y="102"/>
                    <a:pt x="22" y="101"/>
                    <a:pt x="23" y="101"/>
                  </a:cubicBezTo>
                  <a:cubicBezTo>
                    <a:pt x="25" y="99"/>
                    <a:pt x="24" y="96"/>
                    <a:pt x="23" y="93"/>
                  </a:cubicBezTo>
                  <a:cubicBezTo>
                    <a:pt x="22" y="92"/>
                    <a:pt x="22" y="91"/>
                    <a:pt x="22" y="90"/>
                  </a:cubicBezTo>
                  <a:cubicBezTo>
                    <a:pt x="22" y="88"/>
                    <a:pt x="22" y="85"/>
                    <a:pt x="20" y="82"/>
                  </a:cubicBezTo>
                  <a:cubicBezTo>
                    <a:pt x="19" y="81"/>
                    <a:pt x="18" y="80"/>
                    <a:pt x="16" y="79"/>
                  </a:cubicBezTo>
                  <a:cubicBezTo>
                    <a:pt x="15" y="77"/>
                    <a:pt x="15" y="77"/>
                    <a:pt x="15" y="77"/>
                  </a:cubicBezTo>
                  <a:cubicBezTo>
                    <a:pt x="15" y="77"/>
                    <a:pt x="15" y="77"/>
                    <a:pt x="15" y="77"/>
                  </a:cubicBezTo>
                  <a:cubicBezTo>
                    <a:pt x="19" y="73"/>
                    <a:pt x="23" y="69"/>
                    <a:pt x="25" y="67"/>
                  </a:cubicBezTo>
                  <a:cubicBezTo>
                    <a:pt x="26" y="67"/>
                    <a:pt x="26" y="65"/>
                    <a:pt x="27" y="63"/>
                  </a:cubicBezTo>
                  <a:cubicBezTo>
                    <a:pt x="27" y="63"/>
                    <a:pt x="27" y="63"/>
                    <a:pt x="27" y="63"/>
                  </a:cubicBezTo>
                  <a:cubicBezTo>
                    <a:pt x="27" y="63"/>
                    <a:pt x="27" y="63"/>
                    <a:pt x="27" y="63"/>
                  </a:cubicBezTo>
                  <a:cubicBezTo>
                    <a:pt x="28" y="63"/>
                    <a:pt x="29" y="63"/>
                    <a:pt x="30" y="62"/>
                  </a:cubicBezTo>
                  <a:cubicBezTo>
                    <a:pt x="31" y="61"/>
                    <a:pt x="32" y="60"/>
                    <a:pt x="33" y="58"/>
                  </a:cubicBezTo>
                  <a:cubicBezTo>
                    <a:pt x="36" y="54"/>
                    <a:pt x="39" y="49"/>
                    <a:pt x="45" y="45"/>
                  </a:cubicBezTo>
                  <a:cubicBezTo>
                    <a:pt x="51" y="42"/>
                    <a:pt x="50" y="38"/>
                    <a:pt x="50" y="34"/>
                  </a:cubicBezTo>
                  <a:cubicBezTo>
                    <a:pt x="50" y="33"/>
                    <a:pt x="50" y="33"/>
                    <a:pt x="50" y="32"/>
                  </a:cubicBezTo>
                  <a:cubicBezTo>
                    <a:pt x="49" y="30"/>
                    <a:pt x="51" y="27"/>
                    <a:pt x="53" y="25"/>
                  </a:cubicBezTo>
                  <a:cubicBezTo>
                    <a:pt x="56" y="22"/>
                    <a:pt x="60" y="19"/>
                    <a:pt x="63" y="19"/>
                  </a:cubicBezTo>
                  <a:cubicBezTo>
                    <a:pt x="64" y="19"/>
                    <a:pt x="64" y="19"/>
                    <a:pt x="64" y="19"/>
                  </a:cubicBezTo>
                  <a:cubicBezTo>
                    <a:pt x="65" y="19"/>
                    <a:pt x="67" y="20"/>
                    <a:pt x="68" y="21"/>
                  </a:cubicBezTo>
                  <a:cubicBezTo>
                    <a:pt x="69" y="22"/>
                    <a:pt x="69" y="22"/>
                    <a:pt x="69" y="22"/>
                  </a:cubicBezTo>
                  <a:cubicBezTo>
                    <a:pt x="70" y="22"/>
                    <a:pt x="70" y="21"/>
                    <a:pt x="70" y="20"/>
                  </a:cubicBezTo>
                  <a:cubicBezTo>
                    <a:pt x="70" y="18"/>
                    <a:pt x="73" y="17"/>
                    <a:pt x="77" y="17"/>
                  </a:cubicBezTo>
                  <a:cubicBezTo>
                    <a:pt x="79" y="17"/>
                    <a:pt x="82" y="17"/>
                    <a:pt x="83" y="16"/>
                  </a:cubicBezTo>
                  <a:cubicBezTo>
                    <a:pt x="85" y="15"/>
                    <a:pt x="86" y="14"/>
                    <a:pt x="87" y="13"/>
                  </a:cubicBezTo>
                  <a:cubicBezTo>
                    <a:pt x="90" y="11"/>
                    <a:pt x="92" y="9"/>
                    <a:pt x="96" y="8"/>
                  </a:cubicBezTo>
                  <a:cubicBezTo>
                    <a:pt x="99" y="8"/>
                    <a:pt x="101" y="6"/>
                    <a:pt x="103" y="4"/>
                  </a:cubicBezTo>
                  <a:cubicBezTo>
                    <a:pt x="106" y="2"/>
                    <a:pt x="108" y="0"/>
                    <a:pt x="110" y="0"/>
                  </a:cubicBezTo>
                  <a:cubicBezTo>
                    <a:pt x="111" y="0"/>
                    <a:pt x="112" y="0"/>
                    <a:pt x="113" y="0"/>
                  </a:cubicBezTo>
                  <a:cubicBezTo>
                    <a:pt x="116" y="2"/>
                    <a:pt x="117" y="4"/>
                    <a:pt x="116" y="5"/>
                  </a:cubicBezTo>
                  <a:cubicBezTo>
                    <a:pt x="116" y="8"/>
                    <a:pt x="113" y="10"/>
                    <a:pt x="109" y="10"/>
                  </a:cubicBezTo>
                  <a:cubicBezTo>
                    <a:pt x="108" y="11"/>
                    <a:pt x="107" y="12"/>
                    <a:pt x="106" y="13"/>
                  </a:cubicBezTo>
                  <a:cubicBezTo>
                    <a:pt x="106" y="13"/>
                    <a:pt x="106" y="13"/>
                    <a:pt x="106" y="13"/>
                  </a:cubicBezTo>
                  <a:cubicBezTo>
                    <a:pt x="106" y="13"/>
                    <a:pt x="106" y="13"/>
                    <a:pt x="106" y="13"/>
                  </a:cubicBezTo>
                  <a:cubicBezTo>
                    <a:pt x="104" y="14"/>
                    <a:pt x="102" y="15"/>
                    <a:pt x="102" y="16"/>
                  </a:cubicBezTo>
                  <a:cubicBezTo>
                    <a:pt x="100" y="18"/>
                    <a:pt x="98" y="20"/>
                    <a:pt x="96" y="22"/>
                  </a:cubicBezTo>
                  <a:cubicBezTo>
                    <a:pt x="92" y="25"/>
                    <a:pt x="89" y="28"/>
                    <a:pt x="89" y="32"/>
                  </a:cubicBezTo>
                  <a:cubicBezTo>
                    <a:pt x="89" y="33"/>
                    <a:pt x="89" y="33"/>
                    <a:pt x="89" y="33"/>
                  </a:cubicBezTo>
                  <a:cubicBezTo>
                    <a:pt x="89" y="38"/>
                    <a:pt x="89" y="40"/>
                    <a:pt x="87" y="43"/>
                  </a:cubicBezTo>
                  <a:cubicBezTo>
                    <a:pt x="84" y="46"/>
                    <a:pt x="83" y="48"/>
                    <a:pt x="83" y="49"/>
                  </a:cubicBezTo>
                  <a:cubicBezTo>
                    <a:pt x="84" y="49"/>
                    <a:pt x="84" y="49"/>
                    <a:pt x="84" y="49"/>
                  </a:cubicBezTo>
                  <a:cubicBezTo>
                    <a:pt x="84" y="49"/>
                    <a:pt x="84" y="49"/>
                    <a:pt x="84" y="49"/>
                  </a:cubicBezTo>
                  <a:cubicBezTo>
                    <a:pt x="85" y="49"/>
                    <a:pt x="86" y="49"/>
                    <a:pt x="86" y="49"/>
                  </a:cubicBezTo>
                  <a:cubicBezTo>
                    <a:pt x="87" y="49"/>
                    <a:pt x="91" y="49"/>
                    <a:pt x="91" y="53"/>
                  </a:cubicBezTo>
                  <a:cubicBezTo>
                    <a:pt x="91" y="54"/>
                    <a:pt x="93" y="55"/>
                    <a:pt x="94" y="56"/>
                  </a:cubicBezTo>
                  <a:cubicBezTo>
                    <a:pt x="96" y="57"/>
                    <a:pt x="98" y="59"/>
                    <a:pt x="98" y="62"/>
                  </a:cubicBezTo>
                  <a:cubicBezTo>
                    <a:pt x="98" y="63"/>
                    <a:pt x="98" y="63"/>
                    <a:pt x="98" y="63"/>
                  </a:cubicBezTo>
                  <a:cubicBezTo>
                    <a:pt x="97" y="68"/>
                    <a:pt x="96" y="75"/>
                    <a:pt x="100" y="78"/>
                  </a:cubicBezTo>
                  <a:cubicBezTo>
                    <a:pt x="101" y="80"/>
                    <a:pt x="103" y="81"/>
                    <a:pt x="106" y="81"/>
                  </a:cubicBezTo>
                  <a:cubicBezTo>
                    <a:pt x="107" y="81"/>
                    <a:pt x="107" y="81"/>
                    <a:pt x="107" y="81"/>
                  </a:cubicBezTo>
                  <a:cubicBezTo>
                    <a:pt x="110" y="81"/>
                    <a:pt x="114" y="80"/>
                    <a:pt x="117" y="80"/>
                  </a:cubicBezTo>
                  <a:cubicBezTo>
                    <a:pt x="119" y="80"/>
                    <a:pt x="121" y="79"/>
                    <a:pt x="123" y="79"/>
                  </a:cubicBezTo>
                  <a:cubicBezTo>
                    <a:pt x="127" y="79"/>
                    <a:pt x="130" y="81"/>
                    <a:pt x="132" y="83"/>
                  </a:cubicBezTo>
                  <a:cubicBezTo>
                    <a:pt x="137" y="90"/>
                    <a:pt x="144" y="93"/>
                    <a:pt x="152" y="92"/>
                  </a:cubicBezTo>
                  <a:cubicBezTo>
                    <a:pt x="155" y="92"/>
                    <a:pt x="159" y="91"/>
                    <a:pt x="163" y="91"/>
                  </a:cubicBezTo>
                  <a:cubicBezTo>
                    <a:pt x="167" y="91"/>
                    <a:pt x="169" y="92"/>
                    <a:pt x="170" y="93"/>
                  </a:cubicBezTo>
                  <a:cubicBezTo>
                    <a:pt x="171" y="94"/>
                    <a:pt x="170" y="96"/>
                    <a:pt x="169" y="97"/>
                  </a:cubicBezTo>
                  <a:cubicBezTo>
                    <a:pt x="165" y="105"/>
                    <a:pt x="162" y="119"/>
                    <a:pt x="166" y="123"/>
                  </a:cubicBezTo>
                  <a:cubicBezTo>
                    <a:pt x="167" y="124"/>
                    <a:pt x="167" y="125"/>
                    <a:pt x="168" y="126"/>
                  </a:cubicBezTo>
                  <a:cubicBezTo>
                    <a:pt x="171" y="129"/>
                    <a:pt x="174" y="132"/>
                    <a:pt x="171" y="135"/>
                  </a:cubicBezTo>
                  <a:cubicBezTo>
                    <a:pt x="169" y="138"/>
                    <a:pt x="168" y="140"/>
                    <a:pt x="169" y="142"/>
                  </a:cubicBezTo>
                  <a:cubicBezTo>
                    <a:pt x="169" y="143"/>
                    <a:pt x="170" y="144"/>
                    <a:pt x="171" y="145"/>
                  </a:cubicBezTo>
                  <a:cubicBezTo>
                    <a:pt x="173" y="147"/>
                    <a:pt x="174" y="150"/>
                    <a:pt x="174" y="153"/>
                  </a:cubicBezTo>
                  <a:cubicBezTo>
                    <a:pt x="174" y="153"/>
                    <a:pt x="174" y="153"/>
                    <a:pt x="174" y="153"/>
                  </a:cubicBezTo>
                  <a:cubicBezTo>
                    <a:pt x="173" y="155"/>
                    <a:pt x="161" y="159"/>
                    <a:pt x="157" y="159"/>
                  </a:cubicBezTo>
                  <a:cubicBezTo>
                    <a:pt x="156" y="159"/>
                    <a:pt x="155" y="159"/>
                    <a:pt x="153" y="159"/>
                  </a:cubicBezTo>
                  <a:cubicBezTo>
                    <a:pt x="151" y="159"/>
                    <a:pt x="148" y="159"/>
                    <a:pt x="146" y="159"/>
                  </a:cubicBezTo>
                  <a:cubicBezTo>
                    <a:pt x="137" y="159"/>
                    <a:pt x="136" y="160"/>
                    <a:pt x="135" y="160"/>
                  </a:cubicBezTo>
                  <a:cubicBezTo>
                    <a:pt x="135" y="162"/>
                    <a:pt x="135" y="164"/>
                    <a:pt x="136" y="165"/>
                  </a:cubicBezTo>
                  <a:cubicBezTo>
                    <a:pt x="137" y="167"/>
                    <a:pt x="138" y="168"/>
                    <a:pt x="139" y="168"/>
                  </a:cubicBezTo>
                  <a:cubicBezTo>
                    <a:pt x="142" y="168"/>
                    <a:pt x="144" y="170"/>
                    <a:pt x="144" y="171"/>
                  </a:cubicBezTo>
                  <a:cubicBezTo>
                    <a:pt x="144" y="172"/>
                    <a:pt x="144" y="173"/>
                    <a:pt x="142" y="175"/>
                  </a:cubicBezTo>
                  <a:cubicBezTo>
                    <a:pt x="140" y="176"/>
                    <a:pt x="138" y="176"/>
                    <a:pt x="136" y="176"/>
                  </a:cubicBezTo>
                  <a:cubicBezTo>
                    <a:pt x="134" y="177"/>
                    <a:pt x="132" y="177"/>
                    <a:pt x="132" y="182"/>
                  </a:cubicBezTo>
                  <a:cubicBezTo>
                    <a:pt x="132" y="186"/>
                    <a:pt x="135" y="190"/>
                    <a:pt x="137" y="193"/>
                  </a:cubicBezTo>
                  <a:cubicBezTo>
                    <a:pt x="140" y="197"/>
                    <a:pt x="143" y="201"/>
                    <a:pt x="141" y="206"/>
                  </a:cubicBezTo>
                  <a:cubicBezTo>
                    <a:pt x="140" y="210"/>
                    <a:pt x="139" y="221"/>
                    <a:pt x="139" y="225"/>
                  </a:cubicBezTo>
                  <a:cubicBezTo>
                    <a:pt x="139" y="229"/>
                    <a:pt x="137" y="245"/>
                    <a:pt x="133" y="246"/>
                  </a:cubicBezTo>
                  <a:cubicBezTo>
                    <a:pt x="132" y="246"/>
                    <a:pt x="132" y="246"/>
                    <a:pt x="132" y="246"/>
                  </a:cubicBezTo>
                  <a:lnTo>
                    <a:pt x="131" y="246"/>
                  </a:lnTo>
                  <a:close/>
                  <a:moveTo>
                    <a:pt x="119" y="217"/>
                  </a:moveTo>
                  <a:cubicBezTo>
                    <a:pt x="120" y="217"/>
                    <a:pt x="120" y="217"/>
                    <a:pt x="120" y="217"/>
                  </a:cubicBezTo>
                  <a:cubicBezTo>
                    <a:pt x="123" y="218"/>
                    <a:pt x="130" y="221"/>
                    <a:pt x="131" y="224"/>
                  </a:cubicBezTo>
                  <a:cubicBezTo>
                    <a:pt x="132" y="225"/>
                    <a:pt x="131" y="226"/>
                    <a:pt x="131" y="226"/>
                  </a:cubicBezTo>
                  <a:cubicBezTo>
                    <a:pt x="130" y="228"/>
                    <a:pt x="129" y="229"/>
                    <a:pt x="128" y="231"/>
                  </a:cubicBezTo>
                  <a:cubicBezTo>
                    <a:pt x="125" y="233"/>
                    <a:pt x="123" y="236"/>
                    <a:pt x="124" y="238"/>
                  </a:cubicBezTo>
                  <a:cubicBezTo>
                    <a:pt x="124" y="239"/>
                    <a:pt x="126" y="240"/>
                    <a:pt x="127" y="241"/>
                  </a:cubicBezTo>
                  <a:cubicBezTo>
                    <a:pt x="129" y="242"/>
                    <a:pt x="131" y="243"/>
                    <a:pt x="132" y="245"/>
                  </a:cubicBezTo>
                  <a:cubicBezTo>
                    <a:pt x="132" y="245"/>
                    <a:pt x="132" y="245"/>
                    <a:pt x="132" y="245"/>
                  </a:cubicBezTo>
                  <a:cubicBezTo>
                    <a:pt x="136" y="244"/>
                    <a:pt x="138" y="231"/>
                    <a:pt x="138" y="225"/>
                  </a:cubicBezTo>
                  <a:cubicBezTo>
                    <a:pt x="138" y="221"/>
                    <a:pt x="139" y="210"/>
                    <a:pt x="141" y="205"/>
                  </a:cubicBezTo>
                  <a:cubicBezTo>
                    <a:pt x="142" y="201"/>
                    <a:pt x="139" y="198"/>
                    <a:pt x="136" y="194"/>
                  </a:cubicBezTo>
                  <a:cubicBezTo>
                    <a:pt x="134" y="190"/>
                    <a:pt x="131" y="186"/>
                    <a:pt x="131" y="182"/>
                  </a:cubicBezTo>
                  <a:cubicBezTo>
                    <a:pt x="131" y="176"/>
                    <a:pt x="133" y="176"/>
                    <a:pt x="136" y="175"/>
                  </a:cubicBezTo>
                  <a:cubicBezTo>
                    <a:pt x="138" y="175"/>
                    <a:pt x="139" y="175"/>
                    <a:pt x="141" y="174"/>
                  </a:cubicBezTo>
                  <a:cubicBezTo>
                    <a:pt x="143" y="173"/>
                    <a:pt x="143" y="172"/>
                    <a:pt x="143" y="171"/>
                  </a:cubicBezTo>
                  <a:cubicBezTo>
                    <a:pt x="143" y="171"/>
                    <a:pt x="142" y="170"/>
                    <a:pt x="139" y="169"/>
                  </a:cubicBezTo>
                  <a:cubicBezTo>
                    <a:pt x="137" y="168"/>
                    <a:pt x="136" y="167"/>
                    <a:pt x="135" y="166"/>
                  </a:cubicBezTo>
                  <a:cubicBezTo>
                    <a:pt x="134" y="164"/>
                    <a:pt x="134" y="162"/>
                    <a:pt x="134" y="160"/>
                  </a:cubicBezTo>
                  <a:cubicBezTo>
                    <a:pt x="135" y="159"/>
                    <a:pt x="138" y="158"/>
                    <a:pt x="146" y="158"/>
                  </a:cubicBezTo>
                  <a:cubicBezTo>
                    <a:pt x="148" y="158"/>
                    <a:pt x="151" y="158"/>
                    <a:pt x="153" y="158"/>
                  </a:cubicBezTo>
                  <a:cubicBezTo>
                    <a:pt x="155" y="158"/>
                    <a:pt x="156" y="158"/>
                    <a:pt x="157" y="158"/>
                  </a:cubicBezTo>
                  <a:cubicBezTo>
                    <a:pt x="162" y="158"/>
                    <a:pt x="172" y="154"/>
                    <a:pt x="173" y="153"/>
                  </a:cubicBezTo>
                  <a:cubicBezTo>
                    <a:pt x="173" y="153"/>
                    <a:pt x="173" y="153"/>
                    <a:pt x="173" y="153"/>
                  </a:cubicBezTo>
                  <a:cubicBezTo>
                    <a:pt x="173" y="152"/>
                    <a:pt x="174" y="149"/>
                    <a:pt x="170" y="146"/>
                  </a:cubicBezTo>
                  <a:cubicBezTo>
                    <a:pt x="169" y="145"/>
                    <a:pt x="168" y="144"/>
                    <a:pt x="168" y="142"/>
                  </a:cubicBezTo>
                  <a:cubicBezTo>
                    <a:pt x="167" y="140"/>
                    <a:pt x="169" y="137"/>
                    <a:pt x="171" y="135"/>
                  </a:cubicBezTo>
                  <a:cubicBezTo>
                    <a:pt x="173" y="132"/>
                    <a:pt x="171" y="130"/>
                    <a:pt x="167" y="126"/>
                  </a:cubicBezTo>
                  <a:cubicBezTo>
                    <a:pt x="167" y="126"/>
                    <a:pt x="166" y="125"/>
                    <a:pt x="165" y="124"/>
                  </a:cubicBezTo>
                  <a:cubicBezTo>
                    <a:pt x="161" y="120"/>
                    <a:pt x="164" y="104"/>
                    <a:pt x="169" y="97"/>
                  </a:cubicBezTo>
                  <a:cubicBezTo>
                    <a:pt x="169" y="96"/>
                    <a:pt x="169" y="95"/>
                    <a:pt x="169" y="94"/>
                  </a:cubicBezTo>
                  <a:cubicBezTo>
                    <a:pt x="169" y="93"/>
                    <a:pt x="167" y="92"/>
                    <a:pt x="163" y="92"/>
                  </a:cubicBezTo>
                  <a:cubicBezTo>
                    <a:pt x="159" y="92"/>
                    <a:pt x="155" y="93"/>
                    <a:pt x="152" y="93"/>
                  </a:cubicBezTo>
                  <a:cubicBezTo>
                    <a:pt x="144" y="94"/>
                    <a:pt x="137" y="91"/>
                    <a:pt x="131" y="84"/>
                  </a:cubicBezTo>
                  <a:cubicBezTo>
                    <a:pt x="129" y="81"/>
                    <a:pt x="127" y="80"/>
                    <a:pt x="123" y="80"/>
                  </a:cubicBezTo>
                  <a:cubicBezTo>
                    <a:pt x="121" y="80"/>
                    <a:pt x="119" y="81"/>
                    <a:pt x="117" y="81"/>
                  </a:cubicBezTo>
                  <a:cubicBezTo>
                    <a:pt x="114" y="81"/>
                    <a:pt x="111" y="82"/>
                    <a:pt x="107" y="82"/>
                  </a:cubicBezTo>
                  <a:cubicBezTo>
                    <a:pt x="106" y="82"/>
                    <a:pt x="106" y="82"/>
                    <a:pt x="106" y="82"/>
                  </a:cubicBezTo>
                  <a:cubicBezTo>
                    <a:pt x="103" y="82"/>
                    <a:pt x="101" y="81"/>
                    <a:pt x="99" y="79"/>
                  </a:cubicBezTo>
                  <a:cubicBezTo>
                    <a:pt x="95" y="75"/>
                    <a:pt x="96" y="68"/>
                    <a:pt x="97" y="63"/>
                  </a:cubicBezTo>
                  <a:cubicBezTo>
                    <a:pt x="97" y="62"/>
                    <a:pt x="97" y="62"/>
                    <a:pt x="97" y="62"/>
                  </a:cubicBezTo>
                  <a:cubicBezTo>
                    <a:pt x="97" y="59"/>
                    <a:pt x="95" y="58"/>
                    <a:pt x="93" y="57"/>
                  </a:cubicBezTo>
                  <a:cubicBezTo>
                    <a:pt x="92" y="56"/>
                    <a:pt x="90" y="54"/>
                    <a:pt x="90" y="53"/>
                  </a:cubicBezTo>
                  <a:cubicBezTo>
                    <a:pt x="90" y="51"/>
                    <a:pt x="89" y="50"/>
                    <a:pt x="86" y="50"/>
                  </a:cubicBezTo>
                  <a:cubicBezTo>
                    <a:pt x="86" y="50"/>
                    <a:pt x="85" y="50"/>
                    <a:pt x="84" y="50"/>
                  </a:cubicBezTo>
                  <a:cubicBezTo>
                    <a:pt x="83" y="50"/>
                    <a:pt x="82" y="50"/>
                    <a:pt x="82" y="49"/>
                  </a:cubicBezTo>
                  <a:cubicBezTo>
                    <a:pt x="82" y="48"/>
                    <a:pt x="83" y="46"/>
                    <a:pt x="86" y="43"/>
                  </a:cubicBezTo>
                  <a:cubicBezTo>
                    <a:pt x="88" y="40"/>
                    <a:pt x="88" y="38"/>
                    <a:pt x="88" y="33"/>
                  </a:cubicBezTo>
                  <a:cubicBezTo>
                    <a:pt x="88" y="32"/>
                    <a:pt x="88" y="32"/>
                    <a:pt x="88" y="32"/>
                  </a:cubicBezTo>
                  <a:cubicBezTo>
                    <a:pt x="88" y="28"/>
                    <a:pt x="92" y="25"/>
                    <a:pt x="95" y="21"/>
                  </a:cubicBezTo>
                  <a:cubicBezTo>
                    <a:pt x="97" y="19"/>
                    <a:pt x="99" y="17"/>
                    <a:pt x="101" y="15"/>
                  </a:cubicBezTo>
                  <a:cubicBezTo>
                    <a:pt x="102" y="14"/>
                    <a:pt x="103" y="13"/>
                    <a:pt x="105" y="12"/>
                  </a:cubicBezTo>
                  <a:cubicBezTo>
                    <a:pt x="106" y="11"/>
                    <a:pt x="107" y="10"/>
                    <a:pt x="109" y="9"/>
                  </a:cubicBezTo>
                  <a:cubicBezTo>
                    <a:pt x="113" y="9"/>
                    <a:pt x="115" y="7"/>
                    <a:pt x="115" y="5"/>
                  </a:cubicBezTo>
                  <a:cubicBezTo>
                    <a:pt x="116" y="4"/>
                    <a:pt x="115" y="3"/>
                    <a:pt x="112" y="1"/>
                  </a:cubicBezTo>
                  <a:cubicBezTo>
                    <a:pt x="112" y="1"/>
                    <a:pt x="111" y="1"/>
                    <a:pt x="110" y="1"/>
                  </a:cubicBezTo>
                  <a:cubicBezTo>
                    <a:pt x="108" y="1"/>
                    <a:pt x="106" y="2"/>
                    <a:pt x="104" y="4"/>
                  </a:cubicBezTo>
                  <a:cubicBezTo>
                    <a:pt x="102" y="7"/>
                    <a:pt x="99" y="9"/>
                    <a:pt x="96" y="9"/>
                  </a:cubicBezTo>
                  <a:cubicBezTo>
                    <a:pt x="92" y="10"/>
                    <a:pt x="90" y="12"/>
                    <a:pt x="88" y="13"/>
                  </a:cubicBezTo>
                  <a:cubicBezTo>
                    <a:pt x="87" y="15"/>
                    <a:pt x="86" y="16"/>
                    <a:pt x="84" y="17"/>
                  </a:cubicBezTo>
                  <a:cubicBezTo>
                    <a:pt x="82" y="17"/>
                    <a:pt x="79" y="18"/>
                    <a:pt x="77" y="18"/>
                  </a:cubicBezTo>
                  <a:cubicBezTo>
                    <a:pt x="73" y="18"/>
                    <a:pt x="71" y="19"/>
                    <a:pt x="71" y="20"/>
                  </a:cubicBezTo>
                  <a:cubicBezTo>
                    <a:pt x="71" y="21"/>
                    <a:pt x="71" y="23"/>
                    <a:pt x="69" y="23"/>
                  </a:cubicBezTo>
                  <a:cubicBezTo>
                    <a:pt x="69" y="23"/>
                    <a:pt x="68" y="22"/>
                    <a:pt x="67" y="22"/>
                  </a:cubicBezTo>
                  <a:cubicBezTo>
                    <a:pt x="66" y="21"/>
                    <a:pt x="65" y="20"/>
                    <a:pt x="63" y="20"/>
                  </a:cubicBezTo>
                  <a:cubicBezTo>
                    <a:pt x="62" y="19"/>
                    <a:pt x="57" y="22"/>
                    <a:pt x="54" y="25"/>
                  </a:cubicBezTo>
                  <a:cubicBezTo>
                    <a:pt x="52" y="28"/>
                    <a:pt x="50" y="30"/>
                    <a:pt x="51" y="32"/>
                  </a:cubicBezTo>
                  <a:cubicBezTo>
                    <a:pt x="51" y="32"/>
                    <a:pt x="51" y="33"/>
                    <a:pt x="51" y="34"/>
                  </a:cubicBezTo>
                  <a:cubicBezTo>
                    <a:pt x="51" y="38"/>
                    <a:pt x="52" y="42"/>
                    <a:pt x="45" y="46"/>
                  </a:cubicBezTo>
                  <a:cubicBezTo>
                    <a:pt x="40" y="49"/>
                    <a:pt x="37" y="55"/>
                    <a:pt x="34" y="59"/>
                  </a:cubicBezTo>
                  <a:cubicBezTo>
                    <a:pt x="33" y="60"/>
                    <a:pt x="32" y="62"/>
                    <a:pt x="31" y="63"/>
                  </a:cubicBezTo>
                  <a:cubicBezTo>
                    <a:pt x="30" y="64"/>
                    <a:pt x="29" y="64"/>
                    <a:pt x="28" y="64"/>
                  </a:cubicBezTo>
                  <a:cubicBezTo>
                    <a:pt x="27" y="66"/>
                    <a:pt x="26" y="68"/>
                    <a:pt x="26" y="68"/>
                  </a:cubicBezTo>
                  <a:cubicBezTo>
                    <a:pt x="24" y="69"/>
                    <a:pt x="20" y="73"/>
                    <a:pt x="16" y="77"/>
                  </a:cubicBezTo>
                  <a:cubicBezTo>
                    <a:pt x="17" y="78"/>
                    <a:pt x="17" y="78"/>
                    <a:pt x="17" y="78"/>
                  </a:cubicBezTo>
                  <a:cubicBezTo>
                    <a:pt x="18" y="79"/>
                    <a:pt x="20" y="81"/>
                    <a:pt x="20" y="82"/>
                  </a:cubicBezTo>
                  <a:cubicBezTo>
                    <a:pt x="23" y="85"/>
                    <a:pt x="23" y="88"/>
                    <a:pt x="23" y="90"/>
                  </a:cubicBezTo>
                  <a:cubicBezTo>
                    <a:pt x="23" y="91"/>
                    <a:pt x="23" y="92"/>
                    <a:pt x="23" y="93"/>
                  </a:cubicBezTo>
                  <a:cubicBezTo>
                    <a:pt x="26" y="97"/>
                    <a:pt x="25" y="100"/>
                    <a:pt x="23" y="102"/>
                  </a:cubicBezTo>
                  <a:cubicBezTo>
                    <a:pt x="23" y="102"/>
                    <a:pt x="23" y="102"/>
                    <a:pt x="23" y="104"/>
                  </a:cubicBezTo>
                  <a:cubicBezTo>
                    <a:pt x="22" y="109"/>
                    <a:pt x="24" y="121"/>
                    <a:pt x="26" y="123"/>
                  </a:cubicBezTo>
                  <a:cubicBezTo>
                    <a:pt x="28" y="126"/>
                    <a:pt x="27" y="129"/>
                    <a:pt x="25" y="133"/>
                  </a:cubicBezTo>
                  <a:cubicBezTo>
                    <a:pt x="24" y="134"/>
                    <a:pt x="23" y="135"/>
                    <a:pt x="23" y="137"/>
                  </a:cubicBezTo>
                  <a:cubicBezTo>
                    <a:pt x="20" y="143"/>
                    <a:pt x="17" y="146"/>
                    <a:pt x="10" y="147"/>
                  </a:cubicBezTo>
                  <a:cubicBezTo>
                    <a:pt x="7" y="147"/>
                    <a:pt x="6" y="150"/>
                    <a:pt x="5" y="153"/>
                  </a:cubicBezTo>
                  <a:cubicBezTo>
                    <a:pt x="4" y="155"/>
                    <a:pt x="4" y="156"/>
                    <a:pt x="3" y="156"/>
                  </a:cubicBezTo>
                  <a:cubicBezTo>
                    <a:pt x="2" y="156"/>
                    <a:pt x="1" y="158"/>
                    <a:pt x="1" y="161"/>
                  </a:cubicBezTo>
                  <a:cubicBezTo>
                    <a:pt x="6" y="166"/>
                    <a:pt x="15" y="171"/>
                    <a:pt x="18" y="171"/>
                  </a:cubicBezTo>
                  <a:cubicBezTo>
                    <a:pt x="20" y="171"/>
                    <a:pt x="21" y="173"/>
                    <a:pt x="23" y="174"/>
                  </a:cubicBezTo>
                  <a:cubicBezTo>
                    <a:pt x="24" y="176"/>
                    <a:pt x="26" y="177"/>
                    <a:pt x="27" y="178"/>
                  </a:cubicBezTo>
                  <a:cubicBezTo>
                    <a:pt x="29" y="179"/>
                    <a:pt x="31" y="179"/>
                    <a:pt x="33" y="179"/>
                  </a:cubicBezTo>
                  <a:cubicBezTo>
                    <a:pt x="33" y="179"/>
                    <a:pt x="33" y="179"/>
                    <a:pt x="33" y="179"/>
                  </a:cubicBezTo>
                  <a:cubicBezTo>
                    <a:pt x="35" y="179"/>
                    <a:pt x="37" y="179"/>
                    <a:pt x="38" y="178"/>
                  </a:cubicBezTo>
                  <a:cubicBezTo>
                    <a:pt x="39" y="177"/>
                    <a:pt x="39" y="177"/>
                    <a:pt x="39" y="177"/>
                  </a:cubicBezTo>
                  <a:cubicBezTo>
                    <a:pt x="41" y="177"/>
                    <a:pt x="44" y="180"/>
                    <a:pt x="49" y="186"/>
                  </a:cubicBezTo>
                  <a:cubicBezTo>
                    <a:pt x="49" y="187"/>
                    <a:pt x="49" y="187"/>
                    <a:pt x="49" y="187"/>
                  </a:cubicBezTo>
                  <a:cubicBezTo>
                    <a:pt x="56" y="185"/>
                    <a:pt x="60" y="185"/>
                    <a:pt x="62" y="186"/>
                  </a:cubicBezTo>
                  <a:cubicBezTo>
                    <a:pt x="64" y="187"/>
                    <a:pt x="65" y="190"/>
                    <a:pt x="66" y="192"/>
                  </a:cubicBezTo>
                  <a:cubicBezTo>
                    <a:pt x="67" y="195"/>
                    <a:pt x="68" y="198"/>
                    <a:pt x="70" y="198"/>
                  </a:cubicBezTo>
                  <a:cubicBezTo>
                    <a:pt x="73" y="199"/>
                    <a:pt x="76" y="200"/>
                    <a:pt x="78" y="203"/>
                  </a:cubicBezTo>
                  <a:cubicBezTo>
                    <a:pt x="80" y="205"/>
                    <a:pt x="80" y="207"/>
                    <a:pt x="80" y="208"/>
                  </a:cubicBezTo>
                  <a:cubicBezTo>
                    <a:pt x="80" y="209"/>
                    <a:pt x="81" y="210"/>
                    <a:pt x="82" y="211"/>
                  </a:cubicBezTo>
                  <a:cubicBezTo>
                    <a:pt x="84" y="213"/>
                    <a:pt x="86" y="214"/>
                    <a:pt x="86" y="217"/>
                  </a:cubicBezTo>
                  <a:cubicBezTo>
                    <a:pt x="86" y="218"/>
                    <a:pt x="86" y="218"/>
                    <a:pt x="86" y="218"/>
                  </a:cubicBezTo>
                  <a:cubicBezTo>
                    <a:pt x="87" y="219"/>
                    <a:pt x="90" y="220"/>
                    <a:pt x="94" y="220"/>
                  </a:cubicBezTo>
                  <a:cubicBezTo>
                    <a:pt x="97" y="220"/>
                    <a:pt x="101" y="219"/>
                    <a:pt x="102" y="219"/>
                  </a:cubicBezTo>
                  <a:cubicBezTo>
                    <a:pt x="103" y="218"/>
                    <a:pt x="105" y="217"/>
                    <a:pt x="107" y="217"/>
                  </a:cubicBezTo>
                  <a:cubicBezTo>
                    <a:pt x="109" y="217"/>
                    <a:pt x="110" y="217"/>
                    <a:pt x="111" y="218"/>
                  </a:cubicBezTo>
                  <a:cubicBezTo>
                    <a:pt x="112" y="218"/>
                    <a:pt x="114" y="218"/>
                    <a:pt x="115" y="217"/>
                  </a:cubicBezTo>
                  <a:cubicBezTo>
                    <a:pt x="117" y="217"/>
                    <a:pt x="118" y="217"/>
                    <a:pt x="119" y="2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8" name="Freeform 115"/>
            <p:cNvSpPr>
              <a:spLocks noEditPoints="1"/>
            </p:cNvSpPr>
            <p:nvPr/>
          </p:nvSpPr>
          <p:spPr>
            <a:xfrm>
              <a:off x="3048001" y="4057650"/>
              <a:ext cx="301625" cy="336550"/>
            </a:xfrm>
            <a:custGeom>
              <a:gdLst>
                <a:gd name="T0" fmla="*/ 26 w 178"/>
                <a:gd name="T1" fmla="*/ 193 h 199"/>
                <a:gd name="T2" fmla="*/ 18 w 178"/>
                <a:gd name="T3" fmla="*/ 169 h 199"/>
                <a:gd name="T4" fmla="*/ 14 w 178"/>
                <a:gd name="T5" fmla="*/ 151 h 199"/>
                <a:gd name="T6" fmla="*/ 15 w 178"/>
                <a:gd name="T7" fmla="*/ 143 h 199"/>
                <a:gd name="T8" fmla="*/ 6 w 178"/>
                <a:gd name="T9" fmla="*/ 123 h 199"/>
                <a:gd name="T10" fmla="*/ 0 w 178"/>
                <a:gd name="T11" fmla="*/ 116 h 199"/>
                <a:gd name="T12" fmla="*/ 9 w 178"/>
                <a:gd name="T13" fmla="*/ 98 h 199"/>
                <a:gd name="T14" fmla="*/ 6 w 178"/>
                <a:gd name="T15" fmla="*/ 85 h 199"/>
                <a:gd name="T16" fmla="*/ 10 w 178"/>
                <a:gd name="T17" fmla="*/ 67 h 199"/>
                <a:gd name="T18" fmla="*/ 11 w 178"/>
                <a:gd name="T19" fmla="*/ 44 h 199"/>
                <a:gd name="T20" fmla="*/ 3 w 178"/>
                <a:gd name="T21" fmla="*/ 18 h 199"/>
                <a:gd name="T22" fmla="*/ 9 w 178"/>
                <a:gd name="T23" fmla="*/ 18 h 199"/>
                <a:gd name="T24" fmla="*/ 33 w 178"/>
                <a:gd name="T25" fmla="*/ 9 h 199"/>
                <a:gd name="T26" fmla="*/ 56 w 178"/>
                <a:gd name="T27" fmla="*/ 0 h 199"/>
                <a:gd name="T28" fmla="*/ 65 w 178"/>
                <a:gd name="T29" fmla="*/ 3 h 199"/>
                <a:gd name="T30" fmla="*/ 86 w 178"/>
                <a:gd name="T31" fmla="*/ 41 h 199"/>
                <a:gd name="T32" fmla="*/ 96 w 178"/>
                <a:gd name="T33" fmla="*/ 43 h 199"/>
                <a:gd name="T34" fmla="*/ 115 w 178"/>
                <a:gd name="T35" fmla="*/ 54 h 199"/>
                <a:gd name="T36" fmla="*/ 123 w 178"/>
                <a:gd name="T37" fmla="*/ 56 h 199"/>
                <a:gd name="T38" fmla="*/ 132 w 178"/>
                <a:gd name="T39" fmla="*/ 58 h 199"/>
                <a:gd name="T40" fmla="*/ 140 w 178"/>
                <a:gd name="T41" fmla="*/ 77 h 199"/>
                <a:gd name="T42" fmla="*/ 140 w 178"/>
                <a:gd name="T43" fmla="*/ 91 h 199"/>
                <a:gd name="T44" fmla="*/ 159 w 178"/>
                <a:gd name="T45" fmla="*/ 97 h 199"/>
                <a:gd name="T46" fmla="*/ 177 w 178"/>
                <a:gd name="T47" fmla="*/ 119 h 199"/>
                <a:gd name="T48" fmla="*/ 173 w 178"/>
                <a:gd name="T49" fmla="*/ 147 h 199"/>
                <a:gd name="T50" fmla="*/ 154 w 178"/>
                <a:gd name="T51" fmla="*/ 144 h 199"/>
                <a:gd name="T52" fmla="*/ 138 w 178"/>
                <a:gd name="T53" fmla="*/ 145 h 199"/>
                <a:gd name="T54" fmla="*/ 109 w 178"/>
                <a:gd name="T55" fmla="*/ 161 h 199"/>
                <a:gd name="T56" fmla="*/ 97 w 178"/>
                <a:gd name="T57" fmla="*/ 184 h 199"/>
                <a:gd name="T58" fmla="*/ 83 w 178"/>
                <a:gd name="T59" fmla="*/ 188 h 199"/>
                <a:gd name="T60" fmla="*/ 62 w 178"/>
                <a:gd name="T61" fmla="*/ 186 h 199"/>
                <a:gd name="T62" fmla="*/ 52 w 178"/>
                <a:gd name="T63" fmla="*/ 183 h 199"/>
                <a:gd name="T64" fmla="*/ 1 w 178"/>
                <a:gd name="T65" fmla="*/ 115 h 199"/>
                <a:gd name="T66" fmla="*/ 9 w 178"/>
                <a:gd name="T67" fmla="*/ 130 h 199"/>
                <a:gd name="T68" fmla="*/ 18 w 178"/>
                <a:gd name="T69" fmla="*/ 145 h 199"/>
                <a:gd name="T70" fmla="*/ 13 w 178"/>
                <a:gd name="T71" fmla="*/ 157 h 199"/>
                <a:gd name="T72" fmla="*/ 21 w 178"/>
                <a:gd name="T73" fmla="*/ 174 h 199"/>
                <a:gd name="T74" fmla="*/ 27 w 178"/>
                <a:gd name="T75" fmla="*/ 197 h 199"/>
                <a:gd name="T76" fmla="*/ 52 w 178"/>
                <a:gd name="T77" fmla="*/ 182 h 199"/>
                <a:gd name="T78" fmla="*/ 62 w 178"/>
                <a:gd name="T79" fmla="*/ 185 h 199"/>
                <a:gd name="T80" fmla="*/ 82 w 178"/>
                <a:gd name="T81" fmla="*/ 188 h 199"/>
                <a:gd name="T82" fmla="*/ 97 w 178"/>
                <a:gd name="T83" fmla="*/ 183 h 199"/>
                <a:gd name="T84" fmla="*/ 108 w 178"/>
                <a:gd name="T85" fmla="*/ 162 h 199"/>
                <a:gd name="T86" fmla="*/ 137 w 178"/>
                <a:gd name="T87" fmla="*/ 144 h 199"/>
                <a:gd name="T88" fmla="*/ 154 w 178"/>
                <a:gd name="T89" fmla="*/ 143 h 199"/>
                <a:gd name="T90" fmla="*/ 172 w 178"/>
                <a:gd name="T91" fmla="*/ 146 h 199"/>
                <a:gd name="T92" fmla="*/ 176 w 178"/>
                <a:gd name="T93" fmla="*/ 120 h 199"/>
                <a:gd name="T94" fmla="*/ 159 w 178"/>
                <a:gd name="T95" fmla="*/ 98 h 199"/>
                <a:gd name="T96" fmla="*/ 139 w 178"/>
                <a:gd name="T97" fmla="*/ 91 h 199"/>
                <a:gd name="T98" fmla="*/ 139 w 178"/>
                <a:gd name="T99" fmla="*/ 77 h 199"/>
                <a:gd name="T100" fmla="*/ 131 w 178"/>
                <a:gd name="T101" fmla="*/ 59 h 199"/>
                <a:gd name="T102" fmla="*/ 123 w 178"/>
                <a:gd name="T103" fmla="*/ 57 h 199"/>
                <a:gd name="T104" fmla="*/ 114 w 178"/>
                <a:gd name="T105" fmla="*/ 54 h 199"/>
                <a:gd name="T106" fmla="*/ 97 w 178"/>
                <a:gd name="T107" fmla="*/ 44 h 199"/>
                <a:gd name="T108" fmla="*/ 86 w 178"/>
                <a:gd name="T109" fmla="*/ 42 h 199"/>
                <a:gd name="T110" fmla="*/ 64 w 178"/>
                <a:gd name="T111" fmla="*/ 1 h 199"/>
                <a:gd name="T112" fmla="*/ 50 w 178"/>
                <a:gd name="T113" fmla="*/ 2 h 199"/>
                <a:gd name="T114" fmla="*/ 27 w 178"/>
                <a:gd name="T115" fmla="*/ 13 h 199"/>
                <a:gd name="T116" fmla="*/ 4 w 178"/>
                <a:gd name="T117" fmla="*/ 18 h 199"/>
                <a:gd name="T118" fmla="*/ 11 w 178"/>
                <a:gd name="T119" fmla="*/ 45 h 199"/>
                <a:gd name="T120" fmla="*/ 11 w 178"/>
                <a:gd name="T121" fmla="*/ 66 h 199"/>
                <a:gd name="T122" fmla="*/ 7 w 178"/>
                <a:gd name="T123" fmla="*/ 85 h 199"/>
                <a:gd name="T124" fmla="*/ 10 w 178"/>
                <a:gd name="T125" fmla="*/ 98 h 1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99">
                  <a:moveTo>
                    <a:pt x="28" y="199"/>
                  </a:moveTo>
                  <a:cubicBezTo>
                    <a:pt x="27" y="199"/>
                    <a:pt x="27" y="198"/>
                    <a:pt x="26" y="198"/>
                  </a:cubicBezTo>
                  <a:cubicBezTo>
                    <a:pt x="26" y="197"/>
                    <a:pt x="26" y="195"/>
                    <a:pt x="26" y="193"/>
                  </a:cubicBezTo>
                  <a:cubicBezTo>
                    <a:pt x="26" y="189"/>
                    <a:pt x="25" y="184"/>
                    <a:pt x="23" y="182"/>
                  </a:cubicBezTo>
                  <a:cubicBezTo>
                    <a:pt x="21" y="180"/>
                    <a:pt x="21" y="177"/>
                    <a:pt x="20" y="174"/>
                  </a:cubicBezTo>
                  <a:cubicBezTo>
                    <a:pt x="20" y="172"/>
                    <a:pt x="20" y="170"/>
                    <a:pt x="18" y="169"/>
                  </a:cubicBezTo>
                  <a:cubicBezTo>
                    <a:pt x="15" y="168"/>
                    <a:pt x="12" y="163"/>
                    <a:pt x="11" y="160"/>
                  </a:cubicBezTo>
                  <a:cubicBezTo>
                    <a:pt x="11" y="158"/>
                    <a:pt x="12" y="157"/>
                    <a:pt x="13" y="156"/>
                  </a:cubicBezTo>
                  <a:cubicBezTo>
                    <a:pt x="14" y="155"/>
                    <a:pt x="14" y="153"/>
                    <a:pt x="14" y="151"/>
                  </a:cubicBezTo>
                  <a:cubicBezTo>
                    <a:pt x="14" y="149"/>
                    <a:pt x="14" y="147"/>
                    <a:pt x="16" y="146"/>
                  </a:cubicBezTo>
                  <a:cubicBezTo>
                    <a:pt x="16" y="145"/>
                    <a:pt x="17" y="145"/>
                    <a:pt x="17" y="145"/>
                  </a:cubicBezTo>
                  <a:cubicBezTo>
                    <a:pt x="17" y="144"/>
                    <a:pt x="16" y="143"/>
                    <a:pt x="15" y="143"/>
                  </a:cubicBezTo>
                  <a:cubicBezTo>
                    <a:pt x="13" y="142"/>
                    <a:pt x="11" y="140"/>
                    <a:pt x="10" y="138"/>
                  </a:cubicBezTo>
                  <a:cubicBezTo>
                    <a:pt x="7" y="136"/>
                    <a:pt x="8" y="133"/>
                    <a:pt x="8" y="130"/>
                  </a:cubicBezTo>
                  <a:cubicBezTo>
                    <a:pt x="8" y="127"/>
                    <a:pt x="9" y="125"/>
                    <a:pt x="6" y="123"/>
                  </a:cubicBezTo>
                  <a:cubicBezTo>
                    <a:pt x="4" y="121"/>
                    <a:pt x="2" y="118"/>
                    <a:pt x="1" y="117"/>
                  </a:cubicBezTo>
                  <a:cubicBezTo>
                    <a:pt x="1" y="116"/>
                    <a:pt x="1" y="116"/>
                    <a:pt x="1" y="116"/>
                  </a:cubicBezTo>
                  <a:cubicBezTo>
                    <a:pt x="0" y="116"/>
                    <a:pt x="0" y="116"/>
                    <a:pt x="0" y="116"/>
                  </a:cubicBezTo>
                  <a:cubicBezTo>
                    <a:pt x="0" y="116"/>
                    <a:pt x="0" y="116"/>
                    <a:pt x="0" y="116"/>
                  </a:cubicBezTo>
                  <a:cubicBezTo>
                    <a:pt x="0" y="113"/>
                    <a:pt x="0" y="110"/>
                    <a:pt x="2" y="109"/>
                  </a:cubicBezTo>
                  <a:cubicBezTo>
                    <a:pt x="5" y="107"/>
                    <a:pt x="9" y="101"/>
                    <a:pt x="9" y="98"/>
                  </a:cubicBezTo>
                  <a:cubicBezTo>
                    <a:pt x="9" y="97"/>
                    <a:pt x="8" y="96"/>
                    <a:pt x="7" y="95"/>
                  </a:cubicBezTo>
                  <a:cubicBezTo>
                    <a:pt x="5" y="94"/>
                    <a:pt x="4" y="93"/>
                    <a:pt x="4" y="91"/>
                  </a:cubicBezTo>
                  <a:cubicBezTo>
                    <a:pt x="4" y="89"/>
                    <a:pt x="5" y="87"/>
                    <a:pt x="6" y="85"/>
                  </a:cubicBezTo>
                  <a:cubicBezTo>
                    <a:pt x="7" y="82"/>
                    <a:pt x="8" y="80"/>
                    <a:pt x="7" y="79"/>
                  </a:cubicBezTo>
                  <a:cubicBezTo>
                    <a:pt x="5" y="77"/>
                    <a:pt x="7" y="75"/>
                    <a:pt x="8" y="72"/>
                  </a:cubicBezTo>
                  <a:cubicBezTo>
                    <a:pt x="9" y="70"/>
                    <a:pt x="11" y="68"/>
                    <a:pt x="10" y="67"/>
                  </a:cubicBezTo>
                  <a:cubicBezTo>
                    <a:pt x="10" y="66"/>
                    <a:pt x="10" y="65"/>
                    <a:pt x="10" y="64"/>
                  </a:cubicBezTo>
                  <a:cubicBezTo>
                    <a:pt x="9" y="54"/>
                    <a:pt x="8" y="47"/>
                    <a:pt x="9" y="45"/>
                  </a:cubicBezTo>
                  <a:cubicBezTo>
                    <a:pt x="10" y="45"/>
                    <a:pt x="10" y="45"/>
                    <a:pt x="11" y="44"/>
                  </a:cubicBezTo>
                  <a:cubicBezTo>
                    <a:pt x="12" y="43"/>
                    <a:pt x="14" y="42"/>
                    <a:pt x="13" y="38"/>
                  </a:cubicBezTo>
                  <a:cubicBezTo>
                    <a:pt x="12" y="37"/>
                    <a:pt x="11" y="33"/>
                    <a:pt x="9" y="30"/>
                  </a:cubicBezTo>
                  <a:cubicBezTo>
                    <a:pt x="7" y="26"/>
                    <a:pt x="4" y="21"/>
                    <a:pt x="3" y="18"/>
                  </a:cubicBezTo>
                  <a:cubicBezTo>
                    <a:pt x="3" y="17"/>
                    <a:pt x="3" y="17"/>
                    <a:pt x="3" y="17"/>
                  </a:cubicBezTo>
                  <a:cubicBezTo>
                    <a:pt x="4" y="17"/>
                    <a:pt x="4" y="17"/>
                    <a:pt x="4" y="17"/>
                  </a:cubicBezTo>
                  <a:cubicBezTo>
                    <a:pt x="6" y="17"/>
                    <a:pt x="7" y="18"/>
                    <a:pt x="9" y="18"/>
                  </a:cubicBezTo>
                  <a:cubicBezTo>
                    <a:pt x="13" y="20"/>
                    <a:pt x="17" y="19"/>
                    <a:pt x="20" y="15"/>
                  </a:cubicBezTo>
                  <a:cubicBezTo>
                    <a:pt x="22" y="14"/>
                    <a:pt x="24" y="13"/>
                    <a:pt x="27" y="12"/>
                  </a:cubicBezTo>
                  <a:cubicBezTo>
                    <a:pt x="28" y="11"/>
                    <a:pt x="30" y="10"/>
                    <a:pt x="33" y="9"/>
                  </a:cubicBezTo>
                  <a:cubicBezTo>
                    <a:pt x="34" y="8"/>
                    <a:pt x="36" y="7"/>
                    <a:pt x="37" y="7"/>
                  </a:cubicBezTo>
                  <a:cubicBezTo>
                    <a:pt x="41" y="4"/>
                    <a:pt x="46" y="1"/>
                    <a:pt x="50" y="1"/>
                  </a:cubicBezTo>
                  <a:cubicBezTo>
                    <a:pt x="52" y="1"/>
                    <a:pt x="54" y="1"/>
                    <a:pt x="56" y="0"/>
                  </a:cubicBezTo>
                  <a:cubicBezTo>
                    <a:pt x="58" y="0"/>
                    <a:pt x="60" y="0"/>
                    <a:pt x="62" y="0"/>
                  </a:cubicBezTo>
                  <a:cubicBezTo>
                    <a:pt x="63" y="0"/>
                    <a:pt x="64" y="0"/>
                    <a:pt x="65" y="1"/>
                  </a:cubicBezTo>
                  <a:cubicBezTo>
                    <a:pt x="65" y="1"/>
                    <a:pt x="65" y="2"/>
                    <a:pt x="65" y="3"/>
                  </a:cubicBezTo>
                  <a:cubicBezTo>
                    <a:pt x="63" y="7"/>
                    <a:pt x="63" y="23"/>
                    <a:pt x="69" y="30"/>
                  </a:cubicBezTo>
                  <a:cubicBezTo>
                    <a:pt x="75" y="37"/>
                    <a:pt x="79" y="41"/>
                    <a:pt x="84" y="41"/>
                  </a:cubicBezTo>
                  <a:cubicBezTo>
                    <a:pt x="85" y="41"/>
                    <a:pt x="85" y="41"/>
                    <a:pt x="86" y="41"/>
                  </a:cubicBezTo>
                  <a:cubicBezTo>
                    <a:pt x="87" y="41"/>
                    <a:pt x="88" y="40"/>
                    <a:pt x="88" y="40"/>
                  </a:cubicBezTo>
                  <a:cubicBezTo>
                    <a:pt x="90" y="40"/>
                    <a:pt x="92" y="41"/>
                    <a:pt x="93" y="42"/>
                  </a:cubicBezTo>
                  <a:cubicBezTo>
                    <a:pt x="94" y="42"/>
                    <a:pt x="94" y="43"/>
                    <a:pt x="96" y="43"/>
                  </a:cubicBezTo>
                  <a:cubicBezTo>
                    <a:pt x="99" y="43"/>
                    <a:pt x="100" y="44"/>
                    <a:pt x="100" y="46"/>
                  </a:cubicBezTo>
                  <a:cubicBezTo>
                    <a:pt x="101" y="47"/>
                    <a:pt x="101" y="48"/>
                    <a:pt x="103" y="48"/>
                  </a:cubicBezTo>
                  <a:cubicBezTo>
                    <a:pt x="105" y="48"/>
                    <a:pt x="115" y="48"/>
                    <a:pt x="115" y="54"/>
                  </a:cubicBezTo>
                  <a:cubicBezTo>
                    <a:pt x="115" y="55"/>
                    <a:pt x="115" y="55"/>
                    <a:pt x="117" y="56"/>
                  </a:cubicBezTo>
                  <a:cubicBezTo>
                    <a:pt x="118" y="56"/>
                    <a:pt x="119" y="56"/>
                    <a:pt x="121" y="56"/>
                  </a:cubicBezTo>
                  <a:cubicBezTo>
                    <a:pt x="121" y="56"/>
                    <a:pt x="122" y="56"/>
                    <a:pt x="123" y="56"/>
                  </a:cubicBezTo>
                  <a:cubicBezTo>
                    <a:pt x="124" y="56"/>
                    <a:pt x="125" y="56"/>
                    <a:pt x="125" y="56"/>
                  </a:cubicBezTo>
                  <a:cubicBezTo>
                    <a:pt x="128" y="56"/>
                    <a:pt x="130" y="56"/>
                    <a:pt x="131" y="57"/>
                  </a:cubicBezTo>
                  <a:cubicBezTo>
                    <a:pt x="131" y="57"/>
                    <a:pt x="131" y="58"/>
                    <a:pt x="132" y="58"/>
                  </a:cubicBezTo>
                  <a:cubicBezTo>
                    <a:pt x="135" y="60"/>
                    <a:pt x="137" y="63"/>
                    <a:pt x="137" y="67"/>
                  </a:cubicBezTo>
                  <a:cubicBezTo>
                    <a:pt x="136" y="70"/>
                    <a:pt x="137" y="72"/>
                    <a:pt x="139" y="73"/>
                  </a:cubicBezTo>
                  <a:cubicBezTo>
                    <a:pt x="140" y="75"/>
                    <a:pt x="140" y="76"/>
                    <a:pt x="140" y="77"/>
                  </a:cubicBezTo>
                  <a:cubicBezTo>
                    <a:pt x="140" y="78"/>
                    <a:pt x="139" y="79"/>
                    <a:pt x="138" y="79"/>
                  </a:cubicBezTo>
                  <a:cubicBezTo>
                    <a:pt x="136" y="80"/>
                    <a:pt x="137" y="81"/>
                    <a:pt x="138" y="84"/>
                  </a:cubicBezTo>
                  <a:cubicBezTo>
                    <a:pt x="139" y="86"/>
                    <a:pt x="140" y="88"/>
                    <a:pt x="140" y="91"/>
                  </a:cubicBezTo>
                  <a:cubicBezTo>
                    <a:pt x="141" y="95"/>
                    <a:pt x="145" y="97"/>
                    <a:pt x="154" y="97"/>
                  </a:cubicBezTo>
                  <a:cubicBezTo>
                    <a:pt x="154" y="97"/>
                    <a:pt x="155" y="97"/>
                    <a:pt x="156" y="97"/>
                  </a:cubicBezTo>
                  <a:cubicBezTo>
                    <a:pt x="157" y="97"/>
                    <a:pt x="158" y="97"/>
                    <a:pt x="159" y="97"/>
                  </a:cubicBezTo>
                  <a:cubicBezTo>
                    <a:pt x="166" y="97"/>
                    <a:pt x="168" y="99"/>
                    <a:pt x="168" y="105"/>
                  </a:cubicBezTo>
                  <a:cubicBezTo>
                    <a:pt x="168" y="109"/>
                    <a:pt x="170" y="111"/>
                    <a:pt x="172" y="113"/>
                  </a:cubicBezTo>
                  <a:cubicBezTo>
                    <a:pt x="174" y="114"/>
                    <a:pt x="176" y="116"/>
                    <a:pt x="177" y="119"/>
                  </a:cubicBezTo>
                  <a:cubicBezTo>
                    <a:pt x="178" y="123"/>
                    <a:pt x="177" y="127"/>
                    <a:pt x="176" y="131"/>
                  </a:cubicBezTo>
                  <a:cubicBezTo>
                    <a:pt x="176" y="134"/>
                    <a:pt x="175" y="136"/>
                    <a:pt x="175" y="138"/>
                  </a:cubicBezTo>
                  <a:cubicBezTo>
                    <a:pt x="176" y="142"/>
                    <a:pt x="174" y="145"/>
                    <a:pt x="173" y="147"/>
                  </a:cubicBezTo>
                  <a:cubicBezTo>
                    <a:pt x="171" y="149"/>
                    <a:pt x="169" y="150"/>
                    <a:pt x="168" y="150"/>
                  </a:cubicBezTo>
                  <a:cubicBezTo>
                    <a:pt x="166" y="150"/>
                    <a:pt x="165" y="148"/>
                    <a:pt x="163" y="147"/>
                  </a:cubicBezTo>
                  <a:cubicBezTo>
                    <a:pt x="160" y="145"/>
                    <a:pt x="157" y="144"/>
                    <a:pt x="154" y="144"/>
                  </a:cubicBezTo>
                  <a:cubicBezTo>
                    <a:pt x="153" y="144"/>
                    <a:pt x="152" y="144"/>
                    <a:pt x="152" y="144"/>
                  </a:cubicBezTo>
                  <a:cubicBezTo>
                    <a:pt x="151" y="144"/>
                    <a:pt x="150" y="144"/>
                    <a:pt x="149" y="144"/>
                  </a:cubicBezTo>
                  <a:cubicBezTo>
                    <a:pt x="144" y="144"/>
                    <a:pt x="140" y="144"/>
                    <a:pt x="138" y="145"/>
                  </a:cubicBezTo>
                  <a:cubicBezTo>
                    <a:pt x="136" y="146"/>
                    <a:pt x="133" y="146"/>
                    <a:pt x="130" y="146"/>
                  </a:cubicBezTo>
                  <a:cubicBezTo>
                    <a:pt x="126" y="146"/>
                    <a:pt x="123" y="146"/>
                    <a:pt x="120" y="148"/>
                  </a:cubicBezTo>
                  <a:cubicBezTo>
                    <a:pt x="115" y="152"/>
                    <a:pt x="109" y="159"/>
                    <a:pt x="109" y="161"/>
                  </a:cubicBezTo>
                  <a:cubicBezTo>
                    <a:pt x="109" y="164"/>
                    <a:pt x="108" y="183"/>
                    <a:pt x="104" y="184"/>
                  </a:cubicBezTo>
                  <a:cubicBezTo>
                    <a:pt x="104" y="184"/>
                    <a:pt x="104" y="185"/>
                    <a:pt x="103" y="185"/>
                  </a:cubicBezTo>
                  <a:cubicBezTo>
                    <a:pt x="101" y="185"/>
                    <a:pt x="99" y="184"/>
                    <a:pt x="97" y="184"/>
                  </a:cubicBezTo>
                  <a:cubicBezTo>
                    <a:pt x="94" y="184"/>
                    <a:pt x="92" y="183"/>
                    <a:pt x="89" y="183"/>
                  </a:cubicBezTo>
                  <a:cubicBezTo>
                    <a:pt x="87" y="183"/>
                    <a:pt x="86" y="184"/>
                    <a:pt x="85" y="184"/>
                  </a:cubicBezTo>
                  <a:cubicBezTo>
                    <a:pt x="85" y="185"/>
                    <a:pt x="84" y="186"/>
                    <a:pt x="83" y="188"/>
                  </a:cubicBezTo>
                  <a:cubicBezTo>
                    <a:pt x="82" y="191"/>
                    <a:pt x="80" y="195"/>
                    <a:pt x="78" y="195"/>
                  </a:cubicBezTo>
                  <a:cubicBezTo>
                    <a:pt x="77" y="195"/>
                    <a:pt x="77" y="194"/>
                    <a:pt x="76" y="193"/>
                  </a:cubicBezTo>
                  <a:cubicBezTo>
                    <a:pt x="73" y="188"/>
                    <a:pt x="68" y="187"/>
                    <a:pt x="62" y="186"/>
                  </a:cubicBezTo>
                  <a:cubicBezTo>
                    <a:pt x="61" y="186"/>
                    <a:pt x="60" y="186"/>
                    <a:pt x="59" y="186"/>
                  </a:cubicBezTo>
                  <a:cubicBezTo>
                    <a:pt x="57" y="186"/>
                    <a:pt x="56" y="185"/>
                    <a:pt x="54" y="184"/>
                  </a:cubicBezTo>
                  <a:cubicBezTo>
                    <a:pt x="54" y="183"/>
                    <a:pt x="53" y="183"/>
                    <a:pt x="52" y="183"/>
                  </a:cubicBezTo>
                  <a:cubicBezTo>
                    <a:pt x="51" y="183"/>
                    <a:pt x="49" y="184"/>
                    <a:pt x="47" y="186"/>
                  </a:cubicBezTo>
                  <a:cubicBezTo>
                    <a:pt x="41" y="193"/>
                    <a:pt x="32" y="199"/>
                    <a:pt x="28" y="199"/>
                  </a:cubicBezTo>
                  <a:close/>
                  <a:moveTo>
                    <a:pt x="1" y="115"/>
                  </a:moveTo>
                  <a:cubicBezTo>
                    <a:pt x="2" y="115"/>
                    <a:pt x="2" y="116"/>
                    <a:pt x="2" y="117"/>
                  </a:cubicBezTo>
                  <a:cubicBezTo>
                    <a:pt x="3" y="118"/>
                    <a:pt x="4" y="120"/>
                    <a:pt x="7" y="122"/>
                  </a:cubicBezTo>
                  <a:cubicBezTo>
                    <a:pt x="10" y="124"/>
                    <a:pt x="9" y="127"/>
                    <a:pt x="9" y="130"/>
                  </a:cubicBezTo>
                  <a:cubicBezTo>
                    <a:pt x="9" y="133"/>
                    <a:pt x="9" y="135"/>
                    <a:pt x="10" y="138"/>
                  </a:cubicBezTo>
                  <a:cubicBezTo>
                    <a:pt x="12" y="140"/>
                    <a:pt x="14" y="141"/>
                    <a:pt x="15" y="142"/>
                  </a:cubicBezTo>
                  <a:cubicBezTo>
                    <a:pt x="17" y="143"/>
                    <a:pt x="17" y="144"/>
                    <a:pt x="18" y="145"/>
                  </a:cubicBezTo>
                  <a:cubicBezTo>
                    <a:pt x="18" y="145"/>
                    <a:pt x="17" y="146"/>
                    <a:pt x="16" y="146"/>
                  </a:cubicBezTo>
                  <a:cubicBezTo>
                    <a:pt x="15" y="148"/>
                    <a:pt x="15" y="149"/>
                    <a:pt x="15" y="151"/>
                  </a:cubicBezTo>
                  <a:cubicBezTo>
                    <a:pt x="15" y="153"/>
                    <a:pt x="15" y="155"/>
                    <a:pt x="13" y="157"/>
                  </a:cubicBezTo>
                  <a:cubicBezTo>
                    <a:pt x="13" y="157"/>
                    <a:pt x="12" y="158"/>
                    <a:pt x="12" y="160"/>
                  </a:cubicBezTo>
                  <a:cubicBezTo>
                    <a:pt x="13" y="163"/>
                    <a:pt x="16" y="167"/>
                    <a:pt x="18" y="168"/>
                  </a:cubicBezTo>
                  <a:cubicBezTo>
                    <a:pt x="21" y="169"/>
                    <a:pt x="21" y="172"/>
                    <a:pt x="21" y="174"/>
                  </a:cubicBezTo>
                  <a:cubicBezTo>
                    <a:pt x="22" y="177"/>
                    <a:pt x="22" y="180"/>
                    <a:pt x="24" y="181"/>
                  </a:cubicBezTo>
                  <a:cubicBezTo>
                    <a:pt x="26" y="184"/>
                    <a:pt x="27" y="189"/>
                    <a:pt x="27" y="193"/>
                  </a:cubicBezTo>
                  <a:cubicBezTo>
                    <a:pt x="27" y="195"/>
                    <a:pt x="27" y="196"/>
                    <a:pt x="27" y="197"/>
                  </a:cubicBezTo>
                  <a:cubicBezTo>
                    <a:pt x="27" y="198"/>
                    <a:pt x="27" y="198"/>
                    <a:pt x="28" y="198"/>
                  </a:cubicBezTo>
                  <a:cubicBezTo>
                    <a:pt x="32" y="198"/>
                    <a:pt x="40" y="192"/>
                    <a:pt x="46" y="186"/>
                  </a:cubicBezTo>
                  <a:cubicBezTo>
                    <a:pt x="49" y="183"/>
                    <a:pt x="50" y="182"/>
                    <a:pt x="52" y="182"/>
                  </a:cubicBezTo>
                  <a:cubicBezTo>
                    <a:pt x="53" y="182"/>
                    <a:pt x="54" y="183"/>
                    <a:pt x="55" y="183"/>
                  </a:cubicBezTo>
                  <a:cubicBezTo>
                    <a:pt x="56" y="184"/>
                    <a:pt x="57" y="185"/>
                    <a:pt x="60" y="185"/>
                  </a:cubicBezTo>
                  <a:cubicBezTo>
                    <a:pt x="60" y="185"/>
                    <a:pt x="61" y="185"/>
                    <a:pt x="62" y="185"/>
                  </a:cubicBezTo>
                  <a:cubicBezTo>
                    <a:pt x="68" y="186"/>
                    <a:pt x="74" y="187"/>
                    <a:pt x="77" y="192"/>
                  </a:cubicBezTo>
                  <a:cubicBezTo>
                    <a:pt x="77" y="193"/>
                    <a:pt x="78" y="194"/>
                    <a:pt x="78" y="194"/>
                  </a:cubicBezTo>
                  <a:cubicBezTo>
                    <a:pt x="79" y="194"/>
                    <a:pt x="81" y="190"/>
                    <a:pt x="82" y="188"/>
                  </a:cubicBezTo>
                  <a:cubicBezTo>
                    <a:pt x="83" y="186"/>
                    <a:pt x="84" y="184"/>
                    <a:pt x="85" y="184"/>
                  </a:cubicBezTo>
                  <a:cubicBezTo>
                    <a:pt x="85" y="183"/>
                    <a:pt x="87" y="182"/>
                    <a:pt x="89" y="182"/>
                  </a:cubicBezTo>
                  <a:cubicBezTo>
                    <a:pt x="92" y="182"/>
                    <a:pt x="95" y="183"/>
                    <a:pt x="97" y="183"/>
                  </a:cubicBezTo>
                  <a:cubicBezTo>
                    <a:pt x="99" y="183"/>
                    <a:pt x="102" y="184"/>
                    <a:pt x="103" y="184"/>
                  </a:cubicBezTo>
                  <a:cubicBezTo>
                    <a:pt x="104" y="184"/>
                    <a:pt x="104" y="183"/>
                    <a:pt x="104" y="183"/>
                  </a:cubicBezTo>
                  <a:cubicBezTo>
                    <a:pt x="106" y="183"/>
                    <a:pt x="109" y="165"/>
                    <a:pt x="108" y="162"/>
                  </a:cubicBezTo>
                  <a:cubicBezTo>
                    <a:pt x="108" y="158"/>
                    <a:pt x="115" y="151"/>
                    <a:pt x="119" y="147"/>
                  </a:cubicBezTo>
                  <a:cubicBezTo>
                    <a:pt x="122" y="145"/>
                    <a:pt x="126" y="145"/>
                    <a:pt x="130" y="145"/>
                  </a:cubicBezTo>
                  <a:cubicBezTo>
                    <a:pt x="133" y="145"/>
                    <a:pt x="135" y="145"/>
                    <a:pt x="137" y="144"/>
                  </a:cubicBezTo>
                  <a:cubicBezTo>
                    <a:pt x="140" y="143"/>
                    <a:pt x="144" y="143"/>
                    <a:pt x="149" y="143"/>
                  </a:cubicBezTo>
                  <a:cubicBezTo>
                    <a:pt x="150" y="143"/>
                    <a:pt x="151" y="143"/>
                    <a:pt x="152" y="143"/>
                  </a:cubicBezTo>
                  <a:cubicBezTo>
                    <a:pt x="152" y="143"/>
                    <a:pt x="153" y="143"/>
                    <a:pt x="154" y="143"/>
                  </a:cubicBezTo>
                  <a:cubicBezTo>
                    <a:pt x="158" y="143"/>
                    <a:pt x="161" y="145"/>
                    <a:pt x="163" y="146"/>
                  </a:cubicBezTo>
                  <a:cubicBezTo>
                    <a:pt x="165" y="148"/>
                    <a:pt x="167" y="149"/>
                    <a:pt x="168" y="149"/>
                  </a:cubicBezTo>
                  <a:cubicBezTo>
                    <a:pt x="169" y="149"/>
                    <a:pt x="171" y="148"/>
                    <a:pt x="172" y="146"/>
                  </a:cubicBezTo>
                  <a:cubicBezTo>
                    <a:pt x="173" y="144"/>
                    <a:pt x="175" y="141"/>
                    <a:pt x="174" y="138"/>
                  </a:cubicBezTo>
                  <a:cubicBezTo>
                    <a:pt x="174" y="136"/>
                    <a:pt x="175" y="133"/>
                    <a:pt x="175" y="131"/>
                  </a:cubicBezTo>
                  <a:cubicBezTo>
                    <a:pt x="176" y="127"/>
                    <a:pt x="177" y="123"/>
                    <a:pt x="176" y="120"/>
                  </a:cubicBezTo>
                  <a:cubicBezTo>
                    <a:pt x="175" y="117"/>
                    <a:pt x="173" y="115"/>
                    <a:pt x="172" y="113"/>
                  </a:cubicBezTo>
                  <a:cubicBezTo>
                    <a:pt x="170" y="111"/>
                    <a:pt x="167" y="109"/>
                    <a:pt x="167" y="105"/>
                  </a:cubicBezTo>
                  <a:cubicBezTo>
                    <a:pt x="167" y="100"/>
                    <a:pt x="166" y="98"/>
                    <a:pt x="159" y="98"/>
                  </a:cubicBezTo>
                  <a:cubicBezTo>
                    <a:pt x="158" y="98"/>
                    <a:pt x="157" y="98"/>
                    <a:pt x="156" y="98"/>
                  </a:cubicBezTo>
                  <a:cubicBezTo>
                    <a:pt x="155" y="98"/>
                    <a:pt x="154" y="98"/>
                    <a:pt x="154" y="98"/>
                  </a:cubicBezTo>
                  <a:cubicBezTo>
                    <a:pt x="142" y="98"/>
                    <a:pt x="140" y="94"/>
                    <a:pt x="139" y="91"/>
                  </a:cubicBezTo>
                  <a:cubicBezTo>
                    <a:pt x="139" y="88"/>
                    <a:pt x="138" y="87"/>
                    <a:pt x="138" y="85"/>
                  </a:cubicBezTo>
                  <a:cubicBezTo>
                    <a:pt x="136" y="82"/>
                    <a:pt x="135" y="80"/>
                    <a:pt x="138" y="78"/>
                  </a:cubicBezTo>
                  <a:cubicBezTo>
                    <a:pt x="139" y="78"/>
                    <a:pt x="139" y="77"/>
                    <a:pt x="139" y="77"/>
                  </a:cubicBezTo>
                  <a:cubicBezTo>
                    <a:pt x="139" y="76"/>
                    <a:pt x="139" y="75"/>
                    <a:pt x="138" y="74"/>
                  </a:cubicBezTo>
                  <a:cubicBezTo>
                    <a:pt x="137" y="72"/>
                    <a:pt x="135" y="70"/>
                    <a:pt x="136" y="67"/>
                  </a:cubicBezTo>
                  <a:cubicBezTo>
                    <a:pt x="136" y="63"/>
                    <a:pt x="134" y="61"/>
                    <a:pt x="131" y="59"/>
                  </a:cubicBezTo>
                  <a:cubicBezTo>
                    <a:pt x="131" y="58"/>
                    <a:pt x="130" y="58"/>
                    <a:pt x="130" y="58"/>
                  </a:cubicBezTo>
                  <a:cubicBezTo>
                    <a:pt x="129" y="57"/>
                    <a:pt x="127" y="57"/>
                    <a:pt x="125" y="57"/>
                  </a:cubicBezTo>
                  <a:cubicBezTo>
                    <a:pt x="125" y="57"/>
                    <a:pt x="124" y="57"/>
                    <a:pt x="123" y="57"/>
                  </a:cubicBezTo>
                  <a:cubicBezTo>
                    <a:pt x="122" y="57"/>
                    <a:pt x="121" y="57"/>
                    <a:pt x="121" y="57"/>
                  </a:cubicBezTo>
                  <a:cubicBezTo>
                    <a:pt x="119" y="57"/>
                    <a:pt x="117" y="57"/>
                    <a:pt x="116" y="57"/>
                  </a:cubicBezTo>
                  <a:cubicBezTo>
                    <a:pt x="115" y="56"/>
                    <a:pt x="114" y="55"/>
                    <a:pt x="114" y="54"/>
                  </a:cubicBezTo>
                  <a:cubicBezTo>
                    <a:pt x="114" y="49"/>
                    <a:pt x="104" y="49"/>
                    <a:pt x="103" y="49"/>
                  </a:cubicBezTo>
                  <a:cubicBezTo>
                    <a:pt x="100" y="49"/>
                    <a:pt x="100" y="47"/>
                    <a:pt x="99" y="46"/>
                  </a:cubicBezTo>
                  <a:cubicBezTo>
                    <a:pt x="99" y="44"/>
                    <a:pt x="98" y="44"/>
                    <a:pt x="97" y="44"/>
                  </a:cubicBezTo>
                  <a:cubicBezTo>
                    <a:pt x="94" y="44"/>
                    <a:pt x="93" y="43"/>
                    <a:pt x="92" y="43"/>
                  </a:cubicBezTo>
                  <a:cubicBezTo>
                    <a:pt x="91" y="42"/>
                    <a:pt x="90" y="41"/>
                    <a:pt x="88" y="41"/>
                  </a:cubicBezTo>
                  <a:cubicBezTo>
                    <a:pt x="88" y="41"/>
                    <a:pt x="87" y="42"/>
                    <a:pt x="86" y="42"/>
                  </a:cubicBezTo>
                  <a:cubicBezTo>
                    <a:pt x="79" y="43"/>
                    <a:pt x="75" y="39"/>
                    <a:pt x="69" y="31"/>
                  </a:cubicBezTo>
                  <a:cubicBezTo>
                    <a:pt x="62" y="23"/>
                    <a:pt x="62" y="7"/>
                    <a:pt x="64" y="2"/>
                  </a:cubicBezTo>
                  <a:cubicBezTo>
                    <a:pt x="64" y="1"/>
                    <a:pt x="64" y="1"/>
                    <a:pt x="64" y="1"/>
                  </a:cubicBezTo>
                  <a:cubicBezTo>
                    <a:pt x="64" y="1"/>
                    <a:pt x="63" y="1"/>
                    <a:pt x="62" y="1"/>
                  </a:cubicBezTo>
                  <a:cubicBezTo>
                    <a:pt x="60" y="1"/>
                    <a:pt x="59" y="1"/>
                    <a:pt x="57" y="1"/>
                  </a:cubicBezTo>
                  <a:cubicBezTo>
                    <a:pt x="55" y="2"/>
                    <a:pt x="52" y="2"/>
                    <a:pt x="50" y="2"/>
                  </a:cubicBezTo>
                  <a:cubicBezTo>
                    <a:pt x="46" y="2"/>
                    <a:pt x="42" y="5"/>
                    <a:pt x="37" y="8"/>
                  </a:cubicBezTo>
                  <a:cubicBezTo>
                    <a:pt x="36" y="8"/>
                    <a:pt x="35" y="9"/>
                    <a:pt x="34" y="10"/>
                  </a:cubicBezTo>
                  <a:cubicBezTo>
                    <a:pt x="31" y="11"/>
                    <a:pt x="29" y="12"/>
                    <a:pt x="27" y="13"/>
                  </a:cubicBezTo>
                  <a:cubicBezTo>
                    <a:pt x="25" y="14"/>
                    <a:pt x="23" y="14"/>
                    <a:pt x="21" y="16"/>
                  </a:cubicBezTo>
                  <a:cubicBezTo>
                    <a:pt x="18" y="20"/>
                    <a:pt x="13" y="21"/>
                    <a:pt x="8" y="19"/>
                  </a:cubicBezTo>
                  <a:cubicBezTo>
                    <a:pt x="7" y="19"/>
                    <a:pt x="6" y="19"/>
                    <a:pt x="4" y="18"/>
                  </a:cubicBezTo>
                  <a:cubicBezTo>
                    <a:pt x="6" y="22"/>
                    <a:pt x="8" y="26"/>
                    <a:pt x="10" y="29"/>
                  </a:cubicBezTo>
                  <a:cubicBezTo>
                    <a:pt x="12" y="33"/>
                    <a:pt x="13" y="36"/>
                    <a:pt x="14" y="38"/>
                  </a:cubicBezTo>
                  <a:cubicBezTo>
                    <a:pt x="15" y="42"/>
                    <a:pt x="13" y="44"/>
                    <a:pt x="11" y="45"/>
                  </a:cubicBezTo>
                  <a:cubicBezTo>
                    <a:pt x="11" y="46"/>
                    <a:pt x="10" y="46"/>
                    <a:pt x="10" y="46"/>
                  </a:cubicBezTo>
                  <a:cubicBezTo>
                    <a:pt x="9" y="47"/>
                    <a:pt x="11" y="60"/>
                    <a:pt x="11" y="64"/>
                  </a:cubicBezTo>
                  <a:cubicBezTo>
                    <a:pt x="11" y="65"/>
                    <a:pt x="11" y="66"/>
                    <a:pt x="11" y="66"/>
                  </a:cubicBezTo>
                  <a:cubicBezTo>
                    <a:pt x="12" y="68"/>
                    <a:pt x="10" y="70"/>
                    <a:pt x="9" y="72"/>
                  </a:cubicBezTo>
                  <a:cubicBezTo>
                    <a:pt x="8" y="75"/>
                    <a:pt x="7" y="77"/>
                    <a:pt x="8" y="78"/>
                  </a:cubicBezTo>
                  <a:cubicBezTo>
                    <a:pt x="10" y="80"/>
                    <a:pt x="8" y="82"/>
                    <a:pt x="7" y="85"/>
                  </a:cubicBezTo>
                  <a:cubicBezTo>
                    <a:pt x="6" y="87"/>
                    <a:pt x="5" y="89"/>
                    <a:pt x="5" y="91"/>
                  </a:cubicBezTo>
                  <a:cubicBezTo>
                    <a:pt x="5" y="93"/>
                    <a:pt x="6" y="94"/>
                    <a:pt x="7" y="94"/>
                  </a:cubicBezTo>
                  <a:cubicBezTo>
                    <a:pt x="9" y="95"/>
                    <a:pt x="10" y="96"/>
                    <a:pt x="10" y="98"/>
                  </a:cubicBezTo>
                  <a:cubicBezTo>
                    <a:pt x="10" y="101"/>
                    <a:pt x="5" y="108"/>
                    <a:pt x="2" y="110"/>
                  </a:cubicBezTo>
                  <a:cubicBezTo>
                    <a:pt x="1" y="111"/>
                    <a:pt x="1" y="112"/>
                    <a:pt x="1" y="1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89" name="Freeform 116"/>
            <p:cNvSpPr>
              <a:spLocks noEditPoints="1"/>
            </p:cNvSpPr>
            <p:nvPr/>
          </p:nvSpPr>
          <p:spPr>
            <a:xfrm>
              <a:off x="2754314" y="3814763"/>
              <a:ext cx="319088" cy="465138"/>
            </a:xfrm>
            <a:custGeom>
              <a:gdLst>
                <a:gd name="T0" fmla="*/ 162 w 188"/>
                <a:gd name="T1" fmla="*/ 270 h 274"/>
                <a:gd name="T2" fmla="*/ 81 w 188"/>
                <a:gd name="T3" fmla="*/ 215 h 274"/>
                <a:gd name="T4" fmla="*/ 40 w 188"/>
                <a:gd name="T5" fmla="*/ 131 h 274"/>
                <a:gd name="T6" fmla="*/ 13 w 188"/>
                <a:gd name="T7" fmla="*/ 95 h 274"/>
                <a:gd name="T8" fmla="*/ 8 w 188"/>
                <a:gd name="T9" fmla="*/ 82 h 274"/>
                <a:gd name="T10" fmla="*/ 15 w 188"/>
                <a:gd name="T11" fmla="*/ 48 h 274"/>
                <a:gd name="T12" fmla="*/ 18 w 188"/>
                <a:gd name="T13" fmla="*/ 63 h 274"/>
                <a:gd name="T14" fmla="*/ 29 w 188"/>
                <a:gd name="T15" fmla="*/ 66 h 274"/>
                <a:gd name="T16" fmla="*/ 52 w 188"/>
                <a:gd name="T17" fmla="*/ 42 h 274"/>
                <a:gd name="T18" fmla="*/ 88 w 188"/>
                <a:gd name="T19" fmla="*/ 12 h 274"/>
                <a:gd name="T20" fmla="*/ 85 w 188"/>
                <a:gd name="T21" fmla="*/ 2 h 274"/>
                <a:gd name="T22" fmla="*/ 114 w 188"/>
                <a:gd name="T23" fmla="*/ 18 h 274"/>
                <a:gd name="T24" fmla="*/ 122 w 188"/>
                <a:gd name="T25" fmla="*/ 33 h 274"/>
                <a:gd name="T26" fmla="*/ 147 w 188"/>
                <a:gd name="T27" fmla="*/ 33 h 274"/>
                <a:gd name="T28" fmla="*/ 167 w 188"/>
                <a:gd name="T29" fmla="*/ 41 h 274"/>
                <a:gd name="T30" fmla="*/ 168 w 188"/>
                <a:gd name="T31" fmla="*/ 60 h 274"/>
                <a:gd name="T32" fmla="*/ 161 w 188"/>
                <a:gd name="T33" fmla="*/ 60 h 274"/>
                <a:gd name="T34" fmla="*/ 131 w 188"/>
                <a:gd name="T35" fmla="*/ 72 h 274"/>
                <a:gd name="T36" fmla="*/ 118 w 188"/>
                <a:gd name="T37" fmla="*/ 95 h 274"/>
                <a:gd name="T38" fmla="*/ 116 w 188"/>
                <a:gd name="T39" fmla="*/ 118 h 274"/>
                <a:gd name="T40" fmla="*/ 123 w 188"/>
                <a:gd name="T41" fmla="*/ 136 h 274"/>
                <a:gd name="T42" fmla="*/ 142 w 188"/>
                <a:gd name="T43" fmla="*/ 146 h 274"/>
                <a:gd name="T44" fmla="*/ 159 w 188"/>
                <a:gd name="T45" fmla="*/ 142 h 274"/>
                <a:gd name="T46" fmla="*/ 171 w 188"/>
                <a:gd name="T47" fmla="*/ 160 h 274"/>
                <a:gd name="T48" fmla="*/ 183 w 188"/>
                <a:gd name="T49" fmla="*/ 172 h 274"/>
                <a:gd name="T50" fmla="*/ 184 w 188"/>
                <a:gd name="T51" fmla="*/ 207 h 274"/>
                <a:gd name="T52" fmla="*/ 180 w 188"/>
                <a:gd name="T53" fmla="*/ 228 h 274"/>
                <a:gd name="T54" fmla="*/ 175 w 188"/>
                <a:gd name="T55" fmla="*/ 253 h 274"/>
                <a:gd name="T56" fmla="*/ 174 w 188"/>
                <a:gd name="T57" fmla="*/ 259 h 274"/>
                <a:gd name="T58" fmla="*/ 163 w 188"/>
                <a:gd name="T59" fmla="*/ 274 h 274"/>
                <a:gd name="T60" fmla="*/ 8 w 188"/>
                <a:gd name="T61" fmla="*/ 81 h 274"/>
                <a:gd name="T62" fmla="*/ 14 w 188"/>
                <a:gd name="T63" fmla="*/ 94 h 274"/>
                <a:gd name="T64" fmla="*/ 41 w 188"/>
                <a:gd name="T65" fmla="*/ 130 h 274"/>
                <a:gd name="T66" fmla="*/ 81 w 188"/>
                <a:gd name="T67" fmla="*/ 215 h 274"/>
                <a:gd name="T68" fmla="*/ 162 w 188"/>
                <a:gd name="T69" fmla="*/ 269 h 274"/>
                <a:gd name="T70" fmla="*/ 172 w 188"/>
                <a:gd name="T71" fmla="*/ 262 h 274"/>
                <a:gd name="T72" fmla="*/ 182 w 188"/>
                <a:gd name="T73" fmla="*/ 241 h 274"/>
                <a:gd name="T74" fmla="*/ 180 w 188"/>
                <a:gd name="T75" fmla="*/ 222 h 274"/>
                <a:gd name="T76" fmla="*/ 182 w 188"/>
                <a:gd name="T77" fmla="*/ 188 h 274"/>
                <a:gd name="T78" fmla="*/ 176 w 188"/>
                <a:gd name="T79" fmla="*/ 161 h 274"/>
                <a:gd name="T80" fmla="*/ 158 w 188"/>
                <a:gd name="T81" fmla="*/ 146 h 274"/>
                <a:gd name="T82" fmla="*/ 146 w 188"/>
                <a:gd name="T83" fmla="*/ 147 h 274"/>
                <a:gd name="T84" fmla="*/ 129 w 188"/>
                <a:gd name="T85" fmla="*/ 138 h 274"/>
                <a:gd name="T86" fmla="*/ 116 w 188"/>
                <a:gd name="T87" fmla="*/ 120 h 274"/>
                <a:gd name="T88" fmla="*/ 114 w 188"/>
                <a:gd name="T89" fmla="*/ 97 h 274"/>
                <a:gd name="T90" fmla="*/ 125 w 188"/>
                <a:gd name="T91" fmla="*/ 76 h 274"/>
                <a:gd name="T92" fmla="*/ 156 w 188"/>
                <a:gd name="T93" fmla="*/ 61 h 274"/>
                <a:gd name="T94" fmla="*/ 163 w 188"/>
                <a:gd name="T95" fmla="*/ 57 h 274"/>
                <a:gd name="T96" fmla="*/ 166 w 188"/>
                <a:gd name="T97" fmla="*/ 40 h 274"/>
                <a:gd name="T98" fmla="*/ 143 w 188"/>
                <a:gd name="T99" fmla="*/ 33 h 274"/>
                <a:gd name="T100" fmla="*/ 121 w 188"/>
                <a:gd name="T101" fmla="*/ 32 h 274"/>
                <a:gd name="T102" fmla="*/ 106 w 188"/>
                <a:gd name="T103" fmla="*/ 14 h 274"/>
                <a:gd name="T104" fmla="*/ 91 w 188"/>
                <a:gd name="T105" fmla="*/ 10 h 274"/>
                <a:gd name="T106" fmla="*/ 55 w 188"/>
                <a:gd name="T107" fmla="*/ 42 h 274"/>
                <a:gd name="T108" fmla="*/ 34 w 188"/>
                <a:gd name="T109" fmla="*/ 72 h 274"/>
                <a:gd name="T110" fmla="*/ 21 w 188"/>
                <a:gd name="T111" fmla="*/ 66 h 274"/>
                <a:gd name="T112" fmla="*/ 14 w 188"/>
                <a:gd name="T113" fmla="*/ 49 h 2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274">
                  <a:moveTo>
                    <a:pt x="163" y="274"/>
                  </a:moveTo>
                  <a:cubicBezTo>
                    <a:pt x="163" y="273"/>
                    <a:pt x="163" y="273"/>
                    <a:pt x="163" y="273"/>
                  </a:cubicBezTo>
                  <a:cubicBezTo>
                    <a:pt x="163" y="272"/>
                    <a:pt x="163" y="271"/>
                    <a:pt x="163" y="271"/>
                  </a:cubicBezTo>
                  <a:cubicBezTo>
                    <a:pt x="163" y="270"/>
                    <a:pt x="162" y="270"/>
                    <a:pt x="162" y="270"/>
                  </a:cubicBezTo>
                  <a:cubicBezTo>
                    <a:pt x="158" y="268"/>
                    <a:pt x="149" y="263"/>
                    <a:pt x="145" y="257"/>
                  </a:cubicBezTo>
                  <a:cubicBezTo>
                    <a:pt x="143" y="253"/>
                    <a:pt x="128" y="244"/>
                    <a:pt x="104" y="232"/>
                  </a:cubicBezTo>
                  <a:cubicBezTo>
                    <a:pt x="94" y="227"/>
                    <a:pt x="89" y="223"/>
                    <a:pt x="85" y="219"/>
                  </a:cubicBezTo>
                  <a:cubicBezTo>
                    <a:pt x="84" y="218"/>
                    <a:pt x="82" y="216"/>
                    <a:pt x="81" y="215"/>
                  </a:cubicBezTo>
                  <a:cubicBezTo>
                    <a:pt x="75" y="212"/>
                    <a:pt x="73" y="204"/>
                    <a:pt x="75" y="201"/>
                  </a:cubicBezTo>
                  <a:cubicBezTo>
                    <a:pt x="76" y="200"/>
                    <a:pt x="75" y="194"/>
                    <a:pt x="66" y="183"/>
                  </a:cubicBezTo>
                  <a:cubicBezTo>
                    <a:pt x="59" y="174"/>
                    <a:pt x="49" y="153"/>
                    <a:pt x="44" y="140"/>
                  </a:cubicBezTo>
                  <a:cubicBezTo>
                    <a:pt x="42" y="136"/>
                    <a:pt x="41" y="133"/>
                    <a:pt x="40" y="131"/>
                  </a:cubicBezTo>
                  <a:cubicBezTo>
                    <a:pt x="38" y="125"/>
                    <a:pt x="37" y="122"/>
                    <a:pt x="33" y="118"/>
                  </a:cubicBezTo>
                  <a:cubicBezTo>
                    <a:pt x="31" y="116"/>
                    <a:pt x="29" y="112"/>
                    <a:pt x="27" y="109"/>
                  </a:cubicBezTo>
                  <a:cubicBezTo>
                    <a:pt x="25" y="105"/>
                    <a:pt x="22" y="100"/>
                    <a:pt x="19" y="98"/>
                  </a:cubicBezTo>
                  <a:cubicBezTo>
                    <a:pt x="17" y="97"/>
                    <a:pt x="15" y="96"/>
                    <a:pt x="13" y="95"/>
                  </a:cubicBezTo>
                  <a:cubicBezTo>
                    <a:pt x="8" y="91"/>
                    <a:pt x="2" y="88"/>
                    <a:pt x="3" y="85"/>
                  </a:cubicBezTo>
                  <a:cubicBezTo>
                    <a:pt x="3" y="83"/>
                    <a:pt x="5" y="83"/>
                    <a:pt x="6" y="83"/>
                  </a:cubicBezTo>
                  <a:cubicBezTo>
                    <a:pt x="7" y="83"/>
                    <a:pt x="7" y="83"/>
                    <a:pt x="8" y="83"/>
                  </a:cubicBezTo>
                  <a:cubicBezTo>
                    <a:pt x="8" y="82"/>
                    <a:pt x="8" y="82"/>
                    <a:pt x="8" y="82"/>
                  </a:cubicBezTo>
                  <a:cubicBezTo>
                    <a:pt x="7" y="80"/>
                    <a:pt x="6" y="79"/>
                    <a:pt x="6" y="77"/>
                  </a:cubicBezTo>
                  <a:cubicBezTo>
                    <a:pt x="3" y="72"/>
                    <a:pt x="0" y="65"/>
                    <a:pt x="2" y="61"/>
                  </a:cubicBezTo>
                  <a:cubicBezTo>
                    <a:pt x="5" y="56"/>
                    <a:pt x="10" y="49"/>
                    <a:pt x="14" y="48"/>
                  </a:cubicBezTo>
                  <a:cubicBezTo>
                    <a:pt x="15" y="48"/>
                    <a:pt x="15" y="48"/>
                    <a:pt x="15" y="48"/>
                  </a:cubicBezTo>
                  <a:cubicBezTo>
                    <a:pt x="15" y="48"/>
                    <a:pt x="15" y="48"/>
                    <a:pt x="15" y="48"/>
                  </a:cubicBezTo>
                  <a:cubicBezTo>
                    <a:pt x="18" y="52"/>
                    <a:pt x="19" y="55"/>
                    <a:pt x="18" y="56"/>
                  </a:cubicBezTo>
                  <a:cubicBezTo>
                    <a:pt x="17" y="57"/>
                    <a:pt x="17" y="58"/>
                    <a:pt x="16" y="58"/>
                  </a:cubicBezTo>
                  <a:cubicBezTo>
                    <a:pt x="15" y="60"/>
                    <a:pt x="15" y="60"/>
                    <a:pt x="18" y="63"/>
                  </a:cubicBezTo>
                  <a:cubicBezTo>
                    <a:pt x="19" y="64"/>
                    <a:pt x="20" y="65"/>
                    <a:pt x="21" y="65"/>
                  </a:cubicBezTo>
                  <a:cubicBezTo>
                    <a:pt x="22" y="65"/>
                    <a:pt x="22" y="64"/>
                    <a:pt x="23" y="64"/>
                  </a:cubicBezTo>
                  <a:cubicBezTo>
                    <a:pt x="24" y="64"/>
                    <a:pt x="24" y="64"/>
                    <a:pt x="25" y="64"/>
                  </a:cubicBezTo>
                  <a:cubicBezTo>
                    <a:pt x="26" y="64"/>
                    <a:pt x="28" y="65"/>
                    <a:pt x="29" y="66"/>
                  </a:cubicBezTo>
                  <a:cubicBezTo>
                    <a:pt x="31" y="69"/>
                    <a:pt x="32" y="71"/>
                    <a:pt x="34" y="71"/>
                  </a:cubicBezTo>
                  <a:cubicBezTo>
                    <a:pt x="36" y="71"/>
                    <a:pt x="37" y="69"/>
                    <a:pt x="38" y="66"/>
                  </a:cubicBezTo>
                  <a:cubicBezTo>
                    <a:pt x="39" y="64"/>
                    <a:pt x="40" y="61"/>
                    <a:pt x="41" y="59"/>
                  </a:cubicBezTo>
                  <a:cubicBezTo>
                    <a:pt x="44" y="52"/>
                    <a:pt x="46" y="44"/>
                    <a:pt x="52" y="42"/>
                  </a:cubicBezTo>
                  <a:cubicBezTo>
                    <a:pt x="53" y="42"/>
                    <a:pt x="54" y="42"/>
                    <a:pt x="55" y="41"/>
                  </a:cubicBezTo>
                  <a:cubicBezTo>
                    <a:pt x="62" y="39"/>
                    <a:pt x="73" y="36"/>
                    <a:pt x="80" y="27"/>
                  </a:cubicBezTo>
                  <a:cubicBezTo>
                    <a:pt x="85" y="21"/>
                    <a:pt x="85" y="18"/>
                    <a:pt x="86" y="16"/>
                  </a:cubicBezTo>
                  <a:cubicBezTo>
                    <a:pt x="86" y="15"/>
                    <a:pt x="86" y="14"/>
                    <a:pt x="88" y="12"/>
                  </a:cubicBezTo>
                  <a:cubicBezTo>
                    <a:pt x="89" y="11"/>
                    <a:pt x="90" y="11"/>
                    <a:pt x="90" y="10"/>
                  </a:cubicBezTo>
                  <a:cubicBezTo>
                    <a:pt x="90" y="8"/>
                    <a:pt x="88" y="6"/>
                    <a:pt x="85" y="2"/>
                  </a:cubicBezTo>
                  <a:cubicBezTo>
                    <a:pt x="84" y="2"/>
                    <a:pt x="84" y="2"/>
                    <a:pt x="84" y="2"/>
                  </a:cubicBezTo>
                  <a:cubicBezTo>
                    <a:pt x="85" y="2"/>
                    <a:pt x="85" y="2"/>
                    <a:pt x="85" y="2"/>
                  </a:cubicBezTo>
                  <a:cubicBezTo>
                    <a:pt x="92" y="0"/>
                    <a:pt x="96" y="0"/>
                    <a:pt x="98" y="1"/>
                  </a:cubicBezTo>
                  <a:cubicBezTo>
                    <a:pt x="100" y="2"/>
                    <a:pt x="101" y="5"/>
                    <a:pt x="102" y="7"/>
                  </a:cubicBezTo>
                  <a:cubicBezTo>
                    <a:pt x="103" y="10"/>
                    <a:pt x="104" y="13"/>
                    <a:pt x="106" y="13"/>
                  </a:cubicBezTo>
                  <a:cubicBezTo>
                    <a:pt x="109" y="14"/>
                    <a:pt x="112" y="15"/>
                    <a:pt x="114" y="18"/>
                  </a:cubicBezTo>
                  <a:cubicBezTo>
                    <a:pt x="116" y="20"/>
                    <a:pt x="116" y="22"/>
                    <a:pt x="116" y="23"/>
                  </a:cubicBezTo>
                  <a:cubicBezTo>
                    <a:pt x="116" y="24"/>
                    <a:pt x="117" y="25"/>
                    <a:pt x="118" y="26"/>
                  </a:cubicBezTo>
                  <a:cubicBezTo>
                    <a:pt x="120" y="28"/>
                    <a:pt x="122" y="29"/>
                    <a:pt x="122" y="32"/>
                  </a:cubicBezTo>
                  <a:cubicBezTo>
                    <a:pt x="122" y="33"/>
                    <a:pt x="122" y="33"/>
                    <a:pt x="122" y="33"/>
                  </a:cubicBezTo>
                  <a:cubicBezTo>
                    <a:pt x="123" y="34"/>
                    <a:pt x="126" y="35"/>
                    <a:pt x="130" y="35"/>
                  </a:cubicBezTo>
                  <a:cubicBezTo>
                    <a:pt x="133" y="35"/>
                    <a:pt x="137" y="34"/>
                    <a:pt x="138" y="34"/>
                  </a:cubicBezTo>
                  <a:cubicBezTo>
                    <a:pt x="139" y="33"/>
                    <a:pt x="141" y="32"/>
                    <a:pt x="143" y="32"/>
                  </a:cubicBezTo>
                  <a:cubicBezTo>
                    <a:pt x="145" y="32"/>
                    <a:pt x="146" y="32"/>
                    <a:pt x="147" y="33"/>
                  </a:cubicBezTo>
                  <a:cubicBezTo>
                    <a:pt x="148" y="33"/>
                    <a:pt x="150" y="33"/>
                    <a:pt x="151" y="32"/>
                  </a:cubicBezTo>
                  <a:cubicBezTo>
                    <a:pt x="153" y="32"/>
                    <a:pt x="155" y="32"/>
                    <a:pt x="156" y="32"/>
                  </a:cubicBezTo>
                  <a:cubicBezTo>
                    <a:pt x="159" y="33"/>
                    <a:pt x="166" y="36"/>
                    <a:pt x="167" y="39"/>
                  </a:cubicBezTo>
                  <a:cubicBezTo>
                    <a:pt x="168" y="40"/>
                    <a:pt x="167" y="41"/>
                    <a:pt x="167" y="41"/>
                  </a:cubicBezTo>
                  <a:cubicBezTo>
                    <a:pt x="166" y="43"/>
                    <a:pt x="165" y="44"/>
                    <a:pt x="164" y="46"/>
                  </a:cubicBezTo>
                  <a:cubicBezTo>
                    <a:pt x="161" y="48"/>
                    <a:pt x="159" y="51"/>
                    <a:pt x="160" y="53"/>
                  </a:cubicBezTo>
                  <a:cubicBezTo>
                    <a:pt x="160" y="54"/>
                    <a:pt x="162" y="55"/>
                    <a:pt x="163" y="56"/>
                  </a:cubicBezTo>
                  <a:cubicBezTo>
                    <a:pt x="165" y="57"/>
                    <a:pt x="167" y="58"/>
                    <a:pt x="168" y="60"/>
                  </a:cubicBezTo>
                  <a:cubicBezTo>
                    <a:pt x="169" y="61"/>
                    <a:pt x="169" y="61"/>
                    <a:pt x="169" y="61"/>
                  </a:cubicBezTo>
                  <a:cubicBezTo>
                    <a:pt x="168" y="61"/>
                    <a:pt x="168" y="61"/>
                    <a:pt x="168" y="61"/>
                  </a:cubicBezTo>
                  <a:cubicBezTo>
                    <a:pt x="167" y="61"/>
                    <a:pt x="165" y="61"/>
                    <a:pt x="164" y="60"/>
                  </a:cubicBezTo>
                  <a:cubicBezTo>
                    <a:pt x="163" y="60"/>
                    <a:pt x="162" y="60"/>
                    <a:pt x="161" y="60"/>
                  </a:cubicBezTo>
                  <a:cubicBezTo>
                    <a:pt x="159" y="60"/>
                    <a:pt x="158" y="60"/>
                    <a:pt x="156" y="61"/>
                  </a:cubicBezTo>
                  <a:cubicBezTo>
                    <a:pt x="154" y="64"/>
                    <a:pt x="151" y="64"/>
                    <a:pt x="148" y="65"/>
                  </a:cubicBezTo>
                  <a:cubicBezTo>
                    <a:pt x="145" y="65"/>
                    <a:pt x="142" y="66"/>
                    <a:pt x="139" y="68"/>
                  </a:cubicBezTo>
                  <a:cubicBezTo>
                    <a:pt x="136" y="70"/>
                    <a:pt x="133" y="71"/>
                    <a:pt x="131" y="72"/>
                  </a:cubicBezTo>
                  <a:cubicBezTo>
                    <a:pt x="128" y="73"/>
                    <a:pt x="126" y="73"/>
                    <a:pt x="126" y="76"/>
                  </a:cubicBezTo>
                  <a:cubicBezTo>
                    <a:pt x="126" y="79"/>
                    <a:pt x="124" y="81"/>
                    <a:pt x="123" y="83"/>
                  </a:cubicBezTo>
                  <a:cubicBezTo>
                    <a:pt x="122" y="85"/>
                    <a:pt x="121" y="87"/>
                    <a:pt x="121" y="90"/>
                  </a:cubicBezTo>
                  <a:cubicBezTo>
                    <a:pt x="122" y="93"/>
                    <a:pt x="120" y="94"/>
                    <a:pt x="118" y="95"/>
                  </a:cubicBezTo>
                  <a:cubicBezTo>
                    <a:pt x="117" y="96"/>
                    <a:pt x="116" y="97"/>
                    <a:pt x="115" y="98"/>
                  </a:cubicBezTo>
                  <a:cubicBezTo>
                    <a:pt x="113" y="100"/>
                    <a:pt x="113" y="101"/>
                    <a:pt x="113" y="103"/>
                  </a:cubicBezTo>
                  <a:cubicBezTo>
                    <a:pt x="114" y="104"/>
                    <a:pt x="114" y="106"/>
                    <a:pt x="112" y="107"/>
                  </a:cubicBezTo>
                  <a:cubicBezTo>
                    <a:pt x="110" y="110"/>
                    <a:pt x="113" y="114"/>
                    <a:pt x="116" y="118"/>
                  </a:cubicBezTo>
                  <a:cubicBezTo>
                    <a:pt x="116" y="119"/>
                    <a:pt x="116" y="119"/>
                    <a:pt x="116" y="119"/>
                  </a:cubicBezTo>
                  <a:cubicBezTo>
                    <a:pt x="117" y="120"/>
                    <a:pt x="118" y="121"/>
                    <a:pt x="118" y="122"/>
                  </a:cubicBezTo>
                  <a:cubicBezTo>
                    <a:pt x="121" y="126"/>
                    <a:pt x="123" y="129"/>
                    <a:pt x="122" y="132"/>
                  </a:cubicBezTo>
                  <a:cubicBezTo>
                    <a:pt x="122" y="134"/>
                    <a:pt x="123" y="135"/>
                    <a:pt x="123" y="136"/>
                  </a:cubicBezTo>
                  <a:cubicBezTo>
                    <a:pt x="125" y="137"/>
                    <a:pt x="127" y="137"/>
                    <a:pt x="129" y="137"/>
                  </a:cubicBezTo>
                  <a:cubicBezTo>
                    <a:pt x="132" y="137"/>
                    <a:pt x="132" y="139"/>
                    <a:pt x="133" y="141"/>
                  </a:cubicBezTo>
                  <a:cubicBezTo>
                    <a:pt x="133" y="143"/>
                    <a:pt x="134" y="145"/>
                    <a:pt x="137" y="145"/>
                  </a:cubicBezTo>
                  <a:cubicBezTo>
                    <a:pt x="139" y="145"/>
                    <a:pt x="140" y="145"/>
                    <a:pt x="142" y="146"/>
                  </a:cubicBezTo>
                  <a:cubicBezTo>
                    <a:pt x="144" y="146"/>
                    <a:pt x="145" y="146"/>
                    <a:pt x="146" y="146"/>
                  </a:cubicBezTo>
                  <a:cubicBezTo>
                    <a:pt x="150" y="146"/>
                    <a:pt x="151" y="145"/>
                    <a:pt x="152" y="143"/>
                  </a:cubicBezTo>
                  <a:cubicBezTo>
                    <a:pt x="153" y="141"/>
                    <a:pt x="156" y="139"/>
                    <a:pt x="157" y="139"/>
                  </a:cubicBezTo>
                  <a:cubicBezTo>
                    <a:pt x="158" y="139"/>
                    <a:pt x="159" y="139"/>
                    <a:pt x="159" y="142"/>
                  </a:cubicBezTo>
                  <a:cubicBezTo>
                    <a:pt x="159" y="143"/>
                    <a:pt x="159" y="144"/>
                    <a:pt x="159" y="146"/>
                  </a:cubicBezTo>
                  <a:cubicBezTo>
                    <a:pt x="159" y="150"/>
                    <a:pt x="159" y="159"/>
                    <a:pt x="161" y="161"/>
                  </a:cubicBezTo>
                  <a:cubicBezTo>
                    <a:pt x="162" y="161"/>
                    <a:pt x="162" y="161"/>
                    <a:pt x="162" y="161"/>
                  </a:cubicBezTo>
                  <a:cubicBezTo>
                    <a:pt x="164" y="160"/>
                    <a:pt x="167" y="160"/>
                    <a:pt x="171" y="160"/>
                  </a:cubicBezTo>
                  <a:cubicBezTo>
                    <a:pt x="173" y="160"/>
                    <a:pt x="175" y="160"/>
                    <a:pt x="177" y="160"/>
                  </a:cubicBezTo>
                  <a:cubicBezTo>
                    <a:pt x="177" y="160"/>
                    <a:pt x="177" y="160"/>
                    <a:pt x="177" y="160"/>
                  </a:cubicBezTo>
                  <a:cubicBezTo>
                    <a:pt x="177" y="160"/>
                    <a:pt x="177" y="160"/>
                    <a:pt x="177" y="160"/>
                  </a:cubicBezTo>
                  <a:cubicBezTo>
                    <a:pt x="178" y="164"/>
                    <a:pt x="181" y="168"/>
                    <a:pt x="183" y="172"/>
                  </a:cubicBezTo>
                  <a:cubicBezTo>
                    <a:pt x="185" y="176"/>
                    <a:pt x="186" y="179"/>
                    <a:pt x="187" y="181"/>
                  </a:cubicBezTo>
                  <a:cubicBezTo>
                    <a:pt x="188" y="185"/>
                    <a:pt x="186" y="187"/>
                    <a:pt x="184" y="188"/>
                  </a:cubicBezTo>
                  <a:cubicBezTo>
                    <a:pt x="184" y="189"/>
                    <a:pt x="183" y="189"/>
                    <a:pt x="183" y="189"/>
                  </a:cubicBezTo>
                  <a:cubicBezTo>
                    <a:pt x="182" y="190"/>
                    <a:pt x="184" y="203"/>
                    <a:pt x="184" y="207"/>
                  </a:cubicBezTo>
                  <a:cubicBezTo>
                    <a:pt x="184" y="208"/>
                    <a:pt x="184" y="209"/>
                    <a:pt x="184" y="209"/>
                  </a:cubicBezTo>
                  <a:cubicBezTo>
                    <a:pt x="185" y="211"/>
                    <a:pt x="183" y="213"/>
                    <a:pt x="182" y="215"/>
                  </a:cubicBezTo>
                  <a:cubicBezTo>
                    <a:pt x="181" y="218"/>
                    <a:pt x="180" y="220"/>
                    <a:pt x="181" y="221"/>
                  </a:cubicBezTo>
                  <a:cubicBezTo>
                    <a:pt x="183" y="223"/>
                    <a:pt x="181" y="225"/>
                    <a:pt x="180" y="228"/>
                  </a:cubicBezTo>
                  <a:cubicBezTo>
                    <a:pt x="179" y="230"/>
                    <a:pt x="178" y="232"/>
                    <a:pt x="178" y="234"/>
                  </a:cubicBezTo>
                  <a:cubicBezTo>
                    <a:pt x="178" y="236"/>
                    <a:pt x="179" y="237"/>
                    <a:pt x="180" y="237"/>
                  </a:cubicBezTo>
                  <a:cubicBezTo>
                    <a:pt x="182" y="238"/>
                    <a:pt x="183" y="239"/>
                    <a:pt x="183" y="241"/>
                  </a:cubicBezTo>
                  <a:cubicBezTo>
                    <a:pt x="183" y="244"/>
                    <a:pt x="178" y="251"/>
                    <a:pt x="175" y="253"/>
                  </a:cubicBezTo>
                  <a:cubicBezTo>
                    <a:pt x="174" y="254"/>
                    <a:pt x="174" y="255"/>
                    <a:pt x="174" y="258"/>
                  </a:cubicBezTo>
                  <a:cubicBezTo>
                    <a:pt x="174" y="259"/>
                    <a:pt x="174" y="259"/>
                    <a:pt x="174" y="259"/>
                  </a:cubicBezTo>
                  <a:cubicBezTo>
                    <a:pt x="174" y="259"/>
                    <a:pt x="174" y="259"/>
                    <a:pt x="174" y="259"/>
                  </a:cubicBezTo>
                  <a:cubicBezTo>
                    <a:pt x="174" y="259"/>
                    <a:pt x="174" y="259"/>
                    <a:pt x="174" y="259"/>
                  </a:cubicBezTo>
                  <a:cubicBezTo>
                    <a:pt x="173" y="260"/>
                    <a:pt x="173" y="261"/>
                    <a:pt x="173" y="262"/>
                  </a:cubicBezTo>
                  <a:cubicBezTo>
                    <a:pt x="172" y="265"/>
                    <a:pt x="171" y="269"/>
                    <a:pt x="167" y="271"/>
                  </a:cubicBezTo>
                  <a:cubicBezTo>
                    <a:pt x="167" y="271"/>
                    <a:pt x="166" y="272"/>
                    <a:pt x="164" y="273"/>
                  </a:cubicBezTo>
                  <a:lnTo>
                    <a:pt x="163" y="274"/>
                  </a:lnTo>
                  <a:close/>
                  <a:moveTo>
                    <a:pt x="14" y="49"/>
                  </a:moveTo>
                  <a:cubicBezTo>
                    <a:pt x="10" y="50"/>
                    <a:pt x="5" y="56"/>
                    <a:pt x="3" y="62"/>
                  </a:cubicBezTo>
                  <a:cubicBezTo>
                    <a:pt x="1" y="65"/>
                    <a:pt x="4" y="72"/>
                    <a:pt x="6" y="76"/>
                  </a:cubicBezTo>
                  <a:cubicBezTo>
                    <a:pt x="7" y="78"/>
                    <a:pt x="8" y="80"/>
                    <a:pt x="8" y="81"/>
                  </a:cubicBezTo>
                  <a:cubicBezTo>
                    <a:pt x="9" y="82"/>
                    <a:pt x="9" y="83"/>
                    <a:pt x="8" y="83"/>
                  </a:cubicBezTo>
                  <a:cubicBezTo>
                    <a:pt x="8" y="84"/>
                    <a:pt x="7" y="84"/>
                    <a:pt x="6" y="84"/>
                  </a:cubicBezTo>
                  <a:cubicBezTo>
                    <a:pt x="5" y="84"/>
                    <a:pt x="4" y="84"/>
                    <a:pt x="4" y="85"/>
                  </a:cubicBezTo>
                  <a:cubicBezTo>
                    <a:pt x="4" y="88"/>
                    <a:pt x="9" y="91"/>
                    <a:pt x="14" y="94"/>
                  </a:cubicBezTo>
                  <a:cubicBezTo>
                    <a:pt x="16" y="95"/>
                    <a:pt x="18" y="96"/>
                    <a:pt x="20" y="97"/>
                  </a:cubicBezTo>
                  <a:cubicBezTo>
                    <a:pt x="23" y="100"/>
                    <a:pt x="25" y="104"/>
                    <a:pt x="28" y="109"/>
                  </a:cubicBezTo>
                  <a:cubicBezTo>
                    <a:pt x="30" y="112"/>
                    <a:pt x="32" y="115"/>
                    <a:pt x="34" y="118"/>
                  </a:cubicBezTo>
                  <a:cubicBezTo>
                    <a:pt x="38" y="121"/>
                    <a:pt x="39" y="124"/>
                    <a:pt x="41" y="130"/>
                  </a:cubicBezTo>
                  <a:cubicBezTo>
                    <a:pt x="42" y="133"/>
                    <a:pt x="43" y="136"/>
                    <a:pt x="45" y="140"/>
                  </a:cubicBezTo>
                  <a:cubicBezTo>
                    <a:pt x="50" y="152"/>
                    <a:pt x="60" y="174"/>
                    <a:pt x="67" y="183"/>
                  </a:cubicBezTo>
                  <a:cubicBezTo>
                    <a:pt x="74" y="192"/>
                    <a:pt x="78" y="199"/>
                    <a:pt x="76" y="202"/>
                  </a:cubicBezTo>
                  <a:cubicBezTo>
                    <a:pt x="74" y="204"/>
                    <a:pt x="76" y="211"/>
                    <a:pt x="81" y="215"/>
                  </a:cubicBezTo>
                  <a:cubicBezTo>
                    <a:pt x="83" y="216"/>
                    <a:pt x="84" y="217"/>
                    <a:pt x="86" y="218"/>
                  </a:cubicBezTo>
                  <a:cubicBezTo>
                    <a:pt x="90" y="222"/>
                    <a:pt x="95" y="226"/>
                    <a:pt x="104" y="231"/>
                  </a:cubicBezTo>
                  <a:cubicBezTo>
                    <a:pt x="121" y="239"/>
                    <a:pt x="143" y="251"/>
                    <a:pt x="146" y="257"/>
                  </a:cubicBezTo>
                  <a:cubicBezTo>
                    <a:pt x="149" y="262"/>
                    <a:pt x="159" y="267"/>
                    <a:pt x="162" y="269"/>
                  </a:cubicBezTo>
                  <a:cubicBezTo>
                    <a:pt x="163" y="269"/>
                    <a:pt x="163" y="270"/>
                    <a:pt x="163" y="270"/>
                  </a:cubicBezTo>
                  <a:cubicBezTo>
                    <a:pt x="164" y="270"/>
                    <a:pt x="164" y="271"/>
                    <a:pt x="164" y="272"/>
                  </a:cubicBezTo>
                  <a:cubicBezTo>
                    <a:pt x="166" y="271"/>
                    <a:pt x="166" y="270"/>
                    <a:pt x="167" y="270"/>
                  </a:cubicBezTo>
                  <a:cubicBezTo>
                    <a:pt x="170" y="269"/>
                    <a:pt x="171" y="265"/>
                    <a:pt x="172" y="262"/>
                  </a:cubicBezTo>
                  <a:cubicBezTo>
                    <a:pt x="172" y="261"/>
                    <a:pt x="172" y="259"/>
                    <a:pt x="173" y="259"/>
                  </a:cubicBezTo>
                  <a:cubicBezTo>
                    <a:pt x="173" y="258"/>
                    <a:pt x="173" y="258"/>
                    <a:pt x="173" y="258"/>
                  </a:cubicBezTo>
                  <a:cubicBezTo>
                    <a:pt x="173" y="256"/>
                    <a:pt x="173" y="253"/>
                    <a:pt x="175" y="252"/>
                  </a:cubicBezTo>
                  <a:cubicBezTo>
                    <a:pt x="178" y="250"/>
                    <a:pt x="182" y="244"/>
                    <a:pt x="182" y="241"/>
                  </a:cubicBezTo>
                  <a:cubicBezTo>
                    <a:pt x="182" y="240"/>
                    <a:pt x="181" y="239"/>
                    <a:pt x="180" y="238"/>
                  </a:cubicBezTo>
                  <a:cubicBezTo>
                    <a:pt x="178" y="237"/>
                    <a:pt x="177" y="236"/>
                    <a:pt x="177" y="234"/>
                  </a:cubicBezTo>
                  <a:cubicBezTo>
                    <a:pt x="177" y="232"/>
                    <a:pt x="178" y="230"/>
                    <a:pt x="179" y="228"/>
                  </a:cubicBezTo>
                  <a:cubicBezTo>
                    <a:pt x="180" y="225"/>
                    <a:pt x="181" y="223"/>
                    <a:pt x="180" y="222"/>
                  </a:cubicBezTo>
                  <a:cubicBezTo>
                    <a:pt x="178" y="220"/>
                    <a:pt x="180" y="218"/>
                    <a:pt x="181" y="215"/>
                  </a:cubicBezTo>
                  <a:cubicBezTo>
                    <a:pt x="182" y="213"/>
                    <a:pt x="184" y="211"/>
                    <a:pt x="183" y="210"/>
                  </a:cubicBezTo>
                  <a:cubicBezTo>
                    <a:pt x="183" y="209"/>
                    <a:pt x="183" y="208"/>
                    <a:pt x="183" y="207"/>
                  </a:cubicBezTo>
                  <a:cubicBezTo>
                    <a:pt x="182" y="197"/>
                    <a:pt x="181" y="190"/>
                    <a:pt x="182" y="188"/>
                  </a:cubicBezTo>
                  <a:cubicBezTo>
                    <a:pt x="183" y="188"/>
                    <a:pt x="183" y="188"/>
                    <a:pt x="184" y="187"/>
                  </a:cubicBezTo>
                  <a:cubicBezTo>
                    <a:pt x="185" y="186"/>
                    <a:pt x="187" y="185"/>
                    <a:pt x="186" y="181"/>
                  </a:cubicBezTo>
                  <a:cubicBezTo>
                    <a:pt x="185" y="180"/>
                    <a:pt x="184" y="176"/>
                    <a:pt x="182" y="173"/>
                  </a:cubicBezTo>
                  <a:cubicBezTo>
                    <a:pt x="180" y="169"/>
                    <a:pt x="177" y="164"/>
                    <a:pt x="176" y="161"/>
                  </a:cubicBezTo>
                  <a:cubicBezTo>
                    <a:pt x="174" y="161"/>
                    <a:pt x="172" y="161"/>
                    <a:pt x="171" y="161"/>
                  </a:cubicBezTo>
                  <a:cubicBezTo>
                    <a:pt x="167" y="161"/>
                    <a:pt x="164" y="161"/>
                    <a:pt x="163" y="162"/>
                  </a:cubicBezTo>
                  <a:cubicBezTo>
                    <a:pt x="162" y="162"/>
                    <a:pt x="161" y="162"/>
                    <a:pt x="160" y="161"/>
                  </a:cubicBezTo>
                  <a:cubicBezTo>
                    <a:pt x="158" y="159"/>
                    <a:pt x="158" y="151"/>
                    <a:pt x="158" y="146"/>
                  </a:cubicBezTo>
                  <a:cubicBezTo>
                    <a:pt x="158" y="144"/>
                    <a:pt x="158" y="143"/>
                    <a:pt x="158" y="142"/>
                  </a:cubicBezTo>
                  <a:cubicBezTo>
                    <a:pt x="158" y="141"/>
                    <a:pt x="158" y="140"/>
                    <a:pt x="157" y="140"/>
                  </a:cubicBezTo>
                  <a:cubicBezTo>
                    <a:pt x="156" y="140"/>
                    <a:pt x="154" y="142"/>
                    <a:pt x="153" y="144"/>
                  </a:cubicBezTo>
                  <a:cubicBezTo>
                    <a:pt x="152" y="146"/>
                    <a:pt x="149" y="147"/>
                    <a:pt x="146" y="147"/>
                  </a:cubicBezTo>
                  <a:cubicBezTo>
                    <a:pt x="145" y="147"/>
                    <a:pt x="144" y="147"/>
                    <a:pt x="142" y="147"/>
                  </a:cubicBezTo>
                  <a:cubicBezTo>
                    <a:pt x="140" y="146"/>
                    <a:pt x="139" y="146"/>
                    <a:pt x="137" y="146"/>
                  </a:cubicBezTo>
                  <a:cubicBezTo>
                    <a:pt x="133" y="146"/>
                    <a:pt x="132" y="143"/>
                    <a:pt x="132" y="141"/>
                  </a:cubicBezTo>
                  <a:cubicBezTo>
                    <a:pt x="131" y="139"/>
                    <a:pt x="131" y="138"/>
                    <a:pt x="129" y="138"/>
                  </a:cubicBezTo>
                  <a:cubicBezTo>
                    <a:pt x="126" y="138"/>
                    <a:pt x="124" y="138"/>
                    <a:pt x="123" y="136"/>
                  </a:cubicBezTo>
                  <a:cubicBezTo>
                    <a:pt x="122" y="135"/>
                    <a:pt x="121" y="134"/>
                    <a:pt x="121" y="132"/>
                  </a:cubicBezTo>
                  <a:cubicBezTo>
                    <a:pt x="122" y="129"/>
                    <a:pt x="120" y="126"/>
                    <a:pt x="118" y="123"/>
                  </a:cubicBezTo>
                  <a:cubicBezTo>
                    <a:pt x="117" y="122"/>
                    <a:pt x="116" y="121"/>
                    <a:pt x="116" y="120"/>
                  </a:cubicBezTo>
                  <a:cubicBezTo>
                    <a:pt x="115" y="119"/>
                    <a:pt x="115" y="119"/>
                    <a:pt x="115" y="119"/>
                  </a:cubicBezTo>
                  <a:cubicBezTo>
                    <a:pt x="112" y="114"/>
                    <a:pt x="109" y="110"/>
                    <a:pt x="112" y="107"/>
                  </a:cubicBezTo>
                  <a:cubicBezTo>
                    <a:pt x="113" y="106"/>
                    <a:pt x="113" y="105"/>
                    <a:pt x="112" y="103"/>
                  </a:cubicBezTo>
                  <a:cubicBezTo>
                    <a:pt x="112" y="102"/>
                    <a:pt x="112" y="100"/>
                    <a:pt x="114" y="97"/>
                  </a:cubicBezTo>
                  <a:cubicBezTo>
                    <a:pt x="115" y="96"/>
                    <a:pt x="117" y="95"/>
                    <a:pt x="118" y="94"/>
                  </a:cubicBezTo>
                  <a:cubicBezTo>
                    <a:pt x="120" y="93"/>
                    <a:pt x="121" y="93"/>
                    <a:pt x="120" y="90"/>
                  </a:cubicBezTo>
                  <a:cubicBezTo>
                    <a:pt x="119" y="87"/>
                    <a:pt x="121" y="85"/>
                    <a:pt x="122" y="82"/>
                  </a:cubicBezTo>
                  <a:cubicBezTo>
                    <a:pt x="124" y="80"/>
                    <a:pt x="125" y="79"/>
                    <a:pt x="125" y="76"/>
                  </a:cubicBezTo>
                  <a:cubicBezTo>
                    <a:pt x="125" y="72"/>
                    <a:pt x="128" y="72"/>
                    <a:pt x="131" y="71"/>
                  </a:cubicBezTo>
                  <a:cubicBezTo>
                    <a:pt x="133" y="70"/>
                    <a:pt x="136" y="69"/>
                    <a:pt x="138" y="67"/>
                  </a:cubicBezTo>
                  <a:cubicBezTo>
                    <a:pt x="141" y="65"/>
                    <a:pt x="144" y="64"/>
                    <a:pt x="148" y="64"/>
                  </a:cubicBezTo>
                  <a:cubicBezTo>
                    <a:pt x="150" y="63"/>
                    <a:pt x="153" y="63"/>
                    <a:pt x="156" y="61"/>
                  </a:cubicBezTo>
                  <a:cubicBezTo>
                    <a:pt x="157" y="59"/>
                    <a:pt x="159" y="59"/>
                    <a:pt x="161" y="59"/>
                  </a:cubicBezTo>
                  <a:cubicBezTo>
                    <a:pt x="162" y="59"/>
                    <a:pt x="163" y="59"/>
                    <a:pt x="164" y="59"/>
                  </a:cubicBezTo>
                  <a:cubicBezTo>
                    <a:pt x="165" y="59"/>
                    <a:pt x="166" y="60"/>
                    <a:pt x="167" y="60"/>
                  </a:cubicBezTo>
                  <a:cubicBezTo>
                    <a:pt x="166" y="59"/>
                    <a:pt x="164" y="58"/>
                    <a:pt x="163" y="57"/>
                  </a:cubicBezTo>
                  <a:cubicBezTo>
                    <a:pt x="161" y="56"/>
                    <a:pt x="159" y="55"/>
                    <a:pt x="159" y="54"/>
                  </a:cubicBezTo>
                  <a:cubicBezTo>
                    <a:pt x="157" y="51"/>
                    <a:pt x="160" y="48"/>
                    <a:pt x="163" y="45"/>
                  </a:cubicBezTo>
                  <a:cubicBezTo>
                    <a:pt x="164" y="44"/>
                    <a:pt x="166" y="42"/>
                    <a:pt x="166" y="41"/>
                  </a:cubicBezTo>
                  <a:cubicBezTo>
                    <a:pt x="166" y="40"/>
                    <a:pt x="166" y="40"/>
                    <a:pt x="166" y="40"/>
                  </a:cubicBezTo>
                  <a:cubicBezTo>
                    <a:pt x="166" y="38"/>
                    <a:pt x="164" y="36"/>
                    <a:pt x="156" y="33"/>
                  </a:cubicBezTo>
                  <a:cubicBezTo>
                    <a:pt x="155" y="33"/>
                    <a:pt x="153" y="33"/>
                    <a:pt x="152" y="33"/>
                  </a:cubicBezTo>
                  <a:cubicBezTo>
                    <a:pt x="150" y="34"/>
                    <a:pt x="147" y="34"/>
                    <a:pt x="146" y="34"/>
                  </a:cubicBezTo>
                  <a:cubicBezTo>
                    <a:pt x="145" y="33"/>
                    <a:pt x="144" y="33"/>
                    <a:pt x="143" y="33"/>
                  </a:cubicBezTo>
                  <a:cubicBezTo>
                    <a:pt x="142" y="33"/>
                    <a:pt x="139" y="34"/>
                    <a:pt x="138" y="35"/>
                  </a:cubicBezTo>
                  <a:cubicBezTo>
                    <a:pt x="137" y="35"/>
                    <a:pt x="133" y="36"/>
                    <a:pt x="130" y="36"/>
                  </a:cubicBezTo>
                  <a:cubicBezTo>
                    <a:pt x="127" y="36"/>
                    <a:pt x="123" y="36"/>
                    <a:pt x="121" y="34"/>
                  </a:cubicBezTo>
                  <a:cubicBezTo>
                    <a:pt x="121" y="33"/>
                    <a:pt x="121" y="33"/>
                    <a:pt x="121" y="32"/>
                  </a:cubicBezTo>
                  <a:cubicBezTo>
                    <a:pt x="121" y="30"/>
                    <a:pt x="119" y="28"/>
                    <a:pt x="118" y="27"/>
                  </a:cubicBezTo>
                  <a:cubicBezTo>
                    <a:pt x="116" y="26"/>
                    <a:pt x="115" y="25"/>
                    <a:pt x="115" y="23"/>
                  </a:cubicBezTo>
                  <a:cubicBezTo>
                    <a:pt x="115" y="22"/>
                    <a:pt x="115" y="20"/>
                    <a:pt x="113" y="18"/>
                  </a:cubicBezTo>
                  <a:cubicBezTo>
                    <a:pt x="112" y="16"/>
                    <a:pt x="109" y="15"/>
                    <a:pt x="106" y="14"/>
                  </a:cubicBezTo>
                  <a:cubicBezTo>
                    <a:pt x="103" y="14"/>
                    <a:pt x="102" y="11"/>
                    <a:pt x="101" y="8"/>
                  </a:cubicBezTo>
                  <a:cubicBezTo>
                    <a:pt x="100" y="5"/>
                    <a:pt x="99" y="3"/>
                    <a:pt x="98" y="2"/>
                  </a:cubicBezTo>
                  <a:cubicBezTo>
                    <a:pt x="96" y="1"/>
                    <a:pt x="92" y="1"/>
                    <a:pt x="86" y="2"/>
                  </a:cubicBezTo>
                  <a:cubicBezTo>
                    <a:pt x="89" y="6"/>
                    <a:pt x="91" y="8"/>
                    <a:pt x="91" y="10"/>
                  </a:cubicBezTo>
                  <a:cubicBezTo>
                    <a:pt x="91" y="11"/>
                    <a:pt x="90" y="12"/>
                    <a:pt x="89" y="13"/>
                  </a:cubicBezTo>
                  <a:cubicBezTo>
                    <a:pt x="87" y="14"/>
                    <a:pt x="87" y="15"/>
                    <a:pt x="87" y="17"/>
                  </a:cubicBezTo>
                  <a:cubicBezTo>
                    <a:pt x="86" y="19"/>
                    <a:pt x="86" y="21"/>
                    <a:pt x="81" y="28"/>
                  </a:cubicBezTo>
                  <a:cubicBezTo>
                    <a:pt x="74" y="37"/>
                    <a:pt x="62" y="40"/>
                    <a:pt x="55" y="42"/>
                  </a:cubicBezTo>
                  <a:cubicBezTo>
                    <a:pt x="54" y="43"/>
                    <a:pt x="53" y="43"/>
                    <a:pt x="52" y="43"/>
                  </a:cubicBezTo>
                  <a:cubicBezTo>
                    <a:pt x="47" y="45"/>
                    <a:pt x="44" y="52"/>
                    <a:pt x="42" y="60"/>
                  </a:cubicBezTo>
                  <a:cubicBezTo>
                    <a:pt x="41" y="62"/>
                    <a:pt x="40" y="64"/>
                    <a:pt x="39" y="66"/>
                  </a:cubicBezTo>
                  <a:cubicBezTo>
                    <a:pt x="38" y="70"/>
                    <a:pt x="36" y="72"/>
                    <a:pt x="34" y="72"/>
                  </a:cubicBezTo>
                  <a:cubicBezTo>
                    <a:pt x="32" y="72"/>
                    <a:pt x="30" y="70"/>
                    <a:pt x="28" y="67"/>
                  </a:cubicBezTo>
                  <a:cubicBezTo>
                    <a:pt x="27" y="65"/>
                    <a:pt x="26" y="65"/>
                    <a:pt x="25" y="65"/>
                  </a:cubicBezTo>
                  <a:cubicBezTo>
                    <a:pt x="24" y="65"/>
                    <a:pt x="24" y="65"/>
                    <a:pt x="23" y="65"/>
                  </a:cubicBezTo>
                  <a:cubicBezTo>
                    <a:pt x="22" y="65"/>
                    <a:pt x="22" y="66"/>
                    <a:pt x="21" y="66"/>
                  </a:cubicBezTo>
                  <a:cubicBezTo>
                    <a:pt x="19" y="66"/>
                    <a:pt x="18" y="65"/>
                    <a:pt x="17" y="64"/>
                  </a:cubicBezTo>
                  <a:cubicBezTo>
                    <a:pt x="14" y="61"/>
                    <a:pt x="14" y="60"/>
                    <a:pt x="16" y="58"/>
                  </a:cubicBezTo>
                  <a:cubicBezTo>
                    <a:pt x="16" y="57"/>
                    <a:pt x="16" y="57"/>
                    <a:pt x="17" y="56"/>
                  </a:cubicBezTo>
                  <a:cubicBezTo>
                    <a:pt x="18" y="55"/>
                    <a:pt x="17" y="52"/>
                    <a:pt x="14" y="4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0" name="Freeform 117"/>
            <p:cNvSpPr>
              <a:spLocks noEditPoints="1"/>
            </p:cNvSpPr>
            <p:nvPr/>
          </p:nvSpPr>
          <p:spPr>
            <a:xfrm>
              <a:off x="2954339" y="3508375"/>
              <a:ext cx="341313" cy="287338"/>
            </a:xfrm>
            <a:custGeom>
              <a:gdLst>
                <a:gd name="T0" fmla="*/ 96 w 201"/>
                <a:gd name="T1" fmla="*/ 159 h 169"/>
                <a:gd name="T2" fmla="*/ 91 w 201"/>
                <a:gd name="T3" fmla="*/ 148 h 169"/>
                <a:gd name="T4" fmla="*/ 89 w 201"/>
                <a:gd name="T5" fmla="*/ 130 h 169"/>
                <a:gd name="T6" fmla="*/ 87 w 201"/>
                <a:gd name="T7" fmla="*/ 89 h 169"/>
                <a:gd name="T8" fmla="*/ 41 w 201"/>
                <a:gd name="T9" fmla="*/ 75 h 169"/>
                <a:gd name="T10" fmla="*/ 17 w 201"/>
                <a:gd name="T11" fmla="*/ 74 h 169"/>
                <a:gd name="T12" fmla="*/ 8 w 201"/>
                <a:gd name="T13" fmla="*/ 48 h 169"/>
                <a:gd name="T14" fmla="*/ 4 w 201"/>
                <a:gd name="T15" fmla="*/ 38 h 169"/>
                <a:gd name="T16" fmla="*/ 19 w 201"/>
                <a:gd name="T17" fmla="*/ 10 h 169"/>
                <a:gd name="T18" fmla="*/ 26 w 201"/>
                <a:gd name="T19" fmla="*/ 18 h 169"/>
                <a:gd name="T20" fmla="*/ 34 w 201"/>
                <a:gd name="T21" fmla="*/ 42 h 169"/>
                <a:gd name="T22" fmla="*/ 49 w 201"/>
                <a:gd name="T23" fmla="*/ 9 h 169"/>
                <a:gd name="T24" fmla="*/ 59 w 201"/>
                <a:gd name="T25" fmla="*/ 4 h 169"/>
                <a:gd name="T26" fmla="*/ 79 w 201"/>
                <a:gd name="T27" fmla="*/ 22 h 169"/>
                <a:gd name="T28" fmla="*/ 110 w 201"/>
                <a:gd name="T29" fmla="*/ 27 h 169"/>
                <a:gd name="T30" fmla="*/ 155 w 201"/>
                <a:gd name="T31" fmla="*/ 20 h 169"/>
                <a:gd name="T32" fmla="*/ 162 w 201"/>
                <a:gd name="T33" fmla="*/ 32 h 169"/>
                <a:gd name="T34" fmla="*/ 178 w 201"/>
                <a:gd name="T35" fmla="*/ 52 h 169"/>
                <a:gd name="T36" fmla="*/ 201 w 201"/>
                <a:gd name="T37" fmla="*/ 54 h 169"/>
                <a:gd name="T38" fmla="*/ 190 w 201"/>
                <a:gd name="T39" fmla="*/ 71 h 169"/>
                <a:gd name="T40" fmla="*/ 182 w 201"/>
                <a:gd name="T41" fmla="*/ 86 h 169"/>
                <a:gd name="T42" fmla="*/ 190 w 201"/>
                <a:gd name="T43" fmla="*/ 106 h 169"/>
                <a:gd name="T44" fmla="*/ 180 w 201"/>
                <a:gd name="T45" fmla="*/ 114 h 169"/>
                <a:gd name="T46" fmla="*/ 155 w 201"/>
                <a:gd name="T47" fmla="*/ 127 h 169"/>
                <a:gd name="T48" fmla="*/ 134 w 201"/>
                <a:gd name="T49" fmla="*/ 118 h 169"/>
                <a:gd name="T50" fmla="*/ 137 w 201"/>
                <a:gd name="T51" fmla="*/ 135 h 169"/>
                <a:gd name="T52" fmla="*/ 147 w 201"/>
                <a:gd name="T53" fmla="*/ 142 h 169"/>
                <a:gd name="T54" fmla="*/ 132 w 201"/>
                <a:gd name="T55" fmla="*/ 160 h 169"/>
                <a:gd name="T56" fmla="*/ 117 w 201"/>
                <a:gd name="T57" fmla="*/ 167 h 169"/>
                <a:gd name="T58" fmla="*/ 90 w 201"/>
                <a:gd name="T59" fmla="*/ 150 h 169"/>
                <a:gd name="T60" fmla="*/ 107 w 201"/>
                <a:gd name="T61" fmla="*/ 168 h 169"/>
                <a:gd name="T62" fmla="*/ 117 w 201"/>
                <a:gd name="T63" fmla="*/ 166 h 169"/>
                <a:gd name="T64" fmla="*/ 132 w 201"/>
                <a:gd name="T65" fmla="*/ 159 h 169"/>
                <a:gd name="T66" fmla="*/ 147 w 201"/>
                <a:gd name="T67" fmla="*/ 143 h 169"/>
                <a:gd name="T68" fmla="*/ 139 w 201"/>
                <a:gd name="T69" fmla="*/ 141 h 169"/>
                <a:gd name="T70" fmla="*/ 128 w 201"/>
                <a:gd name="T71" fmla="*/ 119 h 169"/>
                <a:gd name="T72" fmla="*/ 152 w 201"/>
                <a:gd name="T73" fmla="*/ 123 h 169"/>
                <a:gd name="T74" fmla="*/ 168 w 201"/>
                <a:gd name="T75" fmla="*/ 117 h 169"/>
                <a:gd name="T76" fmla="*/ 189 w 201"/>
                <a:gd name="T77" fmla="*/ 106 h 169"/>
                <a:gd name="T78" fmla="*/ 182 w 201"/>
                <a:gd name="T79" fmla="*/ 81 h 169"/>
                <a:gd name="T80" fmla="*/ 188 w 201"/>
                <a:gd name="T81" fmla="*/ 69 h 169"/>
                <a:gd name="T82" fmla="*/ 180 w 201"/>
                <a:gd name="T83" fmla="*/ 53 h 169"/>
                <a:gd name="T84" fmla="*/ 183 w 201"/>
                <a:gd name="T85" fmla="*/ 40 h 169"/>
                <a:gd name="T86" fmla="*/ 164 w 201"/>
                <a:gd name="T87" fmla="*/ 24 h 169"/>
                <a:gd name="T88" fmla="*/ 124 w 201"/>
                <a:gd name="T89" fmla="*/ 31 h 169"/>
                <a:gd name="T90" fmla="*/ 99 w 201"/>
                <a:gd name="T91" fmla="*/ 23 h 169"/>
                <a:gd name="T92" fmla="*/ 77 w 201"/>
                <a:gd name="T93" fmla="*/ 19 h 169"/>
                <a:gd name="T94" fmla="*/ 54 w 201"/>
                <a:gd name="T95" fmla="*/ 1 h 169"/>
                <a:gd name="T96" fmla="*/ 45 w 201"/>
                <a:gd name="T97" fmla="*/ 11 h 169"/>
                <a:gd name="T98" fmla="*/ 30 w 201"/>
                <a:gd name="T99" fmla="*/ 45 h 169"/>
                <a:gd name="T100" fmla="*/ 23 w 201"/>
                <a:gd name="T101" fmla="*/ 9 h 169"/>
                <a:gd name="T102" fmla="*/ 7 w 201"/>
                <a:gd name="T103" fmla="*/ 28 h 169"/>
                <a:gd name="T104" fmla="*/ 2 w 201"/>
                <a:gd name="T105" fmla="*/ 44 h 169"/>
                <a:gd name="T106" fmla="*/ 16 w 201"/>
                <a:gd name="T107" fmla="*/ 57 h 169"/>
                <a:gd name="T108" fmla="*/ 25 w 201"/>
                <a:gd name="T109" fmla="*/ 76 h 169"/>
                <a:gd name="T110" fmla="*/ 70 w 201"/>
                <a:gd name="T111" fmla="*/ 87 h 169"/>
                <a:gd name="T112" fmla="*/ 84 w 201"/>
                <a:gd name="T113" fmla="*/ 118 h 169"/>
                <a:gd name="T114" fmla="*/ 89 w 201"/>
                <a:gd name="T115" fmla="*/ 140 h 1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169">
                  <a:moveTo>
                    <a:pt x="107" y="169"/>
                  </a:moveTo>
                  <a:cubicBezTo>
                    <a:pt x="105" y="169"/>
                    <a:pt x="104" y="168"/>
                    <a:pt x="102" y="166"/>
                  </a:cubicBezTo>
                  <a:cubicBezTo>
                    <a:pt x="101" y="165"/>
                    <a:pt x="101" y="165"/>
                    <a:pt x="100" y="165"/>
                  </a:cubicBezTo>
                  <a:cubicBezTo>
                    <a:pt x="98" y="163"/>
                    <a:pt x="97" y="161"/>
                    <a:pt x="96" y="159"/>
                  </a:cubicBezTo>
                  <a:cubicBezTo>
                    <a:pt x="94" y="156"/>
                    <a:pt x="92" y="153"/>
                    <a:pt x="89" y="150"/>
                  </a:cubicBezTo>
                  <a:cubicBezTo>
                    <a:pt x="88" y="149"/>
                    <a:pt x="88" y="149"/>
                    <a:pt x="88" y="149"/>
                  </a:cubicBezTo>
                  <a:cubicBezTo>
                    <a:pt x="89" y="149"/>
                    <a:pt x="89" y="149"/>
                    <a:pt x="89" y="149"/>
                  </a:cubicBezTo>
                  <a:cubicBezTo>
                    <a:pt x="90" y="148"/>
                    <a:pt x="91" y="148"/>
                    <a:pt x="91" y="148"/>
                  </a:cubicBezTo>
                  <a:cubicBezTo>
                    <a:pt x="91" y="148"/>
                    <a:pt x="91" y="148"/>
                    <a:pt x="91" y="148"/>
                  </a:cubicBezTo>
                  <a:cubicBezTo>
                    <a:pt x="91" y="147"/>
                    <a:pt x="92" y="144"/>
                    <a:pt x="88" y="141"/>
                  </a:cubicBezTo>
                  <a:cubicBezTo>
                    <a:pt x="87" y="140"/>
                    <a:pt x="86" y="139"/>
                    <a:pt x="86" y="137"/>
                  </a:cubicBezTo>
                  <a:cubicBezTo>
                    <a:pt x="85" y="135"/>
                    <a:pt x="87" y="132"/>
                    <a:pt x="89" y="130"/>
                  </a:cubicBezTo>
                  <a:cubicBezTo>
                    <a:pt x="91" y="127"/>
                    <a:pt x="89" y="125"/>
                    <a:pt x="85" y="121"/>
                  </a:cubicBezTo>
                  <a:cubicBezTo>
                    <a:pt x="85" y="121"/>
                    <a:pt x="84" y="120"/>
                    <a:pt x="83" y="119"/>
                  </a:cubicBezTo>
                  <a:cubicBezTo>
                    <a:pt x="79" y="115"/>
                    <a:pt x="82" y="99"/>
                    <a:pt x="87" y="92"/>
                  </a:cubicBezTo>
                  <a:cubicBezTo>
                    <a:pt x="87" y="91"/>
                    <a:pt x="87" y="90"/>
                    <a:pt x="87" y="89"/>
                  </a:cubicBezTo>
                  <a:cubicBezTo>
                    <a:pt x="87" y="88"/>
                    <a:pt x="85" y="87"/>
                    <a:pt x="81" y="87"/>
                  </a:cubicBezTo>
                  <a:cubicBezTo>
                    <a:pt x="77" y="87"/>
                    <a:pt x="73" y="88"/>
                    <a:pt x="70" y="88"/>
                  </a:cubicBezTo>
                  <a:cubicBezTo>
                    <a:pt x="62" y="89"/>
                    <a:pt x="55" y="86"/>
                    <a:pt x="49" y="79"/>
                  </a:cubicBezTo>
                  <a:cubicBezTo>
                    <a:pt x="47" y="76"/>
                    <a:pt x="45" y="75"/>
                    <a:pt x="41" y="75"/>
                  </a:cubicBezTo>
                  <a:cubicBezTo>
                    <a:pt x="39" y="75"/>
                    <a:pt x="37" y="76"/>
                    <a:pt x="35" y="76"/>
                  </a:cubicBezTo>
                  <a:cubicBezTo>
                    <a:pt x="32" y="76"/>
                    <a:pt x="29" y="77"/>
                    <a:pt x="25" y="77"/>
                  </a:cubicBezTo>
                  <a:cubicBezTo>
                    <a:pt x="24" y="77"/>
                    <a:pt x="24" y="77"/>
                    <a:pt x="24" y="77"/>
                  </a:cubicBezTo>
                  <a:cubicBezTo>
                    <a:pt x="21" y="77"/>
                    <a:pt x="19" y="76"/>
                    <a:pt x="17" y="74"/>
                  </a:cubicBezTo>
                  <a:cubicBezTo>
                    <a:pt x="13" y="70"/>
                    <a:pt x="14" y="63"/>
                    <a:pt x="15" y="58"/>
                  </a:cubicBezTo>
                  <a:cubicBezTo>
                    <a:pt x="15" y="57"/>
                    <a:pt x="15" y="57"/>
                    <a:pt x="15" y="57"/>
                  </a:cubicBezTo>
                  <a:cubicBezTo>
                    <a:pt x="15" y="54"/>
                    <a:pt x="13" y="53"/>
                    <a:pt x="11" y="52"/>
                  </a:cubicBezTo>
                  <a:cubicBezTo>
                    <a:pt x="10" y="51"/>
                    <a:pt x="8" y="49"/>
                    <a:pt x="8" y="48"/>
                  </a:cubicBezTo>
                  <a:cubicBezTo>
                    <a:pt x="8" y="46"/>
                    <a:pt x="7" y="45"/>
                    <a:pt x="4" y="45"/>
                  </a:cubicBezTo>
                  <a:cubicBezTo>
                    <a:pt x="4" y="45"/>
                    <a:pt x="3" y="45"/>
                    <a:pt x="2" y="45"/>
                  </a:cubicBezTo>
                  <a:cubicBezTo>
                    <a:pt x="1" y="45"/>
                    <a:pt x="0" y="45"/>
                    <a:pt x="0" y="44"/>
                  </a:cubicBezTo>
                  <a:cubicBezTo>
                    <a:pt x="0" y="43"/>
                    <a:pt x="1" y="41"/>
                    <a:pt x="4" y="38"/>
                  </a:cubicBezTo>
                  <a:cubicBezTo>
                    <a:pt x="6" y="35"/>
                    <a:pt x="6" y="33"/>
                    <a:pt x="6" y="28"/>
                  </a:cubicBezTo>
                  <a:cubicBezTo>
                    <a:pt x="6" y="27"/>
                    <a:pt x="6" y="27"/>
                    <a:pt x="6" y="27"/>
                  </a:cubicBezTo>
                  <a:cubicBezTo>
                    <a:pt x="6" y="23"/>
                    <a:pt x="10" y="20"/>
                    <a:pt x="13" y="16"/>
                  </a:cubicBezTo>
                  <a:cubicBezTo>
                    <a:pt x="15" y="14"/>
                    <a:pt x="17" y="12"/>
                    <a:pt x="19" y="10"/>
                  </a:cubicBezTo>
                  <a:cubicBezTo>
                    <a:pt x="20" y="9"/>
                    <a:pt x="21" y="8"/>
                    <a:pt x="23" y="7"/>
                  </a:cubicBezTo>
                  <a:cubicBezTo>
                    <a:pt x="24" y="7"/>
                    <a:pt x="24" y="7"/>
                    <a:pt x="24" y="7"/>
                  </a:cubicBezTo>
                  <a:cubicBezTo>
                    <a:pt x="24" y="8"/>
                    <a:pt x="24" y="8"/>
                    <a:pt x="24" y="8"/>
                  </a:cubicBezTo>
                  <a:cubicBezTo>
                    <a:pt x="23" y="11"/>
                    <a:pt x="25" y="15"/>
                    <a:pt x="26" y="18"/>
                  </a:cubicBezTo>
                  <a:cubicBezTo>
                    <a:pt x="27" y="19"/>
                    <a:pt x="25" y="22"/>
                    <a:pt x="23" y="25"/>
                  </a:cubicBezTo>
                  <a:cubicBezTo>
                    <a:pt x="21" y="29"/>
                    <a:pt x="18" y="33"/>
                    <a:pt x="19" y="37"/>
                  </a:cubicBezTo>
                  <a:cubicBezTo>
                    <a:pt x="21" y="41"/>
                    <a:pt x="26" y="44"/>
                    <a:pt x="30" y="44"/>
                  </a:cubicBezTo>
                  <a:cubicBezTo>
                    <a:pt x="32" y="44"/>
                    <a:pt x="33" y="43"/>
                    <a:pt x="34" y="42"/>
                  </a:cubicBezTo>
                  <a:cubicBezTo>
                    <a:pt x="36" y="39"/>
                    <a:pt x="34" y="35"/>
                    <a:pt x="32" y="30"/>
                  </a:cubicBezTo>
                  <a:cubicBezTo>
                    <a:pt x="30" y="27"/>
                    <a:pt x="29" y="23"/>
                    <a:pt x="29" y="21"/>
                  </a:cubicBezTo>
                  <a:cubicBezTo>
                    <a:pt x="30" y="16"/>
                    <a:pt x="39" y="13"/>
                    <a:pt x="45" y="11"/>
                  </a:cubicBezTo>
                  <a:cubicBezTo>
                    <a:pt x="47" y="10"/>
                    <a:pt x="48" y="9"/>
                    <a:pt x="49" y="9"/>
                  </a:cubicBezTo>
                  <a:cubicBezTo>
                    <a:pt x="51" y="8"/>
                    <a:pt x="51" y="7"/>
                    <a:pt x="50" y="5"/>
                  </a:cubicBezTo>
                  <a:cubicBezTo>
                    <a:pt x="50" y="3"/>
                    <a:pt x="50" y="2"/>
                    <a:pt x="51" y="1"/>
                  </a:cubicBezTo>
                  <a:cubicBezTo>
                    <a:pt x="51" y="0"/>
                    <a:pt x="52" y="0"/>
                    <a:pt x="54" y="0"/>
                  </a:cubicBezTo>
                  <a:cubicBezTo>
                    <a:pt x="57" y="0"/>
                    <a:pt x="58" y="2"/>
                    <a:pt x="59" y="4"/>
                  </a:cubicBezTo>
                  <a:cubicBezTo>
                    <a:pt x="60" y="6"/>
                    <a:pt x="62" y="8"/>
                    <a:pt x="66" y="8"/>
                  </a:cubicBezTo>
                  <a:cubicBezTo>
                    <a:pt x="70" y="7"/>
                    <a:pt x="73" y="8"/>
                    <a:pt x="75" y="11"/>
                  </a:cubicBezTo>
                  <a:cubicBezTo>
                    <a:pt x="77" y="13"/>
                    <a:pt x="78" y="16"/>
                    <a:pt x="78" y="19"/>
                  </a:cubicBezTo>
                  <a:cubicBezTo>
                    <a:pt x="78" y="21"/>
                    <a:pt x="78" y="22"/>
                    <a:pt x="79" y="22"/>
                  </a:cubicBezTo>
                  <a:cubicBezTo>
                    <a:pt x="80" y="24"/>
                    <a:pt x="82" y="24"/>
                    <a:pt x="86" y="24"/>
                  </a:cubicBezTo>
                  <a:cubicBezTo>
                    <a:pt x="89" y="24"/>
                    <a:pt x="93" y="24"/>
                    <a:pt x="96" y="22"/>
                  </a:cubicBezTo>
                  <a:cubicBezTo>
                    <a:pt x="97" y="22"/>
                    <a:pt x="98" y="22"/>
                    <a:pt x="99" y="22"/>
                  </a:cubicBezTo>
                  <a:cubicBezTo>
                    <a:pt x="102" y="22"/>
                    <a:pt x="106" y="24"/>
                    <a:pt x="110" y="27"/>
                  </a:cubicBezTo>
                  <a:cubicBezTo>
                    <a:pt x="114" y="29"/>
                    <a:pt x="118" y="31"/>
                    <a:pt x="121" y="31"/>
                  </a:cubicBezTo>
                  <a:cubicBezTo>
                    <a:pt x="122" y="31"/>
                    <a:pt x="123" y="31"/>
                    <a:pt x="123" y="30"/>
                  </a:cubicBezTo>
                  <a:cubicBezTo>
                    <a:pt x="131" y="26"/>
                    <a:pt x="143" y="22"/>
                    <a:pt x="152" y="20"/>
                  </a:cubicBezTo>
                  <a:cubicBezTo>
                    <a:pt x="153" y="20"/>
                    <a:pt x="154" y="20"/>
                    <a:pt x="155" y="20"/>
                  </a:cubicBezTo>
                  <a:cubicBezTo>
                    <a:pt x="160" y="20"/>
                    <a:pt x="166" y="22"/>
                    <a:pt x="166" y="24"/>
                  </a:cubicBezTo>
                  <a:cubicBezTo>
                    <a:pt x="166" y="25"/>
                    <a:pt x="165" y="25"/>
                    <a:pt x="164" y="25"/>
                  </a:cubicBezTo>
                  <a:cubicBezTo>
                    <a:pt x="161" y="25"/>
                    <a:pt x="159" y="27"/>
                    <a:pt x="159" y="29"/>
                  </a:cubicBezTo>
                  <a:cubicBezTo>
                    <a:pt x="158" y="30"/>
                    <a:pt x="160" y="31"/>
                    <a:pt x="162" y="32"/>
                  </a:cubicBezTo>
                  <a:cubicBezTo>
                    <a:pt x="163" y="32"/>
                    <a:pt x="165" y="32"/>
                    <a:pt x="167" y="33"/>
                  </a:cubicBezTo>
                  <a:cubicBezTo>
                    <a:pt x="174" y="34"/>
                    <a:pt x="184" y="35"/>
                    <a:pt x="184" y="40"/>
                  </a:cubicBezTo>
                  <a:cubicBezTo>
                    <a:pt x="184" y="43"/>
                    <a:pt x="182" y="46"/>
                    <a:pt x="180" y="48"/>
                  </a:cubicBezTo>
                  <a:cubicBezTo>
                    <a:pt x="179" y="50"/>
                    <a:pt x="178" y="51"/>
                    <a:pt x="178" y="52"/>
                  </a:cubicBezTo>
                  <a:cubicBezTo>
                    <a:pt x="178" y="52"/>
                    <a:pt x="179" y="52"/>
                    <a:pt x="180" y="52"/>
                  </a:cubicBezTo>
                  <a:cubicBezTo>
                    <a:pt x="181" y="52"/>
                    <a:pt x="183" y="52"/>
                    <a:pt x="185" y="52"/>
                  </a:cubicBezTo>
                  <a:cubicBezTo>
                    <a:pt x="189" y="52"/>
                    <a:pt x="196" y="52"/>
                    <a:pt x="201" y="54"/>
                  </a:cubicBezTo>
                  <a:cubicBezTo>
                    <a:pt x="201" y="54"/>
                    <a:pt x="201" y="54"/>
                    <a:pt x="201" y="54"/>
                  </a:cubicBezTo>
                  <a:cubicBezTo>
                    <a:pt x="201" y="55"/>
                    <a:pt x="201" y="55"/>
                    <a:pt x="201" y="55"/>
                  </a:cubicBezTo>
                  <a:cubicBezTo>
                    <a:pt x="199" y="58"/>
                    <a:pt x="197" y="61"/>
                    <a:pt x="196" y="62"/>
                  </a:cubicBezTo>
                  <a:cubicBezTo>
                    <a:pt x="193" y="64"/>
                    <a:pt x="189" y="67"/>
                    <a:pt x="189" y="69"/>
                  </a:cubicBezTo>
                  <a:cubicBezTo>
                    <a:pt x="189" y="70"/>
                    <a:pt x="190" y="71"/>
                    <a:pt x="190" y="71"/>
                  </a:cubicBezTo>
                  <a:cubicBezTo>
                    <a:pt x="193" y="72"/>
                    <a:pt x="194" y="75"/>
                    <a:pt x="194" y="76"/>
                  </a:cubicBezTo>
                  <a:cubicBezTo>
                    <a:pt x="193" y="78"/>
                    <a:pt x="192" y="79"/>
                    <a:pt x="188" y="80"/>
                  </a:cubicBezTo>
                  <a:cubicBezTo>
                    <a:pt x="185" y="80"/>
                    <a:pt x="183" y="81"/>
                    <a:pt x="182" y="82"/>
                  </a:cubicBezTo>
                  <a:cubicBezTo>
                    <a:pt x="182" y="83"/>
                    <a:pt x="182" y="84"/>
                    <a:pt x="182" y="86"/>
                  </a:cubicBezTo>
                  <a:cubicBezTo>
                    <a:pt x="182" y="88"/>
                    <a:pt x="181" y="89"/>
                    <a:pt x="180" y="90"/>
                  </a:cubicBezTo>
                  <a:cubicBezTo>
                    <a:pt x="179" y="92"/>
                    <a:pt x="179" y="92"/>
                    <a:pt x="180" y="93"/>
                  </a:cubicBezTo>
                  <a:cubicBezTo>
                    <a:pt x="182" y="95"/>
                    <a:pt x="185" y="99"/>
                    <a:pt x="190" y="105"/>
                  </a:cubicBezTo>
                  <a:cubicBezTo>
                    <a:pt x="190" y="106"/>
                    <a:pt x="190" y="106"/>
                    <a:pt x="190" y="106"/>
                  </a:cubicBezTo>
                  <a:cubicBezTo>
                    <a:pt x="190" y="106"/>
                    <a:pt x="190" y="106"/>
                    <a:pt x="190" y="106"/>
                  </a:cubicBezTo>
                  <a:cubicBezTo>
                    <a:pt x="189" y="107"/>
                    <a:pt x="189" y="107"/>
                    <a:pt x="189" y="107"/>
                  </a:cubicBezTo>
                  <a:cubicBezTo>
                    <a:pt x="188" y="109"/>
                    <a:pt x="187" y="111"/>
                    <a:pt x="186" y="111"/>
                  </a:cubicBezTo>
                  <a:cubicBezTo>
                    <a:pt x="184" y="112"/>
                    <a:pt x="182" y="113"/>
                    <a:pt x="180" y="114"/>
                  </a:cubicBezTo>
                  <a:cubicBezTo>
                    <a:pt x="176" y="116"/>
                    <a:pt x="172" y="118"/>
                    <a:pt x="168" y="118"/>
                  </a:cubicBezTo>
                  <a:cubicBezTo>
                    <a:pt x="168" y="118"/>
                    <a:pt x="168" y="118"/>
                    <a:pt x="167" y="118"/>
                  </a:cubicBezTo>
                  <a:cubicBezTo>
                    <a:pt x="163" y="117"/>
                    <a:pt x="158" y="119"/>
                    <a:pt x="158" y="123"/>
                  </a:cubicBezTo>
                  <a:cubicBezTo>
                    <a:pt x="158" y="126"/>
                    <a:pt x="157" y="127"/>
                    <a:pt x="155" y="127"/>
                  </a:cubicBezTo>
                  <a:cubicBezTo>
                    <a:pt x="154" y="127"/>
                    <a:pt x="152" y="126"/>
                    <a:pt x="151" y="123"/>
                  </a:cubicBezTo>
                  <a:cubicBezTo>
                    <a:pt x="151" y="121"/>
                    <a:pt x="148" y="121"/>
                    <a:pt x="145" y="121"/>
                  </a:cubicBezTo>
                  <a:cubicBezTo>
                    <a:pt x="142" y="121"/>
                    <a:pt x="140" y="120"/>
                    <a:pt x="139" y="119"/>
                  </a:cubicBezTo>
                  <a:cubicBezTo>
                    <a:pt x="138" y="118"/>
                    <a:pt x="136" y="118"/>
                    <a:pt x="134" y="118"/>
                  </a:cubicBezTo>
                  <a:cubicBezTo>
                    <a:pt x="131" y="118"/>
                    <a:pt x="129" y="118"/>
                    <a:pt x="129" y="119"/>
                  </a:cubicBezTo>
                  <a:cubicBezTo>
                    <a:pt x="129" y="119"/>
                    <a:pt x="129" y="119"/>
                    <a:pt x="130" y="120"/>
                  </a:cubicBezTo>
                  <a:cubicBezTo>
                    <a:pt x="135" y="123"/>
                    <a:pt x="136" y="127"/>
                    <a:pt x="136" y="131"/>
                  </a:cubicBezTo>
                  <a:cubicBezTo>
                    <a:pt x="136" y="133"/>
                    <a:pt x="136" y="134"/>
                    <a:pt x="137" y="135"/>
                  </a:cubicBezTo>
                  <a:cubicBezTo>
                    <a:pt x="138" y="136"/>
                    <a:pt x="140" y="137"/>
                    <a:pt x="140" y="141"/>
                  </a:cubicBezTo>
                  <a:cubicBezTo>
                    <a:pt x="140" y="142"/>
                    <a:pt x="140" y="142"/>
                    <a:pt x="140" y="143"/>
                  </a:cubicBezTo>
                  <a:cubicBezTo>
                    <a:pt x="141" y="143"/>
                    <a:pt x="142" y="143"/>
                    <a:pt x="143" y="142"/>
                  </a:cubicBezTo>
                  <a:cubicBezTo>
                    <a:pt x="144" y="142"/>
                    <a:pt x="146" y="142"/>
                    <a:pt x="147" y="142"/>
                  </a:cubicBezTo>
                  <a:cubicBezTo>
                    <a:pt x="148" y="142"/>
                    <a:pt x="149" y="143"/>
                    <a:pt x="149" y="144"/>
                  </a:cubicBezTo>
                  <a:cubicBezTo>
                    <a:pt x="149" y="146"/>
                    <a:pt x="148" y="148"/>
                    <a:pt x="145" y="149"/>
                  </a:cubicBezTo>
                  <a:cubicBezTo>
                    <a:pt x="141" y="150"/>
                    <a:pt x="138" y="152"/>
                    <a:pt x="137" y="156"/>
                  </a:cubicBezTo>
                  <a:cubicBezTo>
                    <a:pt x="136" y="159"/>
                    <a:pt x="134" y="159"/>
                    <a:pt x="132" y="160"/>
                  </a:cubicBezTo>
                  <a:cubicBezTo>
                    <a:pt x="131" y="160"/>
                    <a:pt x="129" y="160"/>
                    <a:pt x="127" y="161"/>
                  </a:cubicBezTo>
                  <a:cubicBezTo>
                    <a:pt x="126" y="162"/>
                    <a:pt x="126" y="162"/>
                    <a:pt x="126" y="162"/>
                  </a:cubicBezTo>
                  <a:cubicBezTo>
                    <a:pt x="123" y="165"/>
                    <a:pt x="121" y="167"/>
                    <a:pt x="118" y="167"/>
                  </a:cubicBezTo>
                  <a:cubicBezTo>
                    <a:pt x="117" y="167"/>
                    <a:pt x="117" y="167"/>
                    <a:pt x="117" y="167"/>
                  </a:cubicBezTo>
                  <a:cubicBezTo>
                    <a:pt x="114" y="165"/>
                    <a:pt x="112" y="166"/>
                    <a:pt x="109" y="168"/>
                  </a:cubicBezTo>
                  <a:cubicBezTo>
                    <a:pt x="109" y="168"/>
                    <a:pt x="109" y="168"/>
                    <a:pt x="109" y="168"/>
                  </a:cubicBezTo>
                  <a:cubicBezTo>
                    <a:pt x="108" y="169"/>
                    <a:pt x="108" y="169"/>
                    <a:pt x="107" y="169"/>
                  </a:cubicBezTo>
                  <a:close/>
                  <a:moveTo>
                    <a:pt x="90" y="150"/>
                  </a:moveTo>
                  <a:cubicBezTo>
                    <a:pt x="93" y="153"/>
                    <a:pt x="95" y="156"/>
                    <a:pt x="96" y="158"/>
                  </a:cubicBezTo>
                  <a:cubicBezTo>
                    <a:pt x="98" y="161"/>
                    <a:pt x="99" y="163"/>
                    <a:pt x="101" y="164"/>
                  </a:cubicBezTo>
                  <a:cubicBezTo>
                    <a:pt x="102" y="165"/>
                    <a:pt x="102" y="165"/>
                    <a:pt x="102" y="165"/>
                  </a:cubicBezTo>
                  <a:cubicBezTo>
                    <a:pt x="104" y="167"/>
                    <a:pt x="105" y="168"/>
                    <a:pt x="107" y="168"/>
                  </a:cubicBezTo>
                  <a:cubicBezTo>
                    <a:pt x="107" y="168"/>
                    <a:pt x="108" y="168"/>
                    <a:pt x="109" y="167"/>
                  </a:cubicBezTo>
                  <a:cubicBezTo>
                    <a:pt x="109" y="167"/>
                    <a:pt x="109" y="167"/>
                    <a:pt x="109" y="167"/>
                  </a:cubicBezTo>
                  <a:cubicBezTo>
                    <a:pt x="111" y="166"/>
                    <a:pt x="113" y="165"/>
                    <a:pt x="114" y="165"/>
                  </a:cubicBezTo>
                  <a:cubicBezTo>
                    <a:pt x="115" y="165"/>
                    <a:pt x="116" y="165"/>
                    <a:pt x="117" y="166"/>
                  </a:cubicBezTo>
                  <a:cubicBezTo>
                    <a:pt x="118" y="166"/>
                    <a:pt x="118" y="166"/>
                    <a:pt x="118" y="166"/>
                  </a:cubicBezTo>
                  <a:cubicBezTo>
                    <a:pt x="120" y="166"/>
                    <a:pt x="123" y="164"/>
                    <a:pt x="126" y="161"/>
                  </a:cubicBezTo>
                  <a:cubicBezTo>
                    <a:pt x="127" y="161"/>
                    <a:pt x="127" y="161"/>
                    <a:pt x="127" y="161"/>
                  </a:cubicBezTo>
                  <a:cubicBezTo>
                    <a:pt x="128" y="159"/>
                    <a:pt x="131" y="159"/>
                    <a:pt x="132" y="159"/>
                  </a:cubicBezTo>
                  <a:cubicBezTo>
                    <a:pt x="134" y="158"/>
                    <a:pt x="135" y="158"/>
                    <a:pt x="136" y="156"/>
                  </a:cubicBezTo>
                  <a:cubicBezTo>
                    <a:pt x="137" y="151"/>
                    <a:pt x="140" y="149"/>
                    <a:pt x="145" y="148"/>
                  </a:cubicBezTo>
                  <a:cubicBezTo>
                    <a:pt x="147" y="147"/>
                    <a:pt x="148" y="146"/>
                    <a:pt x="148" y="144"/>
                  </a:cubicBezTo>
                  <a:cubicBezTo>
                    <a:pt x="148" y="144"/>
                    <a:pt x="148" y="143"/>
                    <a:pt x="147" y="143"/>
                  </a:cubicBezTo>
                  <a:cubicBezTo>
                    <a:pt x="146" y="143"/>
                    <a:pt x="145" y="143"/>
                    <a:pt x="144" y="143"/>
                  </a:cubicBezTo>
                  <a:cubicBezTo>
                    <a:pt x="143" y="144"/>
                    <a:pt x="142" y="144"/>
                    <a:pt x="141" y="144"/>
                  </a:cubicBezTo>
                  <a:cubicBezTo>
                    <a:pt x="140" y="144"/>
                    <a:pt x="140" y="144"/>
                    <a:pt x="139" y="143"/>
                  </a:cubicBezTo>
                  <a:cubicBezTo>
                    <a:pt x="139" y="143"/>
                    <a:pt x="139" y="142"/>
                    <a:pt x="139" y="141"/>
                  </a:cubicBezTo>
                  <a:cubicBezTo>
                    <a:pt x="139" y="138"/>
                    <a:pt x="138" y="137"/>
                    <a:pt x="137" y="136"/>
                  </a:cubicBezTo>
                  <a:cubicBezTo>
                    <a:pt x="136" y="135"/>
                    <a:pt x="135" y="134"/>
                    <a:pt x="135" y="131"/>
                  </a:cubicBezTo>
                  <a:cubicBezTo>
                    <a:pt x="135" y="126"/>
                    <a:pt x="134" y="124"/>
                    <a:pt x="129" y="121"/>
                  </a:cubicBezTo>
                  <a:cubicBezTo>
                    <a:pt x="128" y="120"/>
                    <a:pt x="128" y="119"/>
                    <a:pt x="128" y="119"/>
                  </a:cubicBezTo>
                  <a:cubicBezTo>
                    <a:pt x="128" y="117"/>
                    <a:pt x="131" y="117"/>
                    <a:pt x="134" y="117"/>
                  </a:cubicBezTo>
                  <a:cubicBezTo>
                    <a:pt x="135" y="117"/>
                    <a:pt x="138" y="117"/>
                    <a:pt x="139" y="118"/>
                  </a:cubicBezTo>
                  <a:cubicBezTo>
                    <a:pt x="140" y="119"/>
                    <a:pt x="143" y="120"/>
                    <a:pt x="145" y="120"/>
                  </a:cubicBezTo>
                  <a:cubicBezTo>
                    <a:pt x="148" y="120"/>
                    <a:pt x="152" y="120"/>
                    <a:pt x="152" y="123"/>
                  </a:cubicBezTo>
                  <a:cubicBezTo>
                    <a:pt x="153" y="125"/>
                    <a:pt x="154" y="126"/>
                    <a:pt x="155" y="126"/>
                  </a:cubicBezTo>
                  <a:cubicBezTo>
                    <a:pt x="156" y="126"/>
                    <a:pt x="157" y="125"/>
                    <a:pt x="157" y="123"/>
                  </a:cubicBezTo>
                  <a:cubicBezTo>
                    <a:pt x="157" y="118"/>
                    <a:pt x="163" y="116"/>
                    <a:pt x="168" y="117"/>
                  </a:cubicBezTo>
                  <a:cubicBezTo>
                    <a:pt x="168" y="117"/>
                    <a:pt x="168" y="117"/>
                    <a:pt x="168" y="117"/>
                  </a:cubicBezTo>
                  <a:cubicBezTo>
                    <a:pt x="171" y="117"/>
                    <a:pt x="176" y="115"/>
                    <a:pt x="180" y="113"/>
                  </a:cubicBezTo>
                  <a:cubicBezTo>
                    <a:pt x="182" y="112"/>
                    <a:pt x="184" y="111"/>
                    <a:pt x="185" y="110"/>
                  </a:cubicBezTo>
                  <a:cubicBezTo>
                    <a:pt x="187" y="110"/>
                    <a:pt x="187" y="108"/>
                    <a:pt x="188" y="107"/>
                  </a:cubicBezTo>
                  <a:cubicBezTo>
                    <a:pt x="188" y="106"/>
                    <a:pt x="189" y="106"/>
                    <a:pt x="189" y="106"/>
                  </a:cubicBezTo>
                  <a:cubicBezTo>
                    <a:pt x="184" y="99"/>
                    <a:pt x="181" y="96"/>
                    <a:pt x="179" y="94"/>
                  </a:cubicBezTo>
                  <a:cubicBezTo>
                    <a:pt x="177" y="93"/>
                    <a:pt x="178" y="91"/>
                    <a:pt x="179" y="90"/>
                  </a:cubicBezTo>
                  <a:cubicBezTo>
                    <a:pt x="180" y="89"/>
                    <a:pt x="181" y="88"/>
                    <a:pt x="181" y="86"/>
                  </a:cubicBezTo>
                  <a:cubicBezTo>
                    <a:pt x="181" y="84"/>
                    <a:pt x="181" y="83"/>
                    <a:pt x="182" y="81"/>
                  </a:cubicBezTo>
                  <a:cubicBezTo>
                    <a:pt x="183" y="80"/>
                    <a:pt x="185" y="79"/>
                    <a:pt x="188" y="79"/>
                  </a:cubicBezTo>
                  <a:cubicBezTo>
                    <a:pt x="191" y="79"/>
                    <a:pt x="192" y="78"/>
                    <a:pt x="193" y="76"/>
                  </a:cubicBezTo>
                  <a:cubicBezTo>
                    <a:pt x="193" y="75"/>
                    <a:pt x="192" y="73"/>
                    <a:pt x="190" y="72"/>
                  </a:cubicBezTo>
                  <a:cubicBezTo>
                    <a:pt x="189" y="71"/>
                    <a:pt x="188" y="70"/>
                    <a:pt x="188" y="69"/>
                  </a:cubicBezTo>
                  <a:cubicBezTo>
                    <a:pt x="188" y="66"/>
                    <a:pt x="192" y="63"/>
                    <a:pt x="195" y="61"/>
                  </a:cubicBezTo>
                  <a:cubicBezTo>
                    <a:pt x="197" y="60"/>
                    <a:pt x="198" y="58"/>
                    <a:pt x="200" y="55"/>
                  </a:cubicBezTo>
                  <a:cubicBezTo>
                    <a:pt x="195" y="53"/>
                    <a:pt x="189" y="53"/>
                    <a:pt x="185" y="53"/>
                  </a:cubicBezTo>
                  <a:cubicBezTo>
                    <a:pt x="183" y="53"/>
                    <a:pt x="181" y="53"/>
                    <a:pt x="180" y="53"/>
                  </a:cubicBezTo>
                  <a:cubicBezTo>
                    <a:pt x="179" y="53"/>
                    <a:pt x="179" y="53"/>
                    <a:pt x="179" y="53"/>
                  </a:cubicBezTo>
                  <a:cubicBezTo>
                    <a:pt x="179" y="53"/>
                    <a:pt x="178" y="53"/>
                    <a:pt x="178" y="52"/>
                  </a:cubicBezTo>
                  <a:cubicBezTo>
                    <a:pt x="177" y="51"/>
                    <a:pt x="178" y="50"/>
                    <a:pt x="179" y="48"/>
                  </a:cubicBezTo>
                  <a:cubicBezTo>
                    <a:pt x="181" y="46"/>
                    <a:pt x="183" y="43"/>
                    <a:pt x="183" y="40"/>
                  </a:cubicBezTo>
                  <a:cubicBezTo>
                    <a:pt x="183" y="36"/>
                    <a:pt x="173" y="35"/>
                    <a:pt x="166" y="34"/>
                  </a:cubicBezTo>
                  <a:cubicBezTo>
                    <a:pt x="165" y="33"/>
                    <a:pt x="163" y="33"/>
                    <a:pt x="162" y="33"/>
                  </a:cubicBezTo>
                  <a:cubicBezTo>
                    <a:pt x="159" y="32"/>
                    <a:pt x="157" y="30"/>
                    <a:pt x="158" y="28"/>
                  </a:cubicBezTo>
                  <a:cubicBezTo>
                    <a:pt x="158" y="26"/>
                    <a:pt x="160" y="24"/>
                    <a:pt x="164" y="24"/>
                  </a:cubicBezTo>
                  <a:cubicBezTo>
                    <a:pt x="165" y="24"/>
                    <a:pt x="165" y="23"/>
                    <a:pt x="165" y="23"/>
                  </a:cubicBezTo>
                  <a:cubicBezTo>
                    <a:pt x="165" y="23"/>
                    <a:pt x="161" y="21"/>
                    <a:pt x="155" y="21"/>
                  </a:cubicBezTo>
                  <a:cubicBezTo>
                    <a:pt x="154" y="21"/>
                    <a:pt x="153" y="21"/>
                    <a:pt x="152" y="21"/>
                  </a:cubicBezTo>
                  <a:cubicBezTo>
                    <a:pt x="143" y="23"/>
                    <a:pt x="131" y="27"/>
                    <a:pt x="124" y="31"/>
                  </a:cubicBezTo>
                  <a:cubicBezTo>
                    <a:pt x="123" y="32"/>
                    <a:pt x="122" y="32"/>
                    <a:pt x="121" y="32"/>
                  </a:cubicBezTo>
                  <a:cubicBezTo>
                    <a:pt x="121" y="32"/>
                    <a:pt x="121" y="32"/>
                    <a:pt x="121" y="32"/>
                  </a:cubicBezTo>
                  <a:cubicBezTo>
                    <a:pt x="118" y="32"/>
                    <a:pt x="114" y="30"/>
                    <a:pt x="110" y="27"/>
                  </a:cubicBezTo>
                  <a:cubicBezTo>
                    <a:pt x="106" y="25"/>
                    <a:pt x="102" y="23"/>
                    <a:pt x="99" y="23"/>
                  </a:cubicBezTo>
                  <a:cubicBezTo>
                    <a:pt x="98" y="23"/>
                    <a:pt x="97" y="23"/>
                    <a:pt x="96" y="23"/>
                  </a:cubicBezTo>
                  <a:cubicBezTo>
                    <a:pt x="93" y="25"/>
                    <a:pt x="89" y="25"/>
                    <a:pt x="86" y="25"/>
                  </a:cubicBezTo>
                  <a:cubicBezTo>
                    <a:pt x="83" y="25"/>
                    <a:pt x="80" y="25"/>
                    <a:pt x="78" y="23"/>
                  </a:cubicBezTo>
                  <a:cubicBezTo>
                    <a:pt x="77" y="22"/>
                    <a:pt x="77" y="21"/>
                    <a:pt x="77" y="19"/>
                  </a:cubicBezTo>
                  <a:cubicBezTo>
                    <a:pt x="77" y="16"/>
                    <a:pt x="76" y="13"/>
                    <a:pt x="74" y="11"/>
                  </a:cubicBezTo>
                  <a:cubicBezTo>
                    <a:pt x="72" y="9"/>
                    <a:pt x="69" y="8"/>
                    <a:pt x="66" y="9"/>
                  </a:cubicBezTo>
                  <a:cubicBezTo>
                    <a:pt x="61" y="9"/>
                    <a:pt x="60" y="6"/>
                    <a:pt x="58" y="4"/>
                  </a:cubicBezTo>
                  <a:cubicBezTo>
                    <a:pt x="57" y="2"/>
                    <a:pt x="56" y="1"/>
                    <a:pt x="54" y="1"/>
                  </a:cubicBezTo>
                  <a:cubicBezTo>
                    <a:pt x="53" y="1"/>
                    <a:pt x="52" y="1"/>
                    <a:pt x="52" y="1"/>
                  </a:cubicBezTo>
                  <a:cubicBezTo>
                    <a:pt x="51" y="2"/>
                    <a:pt x="51" y="3"/>
                    <a:pt x="51" y="5"/>
                  </a:cubicBezTo>
                  <a:cubicBezTo>
                    <a:pt x="52" y="6"/>
                    <a:pt x="52" y="9"/>
                    <a:pt x="50" y="10"/>
                  </a:cubicBezTo>
                  <a:cubicBezTo>
                    <a:pt x="49" y="10"/>
                    <a:pt x="47" y="11"/>
                    <a:pt x="45" y="11"/>
                  </a:cubicBezTo>
                  <a:cubicBezTo>
                    <a:pt x="40" y="14"/>
                    <a:pt x="31" y="17"/>
                    <a:pt x="30" y="21"/>
                  </a:cubicBezTo>
                  <a:cubicBezTo>
                    <a:pt x="30" y="23"/>
                    <a:pt x="31" y="27"/>
                    <a:pt x="33" y="30"/>
                  </a:cubicBezTo>
                  <a:cubicBezTo>
                    <a:pt x="35" y="34"/>
                    <a:pt x="37" y="39"/>
                    <a:pt x="35" y="42"/>
                  </a:cubicBezTo>
                  <a:cubicBezTo>
                    <a:pt x="34" y="44"/>
                    <a:pt x="32" y="45"/>
                    <a:pt x="30" y="45"/>
                  </a:cubicBezTo>
                  <a:cubicBezTo>
                    <a:pt x="26" y="45"/>
                    <a:pt x="21" y="41"/>
                    <a:pt x="19" y="37"/>
                  </a:cubicBezTo>
                  <a:cubicBezTo>
                    <a:pt x="17" y="33"/>
                    <a:pt x="20" y="29"/>
                    <a:pt x="22" y="25"/>
                  </a:cubicBezTo>
                  <a:cubicBezTo>
                    <a:pt x="24" y="22"/>
                    <a:pt x="26" y="19"/>
                    <a:pt x="25" y="18"/>
                  </a:cubicBezTo>
                  <a:cubicBezTo>
                    <a:pt x="24" y="15"/>
                    <a:pt x="22" y="12"/>
                    <a:pt x="23" y="9"/>
                  </a:cubicBezTo>
                  <a:cubicBezTo>
                    <a:pt x="21" y="9"/>
                    <a:pt x="20" y="10"/>
                    <a:pt x="20" y="11"/>
                  </a:cubicBezTo>
                  <a:cubicBezTo>
                    <a:pt x="18" y="13"/>
                    <a:pt x="16" y="15"/>
                    <a:pt x="14" y="17"/>
                  </a:cubicBezTo>
                  <a:cubicBezTo>
                    <a:pt x="10" y="20"/>
                    <a:pt x="7" y="23"/>
                    <a:pt x="7" y="27"/>
                  </a:cubicBezTo>
                  <a:cubicBezTo>
                    <a:pt x="7" y="28"/>
                    <a:pt x="7" y="28"/>
                    <a:pt x="7" y="28"/>
                  </a:cubicBezTo>
                  <a:cubicBezTo>
                    <a:pt x="7" y="33"/>
                    <a:pt x="7" y="35"/>
                    <a:pt x="5" y="38"/>
                  </a:cubicBezTo>
                  <a:cubicBezTo>
                    <a:pt x="2" y="41"/>
                    <a:pt x="1" y="43"/>
                    <a:pt x="1" y="44"/>
                  </a:cubicBezTo>
                  <a:cubicBezTo>
                    <a:pt x="2" y="44"/>
                    <a:pt x="2" y="44"/>
                    <a:pt x="2" y="44"/>
                  </a:cubicBezTo>
                  <a:cubicBezTo>
                    <a:pt x="2" y="44"/>
                    <a:pt x="2" y="44"/>
                    <a:pt x="2" y="44"/>
                  </a:cubicBezTo>
                  <a:cubicBezTo>
                    <a:pt x="3" y="44"/>
                    <a:pt x="4" y="44"/>
                    <a:pt x="4" y="44"/>
                  </a:cubicBezTo>
                  <a:cubicBezTo>
                    <a:pt x="5" y="44"/>
                    <a:pt x="9" y="44"/>
                    <a:pt x="9" y="48"/>
                  </a:cubicBezTo>
                  <a:cubicBezTo>
                    <a:pt x="9" y="49"/>
                    <a:pt x="11" y="50"/>
                    <a:pt x="12" y="51"/>
                  </a:cubicBezTo>
                  <a:cubicBezTo>
                    <a:pt x="14" y="52"/>
                    <a:pt x="16" y="54"/>
                    <a:pt x="16" y="57"/>
                  </a:cubicBezTo>
                  <a:cubicBezTo>
                    <a:pt x="16" y="58"/>
                    <a:pt x="16" y="58"/>
                    <a:pt x="16" y="58"/>
                  </a:cubicBezTo>
                  <a:cubicBezTo>
                    <a:pt x="15" y="63"/>
                    <a:pt x="14" y="70"/>
                    <a:pt x="18" y="73"/>
                  </a:cubicBezTo>
                  <a:cubicBezTo>
                    <a:pt x="19" y="75"/>
                    <a:pt x="21" y="76"/>
                    <a:pt x="24" y="76"/>
                  </a:cubicBezTo>
                  <a:cubicBezTo>
                    <a:pt x="25" y="76"/>
                    <a:pt x="25" y="76"/>
                    <a:pt x="25" y="76"/>
                  </a:cubicBezTo>
                  <a:cubicBezTo>
                    <a:pt x="28" y="76"/>
                    <a:pt x="32" y="75"/>
                    <a:pt x="35" y="75"/>
                  </a:cubicBezTo>
                  <a:cubicBezTo>
                    <a:pt x="37" y="75"/>
                    <a:pt x="39" y="74"/>
                    <a:pt x="41" y="74"/>
                  </a:cubicBezTo>
                  <a:cubicBezTo>
                    <a:pt x="45" y="74"/>
                    <a:pt x="48" y="76"/>
                    <a:pt x="50" y="78"/>
                  </a:cubicBezTo>
                  <a:cubicBezTo>
                    <a:pt x="55" y="85"/>
                    <a:pt x="62" y="88"/>
                    <a:pt x="70" y="87"/>
                  </a:cubicBezTo>
                  <a:cubicBezTo>
                    <a:pt x="73" y="87"/>
                    <a:pt x="77" y="86"/>
                    <a:pt x="81" y="86"/>
                  </a:cubicBezTo>
                  <a:cubicBezTo>
                    <a:pt x="85" y="86"/>
                    <a:pt x="87" y="87"/>
                    <a:pt x="88" y="88"/>
                  </a:cubicBezTo>
                  <a:cubicBezTo>
                    <a:pt x="89" y="89"/>
                    <a:pt x="88" y="91"/>
                    <a:pt x="87" y="92"/>
                  </a:cubicBezTo>
                  <a:cubicBezTo>
                    <a:pt x="83" y="100"/>
                    <a:pt x="80" y="114"/>
                    <a:pt x="84" y="118"/>
                  </a:cubicBezTo>
                  <a:cubicBezTo>
                    <a:pt x="85" y="119"/>
                    <a:pt x="85" y="120"/>
                    <a:pt x="86" y="121"/>
                  </a:cubicBezTo>
                  <a:cubicBezTo>
                    <a:pt x="89" y="124"/>
                    <a:pt x="92" y="127"/>
                    <a:pt x="89" y="130"/>
                  </a:cubicBezTo>
                  <a:cubicBezTo>
                    <a:pt x="87" y="133"/>
                    <a:pt x="86" y="135"/>
                    <a:pt x="87" y="137"/>
                  </a:cubicBezTo>
                  <a:cubicBezTo>
                    <a:pt x="87" y="138"/>
                    <a:pt x="88" y="139"/>
                    <a:pt x="89" y="140"/>
                  </a:cubicBezTo>
                  <a:cubicBezTo>
                    <a:pt x="91" y="142"/>
                    <a:pt x="92" y="145"/>
                    <a:pt x="92" y="148"/>
                  </a:cubicBezTo>
                  <a:cubicBezTo>
                    <a:pt x="92" y="148"/>
                    <a:pt x="92" y="148"/>
                    <a:pt x="92" y="148"/>
                  </a:cubicBezTo>
                  <a:cubicBezTo>
                    <a:pt x="92" y="149"/>
                    <a:pt x="91" y="149"/>
                    <a:pt x="90" y="1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1" name="Freeform 118"/>
            <p:cNvSpPr>
              <a:spLocks noEditPoints="1"/>
            </p:cNvSpPr>
            <p:nvPr/>
          </p:nvSpPr>
          <p:spPr>
            <a:xfrm>
              <a:off x="3336926" y="3656013"/>
              <a:ext cx="104775" cy="111125"/>
            </a:xfrm>
            <a:custGeom>
              <a:gdLst>
                <a:gd name="T0" fmla="*/ 22 w 62"/>
                <a:gd name="T1" fmla="*/ 64 h 65"/>
                <a:gd name="T2" fmla="*/ 22 w 62"/>
                <a:gd name="T3" fmla="*/ 64 h 65"/>
                <a:gd name="T4" fmla="*/ 6 w 62"/>
                <a:gd name="T5" fmla="*/ 40 h 65"/>
                <a:gd name="T6" fmla="*/ 1 w 62"/>
                <a:gd name="T7" fmla="*/ 32 h 65"/>
                <a:gd name="T8" fmla="*/ 7 w 62"/>
                <a:gd name="T9" fmla="*/ 19 h 65"/>
                <a:gd name="T10" fmla="*/ 13 w 62"/>
                <a:gd name="T11" fmla="*/ 13 h 65"/>
                <a:gd name="T12" fmla="*/ 15 w 62"/>
                <a:gd name="T13" fmla="*/ 3 h 65"/>
                <a:gd name="T14" fmla="*/ 17 w 62"/>
                <a:gd name="T15" fmla="*/ 3 h 65"/>
                <a:gd name="T16" fmla="*/ 28 w 62"/>
                <a:gd name="T17" fmla="*/ 3 h 65"/>
                <a:gd name="T18" fmla="*/ 40 w 62"/>
                <a:gd name="T19" fmla="*/ 4 h 65"/>
                <a:gd name="T20" fmla="*/ 48 w 62"/>
                <a:gd name="T21" fmla="*/ 3 h 65"/>
                <a:gd name="T22" fmla="*/ 62 w 62"/>
                <a:gd name="T23" fmla="*/ 6 h 65"/>
                <a:gd name="T24" fmla="*/ 59 w 62"/>
                <a:gd name="T25" fmla="*/ 15 h 65"/>
                <a:gd name="T26" fmla="*/ 58 w 62"/>
                <a:gd name="T27" fmla="*/ 51 h 65"/>
                <a:gd name="T28" fmla="*/ 53 w 62"/>
                <a:gd name="T29" fmla="*/ 58 h 65"/>
                <a:gd name="T30" fmla="*/ 51 w 62"/>
                <a:gd name="T31" fmla="*/ 56 h 65"/>
                <a:gd name="T32" fmla="*/ 42 w 62"/>
                <a:gd name="T33" fmla="*/ 55 h 65"/>
                <a:gd name="T34" fmla="*/ 32 w 62"/>
                <a:gd name="T35" fmla="*/ 60 h 65"/>
                <a:gd name="T36" fmla="*/ 27 w 62"/>
                <a:gd name="T37" fmla="*/ 65 h 65"/>
                <a:gd name="T38" fmla="*/ 29 w 62"/>
                <a:gd name="T39" fmla="*/ 64 h 65"/>
                <a:gd name="T40" fmla="*/ 35 w 62"/>
                <a:gd name="T41" fmla="*/ 55 h 65"/>
                <a:gd name="T42" fmla="*/ 48 w 62"/>
                <a:gd name="T43" fmla="*/ 54 h 65"/>
                <a:gd name="T44" fmla="*/ 53 w 62"/>
                <a:gd name="T45" fmla="*/ 57 h 65"/>
                <a:gd name="T46" fmla="*/ 55 w 62"/>
                <a:gd name="T47" fmla="*/ 32 h 65"/>
                <a:gd name="T48" fmla="*/ 61 w 62"/>
                <a:gd name="T49" fmla="*/ 7 h 65"/>
                <a:gd name="T50" fmla="*/ 47 w 62"/>
                <a:gd name="T51" fmla="*/ 4 h 65"/>
                <a:gd name="T52" fmla="*/ 33 w 62"/>
                <a:gd name="T53" fmla="*/ 6 h 65"/>
                <a:gd name="T54" fmla="*/ 17 w 62"/>
                <a:gd name="T55" fmla="*/ 4 h 65"/>
                <a:gd name="T56" fmla="*/ 16 w 62"/>
                <a:gd name="T57" fmla="*/ 5 h 65"/>
                <a:gd name="T58" fmla="*/ 14 w 62"/>
                <a:gd name="T59" fmla="*/ 17 h 65"/>
                <a:gd name="T60" fmla="*/ 4 w 62"/>
                <a:gd name="T61" fmla="*/ 27 h 65"/>
                <a:gd name="T62" fmla="*/ 1 w 62"/>
                <a:gd name="T63" fmla="*/ 33 h 65"/>
                <a:gd name="T64" fmla="*/ 14 w 62"/>
                <a:gd name="T65" fmla="*/ 47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5">
                  <a:moveTo>
                    <a:pt x="27" y="65"/>
                  </a:moveTo>
                  <a:cubicBezTo>
                    <a:pt x="26" y="65"/>
                    <a:pt x="24" y="65"/>
                    <a:pt x="22" y="64"/>
                  </a:cubicBezTo>
                  <a:cubicBezTo>
                    <a:pt x="22" y="64"/>
                    <a:pt x="22" y="64"/>
                    <a:pt x="22" y="64"/>
                  </a:cubicBezTo>
                  <a:cubicBezTo>
                    <a:pt x="22" y="64"/>
                    <a:pt x="22" y="64"/>
                    <a:pt x="22" y="64"/>
                  </a:cubicBezTo>
                  <a:cubicBezTo>
                    <a:pt x="19" y="60"/>
                    <a:pt x="14" y="51"/>
                    <a:pt x="13" y="48"/>
                  </a:cubicBezTo>
                  <a:cubicBezTo>
                    <a:pt x="12" y="45"/>
                    <a:pt x="9" y="42"/>
                    <a:pt x="6" y="40"/>
                  </a:cubicBezTo>
                  <a:cubicBezTo>
                    <a:pt x="3" y="37"/>
                    <a:pt x="1" y="35"/>
                    <a:pt x="0" y="33"/>
                  </a:cubicBezTo>
                  <a:cubicBezTo>
                    <a:pt x="1" y="32"/>
                    <a:pt x="1" y="32"/>
                    <a:pt x="1" y="32"/>
                  </a:cubicBezTo>
                  <a:cubicBezTo>
                    <a:pt x="2" y="31"/>
                    <a:pt x="2" y="29"/>
                    <a:pt x="3" y="27"/>
                  </a:cubicBezTo>
                  <a:cubicBezTo>
                    <a:pt x="4" y="23"/>
                    <a:pt x="4" y="20"/>
                    <a:pt x="7" y="19"/>
                  </a:cubicBezTo>
                  <a:cubicBezTo>
                    <a:pt x="10" y="19"/>
                    <a:pt x="13" y="18"/>
                    <a:pt x="14" y="16"/>
                  </a:cubicBezTo>
                  <a:cubicBezTo>
                    <a:pt x="14" y="15"/>
                    <a:pt x="14" y="14"/>
                    <a:pt x="13" y="13"/>
                  </a:cubicBezTo>
                  <a:cubicBezTo>
                    <a:pt x="12" y="11"/>
                    <a:pt x="13" y="8"/>
                    <a:pt x="15" y="4"/>
                  </a:cubicBezTo>
                  <a:cubicBezTo>
                    <a:pt x="15" y="3"/>
                    <a:pt x="15" y="3"/>
                    <a:pt x="15" y="3"/>
                  </a:cubicBezTo>
                  <a:cubicBezTo>
                    <a:pt x="16" y="3"/>
                    <a:pt x="16" y="3"/>
                    <a:pt x="16" y="3"/>
                  </a:cubicBezTo>
                  <a:cubicBezTo>
                    <a:pt x="16" y="3"/>
                    <a:pt x="16" y="3"/>
                    <a:pt x="17" y="3"/>
                  </a:cubicBezTo>
                  <a:cubicBezTo>
                    <a:pt x="19" y="1"/>
                    <a:pt x="21" y="0"/>
                    <a:pt x="23" y="0"/>
                  </a:cubicBezTo>
                  <a:cubicBezTo>
                    <a:pt x="25" y="0"/>
                    <a:pt x="27" y="1"/>
                    <a:pt x="28" y="3"/>
                  </a:cubicBezTo>
                  <a:cubicBezTo>
                    <a:pt x="29" y="5"/>
                    <a:pt x="31" y="5"/>
                    <a:pt x="33" y="5"/>
                  </a:cubicBezTo>
                  <a:cubicBezTo>
                    <a:pt x="35" y="5"/>
                    <a:pt x="37" y="5"/>
                    <a:pt x="40" y="4"/>
                  </a:cubicBezTo>
                  <a:cubicBezTo>
                    <a:pt x="42" y="4"/>
                    <a:pt x="44" y="3"/>
                    <a:pt x="47" y="3"/>
                  </a:cubicBezTo>
                  <a:cubicBezTo>
                    <a:pt x="48" y="3"/>
                    <a:pt x="48" y="3"/>
                    <a:pt x="48" y="3"/>
                  </a:cubicBezTo>
                  <a:cubicBezTo>
                    <a:pt x="52" y="3"/>
                    <a:pt x="57" y="4"/>
                    <a:pt x="61" y="6"/>
                  </a:cubicBezTo>
                  <a:cubicBezTo>
                    <a:pt x="62" y="6"/>
                    <a:pt x="62" y="6"/>
                    <a:pt x="62" y="6"/>
                  </a:cubicBezTo>
                  <a:cubicBezTo>
                    <a:pt x="62" y="7"/>
                    <a:pt x="62" y="7"/>
                    <a:pt x="62" y="7"/>
                  </a:cubicBezTo>
                  <a:cubicBezTo>
                    <a:pt x="60" y="13"/>
                    <a:pt x="59" y="14"/>
                    <a:pt x="59" y="15"/>
                  </a:cubicBezTo>
                  <a:cubicBezTo>
                    <a:pt x="56" y="17"/>
                    <a:pt x="54" y="25"/>
                    <a:pt x="56" y="31"/>
                  </a:cubicBezTo>
                  <a:cubicBezTo>
                    <a:pt x="59" y="37"/>
                    <a:pt x="59" y="49"/>
                    <a:pt x="58" y="51"/>
                  </a:cubicBezTo>
                  <a:cubicBezTo>
                    <a:pt x="57" y="52"/>
                    <a:pt x="56" y="54"/>
                    <a:pt x="53" y="58"/>
                  </a:cubicBezTo>
                  <a:cubicBezTo>
                    <a:pt x="53" y="58"/>
                    <a:pt x="53" y="58"/>
                    <a:pt x="53" y="58"/>
                  </a:cubicBezTo>
                  <a:cubicBezTo>
                    <a:pt x="53" y="58"/>
                    <a:pt x="53" y="58"/>
                    <a:pt x="53" y="58"/>
                  </a:cubicBezTo>
                  <a:cubicBezTo>
                    <a:pt x="52" y="57"/>
                    <a:pt x="52" y="57"/>
                    <a:pt x="51" y="56"/>
                  </a:cubicBezTo>
                  <a:cubicBezTo>
                    <a:pt x="51" y="55"/>
                    <a:pt x="49" y="55"/>
                    <a:pt x="48" y="55"/>
                  </a:cubicBezTo>
                  <a:cubicBezTo>
                    <a:pt x="46" y="55"/>
                    <a:pt x="44" y="55"/>
                    <a:pt x="42" y="55"/>
                  </a:cubicBezTo>
                  <a:cubicBezTo>
                    <a:pt x="40" y="56"/>
                    <a:pt x="37" y="56"/>
                    <a:pt x="35" y="56"/>
                  </a:cubicBezTo>
                  <a:cubicBezTo>
                    <a:pt x="33" y="56"/>
                    <a:pt x="32" y="57"/>
                    <a:pt x="32" y="60"/>
                  </a:cubicBezTo>
                  <a:cubicBezTo>
                    <a:pt x="32" y="62"/>
                    <a:pt x="31" y="64"/>
                    <a:pt x="30" y="65"/>
                  </a:cubicBezTo>
                  <a:cubicBezTo>
                    <a:pt x="29" y="65"/>
                    <a:pt x="28" y="65"/>
                    <a:pt x="27" y="65"/>
                  </a:cubicBezTo>
                  <a:close/>
                  <a:moveTo>
                    <a:pt x="22" y="64"/>
                  </a:moveTo>
                  <a:cubicBezTo>
                    <a:pt x="25" y="64"/>
                    <a:pt x="28" y="65"/>
                    <a:pt x="29" y="64"/>
                  </a:cubicBezTo>
                  <a:cubicBezTo>
                    <a:pt x="31" y="63"/>
                    <a:pt x="31" y="61"/>
                    <a:pt x="31" y="60"/>
                  </a:cubicBezTo>
                  <a:cubicBezTo>
                    <a:pt x="31" y="57"/>
                    <a:pt x="32" y="55"/>
                    <a:pt x="35" y="55"/>
                  </a:cubicBezTo>
                  <a:cubicBezTo>
                    <a:pt x="37" y="55"/>
                    <a:pt x="40" y="55"/>
                    <a:pt x="42" y="54"/>
                  </a:cubicBezTo>
                  <a:cubicBezTo>
                    <a:pt x="44" y="54"/>
                    <a:pt x="46" y="54"/>
                    <a:pt x="48" y="54"/>
                  </a:cubicBezTo>
                  <a:cubicBezTo>
                    <a:pt x="49" y="54"/>
                    <a:pt x="51" y="54"/>
                    <a:pt x="52" y="55"/>
                  </a:cubicBezTo>
                  <a:cubicBezTo>
                    <a:pt x="52" y="56"/>
                    <a:pt x="53" y="56"/>
                    <a:pt x="53" y="57"/>
                  </a:cubicBezTo>
                  <a:cubicBezTo>
                    <a:pt x="55" y="53"/>
                    <a:pt x="56" y="51"/>
                    <a:pt x="57" y="51"/>
                  </a:cubicBezTo>
                  <a:cubicBezTo>
                    <a:pt x="58" y="49"/>
                    <a:pt x="58" y="38"/>
                    <a:pt x="55" y="32"/>
                  </a:cubicBezTo>
                  <a:cubicBezTo>
                    <a:pt x="53" y="25"/>
                    <a:pt x="55" y="17"/>
                    <a:pt x="58" y="14"/>
                  </a:cubicBezTo>
                  <a:cubicBezTo>
                    <a:pt x="58" y="14"/>
                    <a:pt x="59" y="13"/>
                    <a:pt x="61" y="7"/>
                  </a:cubicBezTo>
                  <a:cubicBezTo>
                    <a:pt x="56" y="5"/>
                    <a:pt x="52" y="4"/>
                    <a:pt x="48" y="4"/>
                  </a:cubicBezTo>
                  <a:cubicBezTo>
                    <a:pt x="47" y="4"/>
                    <a:pt x="47" y="4"/>
                    <a:pt x="47" y="4"/>
                  </a:cubicBezTo>
                  <a:cubicBezTo>
                    <a:pt x="45" y="4"/>
                    <a:pt x="42" y="5"/>
                    <a:pt x="40" y="5"/>
                  </a:cubicBezTo>
                  <a:cubicBezTo>
                    <a:pt x="38" y="6"/>
                    <a:pt x="35" y="6"/>
                    <a:pt x="33" y="6"/>
                  </a:cubicBezTo>
                  <a:cubicBezTo>
                    <a:pt x="30" y="6"/>
                    <a:pt x="29" y="6"/>
                    <a:pt x="27" y="4"/>
                  </a:cubicBezTo>
                  <a:cubicBezTo>
                    <a:pt x="25" y="0"/>
                    <a:pt x="21" y="0"/>
                    <a:pt x="17" y="4"/>
                  </a:cubicBezTo>
                  <a:cubicBezTo>
                    <a:pt x="16" y="4"/>
                    <a:pt x="16" y="4"/>
                    <a:pt x="16" y="4"/>
                  </a:cubicBezTo>
                  <a:cubicBezTo>
                    <a:pt x="16" y="5"/>
                    <a:pt x="16" y="5"/>
                    <a:pt x="16" y="5"/>
                  </a:cubicBezTo>
                  <a:cubicBezTo>
                    <a:pt x="15" y="8"/>
                    <a:pt x="13" y="11"/>
                    <a:pt x="14" y="13"/>
                  </a:cubicBezTo>
                  <a:cubicBezTo>
                    <a:pt x="15" y="14"/>
                    <a:pt x="15" y="16"/>
                    <a:pt x="14" y="17"/>
                  </a:cubicBezTo>
                  <a:cubicBezTo>
                    <a:pt x="13" y="20"/>
                    <a:pt x="8" y="20"/>
                    <a:pt x="7" y="20"/>
                  </a:cubicBezTo>
                  <a:cubicBezTo>
                    <a:pt x="5" y="21"/>
                    <a:pt x="4" y="24"/>
                    <a:pt x="4" y="27"/>
                  </a:cubicBezTo>
                  <a:cubicBezTo>
                    <a:pt x="3" y="29"/>
                    <a:pt x="3" y="32"/>
                    <a:pt x="2" y="33"/>
                  </a:cubicBezTo>
                  <a:cubicBezTo>
                    <a:pt x="1" y="33"/>
                    <a:pt x="1" y="33"/>
                    <a:pt x="1" y="33"/>
                  </a:cubicBezTo>
                  <a:cubicBezTo>
                    <a:pt x="2" y="35"/>
                    <a:pt x="4" y="37"/>
                    <a:pt x="6" y="39"/>
                  </a:cubicBezTo>
                  <a:cubicBezTo>
                    <a:pt x="9" y="42"/>
                    <a:pt x="13" y="45"/>
                    <a:pt x="14" y="47"/>
                  </a:cubicBezTo>
                  <a:cubicBezTo>
                    <a:pt x="15" y="51"/>
                    <a:pt x="20" y="59"/>
                    <a:pt x="22" y="6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2" name="Freeform 119"/>
            <p:cNvSpPr>
              <a:spLocks noEditPoints="1"/>
            </p:cNvSpPr>
            <p:nvPr/>
          </p:nvSpPr>
          <p:spPr>
            <a:xfrm>
              <a:off x="3254376" y="3600450"/>
              <a:ext cx="122238" cy="179388"/>
            </a:xfrm>
            <a:custGeom>
              <a:gdLst>
                <a:gd name="T0" fmla="*/ 28 w 72"/>
                <a:gd name="T1" fmla="*/ 99 h 106"/>
                <a:gd name="T2" fmla="*/ 25 w 72"/>
                <a:gd name="T3" fmla="*/ 73 h 106"/>
                <a:gd name="T4" fmla="*/ 23 w 72"/>
                <a:gd name="T5" fmla="*/ 61 h 106"/>
                <a:gd name="T6" fmla="*/ 17 w 72"/>
                <a:gd name="T7" fmla="*/ 49 h 106"/>
                <a:gd name="T8" fmla="*/ 12 w 72"/>
                <a:gd name="T9" fmla="*/ 53 h 106"/>
                <a:gd name="T10" fmla="*/ 2 w 72"/>
                <a:gd name="T11" fmla="*/ 40 h 106"/>
                <a:gd name="T12" fmla="*/ 4 w 72"/>
                <a:gd name="T13" fmla="*/ 32 h 106"/>
                <a:gd name="T14" fmla="*/ 11 w 72"/>
                <a:gd name="T15" fmla="*/ 25 h 106"/>
                <a:gd name="T16" fmla="*/ 13 w 72"/>
                <a:gd name="T17" fmla="*/ 18 h 106"/>
                <a:gd name="T18" fmla="*/ 18 w 72"/>
                <a:gd name="T19" fmla="*/ 7 h 106"/>
                <a:gd name="T20" fmla="*/ 24 w 72"/>
                <a:gd name="T21" fmla="*/ 0 h 106"/>
                <a:gd name="T22" fmla="*/ 30 w 72"/>
                <a:gd name="T23" fmla="*/ 4 h 106"/>
                <a:gd name="T24" fmla="*/ 44 w 72"/>
                <a:gd name="T25" fmla="*/ 16 h 106"/>
                <a:gd name="T26" fmla="*/ 51 w 72"/>
                <a:gd name="T27" fmla="*/ 24 h 106"/>
                <a:gd name="T28" fmla="*/ 65 w 72"/>
                <a:gd name="T29" fmla="*/ 36 h 106"/>
                <a:gd name="T30" fmla="*/ 65 w 72"/>
                <a:gd name="T31" fmla="*/ 38 h 106"/>
                <a:gd name="T32" fmla="*/ 63 w 72"/>
                <a:gd name="T33" fmla="*/ 50 h 106"/>
                <a:gd name="T34" fmla="*/ 53 w 72"/>
                <a:gd name="T35" fmla="*/ 60 h 106"/>
                <a:gd name="T36" fmla="*/ 50 w 72"/>
                <a:gd name="T37" fmla="*/ 66 h 106"/>
                <a:gd name="T38" fmla="*/ 63 w 72"/>
                <a:gd name="T39" fmla="*/ 80 h 106"/>
                <a:gd name="T40" fmla="*/ 72 w 72"/>
                <a:gd name="T41" fmla="*/ 98 h 106"/>
                <a:gd name="T42" fmla="*/ 64 w 72"/>
                <a:gd name="T43" fmla="*/ 96 h 106"/>
                <a:gd name="T44" fmla="*/ 56 w 72"/>
                <a:gd name="T45" fmla="*/ 99 h 106"/>
                <a:gd name="T46" fmla="*/ 48 w 72"/>
                <a:gd name="T47" fmla="*/ 103 h 106"/>
                <a:gd name="T48" fmla="*/ 40 w 72"/>
                <a:gd name="T49" fmla="*/ 106 h 106"/>
                <a:gd name="T50" fmla="*/ 18 w 72"/>
                <a:gd name="T51" fmla="*/ 48 h 106"/>
                <a:gd name="T52" fmla="*/ 24 w 72"/>
                <a:gd name="T53" fmla="*/ 60 h 106"/>
                <a:gd name="T54" fmla="*/ 25 w 72"/>
                <a:gd name="T55" fmla="*/ 73 h 106"/>
                <a:gd name="T56" fmla="*/ 28 w 72"/>
                <a:gd name="T57" fmla="*/ 98 h 106"/>
                <a:gd name="T58" fmla="*/ 43 w 72"/>
                <a:gd name="T59" fmla="*/ 104 h 106"/>
                <a:gd name="T60" fmla="*/ 53 w 72"/>
                <a:gd name="T61" fmla="*/ 100 h 106"/>
                <a:gd name="T62" fmla="*/ 60 w 72"/>
                <a:gd name="T63" fmla="*/ 97 h 106"/>
                <a:gd name="T64" fmla="*/ 70 w 72"/>
                <a:gd name="T65" fmla="*/ 96 h 106"/>
                <a:gd name="T66" fmla="*/ 55 w 72"/>
                <a:gd name="T67" fmla="*/ 73 h 106"/>
                <a:gd name="T68" fmla="*/ 50 w 72"/>
                <a:gd name="T69" fmla="*/ 65 h 106"/>
                <a:gd name="T70" fmla="*/ 56 w 72"/>
                <a:gd name="T71" fmla="*/ 52 h 106"/>
                <a:gd name="T72" fmla="*/ 62 w 72"/>
                <a:gd name="T73" fmla="*/ 46 h 106"/>
                <a:gd name="T74" fmla="*/ 64 w 72"/>
                <a:gd name="T75" fmla="*/ 37 h 106"/>
                <a:gd name="T76" fmla="*/ 51 w 72"/>
                <a:gd name="T77" fmla="*/ 25 h 106"/>
                <a:gd name="T78" fmla="*/ 43 w 72"/>
                <a:gd name="T79" fmla="*/ 16 h 106"/>
                <a:gd name="T80" fmla="*/ 29 w 72"/>
                <a:gd name="T81" fmla="*/ 4 h 106"/>
                <a:gd name="T82" fmla="*/ 19 w 72"/>
                <a:gd name="T83" fmla="*/ 8 h 106"/>
                <a:gd name="T84" fmla="*/ 13 w 72"/>
                <a:gd name="T85" fmla="*/ 17 h 106"/>
                <a:gd name="T86" fmla="*/ 11 w 72"/>
                <a:gd name="T87" fmla="*/ 26 h 106"/>
                <a:gd name="T88" fmla="*/ 5 w 72"/>
                <a:gd name="T89" fmla="*/ 32 h 106"/>
                <a:gd name="T90" fmla="*/ 3 w 72"/>
                <a:gd name="T91" fmla="*/ 39 h 106"/>
                <a:gd name="T92" fmla="*/ 17 w 72"/>
                <a:gd name="T93" fmla="*/ 48 h 1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106">
                  <a:moveTo>
                    <a:pt x="40" y="106"/>
                  </a:moveTo>
                  <a:cubicBezTo>
                    <a:pt x="37" y="106"/>
                    <a:pt x="33" y="105"/>
                    <a:pt x="28" y="99"/>
                  </a:cubicBezTo>
                  <a:cubicBezTo>
                    <a:pt x="23" y="93"/>
                    <a:pt x="21" y="85"/>
                    <a:pt x="22" y="80"/>
                  </a:cubicBezTo>
                  <a:cubicBezTo>
                    <a:pt x="22" y="76"/>
                    <a:pt x="23" y="74"/>
                    <a:pt x="25" y="73"/>
                  </a:cubicBezTo>
                  <a:cubicBezTo>
                    <a:pt x="26" y="71"/>
                    <a:pt x="27" y="69"/>
                    <a:pt x="27" y="66"/>
                  </a:cubicBezTo>
                  <a:cubicBezTo>
                    <a:pt x="27" y="64"/>
                    <a:pt x="25" y="62"/>
                    <a:pt x="23" y="61"/>
                  </a:cubicBezTo>
                  <a:cubicBezTo>
                    <a:pt x="21" y="60"/>
                    <a:pt x="21" y="57"/>
                    <a:pt x="21" y="55"/>
                  </a:cubicBezTo>
                  <a:cubicBezTo>
                    <a:pt x="20" y="52"/>
                    <a:pt x="20" y="49"/>
                    <a:pt x="17" y="49"/>
                  </a:cubicBezTo>
                  <a:cubicBezTo>
                    <a:pt x="15" y="49"/>
                    <a:pt x="14" y="50"/>
                    <a:pt x="13" y="52"/>
                  </a:cubicBezTo>
                  <a:cubicBezTo>
                    <a:pt x="12" y="53"/>
                    <a:pt x="12" y="53"/>
                    <a:pt x="12" y="53"/>
                  </a:cubicBezTo>
                  <a:cubicBezTo>
                    <a:pt x="12" y="52"/>
                    <a:pt x="12" y="52"/>
                    <a:pt x="12" y="52"/>
                  </a:cubicBezTo>
                  <a:cubicBezTo>
                    <a:pt x="7" y="46"/>
                    <a:pt x="4" y="42"/>
                    <a:pt x="2" y="40"/>
                  </a:cubicBezTo>
                  <a:cubicBezTo>
                    <a:pt x="0" y="39"/>
                    <a:pt x="1" y="37"/>
                    <a:pt x="2" y="36"/>
                  </a:cubicBezTo>
                  <a:cubicBezTo>
                    <a:pt x="3" y="35"/>
                    <a:pt x="4" y="34"/>
                    <a:pt x="4" y="32"/>
                  </a:cubicBezTo>
                  <a:cubicBezTo>
                    <a:pt x="4" y="30"/>
                    <a:pt x="4" y="29"/>
                    <a:pt x="5" y="27"/>
                  </a:cubicBezTo>
                  <a:cubicBezTo>
                    <a:pt x="6" y="26"/>
                    <a:pt x="8" y="25"/>
                    <a:pt x="11" y="25"/>
                  </a:cubicBezTo>
                  <a:cubicBezTo>
                    <a:pt x="14" y="25"/>
                    <a:pt x="15" y="24"/>
                    <a:pt x="16" y="22"/>
                  </a:cubicBezTo>
                  <a:cubicBezTo>
                    <a:pt x="16" y="21"/>
                    <a:pt x="15" y="19"/>
                    <a:pt x="13" y="18"/>
                  </a:cubicBezTo>
                  <a:cubicBezTo>
                    <a:pt x="12" y="17"/>
                    <a:pt x="11" y="16"/>
                    <a:pt x="11" y="15"/>
                  </a:cubicBezTo>
                  <a:cubicBezTo>
                    <a:pt x="11" y="12"/>
                    <a:pt x="15" y="9"/>
                    <a:pt x="18" y="7"/>
                  </a:cubicBezTo>
                  <a:cubicBezTo>
                    <a:pt x="20" y="6"/>
                    <a:pt x="22" y="4"/>
                    <a:pt x="23" y="0"/>
                  </a:cubicBezTo>
                  <a:cubicBezTo>
                    <a:pt x="24" y="0"/>
                    <a:pt x="24" y="0"/>
                    <a:pt x="24" y="0"/>
                  </a:cubicBezTo>
                  <a:cubicBezTo>
                    <a:pt x="24" y="0"/>
                    <a:pt x="24" y="0"/>
                    <a:pt x="24" y="0"/>
                  </a:cubicBezTo>
                  <a:cubicBezTo>
                    <a:pt x="26" y="1"/>
                    <a:pt x="28" y="2"/>
                    <a:pt x="30" y="4"/>
                  </a:cubicBezTo>
                  <a:cubicBezTo>
                    <a:pt x="32" y="6"/>
                    <a:pt x="35" y="8"/>
                    <a:pt x="38" y="9"/>
                  </a:cubicBezTo>
                  <a:cubicBezTo>
                    <a:pt x="41" y="11"/>
                    <a:pt x="45" y="13"/>
                    <a:pt x="44" y="16"/>
                  </a:cubicBezTo>
                  <a:cubicBezTo>
                    <a:pt x="44" y="19"/>
                    <a:pt x="45" y="21"/>
                    <a:pt x="46" y="22"/>
                  </a:cubicBezTo>
                  <a:cubicBezTo>
                    <a:pt x="47" y="23"/>
                    <a:pt x="49" y="24"/>
                    <a:pt x="51" y="24"/>
                  </a:cubicBezTo>
                  <a:cubicBezTo>
                    <a:pt x="53" y="24"/>
                    <a:pt x="55" y="27"/>
                    <a:pt x="58" y="30"/>
                  </a:cubicBezTo>
                  <a:cubicBezTo>
                    <a:pt x="60" y="33"/>
                    <a:pt x="63" y="36"/>
                    <a:pt x="65" y="36"/>
                  </a:cubicBezTo>
                  <a:cubicBezTo>
                    <a:pt x="65" y="36"/>
                    <a:pt x="65" y="36"/>
                    <a:pt x="65" y="36"/>
                  </a:cubicBezTo>
                  <a:cubicBezTo>
                    <a:pt x="65" y="38"/>
                    <a:pt x="65" y="38"/>
                    <a:pt x="65" y="38"/>
                  </a:cubicBezTo>
                  <a:cubicBezTo>
                    <a:pt x="64" y="41"/>
                    <a:pt x="62" y="44"/>
                    <a:pt x="63" y="46"/>
                  </a:cubicBezTo>
                  <a:cubicBezTo>
                    <a:pt x="64" y="47"/>
                    <a:pt x="64" y="49"/>
                    <a:pt x="63" y="50"/>
                  </a:cubicBezTo>
                  <a:cubicBezTo>
                    <a:pt x="62" y="53"/>
                    <a:pt x="57" y="53"/>
                    <a:pt x="56" y="53"/>
                  </a:cubicBezTo>
                  <a:cubicBezTo>
                    <a:pt x="54" y="54"/>
                    <a:pt x="53" y="57"/>
                    <a:pt x="53" y="60"/>
                  </a:cubicBezTo>
                  <a:cubicBezTo>
                    <a:pt x="52" y="62"/>
                    <a:pt x="52" y="65"/>
                    <a:pt x="51" y="66"/>
                  </a:cubicBezTo>
                  <a:cubicBezTo>
                    <a:pt x="50" y="66"/>
                    <a:pt x="50" y="66"/>
                    <a:pt x="50" y="66"/>
                  </a:cubicBezTo>
                  <a:cubicBezTo>
                    <a:pt x="51" y="68"/>
                    <a:pt x="53" y="70"/>
                    <a:pt x="55" y="72"/>
                  </a:cubicBezTo>
                  <a:cubicBezTo>
                    <a:pt x="58" y="75"/>
                    <a:pt x="62" y="78"/>
                    <a:pt x="63" y="80"/>
                  </a:cubicBezTo>
                  <a:cubicBezTo>
                    <a:pt x="64" y="84"/>
                    <a:pt x="69" y="92"/>
                    <a:pt x="71" y="97"/>
                  </a:cubicBezTo>
                  <a:cubicBezTo>
                    <a:pt x="72" y="98"/>
                    <a:pt x="72" y="98"/>
                    <a:pt x="72" y="98"/>
                  </a:cubicBezTo>
                  <a:cubicBezTo>
                    <a:pt x="70" y="97"/>
                    <a:pt x="70" y="97"/>
                    <a:pt x="70" y="97"/>
                  </a:cubicBezTo>
                  <a:cubicBezTo>
                    <a:pt x="68" y="97"/>
                    <a:pt x="66" y="96"/>
                    <a:pt x="64" y="96"/>
                  </a:cubicBezTo>
                  <a:cubicBezTo>
                    <a:pt x="63" y="96"/>
                    <a:pt x="62" y="97"/>
                    <a:pt x="61" y="97"/>
                  </a:cubicBezTo>
                  <a:cubicBezTo>
                    <a:pt x="59" y="100"/>
                    <a:pt x="58" y="99"/>
                    <a:pt x="56" y="99"/>
                  </a:cubicBezTo>
                  <a:cubicBezTo>
                    <a:pt x="55" y="99"/>
                    <a:pt x="55" y="99"/>
                    <a:pt x="54" y="101"/>
                  </a:cubicBezTo>
                  <a:cubicBezTo>
                    <a:pt x="53" y="103"/>
                    <a:pt x="50" y="103"/>
                    <a:pt x="48" y="103"/>
                  </a:cubicBezTo>
                  <a:cubicBezTo>
                    <a:pt x="46" y="103"/>
                    <a:pt x="45" y="104"/>
                    <a:pt x="44" y="104"/>
                  </a:cubicBezTo>
                  <a:cubicBezTo>
                    <a:pt x="43" y="105"/>
                    <a:pt x="42" y="106"/>
                    <a:pt x="40" y="106"/>
                  </a:cubicBezTo>
                  <a:close/>
                  <a:moveTo>
                    <a:pt x="17" y="48"/>
                  </a:moveTo>
                  <a:cubicBezTo>
                    <a:pt x="17" y="48"/>
                    <a:pt x="17" y="48"/>
                    <a:pt x="18" y="48"/>
                  </a:cubicBezTo>
                  <a:cubicBezTo>
                    <a:pt x="21" y="49"/>
                    <a:pt x="21" y="52"/>
                    <a:pt x="22" y="55"/>
                  </a:cubicBezTo>
                  <a:cubicBezTo>
                    <a:pt x="22" y="57"/>
                    <a:pt x="22" y="59"/>
                    <a:pt x="24" y="60"/>
                  </a:cubicBezTo>
                  <a:cubicBezTo>
                    <a:pt x="26" y="61"/>
                    <a:pt x="28" y="64"/>
                    <a:pt x="28" y="66"/>
                  </a:cubicBezTo>
                  <a:cubicBezTo>
                    <a:pt x="28" y="69"/>
                    <a:pt x="27" y="72"/>
                    <a:pt x="25" y="73"/>
                  </a:cubicBezTo>
                  <a:cubicBezTo>
                    <a:pt x="24" y="74"/>
                    <a:pt x="23" y="77"/>
                    <a:pt x="23" y="80"/>
                  </a:cubicBezTo>
                  <a:cubicBezTo>
                    <a:pt x="22" y="85"/>
                    <a:pt x="24" y="93"/>
                    <a:pt x="28" y="98"/>
                  </a:cubicBezTo>
                  <a:cubicBezTo>
                    <a:pt x="34" y="104"/>
                    <a:pt x="38" y="105"/>
                    <a:pt x="40" y="105"/>
                  </a:cubicBezTo>
                  <a:cubicBezTo>
                    <a:pt x="41" y="105"/>
                    <a:pt x="43" y="105"/>
                    <a:pt x="43" y="104"/>
                  </a:cubicBezTo>
                  <a:cubicBezTo>
                    <a:pt x="44" y="103"/>
                    <a:pt x="46" y="102"/>
                    <a:pt x="48" y="102"/>
                  </a:cubicBezTo>
                  <a:cubicBezTo>
                    <a:pt x="50" y="102"/>
                    <a:pt x="52" y="102"/>
                    <a:pt x="53" y="100"/>
                  </a:cubicBezTo>
                  <a:cubicBezTo>
                    <a:pt x="54" y="98"/>
                    <a:pt x="55" y="98"/>
                    <a:pt x="56" y="98"/>
                  </a:cubicBezTo>
                  <a:cubicBezTo>
                    <a:pt x="57" y="98"/>
                    <a:pt x="59" y="99"/>
                    <a:pt x="60" y="97"/>
                  </a:cubicBezTo>
                  <a:cubicBezTo>
                    <a:pt x="61" y="96"/>
                    <a:pt x="63" y="95"/>
                    <a:pt x="64" y="95"/>
                  </a:cubicBezTo>
                  <a:cubicBezTo>
                    <a:pt x="66" y="95"/>
                    <a:pt x="68" y="96"/>
                    <a:pt x="70" y="96"/>
                  </a:cubicBezTo>
                  <a:cubicBezTo>
                    <a:pt x="67" y="92"/>
                    <a:pt x="63" y="84"/>
                    <a:pt x="62" y="81"/>
                  </a:cubicBezTo>
                  <a:cubicBezTo>
                    <a:pt x="61" y="78"/>
                    <a:pt x="58" y="75"/>
                    <a:pt x="55" y="73"/>
                  </a:cubicBezTo>
                  <a:cubicBezTo>
                    <a:pt x="52" y="70"/>
                    <a:pt x="50" y="68"/>
                    <a:pt x="49" y="66"/>
                  </a:cubicBezTo>
                  <a:cubicBezTo>
                    <a:pt x="50" y="65"/>
                    <a:pt x="50" y="65"/>
                    <a:pt x="50" y="65"/>
                  </a:cubicBezTo>
                  <a:cubicBezTo>
                    <a:pt x="51" y="64"/>
                    <a:pt x="51" y="62"/>
                    <a:pt x="52" y="60"/>
                  </a:cubicBezTo>
                  <a:cubicBezTo>
                    <a:pt x="53" y="56"/>
                    <a:pt x="53" y="53"/>
                    <a:pt x="56" y="52"/>
                  </a:cubicBezTo>
                  <a:cubicBezTo>
                    <a:pt x="59" y="52"/>
                    <a:pt x="62" y="51"/>
                    <a:pt x="63" y="49"/>
                  </a:cubicBezTo>
                  <a:cubicBezTo>
                    <a:pt x="63" y="48"/>
                    <a:pt x="63" y="47"/>
                    <a:pt x="62" y="46"/>
                  </a:cubicBezTo>
                  <a:cubicBezTo>
                    <a:pt x="61" y="44"/>
                    <a:pt x="62" y="41"/>
                    <a:pt x="64" y="37"/>
                  </a:cubicBezTo>
                  <a:cubicBezTo>
                    <a:pt x="64" y="37"/>
                    <a:pt x="64" y="37"/>
                    <a:pt x="64" y="37"/>
                  </a:cubicBezTo>
                  <a:cubicBezTo>
                    <a:pt x="62" y="37"/>
                    <a:pt x="59" y="34"/>
                    <a:pt x="57" y="31"/>
                  </a:cubicBezTo>
                  <a:cubicBezTo>
                    <a:pt x="55" y="28"/>
                    <a:pt x="53" y="25"/>
                    <a:pt x="51" y="25"/>
                  </a:cubicBezTo>
                  <a:cubicBezTo>
                    <a:pt x="49" y="25"/>
                    <a:pt x="46" y="24"/>
                    <a:pt x="45" y="22"/>
                  </a:cubicBezTo>
                  <a:cubicBezTo>
                    <a:pt x="44" y="21"/>
                    <a:pt x="43" y="19"/>
                    <a:pt x="43" y="16"/>
                  </a:cubicBezTo>
                  <a:cubicBezTo>
                    <a:pt x="44" y="13"/>
                    <a:pt x="41" y="12"/>
                    <a:pt x="37" y="10"/>
                  </a:cubicBezTo>
                  <a:cubicBezTo>
                    <a:pt x="34" y="9"/>
                    <a:pt x="31" y="7"/>
                    <a:pt x="29" y="4"/>
                  </a:cubicBezTo>
                  <a:cubicBezTo>
                    <a:pt x="28" y="3"/>
                    <a:pt x="26" y="2"/>
                    <a:pt x="24" y="1"/>
                  </a:cubicBezTo>
                  <a:cubicBezTo>
                    <a:pt x="22" y="5"/>
                    <a:pt x="20" y="7"/>
                    <a:pt x="19" y="8"/>
                  </a:cubicBezTo>
                  <a:cubicBezTo>
                    <a:pt x="16" y="10"/>
                    <a:pt x="12" y="13"/>
                    <a:pt x="12" y="15"/>
                  </a:cubicBezTo>
                  <a:cubicBezTo>
                    <a:pt x="12" y="16"/>
                    <a:pt x="13" y="17"/>
                    <a:pt x="13" y="17"/>
                  </a:cubicBezTo>
                  <a:cubicBezTo>
                    <a:pt x="16" y="18"/>
                    <a:pt x="17" y="21"/>
                    <a:pt x="17" y="22"/>
                  </a:cubicBezTo>
                  <a:cubicBezTo>
                    <a:pt x="16" y="24"/>
                    <a:pt x="15" y="25"/>
                    <a:pt x="11" y="26"/>
                  </a:cubicBezTo>
                  <a:cubicBezTo>
                    <a:pt x="8" y="26"/>
                    <a:pt x="6" y="27"/>
                    <a:pt x="5" y="28"/>
                  </a:cubicBezTo>
                  <a:cubicBezTo>
                    <a:pt x="5" y="29"/>
                    <a:pt x="5" y="30"/>
                    <a:pt x="5" y="32"/>
                  </a:cubicBezTo>
                  <a:cubicBezTo>
                    <a:pt x="5" y="34"/>
                    <a:pt x="4" y="35"/>
                    <a:pt x="3" y="36"/>
                  </a:cubicBezTo>
                  <a:cubicBezTo>
                    <a:pt x="2" y="38"/>
                    <a:pt x="2" y="38"/>
                    <a:pt x="3" y="39"/>
                  </a:cubicBezTo>
                  <a:cubicBezTo>
                    <a:pt x="5" y="41"/>
                    <a:pt x="8" y="45"/>
                    <a:pt x="12" y="51"/>
                  </a:cubicBezTo>
                  <a:cubicBezTo>
                    <a:pt x="13" y="49"/>
                    <a:pt x="14" y="48"/>
                    <a:pt x="17" y="4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3" name="Freeform 120"/>
            <p:cNvSpPr>
              <a:spLocks noEditPoints="1"/>
            </p:cNvSpPr>
            <p:nvPr/>
          </p:nvSpPr>
          <p:spPr>
            <a:xfrm>
              <a:off x="3425826" y="3667125"/>
              <a:ext cx="79375" cy="93663"/>
            </a:xfrm>
            <a:custGeom>
              <a:gdLst>
                <a:gd name="T0" fmla="*/ 9 w 47"/>
                <a:gd name="T1" fmla="*/ 55 h 55"/>
                <a:gd name="T2" fmla="*/ 9 w 47"/>
                <a:gd name="T3" fmla="*/ 55 h 55"/>
                <a:gd name="T4" fmla="*/ 1 w 47"/>
                <a:gd name="T5" fmla="*/ 52 h 55"/>
                <a:gd name="T6" fmla="*/ 0 w 47"/>
                <a:gd name="T7" fmla="*/ 52 h 55"/>
                <a:gd name="T8" fmla="*/ 1 w 47"/>
                <a:gd name="T9" fmla="*/ 51 h 55"/>
                <a:gd name="T10" fmla="*/ 5 w 47"/>
                <a:gd name="T11" fmla="*/ 45 h 55"/>
                <a:gd name="T12" fmla="*/ 3 w 47"/>
                <a:gd name="T13" fmla="*/ 26 h 55"/>
                <a:gd name="T14" fmla="*/ 6 w 47"/>
                <a:gd name="T15" fmla="*/ 8 h 55"/>
                <a:gd name="T16" fmla="*/ 9 w 47"/>
                <a:gd name="T17" fmla="*/ 1 h 55"/>
                <a:gd name="T18" fmla="*/ 9 w 47"/>
                <a:gd name="T19" fmla="*/ 0 h 55"/>
                <a:gd name="T20" fmla="*/ 10 w 47"/>
                <a:gd name="T21" fmla="*/ 1 h 55"/>
                <a:gd name="T22" fmla="*/ 21 w 47"/>
                <a:gd name="T23" fmla="*/ 4 h 55"/>
                <a:gd name="T24" fmla="*/ 38 w 47"/>
                <a:gd name="T25" fmla="*/ 16 h 55"/>
                <a:gd name="T26" fmla="*/ 46 w 47"/>
                <a:gd name="T27" fmla="*/ 24 h 55"/>
                <a:gd name="T28" fmla="*/ 47 w 47"/>
                <a:gd name="T29" fmla="*/ 24 h 55"/>
                <a:gd name="T30" fmla="*/ 47 w 47"/>
                <a:gd name="T31" fmla="*/ 24 h 55"/>
                <a:gd name="T32" fmla="*/ 47 w 47"/>
                <a:gd name="T33" fmla="*/ 25 h 55"/>
                <a:gd name="T34" fmla="*/ 30 w 47"/>
                <a:gd name="T35" fmla="*/ 48 h 55"/>
                <a:gd name="T36" fmla="*/ 23 w 47"/>
                <a:gd name="T37" fmla="*/ 54 h 55"/>
                <a:gd name="T38" fmla="*/ 21 w 47"/>
                <a:gd name="T39" fmla="*/ 54 h 55"/>
                <a:gd name="T40" fmla="*/ 20 w 47"/>
                <a:gd name="T41" fmla="*/ 54 h 55"/>
                <a:gd name="T42" fmla="*/ 14 w 47"/>
                <a:gd name="T43" fmla="*/ 55 h 55"/>
                <a:gd name="T44" fmla="*/ 9 w 47"/>
                <a:gd name="T45" fmla="*/ 55 h 55"/>
                <a:gd name="T46" fmla="*/ 2 w 47"/>
                <a:gd name="T47" fmla="*/ 52 h 55"/>
                <a:gd name="T48" fmla="*/ 9 w 47"/>
                <a:gd name="T49" fmla="*/ 54 h 55"/>
                <a:gd name="T50" fmla="*/ 9 w 47"/>
                <a:gd name="T51" fmla="*/ 54 h 55"/>
                <a:gd name="T52" fmla="*/ 14 w 47"/>
                <a:gd name="T53" fmla="*/ 54 h 55"/>
                <a:gd name="T54" fmla="*/ 20 w 47"/>
                <a:gd name="T55" fmla="*/ 53 h 55"/>
                <a:gd name="T56" fmla="*/ 21 w 47"/>
                <a:gd name="T57" fmla="*/ 53 h 55"/>
                <a:gd name="T58" fmla="*/ 23 w 47"/>
                <a:gd name="T59" fmla="*/ 53 h 55"/>
                <a:gd name="T60" fmla="*/ 29 w 47"/>
                <a:gd name="T61" fmla="*/ 47 h 55"/>
                <a:gd name="T62" fmla="*/ 46 w 47"/>
                <a:gd name="T63" fmla="*/ 24 h 55"/>
                <a:gd name="T64" fmla="*/ 37 w 47"/>
                <a:gd name="T65" fmla="*/ 17 h 55"/>
                <a:gd name="T66" fmla="*/ 21 w 47"/>
                <a:gd name="T67" fmla="*/ 5 h 55"/>
                <a:gd name="T68" fmla="*/ 10 w 47"/>
                <a:gd name="T69" fmla="*/ 2 h 55"/>
                <a:gd name="T70" fmla="*/ 9 w 47"/>
                <a:gd name="T71" fmla="*/ 1 h 55"/>
                <a:gd name="T72" fmla="*/ 7 w 47"/>
                <a:gd name="T73" fmla="*/ 9 h 55"/>
                <a:gd name="T74" fmla="*/ 4 w 47"/>
                <a:gd name="T75" fmla="*/ 25 h 55"/>
                <a:gd name="T76" fmla="*/ 6 w 47"/>
                <a:gd name="T77" fmla="*/ 45 h 55"/>
                <a:gd name="T78" fmla="*/ 2 w 47"/>
                <a:gd name="T79" fmla="*/ 52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5">
                  <a:moveTo>
                    <a:pt x="9" y="55"/>
                  </a:moveTo>
                  <a:cubicBezTo>
                    <a:pt x="9" y="55"/>
                    <a:pt x="9" y="55"/>
                    <a:pt x="9" y="55"/>
                  </a:cubicBezTo>
                  <a:cubicBezTo>
                    <a:pt x="5" y="55"/>
                    <a:pt x="3" y="54"/>
                    <a:pt x="1" y="52"/>
                  </a:cubicBezTo>
                  <a:cubicBezTo>
                    <a:pt x="0" y="52"/>
                    <a:pt x="0" y="52"/>
                    <a:pt x="0" y="52"/>
                  </a:cubicBezTo>
                  <a:cubicBezTo>
                    <a:pt x="1" y="51"/>
                    <a:pt x="1" y="51"/>
                    <a:pt x="1" y="51"/>
                  </a:cubicBezTo>
                  <a:cubicBezTo>
                    <a:pt x="3" y="48"/>
                    <a:pt x="4" y="45"/>
                    <a:pt x="5" y="45"/>
                  </a:cubicBezTo>
                  <a:cubicBezTo>
                    <a:pt x="6" y="43"/>
                    <a:pt x="6" y="32"/>
                    <a:pt x="3" y="26"/>
                  </a:cubicBezTo>
                  <a:cubicBezTo>
                    <a:pt x="1" y="19"/>
                    <a:pt x="3" y="11"/>
                    <a:pt x="6" y="8"/>
                  </a:cubicBezTo>
                  <a:cubicBezTo>
                    <a:pt x="6" y="8"/>
                    <a:pt x="7" y="7"/>
                    <a:pt x="9" y="1"/>
                  </a:cubicBezTo>
                  <a:cubicBezTo>
                    <a:pt x="9" y="0"/>
                    <a:pt x="9" y="0"/>
                    <a:pt x="9" y="0"/>
                  </a:cubicBezTo>
                  <a:cubicBezTo>
                    <a:pt x="10" y="1"/>
                    <a:pt x="10" y="1"/>
                    <a:pt x="10" y="1"/>
                  </a:cubicBezTo>
                  <a:cubicBezTo>
                    <a:pt x="14" y="2"/>
                    <a:pt x="18" y="4"/>
                    <a:pt x="21" y="4"/>
                  </a:cubicBezTo>
                  <a:cubicBezTo>
                    <a:pt x="27" y="6"/>
                    <a:pt x="33" y="11"/>
                    <a:pt x="38" y="16"/>
                  </a:cubicBezTo>
                  <a:cubicBezTo>
                    <a:pt x="41" y="20"/>
                    <a:pt x="44" y="23"/>
                    <a:pt x="46" y="24"/>
                  </a:cubicBezTo>
                  <a:cubicBezTo>
                    <a:pt x="47" y="24"/>
                    <a:pt x="47" y="24"/>
                    <a:pt x="47" y="24"/>
                  </a:cubicBezTo>
                  <a:cubicBezTo>
                    <a:pt x="47" y="24"/>
                    <a:pt x="47" y="24"/>
                    <a:pt x="47" y="24"/>
                  </a:cubicBezTo>
                  <a:cubicBezTo>
                    <a:pt x="47" y="25"/>
                    <a:pt x="47" y="25"/>
                    <a:pt x="47" y="25"/>
                  </a:cubicBezTo>
                  <a:cubicBezTo>
                    <a:pt x="40" y="31"/>
                    <a:pt x="32" y="41"/>
                    <a:pt x="30" y="48"/>
                  </a:cubicBezTo>
                  <a:cubicBezTo>
                    <a:pt x="28" y="53"/>
                    <a:pt x="26" y="54"/>
                    <a:pt x="23" y="54"/>
                  </a:cubicBezTo>
                  <a:cubicBezTo>
                    <a:pt x="22" y="54"/>
                    <a:pt x="22" y="54"/>
                    <a:pt x="21" y="54"/>
                  </a:cubicBezTo>
                  <a:cubicBezTo>
                    <a:pt x="20" y="54"/>
                    <a:pt x="20" y="54"/>
                    <a:pt x="20" y="54"/>
                  </a:cubicBezTo>
                  <a:cubicBezTo>
                    <a:pt x="18" y="54"/>
                    <a:pt x="16" y="54"/>
                    <a:pt x="14" y="55"/>
                  </a:cubicBezTo>
                  <a:cubicBezTo>
                    <a:pt x="12" y="55"/>
                    <a:pt x="10" y="55"/>
                    <a:pt x="9" y="55"/>
                  </a:cubicBezTo>
                  <a:close/>
                  <a:moveTo>
                    <a:pt x="2" y="52"/>
                  </a:moveTo>
                  <a:cubicBezTo>
                    <a:pt x="3" y="54"/>
                    <a:pt x="6" y="54"/>
                    <a:pt x="9" y="54"/>
                  </a:cubicBezTo>
                  <a:cubicBezTo>
                    <a:pt x="9" y="54"/>
                    <a:pt x="9" y="54"/>
                    <a:pt x="9" y="54"/>
                  </a:cubicBezTo>
                  <a:cubicBezTo>
                    <a:pt x="10" y="54"/>
                    <a:pt x="12" y="54"/>
                    <a:pt x="14" y="54"/>
                  </a:cubicBezTo>
                  <a:cubicBezTo>
                    <a:pt x="16" y="53"/>
                    <a:pt x="18" y="53"/>
                    <a:pt x="20" y="53"/>
                  </a:cubicBezTo>
                  <a:cubicBezTo>
                    <a:pt x="21" y="53"/>
                    <a:pt x="21" y="53"/>
                    <a:pt x="21" y="53"/>
                  </a:cubicBezTo>
                  <a:cubicBezTo>
                    <a:pt x="22" y="53"/>
                    <a:pt x="22" y="53"/>
                    <a:pt x="23" y="53"/>
                  </a:cubicBezTo>
                  <a:cubicBezTo>
                    <a:pt x="25" y="53"/>
                    <a:pt x="27" y="52"/>
                    <a:pt x="29" y="47"/>
                  </a:cubicBezTo>
                  <a:cubicBezTo>
                    <a:pt x="32" y="39"/>
                    <a:pt x="42" y="28"/>
                    <a:pt x="46" y="24"/>
                  </a:cubicBezTo>
                  <a:cubicBezTo>
                    <a:pt x="43" y="23"/>
                    <a:pt x="40" y="20"/>
                    <a:pt x="37" y="17"/>
                  </a:cubicBezTo>
                  <a:cubicBezTo>
                    <a:pt x="32" y="12"/>
                    <a:pt x="27" y="6"/>
                    <a:pt x="21" y="5"/>
                  </a:cubicBezTo>
                  <a:cubicBezTo>
                    <a:pt x="18" y="5"/>
                    <a:pt x="14" y="3"/>
                    <a:pt x="10" y="2"/>
                  </a:cubicBezTo>
                  <a:cubicBezTo>
                    <a:pt x="9" y="1"/>
                    <a:pt x="9" y="1"/>
                    <a:pt x="9" y="1"/>
                  </a:cubicBezTo>
                  <a:cubicBezTo>
                    <a:pt x="8" y="7"/>
                    <a:pt x="7" y="8"/>
                    <a:pt x="7" y="9"/>
                  </a:cubicBezTo>
                  <a:cubicBezTo>
                    <a:pt x="4" y="11"/>
                    <a:pt x="2" y="19"/>
                    <a:pt x="4" y="25"/>
                  </a:cubicBezTo>
                  <a:cubicBezTo>
                    <a:pt x="7" y="31"/>
                    <a:pt x="7" y="43"/>
                    <a:pt x="6" y="45"/>
                  </a:cubicBezTo>
                  <a:cubicBezTo>
                    <a:pt x="5" y="46"/>
                    <a:pt x="4" y="48"/>
                    <a:pt x="2" y="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4" name="Freeform 121"/>
            <p:cNvSpPr>
              <a:spLocks noEditPoints="1"/>
            </p:cNvSpPr>
            <p:nvPr/>
          </p:nvSpPr>
          <p:spPr>
            <a:xfrm>
              <a:off x="2678114" y="3224213"/>
              <a:ext cx="255588" cy="84138"/>
            </a:xfrm>
            <a:custGeom>
              <a:gdLst>
                <a:gd name="T0" fmla="*/ 123 w 151"/>
                <a:gd name="T1" fmla="*/ 50 h 50"/>
                <a:gd name="T2" fmla="*/ 123 w 151"/>
                <a:gd name="T3" fmla="*/ 50 h 50"/>
                <a:gd name="T4" fmla="*/ 103 w 151"/>
                <a:gd name="T5" fmla="*/ 48 h 50"/>
                <a:gd name="T6" fmla="*/ 100 w 151"/>
                <a:gd name="T7" fmla="*/ 46 h 50"/>
                <a:gd name="T8" fmla="*/ 101 w 151"/>
                <a:gd name="T9" fmla="*/ 43 h 50"/>
                <a:gd name="T10" fmla="*/ 101 w 151"/>
                <a:gd name="T11" fmla="*/ 40 h 50"/>
                <a:gd name="T12" fmla="*/ 95 w 151"/>
                <a:gd name="T13" fmla="*/ 37 h 50"/>
                <a:gd name="T14" fmla="*/ 81 w 151"/>
                <a:gd name="T15" fmla="*/ 28 h 50"/>
                <a:gd name="T16" fmla="*/ 65 w 151"/>
                <a:gd name="T17" fmla="*/ 21 h 50"/>
                <a:gd name="T18" fmla="*/ 40 w 151"/>
                <a:gd name="T19" fmla="*/ 14 h 50"/>
                <a:gd name="T20" fmla="*/ 31 w 151"/>
                <a:gd name="T21" fmla="*/ 7 h 50"/>
                <a:gd name="T22" fmla="*/ 26 w 151"/>
                <a:gd name="T23" fmla="*/ 9 h 50"/>
                <a:gd name="T24" fmla="*/ 24 w 151"/>
                <a:gd name="T25" fmla="*/ 11 h 50"/>
                <a:gd name="T26" fmla="*/ 4 w 151"/>
                <a:gd name="T27" fmla="*/ 22 h 50"/>
                <a:gd name="T28" fmla="*/ 0 w 151"/>
                <a:gd name="T29" fmla="*/ 20 h 50"/>
                <a:gd name="T30" fmla="*/ 0 w 151"/>
                <a:gd name="T31" fmla="*/ 18 h 50"/>
                <a:gd name="T32" fmla="*/ 41 w 151"/>
                <a:gd name="T33" fmla="*/ 0 h 50"/>
                <a:gd name="T34" fmla="*/ 52 w 151"/>
                <a:gd name="T35" fmla="*/ 1 h 50"/>
                <a:gd name="T36" fmla="*/ 100 w 151"/>
                <a:gd name="T37" fmla="*/ 20 h 50"/>
                <a:gd name="T38" fmla="*/ 123 w 151"/>
                <a:gd name="T39" fmla="*/ 30 h 50"/>
                <a:gd name="T40" fmla="*/ 150 w 151"/>
                <a:gd name="T41" fmla="*/ 45 h 50"/>
                <a:gd name="T42" fmla="*/ 150 w 151"/>
                <a:gd name="T43" fmla="*/ 47 h 50"/>
                <a:gd name="T44" fmla="*/ 123 w 151"/>
                <a:gd name="T45" fmla="*/ 50 h 50"/>
                <a:gd name="T46" fmla="*/ 31 w 151"/>
                <a:gd name="T47" fmla="*/ 6 h 50"/>
                <a:gd name="T48" fmla="*/ 41 w 151"/>
                <a:gd name="T49" fmla="*/ 14 h 50"/>
                <a:gd name="T50" fmla="*/ 65 w 151"/>
                <a:gd name="T51" fmla="*/ 20 h 50"/>
                <a:gd name="T52" fmla="*/ 82 w 151"/>
                <a:gd name="T53" fmla="*/ 28 h 50"/>
                <a:gd name="T54" fmla="*/ 96 w 151"/>
                <a:gd name="T55" fmla="*/ 36 h 50"/>
                <a:gd name="T56" fmla="*/ 102 w 151"/>
                <a:gd name="T57" fmla="*/ 39 h 50"/>
                <a:gd name="T58" fmla="*/ 102 w 151"/>
                <a:gd name="T59" fmla="*/ 43 h 50"/>
                <a:gd name="T60" fmla="*/ 101 w 151"/>
                <a:gd name="T61" fmla="*/ 46 h 50"/>
                <a:gd name="T62" fmla="*/ 103 w 151"/>
                <a:gd name="T63" fmla="*/ 47 h 50"/>
                <a:gd name="T64" fmla="*/ 123 w 151"/>
                <a:gd name="T65" fmla="*/ 49 h 50"/>
                <a:gd name="T66" fmla="*/ 123 w 151"/>
                <a:gd name="T67" fmla="*/ 49 h 50"/>
                <a:gd name="T68" fmla="*/ 149 w 151"/>
                <a:gd name="T69" fmla="*/ 46 h 50"/>
                <a:gd name="T70" fmla="*/ 149 w 151"/>
                <a:gd name="T71" fmla="*/ 45 h 50"/>
                <a:gd name="T72" fmla="*/ 123 w 151"/>
                <a:gd name="T73" fmla="*/ 31 h 50"/>
                <a:gd name="T74" fmla="*/ 99 w 151"/>
                <a:gd name="T75" fmla="*/ 21 h 50"/>
                <a:gd name="T76" fmla="*/ 52 w 151"/>
                <a:gd name="T77" fmla="*/ 2 h 50"/>
                <a:gd name="T78" fmla="*/ 41 w 151"/>
                <a:gd name="T79" fmla="*/ 1 h 50"/>
                <a:gd name="T80" fmla="*/ 1 w 151"/>
                <a:gd name="T81" fmla="*/ 18 h 50"/>
                <a:gd name="T82" fmla="*/ 1 w 151"/>
                <a:gd name="T83" fmla="*/ 20 h 50"/>
                <a:gd name="T84" fmla="*/ 4 w 151"/>
                <a:gd name="T85" fmla="*/ 21 h 50"/>
                <a:gd name="T86" fmla="*/ 23 w 151"/>
                <a:gd name="T87" fmla="*/ 10 h 50"/>
                <a:gd name="T88" fmla="*/ 26 w 151"/>
                <a:gd name="T89" fmla="*/ 8 h 50"/>
                <a:gd name="T90" fmla="*/ 31 w 151"/>
                <a:gd name="T91" fmla="*/ 6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1" h="50">
                  <a:moveTo>
                    <a:pt x="123" y="50"/>
                  </a:moveTo>
                  <a:cubicBezTo>
                    <a:pt x="123" y="50"/>
                    <a:pt x="123" y="50"/>
                    <a:pt x="123" y="50"/>
                  </a:cubicBezTo>
                  <a:cubicBezTo>
                    <a:pt x="113" y="50"/>
                    <a:pt x="105" y="49"/>
                    <a:pt x="103" y="48"/>
                  </a:cubicBezTo>
                  <a:cubicBezTo>
                    <a:pt x="101" y="48"/>
                    <a:pt x="101" y="47"/>
                    <a:pt x="100" y="46"/>
                  </a:cubicBezTo>
                  <a:cubicBezTo>
                    <a:pt x="100" y="45"/>
                    <a:pt x="100" y="44"/>
                    <a:pt x="101" y="43"/>
                  </a:cubicBezTo>
                  <a:cubicBezTo>
                    <a:pt x="101" y="42"/>
                    <a:pt x="102" y="41"/>
                    <a:pt x="101" y="40"/>
                  </a:cubicBezTo>
                  <a:cubicBezTo>
                    <a:pt x="101" y="38"/>
                    <a:pt x="99" y="37"/>
                    <a:pt x="95" y="37"/>
                  </a:cubicBezTo>
                  <a:cubicBezTo>
                    <a:pt x="89" y="35"/>
                    <a:pt x="85" y="32"/>
                    <a:pt x="81" y="28"/>
                  </a:cubicBezTo>
                  <a:cubicBezTo>
                    <a:pt x="77" y="24"/>
                    <a:pt x="72" y="21"/>
                    <a:pt x="65" y="21"/>
                  </a:cubicBezTo>
                  <a:cubicBezTo>
                    <a:pt x="49" y="20"/>
                    <a:pt x="40" y="18"/>
                    <a:pt x="40" y="14"/>
                  </a:cubicBezTo>
                  <a:cubicBezTo>
                    <a:pt x="39" y="12"/>
                    <a:pt x="36" y="7"/>
                    <a:pt x="31" y="7"/>
                  </a:cubicBezTo>
                  <a:cubicBezTo>
                    <a:pt x="29" y="7"/>
                    <a:pt x="28" y="8"/>
                    <a:pt x="26" y="9"/>
                  </a:cubicBezTo>
                  <a:cubicBezTo>
                    <a:pt x="25" y="9"/>
                    <a:pt x="24" y="10"/>
                    <a:pt x="24" y="11"/>
                  </a:cubicBezTo>
                  <a:cubicBezTo>
                    <a:pt x="17" y="15"/>
                    <a:pt x="9" y="22"/>
                    <a:pt x="4" y="22"/>
                  </a:cubicBezTo>
                  <a:cubicBezTo>
                    <a:pt x="2" y="22"/>
                    <a:pt x="1" y="21"/>
                    <a:pt x="0" y="20"/>
                  </a:cubicBezTo>
                  <a:cubicBezTo>
                    <a:pt x="0" y="20"/>
                    <a:pt x="0" y="19"/>
                    <a:pt x="0" y="18"/>
                  </a:cubicBezTo>
                  <a:cubicBezTo>
                    <a:pt x="3" y="13"/>
                    <a:pt x="20" y="0"/>
                    <a:pt x="41" y="0"/>
                  </a:cubicBezTo>
                  <a:cubicBezTo>
                    <a:pt x="45" y="0"/>
                    <a:pt x="49" y="1"/>
                    <a:pt x="52" y="1"/>
                  </a:cubicBezTo>
                  <a:cubicBezTo>
                    <a:pt x="69" y="5"/>
                    <a:pt x="86" y="14"/>
                    <a:pt x="100" y="20"/>
                  </a:cubicBezTo>
                  <a:cubicBezTo>
                    <a:pt x="110" y="26"/>
                    <a:pt x="119" y="30"/>
                    <a:pt x="123" y="30"/>
                  </a:cubicBezTo>
                  <a:cubicBezTo>
                    <a:pt x="131" y="30"/>
                    <a:pt x="148" y="40"/>
                    <a:pt x="150" y="45"/>
                  </a:cubicBezTo>
                  <a:cubicBezTo>
                    <a:pt x="151" y="46"/>
                    <a:pt x="150" y="46"/>
                    <a:pt x="150" y="47"/>
                  </a:cubicBezTo>
                  <a:cubicBezTo>
                    <a:pt x="148" y="49"/>
                    <a:pt x="131" y="50"/>
                    <a:pt x="123" y="50"/>
                  </a:cubicBezTo>
                  <a:close/>
                  <a:moveTo>
                    <a:pt x="31" y="6"/>
                  </a:moveTo>
                  <a:cubicBezTo>
                    <a:pt x="36" y="6"/>
                    <a:pt x="40" y="11"/>
                    <a:pt x="41" y="14"/>
                  </a:cubicBezTo>
                  <a:cubicBezTo>
                    <a:pt x="41" y="15"/>
                    <a:pt x="44" y="19"/>
                    <a:pt x="65" y="20"/>
                  </a:cubicBezTo>
                  <a:cubicBezTo>
                    <a:pt x="73" y="20"/>
                    <a:pt x="77" y="24"/>
                    <a:pt x="82" y="28"/>
                  </a:cubicBezTo>
                  <a:cubicBezTo>
                    <a:pt x="85" y="31"/>
                    <a:pt x="89" y="34"/>
                    <a:pt x="96" y="36"/>
                  </a:cubicBezTo>
                  <a:cubicBezTo>
                    <a:pt x="100" y="37"/>
                    <a:pt x="102" y="38"/>
                    <a:pt x="102" y="39"/>
                  </a:cubicBezTo>
                  <a:cubicBezTo>
                    <a:pt x="103" y="41"/>
                    <a:pt x="102" y="42"/>
                    <a:pt x="102" y="43"/>
                  </a:cubicBezTo>
                  <a:cubicBezTo>
                    <a:pt x="101" y="44"/>
                    <a:pt x="101" y="45"/>
                    <a:pt x="101" y="46"/>
                  </a:cubicBezTo>
                  <a:cubicBezTo>
                    <a:pt x="101" y="47"/>
                    <a:pt x="102" y="47"/>
                    <a:pt x="103" y="47"/>
                  </a:cubicBezTo>
                  <a:cubicBezTo>
                    <a:pt x="105" y="48"/>
                    <a:pt x="113" y="49"/>
                    <a:pt x="123" y="49"/>
                  </a:cubicBezTo>
                  <a:cubicBezTo>
                    <a:pt x="123" y="49"/>
                    <a:pt x="123" y="49"/>
                    <a:pt x="123" y="49"/>
                  </a:cubicBezTo>
                  <a:cubicBezTo>
                    <a:pt x="136" y="49"/>
                    <a:pt x="148" y="48"/>
                    <a:pt x="149" y="46"/>
                  </a:cubicBezTo>
                  <a:cubicBezTo>
                    <a:pt x="150" y="46"/>
                    <a:pt x="150" y="46"/>
                    <a:pt x="149" y="45"/>
                  </a:cubicBezTo>
                  <a:cubicBezTo>
                    <a:pt x="147" y="41"/>
                    <a:pt x="131" y="31"/>
                    <a:pt x="123" y="31"/>
                  </a:cubicBezTo>
                  <a:cubicBezTo>
                    <a:pt x="118" y="31"/>
                    <a:pt x="110" y="27"/>
                    <a:pt x="99" y="21"/>
                  </a:cubicBezTo>
                  <a:cubicBezTo>
                    <a:pt x="86" y="15"/>
                    <a:pt x="69" y="6"/>
                    <a:pt x="52" y="2"/>
                  </a:cubicBezTo>
                  <a:cubicBezTo>
                    <a:pt x="49" y="2"/>
                    <a:pt x="45" y="1"/>
                    <a:pt x="41" y="1"/>
                  </a:cubicBezTo>
                  <a:cubicBezTo>
                    <a:pt x="20" y="1"/>
                    <a:pt x="4" y="13"/>
                    <a:pt x="1" y="18"/>
                  </a:cubicBezTo>
                  <a:cubicBezTo>
                    <a:pt x="1" y="19"/>
                    <a:pt x="1" y="19"/>
                    <a:pt x="1" y="20"/>
                  </a:cubicBezTo>
                  <a:cubicBezTo>
                    <a:pt x="2" y="20"/>
                    <a:pt x="3" y="21"/>
                    <a:pt x="4" y="21"/>
                  </a:cubicBezTo>
                  <a:cubicBezTo>
                    <a:pt x="8" y="21"/>
                    <a:pt x="17" y="14"/>
                    <a:pt x="23" y="10"/>
                  </a:cubicBezTo>
                  <a:cubicBezTo>
                    <a:pt x="24" y="9"/>
                    <a:pt x="25" y="9"/>
                    <a:pt x="26" y="8"/>
                  </a:cubicBezTo>
                  <a:cubicBezTo>
                    <a:pt x="27" y="7"/>
                    <a:pt x="29" y="6"/>
                    <a:pt x="31"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5" name="Freeform 122"/>
            <p:cNvSpPr>
              <a:spLocks noEditPoints="1"/>
            </p:cNvSpPr>
            <p:nvPr/>
          </p:nvSpPr>
          <p:spPr>
            <a:xfrm>
              <a:off x="2828926" y="3346450"/>
              <a:ext cx="52388" cy="17463"/>
            </a:xfrm>
            <a:custGeom>
              <a:gdLst>
                <a:gd name="T0" fmla="*/ 24 w 31"/>
                <a:gd name="T1" fmla="*/ 11 h 11"/>
                <a:gd name="T2" fmla="*/ 24 w 31"/>
                <a:gd name="T3" fmla="*/ 11 h 11"/>
                <a:gd name="T4" fmla="*/ 0 w 31"/>
                <a:gd name="T5" fmla="*/ 3 h 11"/>
                <a:gd name="T6" fmla="*/ 0 w 31"/>
                <a:gd name="T7" fmla="*/ 2 h 11"/>
                <a:gd name="T8" fmla="*/ 7 w 31"/>
                <a:gd name="T9" fmla="*/ 0 h 11"/>
                <a:gd name="T10" fmla="*/ 31 w 31"/>
                <a:gd name="T11" fmla="*/ 6 h 11"/>
                <a:gd name="T12" fmla="*/ 31 w 31"/>
                <a:gd name="T13" fmla="*/ 8 h 11"/>
                <a:gd name="T14" fmla="*/ 24 w 31"/>
                <a:gd name="T15" fmla="*/ 11 h 11"/>
                <a:gd name="T16" fmla="*/ 7 w 31"/>
                <a:gd name="T17" fmla="*/ 1 h 11"/>
                <a:gd name="T18" fmla="*/ 1 w 31"/>
                <a:gd name="T19" fmla="*/ 2 h 11"/>
                <a:gd name="T20" fmla="*/ 1 w 31"/>
                <a:gd name="T21" fmla="*/ 3 h 11"/>
                <a:gd name="T22" fmla="*/ 24 w 31"/>
                <a:gd name="T23" fmla="*/ 10 h 11"/>
                <a:gd name="T24" fmla="*/ 24 w 31"/>
                <a:gd name="T25" fmla="*/ 10 h 11"/>
                <a:gd name="T26" fmla="*/ 30 w 31"/>
                <a:gd name="T27" fmla="*/ 8 h 11"/>
                <a:gd name="T28" fmla="*/ 30 w 31"/>
                <a:gd name="T29" fmla="*/ 7 h 11"/>
                <a:gd name="T30" fmla="*/ 7 w 31"/>
                <a:gd name="T31" fmla="*/ 1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1">
                  <a:moveTo>
                    <a:pt x="24" y="11"/>
                  </a:moveTo>
                  <a:cubicBezTo>
                    <a:pt x="24" y="11"/>
                    <a:pt x="24" y="11"/>
                    <a:pt x="24" y="11"/>
                  </a:cubicBezTo>
                  <a:cubicBezTo>
                    <a:pt x="16" y="11"/>
                    <a:pt x="2" y="7"/>
                    <a:pt x="0" y="3"/>
                  </a:cubicBezTo>
                  <a:cubicBezTo>
                    <a:pt x="0" y="2"/>
                    <a:pt x="0" y="2"/>
                    <a:pt x="0" y="2"/>
                  </a:cubicBezTo>
                  <a:cubicBezTo>
                    <a:pt x="1" y="0"/>
                    <a:pt x="3" y="0"/>
                    <a:pt x="7" y="0"/>
                  </a:cubicBezTo>
                  <a:cubicBezTo>
                    <a:pt x="14" y="0"/>
                    <a:pt x="28" y="3"/>
                    <a:pt x="31" y="6"/>
                  </a:cubicBezTo>
                  <a:cubicBezTo>
                    <a:pt x="31" y="7"/>
                    <a:pt x="31" y="8"/>
                    <a:pt x="31" y="8"/>
                  </a:cubicBezTo>
                  <a:cubicBezTo>
                    <a:pt x="30" y="10"/>
                    <a:pt x="28" y="11"/>
                    <a:pt x="24" y="11"/>
                  </a:cubicBezTo>
                  <a:close/>
                  <a:moveTo>
                    <a:pt x="7" y="1"/>
                  </a:moveTo>
                  <a:cubicBezTo>
                    <a:pt x="3" y="1"/>
                    <a:pt x="1" y="1"/>
                    <a:pt x="1" y="2"/>
                  </a:cubicBezTo>
                  <a:cubicBezTo>
                    <a:pt x="1" y="2"/>
                    <a:pt x="1" y="2"/>
                    <a:pt x="1" y="3"/>
                  </a:cubicBezTo>
                  <a:cubicBezTo>
                    <a:pt x="3" y="5"/>
                    <a:pt x="15" y="10"/>
                    <a:pt x="24" y="10"/>
                  </a:cubicBezTo>
                  <a:cubicBezTo>
                    <a:pt x="24" y="10"/>
                    <a:pt x="24" y="10"/>
                    <a:pt x="24" y="10"/>
                  </a:cubicBezTo>
                  <a:cubicBezTo>
                    <a:pt x="27" y="10"/>
                    <a:pt x="29" y="9"/>
                    <a:pt x="30" y="8"/>
                  </a:cubicBezTo>
                  <a:cubicBezTo>
                    <a:pt x="30" y="7"/>
                    <a:pt x="30" y="7"/>
                    <a:pt x="30" y="7"/>
                  </a:cubicBezTo>
                  <a:cubicBezTo>
                    <a:pt x="28" y="4"/>
                    <a:pt x="15" y="1"/>
                    <a:pt x="7"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6" name="Freeform 123"/>
            <p:cNvSpPr>
              <a:spLocks noEditPoints="1"/>
            </p:cNvSpPr>
            <p:nvPr/>
          </p:nvSpPr>
          <p:spPr>
            <a:xfrm>
              <a:off x="3108326" y="3341688"/>
              <a:ext cx="44450" cy="20638"/>
            </a:xfrm>
            <a:custGeom>
              <a:gdLst>
                <a:gd name="T0" fmla="*/ 12 w 26"/>
                <a:gd name="T1" fmla="*/ 12 h 12"/>
                <a:gd name="T2" fmla="*/ 12 w 26"/>
                <a:gd name="T3" fmla="*/ 12 h 12"/>
                <a:gd name="T4" fmla="*/ 1 w 26"/>
                <a:gd name="T5" fmla="*/ 6 h 12"/>
                <a:gd name="T6" fmla="*/ 1 w 26"/>
                <a:gd name="T7" fmla="*/ 3 h 12"/>
                <a:gd name="T8" fmla="*/ 11 w 26"/>
                <a:gd name="T9" fmla="*/ 0 h 12"/>
                <a:gd name="T10" fmla="*/ 26 w 26"/>
                <a:gd name="T11" fmla="*/ 4 h 12"/>
                <a:gd name="T12" fmla="*/ 26 w 26"/>
                <a:gd name="T13" fmla="*/ 6 h 12"/>
                <a:gd name="T14" fmla="*/ 12 w 26"/>
                <a:gd name="T15" fmla="*/ 12 h 12"/>
                <a:gd name="T16" fmla="*/ 11 w 26"/>
                <a:gd name="T17" fmla="*/ 1 h 12"/>
                <a:gd name="T18" fmla="*/ 2 w 26"/>
                <a:gd name="T19" fmla="*/ 3 h 12"/>
                <a:gd name="T20" fmla="*/ 2 w 26"/>
                <a:gd name="T21" fmla="*/ 6 h 12"/>
                <a:gd name="T22" fmla="*/ 12 w 26"/>
                <a:gd name="T23" fmla="*/ 11 h 12"/>
                <a:gd name="T24" fmla="*/ 12 w 26"/>
                <a:gd name="T25" fmla="*/ 11 h 12"/>
                <a:gd name="T26" fmla="*/ 25 w 26"/>
                <a:gd name="T27" fmla="*/ 6 h 12"/>
                <a:gd name="T28" fmla="*/ 25 w 26"/>
                <a:gd name="T29" fmla="*/ 5 h 12"/>
                <a:gd name="T30" fmla="*/ 11 w 26"/>
                <a:gd name="T31" fmla="*/ 1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12">
                  <a:moveTo>
                    <a:pt x="12" y="12"/>
                  </a:moveTo>
                  <a:cubicBezTo>
                    <a:pt x="12" y="12"/>
                    <a:pt x="12" y="12"/>
                    <a:pt x="12" y="12"/>
                  </a:cubicBezTo>
                  <a:cubicBezTo>
                    <a:pt x="9" y="12"/>
                    <a:pt x="4" y="11"/>
                    <a:pt x="1" y="6"/>
                  </a:cubicBezTo>
                  <a:cubicBezTo>
                    <a:pt x="0" y="5"/>
                    <a:pt x="0" y="4"/>
                    <a:pt x="1" y="3"/>
                  </a:cubicBezTo>
                  <a:cubicBezTo>
                    <a:pt x="2" y="0"/>
                    <a:pt x="8" y="0"/>
                    <a:pt x="11" y="0"/>
                  </a:cubicBezTo>
                  <a:cubicBezTo>
                    <a:pt x="17" y="0"/>
                    <a:pt x="24" y="1"/>
                    <a:pt x="26" y="4"/>
                  </a:cubicBezTo>
                  <a:cubicBezTo>
                    <a:pt x="26" y="5"/>
                    <a:pt x="26" y="6"/>
                    <a:pt x="26" y="6"/>
                  </a:cubicBezTo>
                  <a:cubicBezTo>
                    <a:pt x="25" y="9"/>
                    <a:pt x="19" y="12"/>
                    <a:pt x="12" y="12"/>
                  </a:cubicBezTo>
                  <a:close/>
                  <a:moveTo>
                    <a:pt x="11" y="1"/>
                  </a:moveTo>
                  <a:cubicBezTo>
                    <a:pt x="6" y="1"/>
                    <a:pt x="2" y="2"/>
                    <a:pt x="2" y="3"/>
                  </a:cubicBezTo>
                  <a:cubicBezTo>
                    <a:pt x="1" y="4"/>
                    <a:pt x="1" y="5"/>
                    <a:pt x="2" y="6"/>
                  </a:cubicBezTo>
                  <a:cubicBezTo>
                    <a:pt x="5" y="10"/>
                    <a:pt x="9" y="11"/>
                    <a:pt x="12" y="11"/>
                  </a:cubicBezTo>
                  <a:cubicBezTo>
                    <a:pt x="12" y="11"/>
                    <a:pt x="12" y="11"/>
                    <a:pt x="12" y="11"/>
                  </a:cubicBezTo>
                  <a:cubicBezTo>
                    <a:pt x="18" y="11"/>
                    <a:pt x="24" y="8"/>
                    <a:pt x="25" y="6"/>
                  </a:cubicBezTo>
                  <a:cubicBezTo>
                    <a:pt x="25" y="5"/>
                    <a:pt x="25" y="5"/>
                    <a:pt x="25" y="5"/>
                  </a:cubicBezTo>
                  <a:cubicBezTo>
                    <a:pt x="23" y="3"/>
                    <a:pt x="17" y="1"/>
                    <a:pt x="1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7" name="Freeform 124"/>
            <p:cNvSpPr>
              <a:spLocks noEditPoints="1"/>
            </p:cNvSpPr>
            <p:nvPr/>
          </p:nvSpPr>
          <p:spPr>
            <a:xfrm>
              <a:off x="3262314" y="5213350"/>
              <a:ext cx="79375" cy="31750"/>
            </a:xfrm>
            <a:custGeom>
              <a:gdLst>
                <a:gd name="T0" fmla="*/ 25 w 47"/>
                <a:gd name="T1" fmla="*/ 19 h 19"/>
                <a:gd name="T2" fmla="*/ 25 w 47"/>
                <a:gd name="T3" fmla="*/ 19 h 19"/>
                <a:gd name="T4" fmla="*/ 22 w 47"/>
                <a:gd name="T5" fmla="*/ 19 h 19"/>
                <a:gd name="T6" fmla="*/ 21 w 47"/>
                <a:gd name="T7" fmla="*/ 17 h 19"/>
                <a:gd name="T8" fmla="*/ 41 w 47"/>
                <a:gd name="T9" fmla="*/ 4 h 19"/>
                <a:gd name="T10" fmla="*/ 47 w 47"/>
                <a:gd name="T11" fmla="*/ 7 h 19"/>
                <a:gd name="T12" fmla="*/ 46 w 47"/>
                <a:gd name="T13" fmla="*/ 10 h 19"/>
                <a:gd name="T14" fmla="*/ 25 w 47"/>
                <a:gd name="T15" fmla="*/ 19 h 19"/>
                <a:gd name="T16" fmla="*/ 41 w 47"/>
                <a:gd name="T17" fmla="*/ 5 h 19"/>
                <a:gd name="T18" fmla="*/ 22 w 47"/>
                <a:gd name="T19" fmla="*/ 17 h 19"/>
                <a:gd name="T20" fmla="*/ 22 w 47"/>
                <a:gd name="T21" fmla="*/ 18 h 19"/>
                <a:gd name="T22" fmla="*/ 25 w 47"/>
                <a:gd name="T23" fmla="*/ 18 h 19"/>
                <a:gd name="T24" fmla="*/ 45 w 47"/>
                <a:gd name="T25" fmla="*/ 9 h 19"/>
                <a:gd name="T26" fmla="*/ 46 w 47"/>
                <a:gd name="T27" fmla="*/ 8 h 19"/>
                <a:gd name="T28" fmla="*/ 41 w 47"/>
                <a:gd name="T29" fmla="*/ 5 h 19"/>
                <a:gd name="T30" fmla="*/ 5 w 47"/>
                <a:gd name="T31" fmla="*/ 18 h 19"/>
                <a:gd name="T32" fmla="*/ 5 w 47"/>
                <a:gd name="T33" fmla="*/ 18 h 19"/>
                <a:gd name="T34" fmla="*/ 3 w 47"/>
                <a:gd name="T35" fmla="*/ 18 h 19"/>
                <a:gd name="T36" fmla="*/ 1 w 47"/>
                <a:gd name="T37" fmla="*/ 13 h 19"/>
                <a:gd name="T38" fmla="*/ 19 w 47"/>
                <a:gd name="T39" fmla="*/ 0 h 19"/>
                <a:gd name="T40" fmla="*/ 20 w 47"/>
                <a:gd name="T41" fmla="*/ 0 h 19"/>
                <a:gd name="T42" fmla="*/ 22 w 47"/>
                <a:gd name="T43" fmla="*/ 3 h 19"/>
                <a:gd name="T44" fmla="*/ 5 w 47"/>
                <a:gd name="T45" fmla="*/ 18 h 19"/>
                <a:gd name="T46" fmla="*/ 19 w 47"/>
                <a:gd name="T47" fmla="*/ 1 h 19"/>
                <a:gd name="T48" fmla="*/ 2 w 47"/>
                <a:gd name="T49" fmla="*/ 14 h 19"/>
                <a:gd name="T50" fmla="*/ 3 w 47"/>
                <a:gd name="T51" fmla="*/ 17 h 19"/>
                <a:gd name="T52" fmla="*/ 5 w 47"/>
                <a:gd name="T53" fmla="*/ 17 h 19"/>
                <a:gd name="T54" fmla="*/ 5 w 47"/>
                <a:gd name="T55" fmla="*/ 17 h 19"/>
                <a:gd name="T56" fmla="*/ 21 w 47"/>
                <a:gd name="T57" fmla="*/ 3 h 19"/>
                <a:gd name="T58" fmla="*/ 20 w 47"/>
                <a:gd name="T59" fmla="*/ 1 h 19"/>
                <a:gd name="T60" fmla="*/ 19 w 47"/>
                <a:gd name="T61" fmla="*/ 1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19">
                  <a:moveTo>
                    <a:pt x="25" y="19"/>
                  </a:moveTo>
                  <a:cubicBezTo>
                    <a:pt x="25" y="19"/>
                    <a:pt x="25" y="19"/>
                    <a:pt x="25" y="19"/>
                  </a:cubicBezTo>
                  <a:cubicBezTo>
                    <a:pt x="24" y="19"/>
                    <a:pt x="23" y="19"/>
                    <a:pt x="22" y="19"/>
                  </a:cubicBezTo>
                  <a:cubicBezTo>
                    <a:pt x="21" y="18"/>
                    <a:pt x="21" y="18"/>
                    <a:pt x="21" y="17"/>
                  </a:cubicBezTo>
                  <a:cubicBezTo>
                    <a:pt x="22" y="13"/>
                    <a:pt x="33" y="4"/>
                    <a:pt x="41" y="4"/>
                  </a:cubicBezTo>
                  <a:cubicBezTo>
                    <a:pt x="43" y="4"/>
                    <a:pt x="45" y="5"/>
                    <a:pt x="47" y="7"/>
                  </a:cubicBezTo>
                  <a:cubicBezTo>
                    <a:pt x="47" y="8"/>
                    <a:pt x="47" y="9"/>
                    <a:pt x="46" y="10"/>
                  </a:cubicBezTo>
                  <a:cubicBezTo>
                    <a:pt x="44" y="14"/>
                    <a:pt x="31" y="19"/>
                    <a:pt x="25" y="19"/>
                  </a:cubicBezTo>
                  <a:close/>
                  <a:moveTo>
                    <a:pt x="41" y="5"/>
                  </a:moveTo>
                  <a:cubicBezTo>
                    <a:pt x="34" y="5"/>
                    <a:pt x="23" y="13"/>
                    <a:pt x="22" y="17"/>
                  </a:cubicBezTo>
                  <a:cubicBezTo>
                    <a:pt x="22" y="18"/>
                    <a:pt x="22" y="18"/>
                    <a:pt x="22" y="18"/>
                  </a:cubicBezTo>
                  <a:cubicBezTo>
                    <a:pt x="23" y="18"/>
                    <a:pt x="24" y="18"/>
                    <a:pt x="25" y="18"/>
                  </a:cubicBezTo>
                  <a:cubicBezTo>
                    <a:pt x="31" y="18"/>
                    <a:pt x="43" y="13"/>
                    <a:pt x="45" y="9"/>
                  </a:cubicBezTo>
                  <a:cubicBezTo>
                    <a:pt x="46" y="9"/>
                    <a:pt x="46" y="8"/>
                    <a:pt x="46" y="8"/>
                  </a:cubicBezTo>
                  <a:cubicBezTo>
                    <a:pt x="45" y="6"/>
                    <a:pt x="43" y="5"/>
                    <a:pt x="41" y="5"/>
                  </a:cubicBezTo>
                  <a:close/>
                  <a:moveTo>
                    <a:pt x="5" y="18"/>
                  </a:moveTo>
                  <a:cubicBezTo>
                    <a:pt x="5" y="18"/>
                    <a:pt x="5" y="18"/>
                    <a:pt x="5" y="18"/>
                  </a:cubicBezTo>
                  <a:cubicBezTo>
                    <a:pt x="4" y="18"/>
                    <a:pt x="3" y="18"/>
                    <a:pt x="3" y="18"/>
                  </a:cubicBezTo>
                  <a:cubicBezTo>
                    <a:pt x="1" y="17"/>
                    <a:pt x="0" y="15"/>
                    <a:pt x="1" y="13"/>
                  </a:cubicBezTo>
                  <a:cubicBezTo>
                    <a:pt x="2" y="8"/>
                    <a:pt x="13" y="0"/>
                    <a:pt x="19" y="0"/>
                  </a:cubicBezTo>
                  <a:cubicBezTo>
                    <a:pt x="19" y="0"/>
                    <a:pt x="19" y="0"/>
                    <a:pt x="20" y="0"/>
                  </a:cubicBezTo>
                  <a:cubicBezTo>
                    <a:pt x="21" y="0"/>
                    <a:pt x="22" y="1"/>
                    <a:pt x="22" y="3"/>
                  </a:cubicBezTo>
                  <a:cubicBezTo>
                    <a:pt x="21" y="8"/>
                    <a:pt x="12" y="18"/>
                    <a:pt x="5" y="18"/>
                  </a:cubicBezTo>
                  <a:close/>
                  <a:moveTo>
                    <a:pt x="19" y="1"/>
                  </a:moveTo>
                  <a:cubicBezTo>
                    <a:pt x="13" y="1"/>
                    <a:pt x="3" y="9"/>
                    <a:pt x="2" y="14"/>
                  </a:cubicBezTo>
                  <a:cubicBezTo>
                    <a:pt x="1" y="15"/>
                    <a:pt x="2" y="16"/>
                    <a:pt x="3" y="17"/>
                  </a:cubicBezTo>
                  <a:cubicBezTo>
                    <a:pt x="4" y="17"/>
                    <a:pt x="4" y="17"/>
                    <a:pt x="5" y="17"/>
                  </a:cubicBezTo>
                  <a:cubicBezTo>
                    <a:pt x="5" y="17"/>
                    <a:pt x="5" y="17"/>
                    <a:pt x="5" y="17"/>
                  </a:cubicBezTo>
                  <a:cubicBezTo>
                    <a:pt x="11" y="17"/>
                    <a:pt x="20" y="7"/>
                    <a:pt x="21" y="3"/>
                  </a:cubicBezTo>
                  <a:cubicBezTo>
                    <a:pt x="21" y="2"/>
                    <a:pt x="21" y="1"/>
                    <a:pt x="20" y="1"/>
                  </a:cubicBezTo>
                  <a:cubicBezTo>
                    <a:pt x="19" y="1"/>
                    <a:pt x="19" y="1"/>
                    <a:pt x="1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8" name="Freeform 125"/>
            <p:cNvSpPr>
              <a:spLocks noEditPoints="1"/>
            </p:cNvSpPr>
            <p:nvPr/>
          </p:nvSpPr>
          <p:spPr>
            <a:xfrm>
              <a:off x="2763839" y="3773488"/>
              <a:ext cx="144463" cy="163513"/>
            </a:xfrm>
            <a:custGeom>
              <a:gdLst>
                <a:gd name="T0" fmla="*/ 22 w 85"/>
                <a:gd name="T1" fmla="*/ 91 h 96"/>
                <a:gd name="T2" fmla="*/ 17 w 85"/>
                <a:gd name="T3" fmla="*/ 89 h 96"/>
                <a:gd name="T4" fmla="*/ 11 w 85"/>
                <a:gd name="T5" fmla="*/ 88 h 96"/>
                <a:gd name="T6" fmla="*/ 11 w 85"/>
                <a:gd name="T7" fmla="*/ 80 h 96"/>
                <a:gd name="T8" fmla="*/ 8 w 85"/>
                <a:gd name="T9" fmla="*/ 72 h 96"/>
                <a:gd name="T10" fmla="*/ 10 w 85"/>
                <a:gd name="T11" fmla="*/ 72 h 96"/>
                <a:gd name="T12" fmla="*/ 16 w 85"/>
                <a:gd name="T13" fmla="*/ 64 h 96"/>
                <a:gd name="T14" fmla="*/ 14 w 85"/>
                <a:gd name="T15" fmla="*/ 63 h 96"/>
                <a:gd name="T16" fmla="*/ 9 w 85"/>
                <a:gd name="T17" fmla="*/ 62 h 96"/>
                <a:gd name="T18" fmla="*/ 0 w 85"/>
                <a:gd name="T19" fmla="*/ 54 h 96"/>
                <a:gd name="T20" fmla="*/ 1 w 85"/>
                <a:gd name="T21" fmla="*/ 45 h 96"/>
                <a:gd name="T22" fmla="*/ 5 w 85"/>
                <a:gd name="T23" fmla="*/ 34 h 96"/>
                <a:gd name="T24" fmla="*/ 8 w 85"/>
                <a:gd name="T25" fmla="*/ 27 h 96"/>
                <a:gd name="T26" fmla="*/ 15 w 85"/>
                <a:gd name="T27" fmla="*/ 18 h 96"/>
                <a:gd name="T28" fmla="*/ 20 w 85"/>
                <a:gd name="T29" fmla="*/ 7 h 96"/>
                <a:gd name="T30" fmla="*/ 30 w 85"/>
                <a:gd name="T31" fmla="*/ 3 h 96"/>
                <a:gd name="T32" fmla="*/ 30 w 85"/>
                <a:gd name="T33" fmla="*/ 0 h 96"/>
                <a:gd name="T34" fmla="*/ 48 w 85"/>
                <a:gd name="T35" fmla="*/ 10 h 96"/>
                <a:gd name="T36" fmla="*/ 57 w 85"/>
                <a:gd name="T37" fmla="*/ 17 h 96"/>
                <a:gd name="T38" fmla="*/ 68 w 85"/>
                <a:gd name="T39" fmla="*/ 17 h 96"/>
                <a:gd name="T40" fmla="*/ 79 w 85"/>
                <a:gd name="T41" fmla="*/ 25 h 96"/>
                <a:gd name="T42" fmla="*/ 83 w 85"/>
                <a:gd name="T43" fmla="*/ 37 h 96"/>
                <a:gd name="T44" fmla="*/ 75 w 85"/>
                <a:gd name="T45" fmla="*/ 52 h 96"/>
                <a:gd name="T46" fmla="*/ 46 w 85"/>
                <a:gd name="T47" fmla="*/ 67 h 96"/>
                <a:gd name="T48" fmla="*/ 33 w 85"/>
                <a:gd name="T49" fmla="*/ 90 h 96"/>
                <a:gd name="T50" fmla="*/ 19 w 85"/>
                <a:gd name="T51" fmla="*/ 88 h 96"/>
                <a:gd name="T52" fmla="*/ 28 w 85"/>
                <a:gd name="T53" fmla="*/ 95 h 96"/>
                <a:gd name="T54" fmla="*/ 35 w 85"/>
                <a:gd name="T55" fmla="*/ 83 h 96"/>
                <a:gd name="T56" fmla="*/ 49 w 85"/>
                <a:gd name="T57" fmla="*/ 65 h 96"/>
                <a:gd name="T58" fmla="*/ 80 w 85"/>
                <a:gd name="T59" fmla="*/ 40 h 96"/>
                <a:gd name="T60" fmla="*/ 84 w 85"/>
                <a:gd name="T61" fmla="*/ 34 h 96"/>
                <a:gd name="T62" fmla="*/ 69 w 85"/>
                <a:gd name="T63" fmla="*/ 17 h 96"/>
                <a:gd name="T64" fmla="*/ 63 w 85"/>
                <a:gd name="T65" fmla="*/ 19 h 96"/>
                <a:gd name="T66" fmla="*/ 52 w 85"/>
                <a:gd name="T67" fmla="*/ 14 h 96"/>
                <a:gd name="T68" fmla="*/ 31 w 85"/>
                <a:gd name="T69" fmla="*/ 2 h 96"/>
                <a:gd name="T70" fmla="*/ 30 w 85"/>
                <a:gd name="T71" fmla="*/ 5 h 96"/>
                <a:gd name="T72" fmla="*/ 16 w 85"/>
                <a:gd name="T73" fmla="*/ 17 h 96"/>
                <a:gd name="T74" fmla="*/ 13 w 85"/>
                <a:gd name="T75" fmla="*/ 23 h 96"/>
                <a:gd name="T76" fmla="*/ 8 w 85"/>
                <a:gd name="T77" fmla="*/ 31 h 96"/>
                <a:gd name="T78" fmla="*/ 1 w 85"/>
                <a:gd name="T79" fmla="*/ 40 h 96"/>
                <a:gd name="T80" fmla="*/ 2 w 85"/>
                <a:gd name="T81" fmla="*/ 53 h 96"/>
                <a:gd name="T82" fmla="*/ 4 w 85"/>
                <a:gd name="T83" fmla="*/ 58 h 96"/>
                <a:gd name="T84" fmla="*/ 12 w 85"/>
                <a:gd name="T85" fmla="*/ 63 h 96"/>
                <a:gd name="T86" fmla="*/ 15 w 85"/>
                <a:gd name="T87" fmla="*/ 62 h 96"/>
                <a:gd name="T88" fmla="*/ 16 w 85"/>
                <a:gd name="T89" fmla="*/ 69 h 96"/>
                <a:gd name="T90" fmla="*/ 10 w 85"/>
                <a:gd name="T91" fmla="*/ 73 h 96"/>
                <a:gd name="T92" fmla="*/ 10 w 85"/>
                <a:gd name="T93" fmla="*/ 82 h 96"/>
                <a:gd name="T94" fmla="*/ 15 w 85"/>
                <a:gd name="T95" fmla="*/ 89 h 96"/>
                <a:gd name="T96" fmla="*/ 19 w 85"/>
                <a:gd name="T97" fmla="*/ 88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6">
                  <a:moveTo>
                    <a:pt x="28" y="96"/>
                  </a:moveTo>
                  <a:cubicBezTo>
                    <a:pt x="26" y="96"/>
                    <a:pt x="24" y="94"/>
                    <a:pt x="22" y="91"/>
                  </a:cubicBezTo>
                  <a:cubicBezTo>
                    <a:pt x="21" y="89"/>
                    <a:pt x="20" y="89"/>
                    <a:pt x="19" y="89"/>
                  </a:cubicBezTo>
                  <a:cubicBezTo>
                    <a:pt x="18" y="89"/>
                    <a:pt x="18" y="89"/>
                    <a:pt x="17" y="89"/>
                  </a:cubicBezTo>
                  <a:cubicBezTo>
                    <a:pt x="16" y="89"/>
                    <a:pt x="16" y="90"/>
                    <a:pt x="15" y="90"/>
                  </a:cubicBezTo>
                  <a:cubicBezTo>
                    <a:pt x="13" y="90"/>
                    <a:pt x="12" y="89"/>
                    <a:pt x="11" y="88"/>
                  </a:cubicBezTo>
                  <a:cubicBezTo>
                    <a:pt x="8" y="85"/>
                    <a:pt x="8" y="84"/>
                    <a:pt x="10" y="82"/>
                  </a:cubicBezTo>
                  <a:cubicBezTo>
                    <a:pt x="10" y="81"/>
                    <a:pt x="10" y="81"/>
                    <a:pt x="11" y="80"/>
                  </a:cubicBezTo>
                  <a:cubicBezTo>
                    <a:pt x="12" y="78"/>
                    <a:pt x="11" y="76"/>
                    <a:pt x="8" y="73"/>
                  </a:cubicBezTo>
                  <a:cubicBezTo>
                    <a:pt x="8" y="72"/>
                    <a:pt x="8" y="72"/>
                    <a:pt x="8" y="72"/>
                  </a:cubicBezTo>
                  <a:cubicBezTo>
                    <a:pt x="9" y="72"/>
                    <a:pt x="9" y="72"/>
                    <a:pt x="9" y="72"/>
                  </a:cubicBezTo>
                  <a:cubicBezTo>
                    <a:pt x="9" y="72"/>
                    <a:pt x="9" y="72"/>
                    <a:pt x="10" y="72"/>
                  </a:cubicBezTo>
                  <a:cubicBezTo>
                    <a:pt x="12" y="72"/>
                    <a:pt x="14" y="70"/>
                    <a:pt x="15" y="69"/>
                  </a:cubicBezTo>
                  <a:cubicBezTo>
                    <a:pt x="16" y="67"/>
                    <a:pt x="17" y="65"/>
                    <a:pt x="16" y="64"/>
                  </a:cubicBezTo>
                  <a:cubicBezTo>
                    <a:pt x="15" y="63"/>
                    <a:pt x="15" y="63"/>
                    <a:pt x="15" y="63"/>
                  </a:cubicBezTo>
                  <a:cubicBezTo>
                    <a:pt x="14" y="63"/>
                    <a:pt x="14" y="63"/>
                    <a:pt x="14" y="63"/>
                  </a:cubicBezTo>
                  <a:cubicBezTo>
                    <a:pt x="14" y="64"/>
                    <a:pt x="13" y="64"/>
                    <a:pt x="12" y="64"/>
                  </a:cubicBezTo>
                  <a:cubicBezTo>
                    <a:pt x="11" y="64"/>
                    <a:pt x="10" y="63"/>
                    <a:pt x="9" y="62"/>
                  </a:cubicBezTo>
                  <a:cubicBezTo>
                    <a:pt x="7" y="61"/>
                    <a:pt x="5" y="59"/>
                    <a:pt x="4" y="58"/>
                  </a:cubicBezTo>
                  <a:cubicBezTo>
                    <a:pt x="1" y="57"/>
                    <a:pt x="0" y="56"/>
                    <a:pt x="0" y="54"/>
                  </a:cubicBezTo>
                  <a:cubicBezTo>
                    <a:pt x="0" y="54"/>
                    <a:pt x="1" y="53"/>
                    <a:pt x="1" y="52"/>
                  </a:cubicBezTo>
                  <a:cubicBezTo>
                    <a:pt x="2" y="50"/>
                    <a:pt x="3" y="48"/>
                    <a:pt x="1" y="45"/>
                  </a:cubicBezTo>
                  <a:cubicBezTo>
                    <a:pt x="0" y="43"/>
                    <a:pt x="0" y="41"/>
                    <a:pt x="0" y="39"/>
                  </a:cubicBezTo>
                  <a:cubicBezTo>
                    <a:pt x="1" y="37"/>
                    <a:pt x="2" y="36"/>
                    <a:pt x="5" y="34"/>
                  </a:cubicBezTo>
                  <a:cubicBezTo>
                    <a:pt x="7" y="33"/>
                    <a:pt x="7" y="32"/>
                    <a:pt x="7" y="31"/>
                  </a:cubicBezTo>
                  <a:cubicBezTo>
                    <a:pt x="7" y="30"/>
                    <a:pt x="8" y="29"/>
                    <a:pt x="8" y="27"/>
                  </a:cubicBezTo>
                  <a:cubicBezTo>
                    <a:pt x="9" y="25"/>
                    <a:pt x="11" y="23"/>
                    <a:pt x="12" y="22"/>
                  </a:cubicBezTo>
                  <a:cubicBezTo>
                    <a:pt x="14" y="21"/>
                    <a:pt x="15" y="20"/>
                    <a:pt x="15" y="18"/>
                  </a:cubicBezTo>
                  <a:cubicBezTo>
                    <a:pt x="15" y="18"/>
                    <a:pt x="15" y="18"/>
                    <a:pt x="15" y="17"/>
                  </a:cubicBezTo>
                  <a:cubicBezTo>
                    <a:pt x="15" y="13"/>
                    <a:pt x="15" y="7"/>
                    <a:pt x="20" y="7"/>
                  </a:cubicBezTo>
                  <a:cubicBezTo>
                    <a:pt x="24" y="7"/>
                    <a:pt x="28" y="6"/>
                    <a:pt x="29" y="4"/>
                  </a:cubicBezTo>
                  <a:cubicBezTo>
                    <a:pt x="30" y="3"/>
                    <a:pt x="30" y="3"/>
                    <a:pt x="30" y="3"/>
                  </a:cubicBezTo>
                  <a:cubicBezTo>
                    <a:pt x="30" y="2"/>
                    <a:pt x="30" y="1"/>
                    <a:pt x="30" y="0"/>
                  </a:cubicBezTo>
                  <a:cubicBezTo>
                    <a:pt x="30" y="0"/>
                    <a:pt x="30" y="0"/>
                    <a:pt x="30" y="0"/>
                  </a:cubicBezTo>
                  <a:cubicBezTo>
                    <a:pt x="30" y="0"/>
                    <a:pt x="30" y="0"/>
                    <a:pt x="30" y="0"/>
                  </a:cubicBezTo>
                  <a:cubicBezTo>
                    <a:pt x="36" y="5"/>
                    <a:pt x="45" y="10"/>
                    <a:pt x="48" y="10"/>
                  </a:cubicBezTo>
                  <a:cubicBezTo>
                    <a:pt x="50" y="10"/>
                    <a:pt x="51" y="12"/>
                    <a:pt x="53" y="13"/>
                  </a:cubicBezTo>
                  <a:cubicBezTo>
                    <a:pt x="54" y="15"/>
                    <a:pt x="56" y="16"/>
                    <a:pt x="57" y="17"/>
                  </a:cubicBezTo>
                  <a:cubicBezTo>
                    <a:pt x="59" y="18"/>
                    <a:pt x="61" y="18"/>
                    <a:pt x="63" y="18"/>
                  </a:cubicBezTo>
                  <a:cubicBezTo>
                    <a:pt x="65" y="18"/>
                    <a:pt x="67" y="18"/>
                    <a:pt x="68" y="17"/>
                  </a:cubicBezTo>
                  <a:cubicBezTo>
                    <a:pt x="69" y="16"/>
                    <a:pt x="69" y="16"/>
                    <a:pt x="69" y="16"/>
                  </a:cubicBezTo>
                  <a:cubicBezTo>
                    <a:pt x="71" y="16"/>
                    <a:pt x="74" y="19"/>
                    <a:pt x="79" y="25"/>
                  </a:cubicBezTo>
                  <a:cubicBezTo>
                    <a:pt x="83" y="29"/>
                    <a:pt x="85" y="32"/>
                    <a:pt x="85" y="34"/>
                  </a:cubicBezTo>
                  <a:cubicBezTo>
                    <a:pt x="85" y="35"/>
                    <a:pt x="84" y="36"/>
                    <a:pt x="83" y="37"/>
                  </a:cubicBezTo>
                  <a:cubicBezTo>
                    <a:pt x="81" y="38"/>
                    <a:pt x="81" y="39"/>
                    <a:pt x="81" y="41"/>
                  </a:cubicBezTo>
                  <a:cubicBezTo>
                    <a:pt x="80" y="43"/>
                    <a:pt x="80" y="45"/>
                    <a:pt x="75" y="52"/>
                  </a:cubicBezTo>
                  <a:cubicBezTo>
                    <a:pt x="68" y="61"/>
                    <a:pt x="56" y="64"/>
                    <a:pt x="49" y="66"/>
                  </a:cubicBezTo>
                  <a:cubicBezTo>
                    <a:pt x="48" y="67"/>
                    <a:pt x="47" y="67"/>
                    <a:pt x="46" y="67"/>
                  </a:cubicBezTo>
                  <a:cubicBezTo>
                    <a:pt x="41" y="69"/>
                    <a:pt x="38" y="76"/>
                    <a:pt x="36" y="84"/>
                  </a:cubicBezTo>
                  <a:cubicBezTo>
                    <a:pt x="35" y="86"/>
                    <a:pt x="34" y="88"/>
                    <a:pt x="33" y="90"/>
                  </a:cubicBezTo>
                  <a:cubicBezTo>
                    <a:pt x="32" y="94"/>
                    <a:pt x="30" y="96"/>
                    <a:pt x="28" y="96"/>
                  </a:cubicBezTo>
                  <a:close/>
                  <a:moveTo>
                    <a:pt x="19" y="88"/>
                  </a:moveTo>
                  <a:cubicBezTo>
                    <a:pt x="20" y="88"/>
                    <a:pt x="22" y="89"/>
                    <a:pt x="23" y="90"/>
                  </a:cubicBezTo>
                  <a:cubicBezTo>
                    <a:pt x="25" y="93"/>
                    <a:pt x="26" y="95"/>
                    <a:pt x="28" y="95"/>
                  </a:cubicBezTo>
                  <a:cubicBezTo>
                    <a:pt x="30" y="95"/>
                    <a:pt x="31" y="93"/>
                    <a:pt x="32" y="90"/>
                  </a:cubicBezTo>
                  <a:cubicBezTo>
                    <a:pt x="33" y="88"/>
                    <a:pt x="34" y="85"/>
                    <a:pt x="35" y="83"/>
                  </a:cubicBezTo>
                  <a:cubicBezTo>
                    <a:pt x="38" y="76"/>
                    <a:pt x="40" y="68"/>
                    <a:pt x="46" y="66"/>
                  </a:cubicBezTo>
                  <a:cubicBezTo>
                    <a:pt x="47" y="66"/>
                    <a:pt x="48" y="66"/>
                    <a:pt x="49" y="65"/>
                  </a:cubicBezTo>
                  <a:cubicBezTo>
                    <a:pt x="56" y="63"/>
                    <a:pt x="67" y="60"/>
                    <a:pt x="74" y="51"/>
                  </a:cubicBezTo>
                  <a:cubicBezTo>
                    <a:pt x="79" y="45"/>
                    <a:pt x="79" y="42"/>
                    <a:pt x="80" y="40"/>
                  </a:cubicBezTo>
                  <a:cubicBezTo>
                    <a:pt x="80" y="39"/>
                    <a:pt x="80" y="38"/>
                    <a:pt x="82" y="36"/>
                  </a:cubicBezTo>
                  <a:cubicBezTo>
                    <a:pt x="83" y="35"/>
                    <a:pt x="84" y="35"/>
                    <a:pt x="84" y="34"/>
                  </a:cubicBezTo>
                  <a:cubicBezTo>
                    <a:pt x="84" y="32"/>
                    <a:pt x="82" y="30"/>
                    <a:pt x="78" y="26"/>
                  </a:cubicBezTo>
                  <a:cubicBezTo>
                    <a:pt x="75" y="22"/>
                    <a:pt x="71" y="17"/>
                    <a:pt x="69" y="17"/>
                  </a:cubicBezTo>
                  <a:cubicBezTo>
                    <a:pt x="69" y="17"/>
                    <a:pt x="69" y="17"/>
                    <a:pt x="69" y="18"/>
                  </a:cubicBezTo>
                  <a:cubicBezTo>
                    <a:pt x="68" y="19"/>
                    <a:pt x="66" y="19"/>
                    <a:pt x="63" y="19"/>
                  </a:cubicBezTo>
                  <a:cubicBezTo>
                    <a:pt x="61" y="19"/>
                    <a:pt x="59" y="19"/>
                    <a:pt x="57" y="18"/>
                  </a:cubicBezTo>
                  <a:cubicBezTo>
                    <a:pt x="55" y="17"/>
                    <a:pt x="54" y="15"/>
                    <a:pt x="52" y="14"/>
                  </a:cubicBezTo>
                  <a:cubicBezTo>
                    <a:pt x="51" y="12"/>
                    <a:pt x="50" y="11"/>
                    <a:pt x="48" y="11"/>
                  </a:cubicBezTo>
                  <a:cubicBezTo>
                    <a:pt x="45" y="11"/>
                    <a:pt x="36" y="6"/>
                    <a:pt x="31" y="2"/>
                  </a:cubicBezTo>
                  <a:cubicBezTo>
                    <a:pt x="31" y="2"/>
                    <a:pt x="31" y="2"/>
                    <a:pt x="31" y="2"/>
                  </a:cubicBezTo>
                  <a:cubicBezTo>
                    <a:pt x="31" y="3"/>
                    <a:pt x="30" y="4"/>
                    <a:pt x="30" y="5"/>
                  </a:cubicBezTo>
                  <a:cubicBezTo>
                    <a:pt x="28" y="7"/>
                    <a:pt x="25" y="8"/>
                    <a:pt x="20" y="8"/>
                  </a:cubicBezTo>
                  <a:cubicBezTo>
                    <a:pt x="16" y="8"/>
                    <a:pt x="16" y="12"/>
                    <a:pt x="16" y="17"/>
                  </a:cubicBezTo>
                  <a:cubicBezTo>
                    <a:pt x="16" y="18"/>
                    <a:pt x="16" y="18"/>
                    <a:pt x="16" y="18"/>
                  </a:cubicBezTo>
                  <a:cubicBezTo>
                    <a:pt x="16" y="21"/>
                    <a:pt x="14" y="22"/>
                    <a:pt x="13" y="23"/>
                  </a:cubicBezTo>
                  <a:cubicBezTo>
                    <a:pt x="11" y="24"/>
                    <a:pt x="10" y="25"/>
                    <a:pt x="9" y="27"/>
                  </a:cubicBezTo>
                  <a:cubicBezTo>
                    <a:pt x="9" y="29"/>
                    <a:pt x="8" y="30"/>
                    <a:pt x="8" y="31"/>
                  </a:cubicBezTo>
                  <a:cubicBezTo>
                    <a:pt x="8" y="33"/>
                    <a:pt x="8" y="34"/>
                    <a:pt x="5" y="35"/>
                  </a:cubicBezTo>
                  <a:cubicBezTo>
                    <a:pt x="3" y="36"/>
                    <a:pt x="1" y="38"/>
                    <a:pt x="1" y="40"/>
                  </a:cubicBezTo>
                  <a:cubicBezTo>
                    <a:pt x="1" y="41"/>
                    <a:pt x="1" y="43"/>
                    <a:pt x="2" y="44"/>
                  </a:cubicBezTo>
                  <a:cubicBezTo>
                    <a:pt x="4" y="48"/>
                    <a:pt x="3" y="51"/>
                    <a:pt x="2" y="53"/>
                  </a:cubicBezTo>
                  <a:cubicBezTo>
                    <a:pt x="2" y="54"/>
                    <a:pt x="1" y="54"/>
                    <a:pt x="1" y="55"/>
                  </a:cubicBezTo>
                  <a:cubicBezTo>
                    <a:pt x="1" y="56"/>
                    <a:pt x="2" y="56"/>
                    <a:pt x="4" y="58"/>
                  </a:cubicBezTo>
                  <a:cubicBezTo>
                    <a:pt x="6" y="59"/>
                    <a:pt x="8" y="60"/>
                    <a:pt x="9" y="61"/>
                  </a:cubicBezTo>
                  <a:cubicBezTo>
                    <a:pt x="10" y="62"/>
                    <a:pt x="11" y="63"/>
                    <a:pt x="12" y="63"/>
                  </a:cubicBezTo>
                  <a:cubicBezTo>
                    <a:pt x="13" y="63"/>
                    <a:pt x="13" y="63"/>
                    <a:pt x="14" y="62"/>
                  </a:cubicBezTo>
                  <a:cubicBezTo>
                    <a:pt x="14" y="62"/>
                    <a:pt x="14" y="62"/>
                    <a:pt x="15" y="62"/>
                  </a:cubicBezTo>
                  <a:cubicBezTo>
                    <a:pt x="16" y="62"/>
                    <a:pt x="16" y="63"/>
                    <a:pt x="17" y="63"/>
                  </a:cubicBezTo>
                  <a:cubicBezTo>
                    <a:pt x="18" y="65"/>
                    <a:pt x="17" y="67"/>
                    <a:pt x="16" y="69"/>
                  </a:cubicBezTo>
                  <a:cubicBezTo>
                    <a:pt x="15" y="71"/>
                    <a:pt x="12" y="73"/>
                    <a:pt x="10" y="73"/>
                  </a:cubicBezTo>
                  <a:cubicBezTo>
                    <a:pt x="10" y="73"/>
                    <a:pt x="10" y="73"/>
                    <a:pt x="10" y="73"/>
                  </a:cubicBezTo>
                  <a:cubicBezTo>
                    <a:pt x="12" y="76"/>
                    <a:pt x="13" y="79"/>
                    <a:pt x="12" y="80"/>
                  </a:cubicBezTo>
                  <a:cubicBezTo>
                    <a:pt x="11" y="81"/>
                    <a:pt x="11" y="82"/>
                    <a:pt x="10" y="82"/>
                  </a:cubicBezTo>
                  <a:cubicBezTo>
                    <a:pt x="9" y="84"/>
                    <a:pt x="9" y="84"/>
                    <a:pt x="12" y="87"/>
                  </a:cubicBezTo>
                  <a:cubicBezTo>
                    <a:pt x="13" y="88"/>
                    <a:pt x="14" y="89"/>
                    <a:pt x="15" y="89"/>
                  </a:cubicBezTo>
                  <a:cubicBezTo>
                    <a:pt x="16" y="89"/>
                    <a:pt x="16" y="88"/>
                    <a:pt x="17" y="88"/>
                  </a:cubicBezTo>
                  <a:cubicBezTo>
                    <a:pt x="18" y="88"/>
                    <a:pt x="18" y="88"/>
                    <a:pt x="19" y="8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899" name="Freeform 126"/>
            <p:cNvSpPr>
              <a:spLocks noEditPoints="1"/>
            </p:cNvSpPr>
            <p:nvPr/>
          </p:nvSpPr>
          <p:spPr>
            <a:xfrm>
              <a:off x="2973389" y="977900"/>
              <a:ext cx="1512888" cy="1128713"/>
            </a:xfrm>
            <a:custGeom>
              <a:gdLst>
                <a:gd name="T0" fmla="*/ 335 w 892"/>
                <a:gd name="T1" fmla="*/ 612 h 665"/>
                <a:gd name="T2" fmla="*/ 280 w 892"/>
                <a:gd name="T3" fmla="*/ 516 h 665"/>
                <a:gd name="T4" fmla="*/ 320 w 892"/>
                <a:gd name="T5" fmla="*/ 452 h 665"/>
                <a:gd name="T6" fmla="*/ 287 w 892"/>
                <a:gd name="T7" fmla="*/ 389 h 665"/>
                <a:gd name="T8" fmla="*/ 253 w 892"/>
                <a:gd name="T9" fmla="*/ 330 h 665"/>
                <a:gd name="T10" fmla="*/ 119 w 892"/>
                <a:gd name="T11" fmla="*/ 247 h 665"/>
                <a:gd name="T12" fmla="*/ 51 w 892"/>
                <a:gd name="T13" fmla="*/ 231 h 665"/>
                <a:gd name="T14" fmla="*/ 73 w 892"/>
                <a:gd name="T15" fmla="*/ 204 h 665"/>
                <a:gd name="T16" fmla="*/ 97 w 892"/>
                <a:gd name="T17" fmla="*/ 126 h 665"/>
                <a:gd name="T18" fmla="*/ 210 w 892"/>
                <a:gd name="T19" fmla="*/ 67 h 665"/>
                <a:gd name="T20" fmla="*/ 289 w 892"/>
                <a:gd name="T21" fmla="*/ 54 h 665"/>
                <a:gd name="T22" fmla="*/ 329 w 892"/>
                <a:gd name="T23" fmla="*/ 37 h 665"/>
                <a:gd name="T24" fmla="*/ 383 w 892"/>
                <a:gd name="T25" fmla="*/ 20 h 665"/>
                <a:gd name="T26" fmla="*/ 508 w 892"/>
                <a:gd name="T27" fmla="*/ 17 h 665"/>
                <a:gd name="T28" fmla="*/ 688 w 892"/>
                <a:gd name="T29" fmla="*/ 11 h 665"/>
                <a:gd name="T30" fmla="*/ 590 w 892"/>
                <a:gd name="T31" fmla="*/ 69 h 665"/>
                <a:gd name="T32" fmla="*/ 740 w 892"/>
                <a:gd name="T33" fmla="*/ 76 h 665"/>
                <a:gd name="T34" fmla="*/ 797 w 892"/>
                <a:gd name="T35" fmla="*/ 77 h 665"/>
                <a:gd name="T36" fmla="*/ 808 w 892"/>
                <a:gd name="T37" fmla="*/ 108 h 665"/>
                <a:gd name="T38" fmla="*/ 783 w 892"/>
                <a:gd name="T39" fmla="*/ 144 h 665"/>
                <a:gd name="T40" fmla="*/ 768 w 892"/>
                <a:gd name="T41" fmla="*/ 206 h 665"/>
                <a:gd name="T42" fmla="*/ 741 w 892"/>
                <a:gd name="T43" fmla="*/ 232 h 665"/>
                <a:gd name="T44" fmla="*/ 785 w 892"/>
                <a:gd name="T45" fmla="*/ 296 h 665"/>
                <a:gd name="T46" fmla="*/ 741 w 892"/>
                <a:gd name="T47" fmla="*/ 334 h 665"/>
                <a:gd name="T48" fmla="*/ 733 w 892"/>
                <a:gd name="T49" fmla="*/ 361 h 665"/>
                <a:gd name="T50" fmla="*/ 693 w 892"/>
                <a:gd name="T51" fmla="*/ 393 h 665"/>
                <a:gd name="T52" fmla="*/ 747 w 892"/>
                <a:gd name="T53" fmla="*/ 419 h 665"/>
                <a:gd name="T54" fmla="*/ 578 w 892"/>
                <a:gd name="T55" fmla="*/ 494 h 665"/>
                <a:gd name="T56" fmla="*/ 482 w 892"/>
                <a:gd name="T57" fmla="*/ 541 h 665"/>
                <a:gd name="T58" fmla="*/ 466 w 892"/>
                <a:gd name="T59" fmla="*/ 584 h 665"/>
                <a:gd name="T60" fmla="*/ 428 w 892"/>
                <a:gd name="T61" fmla="*/ 665 h 665"/>
                <a:gd name="T62" fmla="*/ 453 w 892"/>
                <a:gd name="T63" fmla="*/ 600 h 665"/>
                <a:gd name="T64" fmla="*/ 474 w 892"/>
                <a:gd name="T65" fmla="*/ 545 h 665"/>
                <a:gd name="T66" fmla="*/ 515 w 892"/>
                <a:gd name="T67" fmla="*/ 529 h 665"/>
                <a:gd name="T68" fmla="*/ 645 w 892"/>
                <a:gd name="T69" fmla="*/ 462 h 665"/>
                <a:gd name="T70" fmla="*/ 690 w 892"/>
                <a:gd name="T71" fmla="*/ 407 h 665"/>
                <a:gd name="T72" fmla="*/ 712 w 892"/>
                <a:gd name="T73" fmla="*/ 358 h 665"/>
                <a:gd name="T74" fmla="*/ 711 w 892"/>
                <a:gd name="T75" fmla="*/ 323 h 665"/>
                <a:gd name="T76" fmla="*/ 781 w 892"/>
                <a:gd name="T77" fmla="*/ 306 h 665"/>
                <a:gd name="T78" fmla="*/ 778 w 892"/>
                <a:gd name="T79" fmla="*/ 250 h 665"/>
                <a:gd name="T80" fmla="*/ 803 w 892"/>
                <a:gd name="T81" fmla="*/ 225 h 665"/>
                <a:gd name="T82" fmla="*/ 748 w 892"/>
                <a:gd name="T83" fmla="*/ 204 h 665"/>
                <a:gd name="T84" fmla="*/ 774 w 892"/>
                <a:gd name="T85" fmla="*/ 134 h 665"/>
                <a:gd name="T86" fmla="*/ 851 w 892"/>
                <a:gd name="T87" fmla="*/ 93 h 665"/>
                <a:gd name="T88" fmla="*/ 757 w 892"/>
                <a:gd name="T89" fmla="*/ 80 h 665"/>
                <a:gd name="T90" fmla="*/ 683 w 892"/>
                <a:gd name="T91" fmla="*/ 70 h 665"/>
                <a:gd name="T92" fmla="*/ 752 w 892"/>
                <a:gd name="T93" fmla="*/ 36 h 665"/>
                <a:gd name="T94" fmla="*/ 541 w 892"/>
                <a:gd name="T95" fmla="*/ 3 h 665"/>
                <a:gd name="T96" fmla="*/ 474 w 892"/>
                <a:gd name="T97" fmla="*/ 14 h 665"/>
                <a:gd name="T98" fmla="*/ 392 w 892"/>
                <a:gd name="T99" fmla="*/ 50 h 665"/>
                <a:gd name="T100" fmla="*/ 328 w 892"/>
                <a:gd name="T101" fmla="*/ 61 h 665"/>
                <a:gd name="T102" fmla="*/ 271 w 892"/>
                <a:gd name="T103" fmla="*/ 45 h 665"/>
                <a:gd name="T104" fmla="*/ 174 w 892"/>
                <a:gd name="T105" fmla="*/ 79 h 665"/>
                <a:gd name="T106" fmla="*/ 77 w 892"/>
                <a:gd name="T107" fmla="*/ 158 h 665"/>
                <a:gd name="T108" fmla="*/ 78 w 892"/>
                <a:gd name="T109" fmla="*/ 215 h 665"/>
                <a:gd name="T110" fmla="*/ 86 w 892"/>
                <a:gd name="T111" fmla="*/ 255 h 665"/>
                <a:gd name="T112" fmla="*/ 161 w 892"/>
                <a:gd name="T113" fmla="*/ 249 h 665"/>
                <a:gd name="T114" fmla="*/ 255 w 892"/>
                <a:gd name="T115" fmla="*/ 380 h 665"/>
                <a:gd name="T116" fmla="*/ 285 w 892"/>
                <a:gd name="T117" fmla="*/ 403 h 665"/>
                <a:gd name="T118" fmla="*/ 290 w 892"/>
                <a:gd name="T119" fmla="*/ 469 h 665"/>
                <a:gd name="T120" fmla="*/ 312 w 892"/>
                <a:gd name="T121" fmla="*/ 565 h 665"/>
                <a:gd name="T122" fmla="*/ 379 w 892"/>
                <a:gd name="T123" fmla="*/ 644 h 665"/>
                <a:gd name="T124" fmla="*/ 306 w 892"/>
                <a:gd name="T125" fmla="*/ 435 h 6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2" h="665">
                  <a:moveTo>
                    <a:pt x="428" y="665"/>
                  </a:moveTo>
                  <a:cubicBezTo>
                    <a:pt x="427" y="665"/>
                    <a:pt x="427" y="665"/>
                    <a:pt x="427" y="665"/>
                  </a:cubicBezTo>
                  <a:cubicBezTo>
                    <a:pt x="427" y="665"/>
                    <a:pt x="403" y="660"/>
                    <a:pt x="401" y="654"/>
                  </a:cubicBezTo>
                  <a:cubicBezTo>
                    <a:pt x="400" y="650"/>
                    <a:pt x="392" y="647"/>
                    <a:pt x="386" y="647"/>
                  </a:cubicBezTo>
                  <a:cubicBezTo>
                    <a:pt x="386" y="647"/>
                    <a:pt x="385" y="647"/>
                    <a:pt x="384" y="647"/>
                  </a:cubicBezTo>
                  <a:cubicBezTo>
                    <a:pt x="382" y="648"/>
                    <a:pt x="380" y="646"/>
                    <a:pt x="378" y="645"/>
                  </a:cubicBezTo>
                  <a:cubicBezTo>
                    <a:pt x="377" y="644"/>
                    <a:pt x="375" y="643"/>
                    <a:pt x="373" y="643"/>
                  </a:cubicBezTo>
                  <a:cubicBezTo>
                    <a:pt x="372" y="643"/>
                    <a:pt x="371" y="643"/>
                    <a:pt x="370" y="643"/>
                  </a:cubicBezTo>
                  <a:cubicBezTo>
                    <a:pt x="369" y="643"/>
                    <a:pt x="368" y="643"/>
                    <a:pt x="367" y="643"/>
                  </a:cubicBezTo>
                  <a:cubicBezTo>
                    <a:pt x="360" y="643"/>
                    <a:pt x="355" y="637"/>
                    <a:pt x="353" y="632"/>
                  </a:cubicBezTo>
                  <a:cubicBezTo>
                    <a:pt x="352" y="629"/>
                    <a:pt x="348" y="625"/>
                    <a:pt x="344" y="621"/>
                  </a:cubicBezTo>
                  <a:cubicBezTo>
                    <a:pt x="341" y="619"/>
                    <a:pt x="338" y="617"/>
                    <a:pt x="337" y="615"/>
                  </a:cubicBezTo>
                  <a:cubicBezTo>
                    <a:pt x="337" y="614"/>
                    <a:pt x="336" y="613"/>
                    <a:pt x="335" y="612"/>
                  </a:cubicBezTo>
                  <a:cubicBezTo>
                    <a:pt x="332" y="608"/>
                    <a:pt x="328" y="603"/>
                    <a:pt x="330" y="597"/>
                  </a:cubicBezTo>
                  <a:cubicBezTo>
                    <a:pt x="331" y="593"/>
                    <a:pt x="328" y="591"/>
                    <a:pt x="325" y="590"/>
                  </a:cubicBezTo>
                  <a:cubicBezTo>
                    <a:pt x="322" y="589"/>
                    <a:pt x="319" y="587"/>
                    <a:pt x="319" y="585"/>
                  </a:cubicBezTo>
                  <a:cubicBezTo>
                    <a:pt x="319" y="582"/>
                    <a:pt x="317" y="581"/>
                    <a:pt x="316" y="580"/>
                  </a:cubicBezTo>
                  <a:cubicBezTo>
                    <a:pt x="314" y="578"/>
                    <a:pt x="311" y="576"/>
                    <a:pt x="312" y="570"/>
                  </a:cubicBezTo>
                  <a:cubicBezTo>
                    <a:pt x="312" y="568"/>
                    <a:pt x="312" y="567"/>
                    <a:pt x="311" y="566"/>
                  </a:cubicBezTo>
                  <a:cubicBezTo>
                    <a:pt x="310" y="566"/>
                    <a:pt x="310" y="566"/>
                    <a:pt x="310" y="566"/>
                  </a:cubicBezTo>
                  <a:cubicBezTo>
                    <a:pt x="309" y="566"/>
                    <a:pt x="309" y="566"/>
                    <a:pt x="309" y="566"/>
                  </a:cubicBezTo>
                  <a:cubicBezTo>
                    <a:pt x="308" y="566"/>
                    <a:pt x="308" y="566"/>
                    <a:pt x="307" y="566"/>
                  </a:cubicBezTo>
                  <a:cubicBezTo>
                    <a:pt x="306" y="566"/>
                    <a:pt x="304" y="565"/>
                    <a:pt x="303" y="562"/>
                  </a:cubicBezTo>
                  <a:cubicBezTo>
                    <a:pt x="302" y="559"/>
                    <a:pt x="302" y="555"/>
                    <a:pt x="303" y="551"/>
                  </a:cubicBezTo>
                  <a:cubicBezTo>
                    <a:pt x="303" y="545"/>
                    <a:pt x="304" y="539"/>
                    <a:pt x="301" y="538"/>
                  </a:cubicBezTo>
                  <a:cubicBezTo>
                    <a:pt x="295" y="535"/>
                    <a:pt x="279" y="523"/>
                    <a:pt x="280" y="516"/>
                  </a:cubicBezTo>
                  <a:cubicBezTo>
                    <a:pt x="281" y="513"/>
                    <a:pt x="285" y="510"/>
                    <a:pt x="288" y="509"/>
                  </a:cubicBezTo>
                  <a:cubicBezTo>
                    <a:pt x="290" y="507"/>
                    <a:pt x="293" y="506"/>
                    <a:pt x="293" y="505"/>
                  </a:cubicBezTo>
                  <a:cubicBezTo>
                    <a:pt x="292" y="504"/>
                    <a:pt x="292" y="504"/>
                    <a:pt x="292" y="504"/>
                  </a:cubicBezTo>
                  <a:cubicBezTo>
                    <a:pt x="290" y="502"/>
                    <a:pt x="288" y="502"/>
                    <a:pt x="286" y="501"/>
                  </a:cubicBezTo>
                  <a:cubicBezTo>
                    <a:pt x="281" y="499"/>
                    <a:pt x="276" y="497"/>
                    <a:pt x="277" y="491"/>
                  </a:cubicBezTo>
                  <a:cubicBezTo>
                    <a:pt x="278" y="486"/>
                    <a:pt x="281" y="482"/>
                    <a:pt x="284" y="479"/>
                  </a:cubicBezTo>
                  <a:cubicBezTo>
                    <a:pt x="287" y="476"/>
                    <a:pt x="289" y="473"/>
                    <a:pt x="289" y="469"/>
                  </a:cubicBezTo>
                  <a:cubicBezTo>
                    <a:pt x="289" y="461"/>
                    <a:pt x="295" y="459"/>
                    <a:pt x="301" y="458"/>
                  </a:cubicBezTo>
                  <a:cubicBezTo>
                    <a:pt x="302" y="458"/>
                    <a:pt x="302" y="458"/>
                    <a:pt x="303" y="458"/>
                  </a:cubicBezTo>
                  <a:cubicBezTo>
                    <a:pt x="305" y="458"/>
                    <a:pt x="308" y="459"/>
                    <a:pt x="310" y="459"/>
                  </a:cubicBezTo>
                  <a:cubicBezTo>
                    <a:pt x="312" y="460"/>
                    <a:pt x="314" y="460"/>
                    <a:pt x="316" y="460"/>
                  </a:cubicBezTo>
                  <a:cubicBezTo>
                    <a:pt x="318" y="460"/>
                    <a:pt x="319" y="459"/>
                    <a:pt x="319" y="458"/>
                  </a:cubicBezTo>
                  <a:cubicBezTo>
                    <a:pt x="320" y="456"/>
                    <a:pt x="320" y="454"/>
                    <a:pt x="320" y="452"/>
                  </a:cubicBezTo>
                  <a:cubicBezTo>
                    <a:pt x="320" y="447"/>
                    <a:pt x="319" y="441"/>
                    <a:pt x="323" y="437"/>
                  </a:cubicBezTo>
                  <a:cubicBezTo>
                    <a:pt x="324" y="436"/>
                    <a:pt x="324" y="434"/>
                    <a:pt x="323" y="432"/>
                  </a:cubicBezTo>
                  <a:cubicBezTo>
                    <a:pt x="321" y="428"/>
                    <a:pt x="316" y="423"/>
                    <a:pt x="312" y="423"/>
                  </a:cubicBezTo>
                  <a:cubicBezTo>
                    <a:pt x="311" y="423"/>
                    <a:pt x="311" y="423"/>
                    <a:pt x="310" y="423"/>
                  </a:cubicBezTo>
                  <a:cubicBezTo>
                    <a:pt x="310" y="423"/>
                    <a:pt x="309" y="424"/>
                    <a:pt x="308" y="424"/>
                  </a:cubicBezTo>
                  <a:cubicBezTo>
                    <a:pt x="299" y="424"/>
                    <a:pt x="270" y="408"/>
                    <a:pt x="270" y="405"/>
                  </a:cubicBezTo>
                  <a:cubicBezTo>
                    <a:pt x="270" y="402"/>
                    <a:pt x="284" y="402"/>
                    <a:pt x="285" y="402"/>
                  </a:cubicBezTo>
                  <a:cubicBezTo>
                    <a:pt x="289" y="402"/>
                    <a:pt x="303" y="402"/>
                    <a:pt x="310" y="407"/>
                  </a:cubicBezTo>
                  <a:cubicBezTo>
                    <a:pt x="313" y="410"/>
                    <a:pt x="316" y="411"/>
                    <a:pt x="318" y="411"/>
                  </a:cubicBezTo>
                  <a:cubicBezTo>
                    <a:pt x="319" y="411"/>
                    <a:pt x="320" y="411"/>
                    <a:pt x="320" y="410"/>
                  </a:cubicBezTo>
                  <a:cubicBezTo>
                    <a:pt x="321" y="409"/>
                    <a:pt x="320" y="406"/>
                    <a:pt x="315" y="402"/>
                  </a:cubicBezTo>
                  <a:cubicBezTo>
                    <a:pt x="309" y="397"/>
                    <a:pt x="303" y="395"/>
                    <a:pt x="298" y="394"/>
                  </a:cubicBezTo>
                  <a:cubicBezTo>
                    <a:pt x="294" y="392"/>
                    <a:pt x="290" y="391"/>
                    <a:pt x="287" y="389"/>
                  </a:cubicBezTo>
                  <a:cubicBezTo>
                    <a:pt x="285" y="386"/>
                    <a:pt x="285" y="383"/>
                    <a:pt x="286" y="380"/>
                  </a:cubicBezTo>
                  <a:cubicBezTo>
                    <a:pt x="287" y="378"/>
                    <a:pt x="287" y="376"/>
                    <a:pt x="286" y="375"/>
                  </a:cubicBezTo>
                  <a:cubicBezTo>
                    <a:pt x="286" y="375"/>
                    <a:pt x="284" y="374"/>
                    <a:pt x="282" y="374"/>
                  </a:cubicBezTo>
                  <a:cubicBezTo>
                    <a:pt x="278" y="374"/>
                    <a:pt x="276" y="376"/>
                    <a:pt x="274" y="379"/>
                  </a:cubicBezTo>
                  <a:cubicBezTo>
                    <a:pt x="272" y="381"/>
                    <a:pt x="269" y="384"/>
                    <a:pt x="264" y="384"/>
                  </a:cubicBezTo>
                  <a:cubicBezTo>
                    <a:pt x="263" y="384"/>
                    <a:pt x="262" y="384"/>
                    <a:pt x="260" y="384"/>
                  </a:cubicBezTo>
                  <a:cubicBezTo>
                    <a:pt x="257" y="383"/>
                    <a:pt x="255" y="382"/>
                    <a:pt x="254" y="381"/>
                  </a:cubicBezTo>
                  <a:cubicBezTo>
                    <a:pt x="252" y="378"/>
                    <a:pt x="253" y="375"/>
                    <a:pt x="254" y="372"/>
                  </a:cubicBezTo>
                  <a:cubicBezTo>
                    <a:pt x="254" y="369"/>
                    <a:pt x="255" y="366"/>
                    <a:pt x="253" y="364"/>
                  </a:cubicBezTo>
                  <a:cubicBezTo>
                    <a:pt x="251" y="361"/>
                    <a:pt x="254" y="358"/>
                    <a:pt x="257" y="355"/>
                  </a:cubicBezTo>
                  <a:cubicBezTo>
                    <a:pt x="260" y="353"/>
                    <a:pt x="262" y="351"/>
                    <a:pt x="262" y="349"/>
                  </a:cubicBezTo>
                  <a:cubicBezTo>
                    <a:pt x="262" y="348"/>
                    <a:pt x="262" y="347"/>
                    <a:pt x="261" y="346"/>
                  </a:cubicBezTo>
                  <a:cubicBezTo>
                    <a:pt x="253" y="339"/>
                    <a:pt x="251" y="334"/>
                    <a:pt x="253" y="330"/>
                  </a:cubicBezTo>
                  <a:cubicBezTo>
                    <a:pt x="254" y="329"/>
                    <a:pt x="252" y="327"/>
                    <a:pt x="250" y="325"/>
                  </a:cubicBezTo>
                  <a:cubicBezTo>
                    <a:pt x="246" y="322"/>
                    <a:pt x="243" y="319"/>
                    <a:pt x="243" y="314"/>
                  </a:cubicBezTo>
                  <a:cubicBezTo>
                    <a:pt x="243" y="309"/>
                    <a:pt x="242" y="297"/>
                    <a:pt x="230" y="291"/>
                  </a:cubicBezTo>
                  <a:cubicBezTo>
                    <a:pt x="219" y="286"/>
                    <a:pt x="208" y="280"/>
                    <a:pt x="209" y="271"/>
                  </a:cubicBezTo>
                  <a:cubicBezTo>
                    <a:pt x="210" y="266"/>
                    <a:pt x="204" y="264"/>
                    <a:pt x="197" y="261"/>
                  </a:cubicBezTo>
                  <a:cubicBezTo>
                    <a:pt x="193" y="260"/>
                    <a:pt x="190" y="259"/>
                    <a:pt x="186" y="257"/>
                  </a:cubicBezTo>
                  <a:cubicBezTo>
                    <a:pt x="181" y="254"/>
                    <a:pt x="170" y="252"/>
                    <a:pt x="160" y="250"/>
                  </a:cubicBezTo>
                  <a:cubicBezTo>
                    <a:pt x="151" y="248"/>
                    <a:pt x="143" y="246"/>
                    <a:pt x="139" y="244"/>
                  </a:cubicBezTo>
                  <a:cubicBezTo>
                    <a:pt x="138" y="244"/>
                    <a:pt x="137" y="243"/>
                    <a:pt x="136" y="243"/>
                  </a:cubicBezTo>
                  <a:cubicBezTo>
                    <a:pt x="135" y="243"/>
                    <a:pt x="133" y="244"/>
                    <a:pt x="132" y="245"/>
                  </a:cubicBezTo>
                  <a:cubicBezTo>
                    <a:pt x="130" y="247"/>
                    <a:pt x="127" y="248"/>
                    <a:pt x="124" y="248"/>
                  </a:cubicBezTo>
                  <a:cubicBezTo>
                    <a:pt x="124" y="248"/>
                    <a:pt x="123" y="248"/>
                    <a:pt x="122" y="248"/>
                  </a:cubicBezTo>
                  <a:cubicBezTo>
                    <a:pt x="121" y="248"/>
                    <a:pt x="120" y="247"/>
                    <a:pt x="119" y="247"/>
                  </a:cubicBezTo>
                  <a:cubicBezTo>
                    <a:pt x="116" y="247"/>
                    <a:pt x="113" y="249"/>
                    <a:pt x="110" y="250"/>
                  </a:cubicBezTo>
                  <a:cubicBezTo>
                    <a:pt x="108" y="251"/>
                    <a:pt x="106" y="252"/>
                    <a:pt x="105" y="252"/>
                  </a:cubicBezTo>
                  <a:cubicBezTo>
                    <a:pt x="104" y="252"/>
                    <a:pt x="103" y="252"/>
                    <a:pt x="102" y="251"/>
                  </a:cubicBezTo>
                  <a:cubicBezTo>
                    <a:pt x="101" y="249"/>
                    <a:pt x="97" y="248"/>
                    <a:pt x="92" y="248"/>
                  </a:cubicBezTo>
                  <a:cubicBezTo>
                    <a:pt x="90" y="248"/>
                    <a:pt x="88" y="249"/>
                    <a:pt x="87" y="250"/>
                  </a:cubicBezTo>
                  <a:cubicBezTo>
                    <a:pt x="87" y="250"/>
                    <a:pt x="88" y="251"/>
                    <a:pt x="88" y="252"/>
                  </a:cubicBezTo>
                  <a:cubicBezTo>
                    <a:pt x="90" y="253"/>
                    <a:pt x="90" y="254"/>
                    <a:pt x="90" y="255"/>
                  </a:cubicBezTo>
                  <a:cubicBezTo>
                    <a:pt x="89" y="256"/>
                    <a:pt x="88" y="256"/>
                    <a:pt x="86" y="256"/>
                  </a:cubicBezTo>
                  <a:cubicBezTo>
                    <a:pt x="81" y="256"/>
                    <a:pt x="71" y="254"/>
                    <a:pt x="64" y="250"/>
                  </a:cubicBezTo>
                  <a:cubicBezTo>
                    <a:pt x="60" y="248"/>
                    <a:pt x="56" y="247"/>
                    <a:pt x="54" y="246"/>
                  </a:cubicBezTo>
                  <a:cubicBezTo>
                    <a:pt x="49" y="245"/>
                    <a:pt x="46" y="244"/>
                    <a:pt x="47" y="240"/>
                  </a:cubicBezTo>
                  <a:cubicBezTo>
                    <a:pt x="47" y="239"/>
                    <a:pt x="48" y="237"/>
                    <a:pt x="49" y="235"/>
                  </a:cubicBezTo>
                  <a:cubicBezTo>
                    <a:pt x="51" y="234"/>
                    <a:pt x="52" y="232"/>
                    <a:pt x="51" y="231"/>
                  </a:cubicBezTo>
                  <a:cubicBezTo>
                    <a:pt x="51" y="231"/>
                    <a:pt x="49" y="230"/>
                    <a:pt x="47" y="229"/>
                  </a:cubicBezTo>
                  <a:cubicBezTo>
                    <a:pt x="43" y="229"/>
                    <a:pt x="40" y="228"/>
                    <a:pt x="36" y="228"/>
                  </a:cubicBezTo>
                  <a:cubicBezTo>
                    <a:pt x="28" y="227"/>
                    <a:pt x="21" y="227"/>
                    <a:pt x="20" y="222"/>
                  </a:cubicBezTo>
                  <a:cubicBezTo>
                    <a:pt x="20" y="221"/>
                    <a:pt x="20" y="221"/>
                    <a:pt x="20" y="220"/>
                  </a:cubicBezTo>
                  <a:cubicBezTo>
                    <a:pt x="22" y="218"/>
                    <a:pt x="28" y="218"/>
                    <a:pt x="35" y="218"/>
                  </a:cubicBezTo>
                  <a:cubicBezTo>
                    <a:pt x="43" y="218"/>
                    <a:pt x="52" y="217"/>
                    <a:pt x="56" y="215"/>
                  </a:cubicBezTo>
                  <a:cubicBezTo>
                    <a:pt x="58" y="213"/>
                    <a:pt x="61" y="213"/>
                    <a:pt x="65" y="213"/>
                  </a:cubicBezTo>
                  <a:cubicBezTo>
                    <a:pt x="69" y="213"/>
                    <a:pt x="74" y="213"/>
                    <a:pt x="78" y="214"/>
                  </a:cubicBezTo>
                  <a:cubicBezTo>
                    <a:pt x="82" y="214"/>
                    <a:pt x="86" y="215"/>
                    <a:pt x="89" y="215"/>
                  </a:cubicBezTo>
                  <a:cubicBezTo>
                    <a:pt x="94" y="215"/>
                    <a:pt x="95" y="213"/>
                    <a:pt x="95" y="212"/>
                  </a:cubicBezTo>
                  <a:cubicBezTo>
                    <a:pt x="95" y="210"/>
                    <a:pt x="94" y="208"/>
                    <a:pt x="93" y="206"/>
                  </a:cubicBezTo>
                  <a:cubicBezTo>
                    <a:pt x="90" y="204"/>
                    <a:pt x="86" y="202"/>
                    <a:pt x="82" y="202"/>
                  </a:cubicBezTo>
                  <a:cubicBezTo>
                    <a:pt x="79" y="202"/>
                    <a:pt x="76" y="203"/>
                    <a:pt x="73" y="204"/>
                  </a:cubicBezTo>
                  <a:cubicBezTo>
                    <a:pt x="67" y="207"/>
                    <a:pt x="60" y="208"/>
                    <a:pt x="53" y="208"/>
                  </a:cubicBezTo>
                  <a:cubicBezTo>
                    <a:pt x="44" y="208"/>
                    <a:pt x="36" y="205"/>
                    <a:pt x="33" y="201"/>
                  </a:cubicBezTo>
                  <a:cubicBezTo>
                    <a:pt x="28" y="196"/>
                    <a:pt x="22" y="196"/>
                    <a:pt x="16" y="195"/>
                  </a:cubicBezTo>
                  <a:cubicBezTo>
                    <a:pt x="13" y="195"/>
                    <a:pt x="11" y="195"/>
                    <a:pt x="9" y="194"/>
                  </a:cubicBezTo>
                  <a:cubicBezTo>
                    <a:pt x="2" y="193"/>
                    <a:pt x="0" y="188"/>
                    <a:pt x="0" y="183"/>
                  </a:cubicBezTo>
                  <a:cubicBezTo>
                    <a:pt x="0" y="176"/>
                    <a:pt x="17" y="172"/>
                    <a:pt x="33" y="169"/>
                  </a:cubicBezTo>
                  <a:cubicBezTo>
                    <a:pt x="44" y="167"/>
                    <a:pt x="55" y="165"/>
                    <a:pt x="55" y="162"/>
                  </a:cubicBezTo>
                  <a:cubicBezTo>
                    <a:pt x="56" y="157"/>
                    <a:pt x="66" y="157"/>
                    <a:pt x="77" y="157"/>
                  </a:cubicBezTo>
                  <a:cubicBezTo>
                    <a:pt x="87" y="156"/>
                    <a:pt x="97" y="156"/>
                    <a:pt x="101" y="153"/>
                  </a:cubicBezTo>
                  <a:cubicBezTo>
                    <a:pt x="108" y="148"/>
                    <a:pt x="116" y="138"/>
                    <a:pt x="116" y="131"/>
                  </a:cubicBezTo>
                  <a:cubicBezTo>
                    <a:pt x="116" y="130"/>
                    <a:pt x="115" y="128"/>
                    <a:pt x="113" y="127"/>
                  </a:cubicBezTo>
                  <a:cubicBezTo>
                    <a:pt x="111" y="126"/>
                    <a:pt x="106" y="126"/>
                    <a:pt x="101" y="126"/>
                  </a:cubicBezTo>
                  <a:cubicBezTo>
                    <a:pt x="100" y="126"/>
                    <a:pt x="98" y="126"/>
                    <a:pt x="97" y="126"/>
                  </a:cubicBezTo>
                  <a:cubicBezTo>
                    <a:pt x="95" y="126"/>
                    <a:pt x="94" y="126"/>
                    <a:pt x="93" y="126"/>
                  </a:cubicBezTo>
                  <a:cubicBezTo>
                    <a:pt x="85" y="126"/>
                    <a:pt x="79" y="125"/>
                    <a:pt x="77" y="121"/>
                  </a:cubicBezTo>
                  <a:cubicBezTo>
                    <a:pt x="77" y="121"/>
                    <a:pt x="77" y="120"/>
                    <a:pt x="78" y="119"/>
                  </a:cubicBezTo>
                  <a:cubicBezTo>
                    <a:pt x="83" y="109"/>
                    <a:pt x="133" y="86"/>
                    <a:pt x="143" y="85"/>
                  </a:cubicBezTo>
                  <a:cubicBezTo>
                    <a:pt x="149" y="85"/>
                    <a:pt x="155" y="87"/>
                    <a:pt x="160" y="88"/>
                  </a:cubicBezTo>
                  <a:cubicBezTo>
                    <a:pt x="163" y="90"/>
                    <a:pt x="166" y="91"/>
                    <a:pt x="168" y="91"/>
                  </a:cubicBezTo>
                  <a:cubicBezTo>
                    <a:pt x="170" y="91"/>
                    <a:pt x="170" y="90"/>
                    <a:pt x="171" y="90"/>
                  </a:cubicBezTo>
                  <a:cubicBezTo>
                    <a:pt x="173" y="87"/>
                    <a:pt x="173" y="84"/>
                    <a:pt x="173" y="79"/>
                  </a:cubicBezTo>
                  <a:cubicBezTo>
                    <a:pt x="172" y="75"/>
                    <a:pt x="170" y="70"/>
                    <a:pt x="167" y="68"/>
                  </a:cubicBezTo>
                  <a:cubicBezTo>
                    <a:pt x="166" y="68"/>
                    <a:pt x="166" y="67"/>
                    <a:pt x="166" y="66"/>
                  </a:cubicBezTo>
                  <a:cubicBezTo>
                    <a:pt x="167" y="63"/>
                    <a:pt x="179" y="60"/>
                    <a:pt x="188" y="60"/>
                  </a:cubicBezTo>
                  <a:cubicBezTo>
                    <a:pt x="191" y="60"/>
                    <a:pt x="197" y="61"/>
                    <a:pt x="200" y="63"/>
                  </a:cubicBezTo>
                  <a:cubicBezTo>
                    <a:pt x="203" y="65"/>
                    <a:pt x="207" y="67"/>
                    <a:pt x="210" y="67"/>
                  </a:cubicBezTo>
                  <a:cubicBezTo>
                    <a:pt x="211" y="67"/>
                    <a:pt x="213" y="66"/>
                    <a:pt x="213" y="65"/>
                  </a:cubicBezTo>
                  <a:cubicBezTo>
                    <a:pt x="213" y="65"/>
                    <a:pt x="213" y="63"/>
                    <a:pt x="209" y="61"/>
                  </a:cubicBezTo>
                  <a:cubicBezTo>
                    <a:pt x="206" y="59"/>
                    <a:pt x="205" y="58"/>
                    <a:pt x="206" y="56"/>
                  </a:cubicBezTo>
                  <a:cubicBezTo>
                    <a:pt x="207" y="52"/>
                    <a:pt x="218" y="50"/>
                    <a:pt x="227" y="51"/>
                  </a:cubicBezTo>
                  <a:cubicBezTo>
                    <a:pt x="232" y="51"/>
                    <a:pt x="240" y="49"/>
                    <a:pt x="247" y="47"/>
                  </a:cubicBezTo>
                  <a:cubicBezTo>
                    <a:pt x="254" y="45"/>
                    <a:pt x="261" y="43"/>
                    <a:pt x="267" y="43"/>
                  </a:cubicBezTo>
                  <a:cubicBezTo>
                    <a:pt x="269" y="43"/>
                    <a:pt x="270" y="43"/>
                    <a:pt x="271" y="44"/>
                  </a:cubicBezTo>
                  <a:cubicBezTo>
                    <a:pt x="275" y="45"/>
                    <a:pt x="278" y="49"/>
                    <a:pt x="280" y="55"/>
                  </a:cubicBezTo>
                  <a:cubicBezTo>
                    <a:pt x="282" y="62"/>
                    <a:pt x="282" y="70"/>
                    <a:pt x="279" y="74"/>
                  </a:cubicBezTo>
                  <a:cubicBezTo>
                    <a:pt x="279" y="76"/>
                    <a:pt x="279" y="76"/>
                    <a:pt x="279" y="76"/>
                  </a:cubicBezTo>
                  <a:cubicBezTo>
                    <a:pt x="279" y="77"/>
                    <a:pt x="279" y="77"/>
                    <a:pt x="279" y="77"/>
                  </a:cubicBezTo>
                  <a:cubicBezTo>
                    <a:pt x="283" y="77"/>
                    <a:pt x="291" y="71"/>
                    <a:pt x="291" y="64"/>
                  </a:cubicBezTo>
                  <a:cubicBezTo>
                    <a:pt x="291" y="60"/>
                    <a:pt x="290" y="57"/>
                    <a:pt x="289" y="54"/>
                  </a:cubicBezTo>
                  <a:cubicBezTo>
                    <a:pt x="288" y="50"/>
                    <a:pt x="287" y="48"/>
                    <a:pt x="288" y="46"/>
                  </a:cubicBezTo>
                  <a:cubicBezTo>
                    <a:pt x="289" y="45"/>
                    <a:pt x="290" y="45"/>
                    <a:pt x="292" y="45"/>
                  </a:cubicBezTo>
                  <a:cubicBezTo>
                    <a:pt x="297" y="45"/>
                    <a:pt x="304" y="50"/>
                    <a:pt x="310" y="54"/>
                  </a:cubicBezTo>
                  <a:cubicBezTo>
                    <a:pt x="313" y="57"/>
                    <a:pt x="317" y="60"/>
                    <a:pt x="318" y="60"/>
                  </a:cubicBezTo>
                  <a:cubicBezTo>
                    <a:pt x="319" y="60"/>
                    <a:pt x="319" y="60"/>
                    <a:pt x="319" y="60"/>
                  </a:cubicBezTo>
                  <a:cubicBezTo>
                    <a:pt x="319" y="59"/>
                    <a:pt x="320" y="59"/>
                    <a:pt x="321" y="59"/>
                  </a:cubicBezTo>
                  <a:cubicBezTo>
                    <a:pt x="323" y="59"/>
                    <a:pt x="325" y="60"/>
                    <a:pt x="328" y="60"/>
                  </a:cubicBezTo>
                  <a:cubicBezTo>
                    <a:pt x="330" y="61"/>
                    <a:pt x="333" y="61"/>
                    <a:pt x="335" y="61"/>
                  </a:cubicBezTo>
                  <a:cubicBezTo>
                    <a:pt x="339" y="61"/>
                    <a:pt x="339" y="60"/>
                    <a:pt x="339" y="59"/>
                  </a:cubicBezTo>
                  <a:cubicBezTo>
                    <a:pt x="339" y="57"/>
                    <a:pt x="334" y="54"/>
                    <a:pt x="330" y="51"/>
                  </a:cubicBezTo>
                  <a:cubicBezTo>
                    <a:pt x="325" y="48"/>
                    <a:pt x="320" y="44"/>
                    <a:pt x="320" y="41"/>
                  </a:cubicBezTo>
                  <a:cubicBezTo>
                    <a:pt x="320" y="40"/>
                    <a:pt x="320" y="39"/>
                    <a:pt x="321" y="39"/>
                  </a:cubicBezTo>
                  <a:cubicBezTo>
                    <a:pt x="323" y="38"/>
                    <a:pt x="326" y="37"/>
                    <a:pt x="329" y="37"/>
                  </a:cubicBezTo>
                  <a:cubicBezTo>
                    <a:pt x="339" y="37"/>
                    <a:pt x="356" y="42"/>
                    <a:pt x="361" y="47"/>
                  </a:cubicBezTo>
                  <a:cubicBezTo>
                    <a:pt x="365" y="51"/>
                    <a:pt x="370" y="52"/>
                    <a:pt x="376" y="53"/>
                  </a:cubicBezTo>
                  <a:cubicBezTo>
                    <a:pt x="382" y="54"/>
                    <a:pt x="388" y="56"/>
                    <a:pt x="393" y="59"/>
                  </a:cubicBezTo>
                  <a:cubicBezTo>
                    <a:pt x="400" y="64"/>
                    <a:pt x="410" y="68"/>
                    <a:pt x="413" y="68"/>
                  </a:cubicBezTo>
                  <a:cubicBezTo>
                    <a:pt x="414" y="68"/>
                    <a:pt x="414" y="68"/>
                    <a:pt x="414" y="68"/>
                  </a:cubicBezTo>
                  <a:cubicBezTo>
                    <a:pt x="414" y="67"/>
                    <a:pt x="415" y="66"/>
                    <a:pt x="412" y="64"/>
                  </a:cubicBezTo>
                  <a:cubicBezTo>
                    <a:pt x="407" y="59"/>
                    <a:pt x="399" y="55"/>
                    <a:pt x="391" y="51"/>
                  </a:cubicBezTo>
                  <a:cubicBezTo>
                    <a:pt x="384" y="47"/>
                    <a:pt x="378" y="44"/>
                    <a:pt x="375" y="40"/>
                  </a:cubicBezTo>
                  <a:cubicBezTo>
                    <a:pt x="374" y="39"/>
                    <a:pt x="373" y="38"/>
                    <a:pt x="374" y="37"/>
                  </a:cubicBezTo>
                  <a:cubicBezTo>
                    <a:pt x="375" y="35"/>
                    <a:pt x="381" y="34"/>
                    <a:pt x="389" y="34"/>
                  </a:cubicBezTo>
                  <a:cubicBezTo>
                    <a:pt x="394" y="34"/>
                    <a:pt x="400" y="34"/>
                    <a:pt x="400" y="32"/>
                  </a:cubicBezTo>
                  <a:cubicBezTo>
                    <a:pt x="401" y="31"/>
                    <a:pt x="395" y="28"/>
                    <a:pt x="391" y="26"/>
                  </a:cubicBezTo>
                  <a:cubicBezTo>
                    <a:pt x="386" y="23"/>
                    <a:pt x="383" y="22"/>
                    <a:pt x="383" y="20"/>
                  </a:cubicBezTo>
                  <a:cubicBezTo>
                    <a:pt x="383" y="19"/>
                    <a:pt x="385" y="19"/>
                    <a:pt x="386" y="18"/>
                  </a:cubicBezTo>
                  <a:cubicBezTo>
                    <a:pt x="389" y="18"/>
                    <a:pt x="395" y="18"/>
                    <a:pt x="402" y="17"/>
                  </a:cubicBezTo>
                  <a:cubicBezTo>
                    <a:pt x="415" y="17"/>
                    <a:pt x="431" y="17"/>
                    <a:pt x="434" y="13"/>
                  </a:cubicBezTo>
                  <a:cubicBezTo>
                    <a:pt x="435" y="12"/>
                    <a:pt x="437" y="11"/>
                    <a:pt x="440" y="11"/>
                  </a:cubicBezTo>
                  <a:cubicBezTo>
                    <a:pt x="444" y="11"/>
                    <a:pt x="448" y="12"/>
                    <a:pt x="453" y="13"/>
                  </a:cubicBezTo>
                  <a:cubicBezTo>
                    <a:pt x="458" y="13"/>
                    <a:pt x="463" y="14"/>
                    <a:pt x="467" y="14"/>
                  </a:cubicBezTo>
                  <a:cubicBezTo>
                    <a:pt x="470" y="14"/>
                    <a:pt x="472" y="14"/>
                    <a:pt x="474" y="13"/>
                  </a:cubicBezTo>
                  <a:cubicBezTo>
                    <a:pt x="475" y="11"/>
                    <a:pt x="479" y="10"/>
                    <a:pt x="483" y="10"/>
                  </a:cubicBezTo>
                  <a:cubicBezTo>
                    <a:pt x="487" y="10"/>
                    <a:pt x="493" y="12"/>
                    <a:pt x="496" y="15"/>
                  </a:cubicBezTo>
                  <a:cubicBezTo>
                    <a:pt x="497" y="16"/>
                    <a:pt x="497" y="17"/>
                    <a:pt x="497" y="18"/>
                  </a:cubicBezTo>
                  <a:cubicBezTo>
                    <a:pt x="497" y="19"/>
                    <a:pt x="497" y="19"/>
                    <a:pt x="497" y="20"/>
                  </a:cubicBezTo>
                  <a:cubicBezTo>
                    <a:pt x="498" y="20"/>
                    <a:pt x="499" y="21"/>
                    <a:pt x="501" y="21"/>
                  </a:cubicBezTo>
                  <a:cubicBezTo>
                    <a:pt x="503" y="21"/>
                    <a:pt x="507" y="20"/>
                    <a:pt x="508" y="17"/>
                  </a:cubicBezTo>
                  <a:cubicBezTo>
                    <a:pt x="508" y="16"/>
                    <a:pt x="508" y="15"/>
                    <a:pt x="506" y="13"/>
                  </a:cubicBezTo>
                  <a:cubicBezTo>
                    <a:pt x="505" y="11"/>
                    <a:pt x="505" y="10"/>
                    <a:pt x="505" y="9"/>
                  </a:cubicBezTo>
                  <a:cubicBezTo>
                    <a:pt x="507" y="6"/>
                    <a:pt x="515" y="5"/>
                    <a:pt x="521" y="5"/>
                  </a:cubicBezTo>
                  <a:cubicBezTo>
                    <a:pt x="522" y="5"/>
                    <a:pt x="522" y="5"/>
                    <a:pt x="522" y="5"/>
                  </a:cubicBezTo>
                  <a:cubicBezTo>
                    <a:pt x="522" y="5"/>
                    <a:pt x="522" y="5"/>
                    <a:pt x="522" y="5"/>
                  </a:cubicBezTo>
                  <a:cubicBezTo>
                    <a:pt x="526" y="5"/>
                    <a:pt x="529" y="4"/>
                    <a:pt x="532" y="3"/>
                  </a:cubicBezTo>
                  <a:cubicBezTo>
                    <a:pt x="535" y="3"/>
                    <a:pt x="538" y="2"/>
                    <a:pt x="541" y="2"/>
                  </a:cubicBezTo>
                  <a:cubicBezTo>
                    <a:pt x="545" y="1"/>
                    <a:pt x="554" y="1"/>
                    <a:pt x="565" y="1"/>
                  </a:cubicBezTo>
                  <a:cubicBezTo>
                    <a:pt x="578" y="1"/>
                    <a:pt x="593" y="1"/>
                    <a:pt x="602" y="0"/>
                  </a:cubicBezTo>
                  <a:cubicBezTo>
                    <a:pt x="605" y="0"/>
                    <a:pt x="609" y="0"/>
                    <a:pt x="612" y="0"/>
                  </a:cubicBezTo>
                  <a:cubicBezTo>
                    <a:pt x="627" y="0"/>
                    <a:pt x="641" y="2"/>
                    <a:pt x="647" y="5"/>
                  </a:cubicBezTo>
                  <a:cubicBezTo>
                    <a:pt x="650" y="7"/>
                    <a:pt x="660" y="8"/>
                    <a:pt x="669" y="8"/>
                  </a:cubicBezTo>
                  <a:cubicBezTo>
                    <a:pt x="680" y="8"/>
                    <a:pt x="687" y="8"/>
                    <a:pt x="688" y="11"/>
                  </a:cubicBezTo>
                  <a:cubicBezTo>
                    <a:pt x="688" y="12"/>
                    <a:pt x="692" y="13"/>
                    <a:pt x="696" y="14"/>
                  </a:cubicBezTo>
                  <a:cubicBezTo>
                    <a:pt x="701" y="16"/>
                    <a:pt x="706" y="18"/>
                    <a:pt x="705" y="21"/>
                  </a:cubicBezTo>
                  <a:cubicBezTo>
                    <a:pt x="705" y="22"/>
                    <a:pt x="705" y="23"/>
                    <a:pt x="706" y="23"/>
                  </a:cubicBezTo>
                  <a:cubicBezTo>
                    <a:pt x="708" y="25"/>
                    <a:pt x="713" y="27"/>
                    <a:pt x="721" y="27"/>
                  </a:cubicBezTo>
                  <a:cubicBezTo>
                    <a:pt x="722" y="27"/>
                    <a:pt x="723" y="27"/>
                    <a:pt x="725" y="27"/>
                  </a:cubicBezTo>
                  <a:cubicBezTo>
                    <a:pt x="734" y="26"/>
                    <a:pt x="750" y="31"/>
                    <a:pt x="752" y="35"/>
                  </a:cubicBezTo>
                  <a:cubicBezTo>
                    <a:pt x="753" y="36"/>
                    <a:pt x="753" y="37"/>
                    <a:pt x="752" y="38"/>
                  </a:cubicBezTo>
                  <a:cubicBezTo>
                    <a:pt x="750" y="41"/>
                    <a:pt x="743" y="42"/>
                    <a:pt x="735" y="44"/>
                  </a:cubicBezTo>
                  <a:cubicBezTo>
                    <a:pt x="727" y="45"/>
                    <a:pt x="718" y="47"/>
                    <a:pt x="711" y="49"/>
                  </a:cubicBezTo>
                  <a:cubicBezTo>
                    <a:pt x="702" y="53"/>
                    <a:pt x="685" y="53"/>
                    <a:pt x="669" y="53"/>
                  </a:cubicBezTo>
                  <a:cubicBezTo>
                    <a:pt x="659" y="53"/>
                    <a:pt x="650" y="53"/>
                    <a:pt x="643" y="54"/>
                  </a:cubicBezTo>
                  <a:cubicBezTo>
                    <a:pt x="621" y="57"/>
                    <a:pt x="587" y="64"/>
                    <a:pt x="587" y="68"/>
                  </a:cubicBezTo>
                  <a:cubicBezTo>
                    <a:pt x="588" y="69"/>
                    <a:pt x="589" y="69"/>
                    <a:pt x="590" y="69"/>
                  </a:cubicBezTo>
                  <a:cubicBezTo>
                    <a:pt x="595" y="69"/>
                    <a:pt x="605" y="67"/>
                    <a:pt x="615" y="65"/>
                  </a:cubicBezTo>
                  <a:cubicBezTo>
                    <a:pt x="623" y="63"/>
                    <a:pt x="631" y="61"/>
                    <a:pt x="637" y="60"/>
                  </a:cubicBezTo>
                  <a:cubicBezTo>
                    <a:pt x="644" y="59"/>
                    <a:pt x="656" y="58"/>
                    <a:pt x="667" y="58"/>
                  </a:cubicBezTo>
                  <a:cubicBezTo>
                    <a:pt x="676" y="58"/>
                    <a:pt x="696" y="59"/>
                    <a:pt x="697" y="62"/>
                  </a:cubicBezTo>
                  <a:cubicBezTo>
                    <a:pt x="697" y="64"/>
                    <a:pt x="692" y="67"/>
                    <a:pt x="684" y="70"/>
                  </a:cubicBezTo>
                  <a:cubicBezTo>
                    <a:pt x="676" y="74"/>
                    <a:pt x="666" y="78"/>
                    <a:pt x="667" y="81"/>
                  </a:cubicBezTo>
                  <a:cubicBezTo>
                    <a:pt x="667" y="82"/>
                    <a:pt x="667" y="82"/>
                    <a:pt x="668" y="82"/>
                  </a:cubicBezTo>
                  <a:cubicBezTo>
                    <a:pt x="674" y="82"/>
                    <a:pt x="687" y="76"/>
                    <a:pt x="698" y="72"/>
                  </a:cubicBezTo>
                  <a:cubicBezTo>
                    <a:pt x="704" y="69"/>
                    <a:pt x="710" y="67"/>
                    <a:pt x="712" y="66"/>
                  </a:cubicBezTo>
                  <a:cubicBezTo>
                    <a:pt x="716" y="65"/>
                    <a:pt x="717" y="64"/>
                    <a:pt x="718" y="62"/>
                  </a:cubicBezTo>
                  <a:cubicBezTo>
                    <a:pt x="720" y="59"/>
                    <a:pt x="723" y="55"/>
                    <a:pt x="731" y="55"/>
                  </a:cubicBezTo>
                  <a:cubicBezTo>
                    <a:pt x="738" y="54"/>
                    <a:pt x="743" y="56"/>
                    <a:pt x="745" y="61"/>
                  </a:cubicBezTo>
                  <a:cubicBezTo>
                    <a:pt x="747" y="66"/>
                    <a:pt x="745" y="72"/>
                    <a:pt x="740" y="76"/>
                  </a:cubicBezTo>
                  <a:cubicBezTo>
                    <a:pt x="717" y="100"/>
                    <a:pt x="715" y="105"/>
                    <a:pt x="715" y="106"/>
                  </a:cubicBezTo>
                  <a:cubicBezTo>
                    <a:pt x="716" y="106"/>
                    <a:pt x="716" y="106"/>
                    <a:pt x="716" y="106"/>
                  </a:cubicBezTo>
                  <a:cubicBezTo>
                    <a:pt x="716" y="106"/>
                    <a:pt x="716" y="106"/>
                    <a:pt x="716" y="106"/>
                  </a:cubicBezTo>
                  <a:cubicBezTo>
                    <a:pt x="719" y="105"/>
                    <a:pt x="723" y="102"/>
                    <a:pt x="727" y="99"/>
                  </a:cubicBezTo>
                  <a:cubicBezTo>
                    <a:pt x="731" y="96"/>
                    <a:pt x="735" y="92"/>
                    <a:pt x="740" y="90"/>
                  </a:cubicBezTo>
                  <a:cubicBezTo>
                    <a:pt x="746" y="87"/>
                    <a:pt x="751" y="83"/>
                    <a:pt x="757" y="79"/>
                  </a:cubicBezTo>
                  <a:cubicBezTo>
                    <a:pt x="761" y="76"/>
                    <a:pt x="765" y="73"/>
                    <a:pt x="769" y="71"/>
                  </a:cubicBezTo>
                  <a:cubicBezTo>
                    <a:pt x="770" y="70"/>
                    <a:pt x="771" y="70"/>
                    <a:pt x="772" y="70"/>
                  </a:cubicBezTo>
                  <a:cubicBezTo>
                    <a:pt x="774" y="70"/>
                    <a:pt x="775" y="72"/>
                    <a:pt x="776" y="73"/>
                  </a:cubicBezTo>
                  <a:cubicBezTo>
                    <a:pt x="777" y="75"/>
                    <a:pt x="777" y="76"/>
                    <a:pt x="779" y="76"/>
                  </a:cubicBezTo>
                  <a:cubicBezTo>
                    <a:pt x="780" y="76"/>
                    <a:pt x="781" y="76"/>
                    <a:pt x="782" y="76"/>
                  </a:cubicBezTo>
                  <a:cubicBezTo>
                    <a:pt x="783" y="75"/>
                    <a:pt x="784" y="75"/>
                    <a:pt x="786" y="75"/>
                  </a:cubicBezTo>
                  <a:cubicBezTo>
                    <a:pt x="789" y="75"/>
                    <a:pt x="793" y="76"/>
                    <a:pt x="797" y="77"/>
                  </a:cubicBezTo>
                  <a:cubicBezTo>
                    <a:pt x="800" y="78"/>
                    <a:pt x="803" y="78"/>
                    <a:pt x="806" y="78"/>
                  </a:cubicBezTo>
                  <a:cubicBezTo>
                    <a:pt x="809" y="78"/>
                    <a:pt x="811" y="77"/>
                    <a:pt x="811" y="74"/>
                  </a:cubicBezTo>
                  <a:cubicBezTo>
                    <a:pt x="812" y="62"/>
                    <a:pt x="828" y="60"/>
                    <a:pt x="841" y="60"/>
                  </a:cubicBezTo>
                  <a:cubicBezTo>
                    <a:pt x="857" y="60"/>
                    <a:pt x="892" y="69"/>
                    <a:pt x="892" y="75"/>
                  </a:cubicBezTo>
                  <a:cubicBezTo>
                    <a:pt x="892" y="80"/>
                    <a:pt x="867" y="90"/>
                    <a:pt x="858" y="90"/>
                  </a:cubicBezTo>
                  <a:cubicBezTo>
                    <a:pt x="855" y="91"/>
                    <a:pt x="853" y="92"/>
                    <a:pt x="852" y="93"/>
                  </a:cubicBezTo>
                  <a:cubicBezTo>
                    <a:pt x="850" y="95"/>
                    <a:pt x="848" y="98"/>
                    <a:pt x="840" y="99"/>
                  </a:cubicBezTo>
                  <a:cubicBezTo>
                    <a:pt x="833" y="99"/>
                    <a:pt x="831" y="100"/>
                    <a:pt x="828" y="102"/>
                  </a:cubicBezTo>
                  <a:cubicBezTo>
                    <a:pt x="824" y="103"/>
                    <a:pt x="820" y="105"/>
                    <a:pt x="808" y="105"/>
                  </a:cubicBezTo>
                  <a:cubicBezTo>
                    <a:pt x="796" y="105"/>
                    <a:pt x="792" y="107"/>
                    <a:pt x="792" y="108"/>
                  </a:cubicBezTo>
                  <a:cubicBezTo>
                    <a:pt x="792" y="108"/>
                    <a:pt x="793" y="109"/>
                    <a:pt x="796" y="109"/>
                  </a:cubicBezTo>
                  <a:cubicBezTo>
                    <a:pt x="798" y="109"/>
                    <a:pt x="799" y="109"/>
                    <a:pt x="801" y="109"/>
                  </a:cubicBezTo>
                  <a:cubicBezTo>
                    <a:pt x="803" y="108"/>
                    <a:pt x="805" y="108"/>
                    <a:pt x="808" y="108"/>
                  </a:cubicBezTo>
                  <a:cubicBezTo>
                    <a:pt x="818" y="108"/>
                    <a:pt x="829" y="110"/>
                    <a:pt x="829" y="113"/>
                  </a:cubicBezTo>
                  <a:cubicBezTo>
                    <a:pt x="830" y="114"/>
                    <a:pt x="829" y="115"/>
                    <a:pt x="828" y="116"/>
                  </a:cubicBezTo>
                  <a:cubicBezTo>
                    <a:pt x="821" y="120"/>
                    <a:pt x="801" y="121"/>
                    <a:pt x="791" y="121"/>
                  </a:cubicBezTo>
                  <a:cubicBezTo>
                    <a:pt x="784" y="121"/>
                    <a:pt x="772" y="126"/>
                    <a:pt x="771" y="130"/>
                  </a:cubicBezTo>
                  <a:cubicBezTo>
                    <a:pt x="771" y="131"/>
                    <a:pt x="771" y="132"/>
                    <a:pt x="771" y="133"/>
                  </a:cubicBezTo>
                  <a:cubicBezTo>
                    <a:pt x="772" y="133"/>
                    <a:pt x="773" y="133"/>
                    <a:pt x="774" y="133"/>
                  </a:cubicBezTo>
                  <a:cubicBezTo>
                    <a:pt x="776" y="133"/>
                    <a:pt x="779" y="132"/>
                    <a:pt x="783" y="130"/>
                  </a:cubicBezTo>
                  <a:cubicBezTo>
                    <a:pt x="787" y="128"/>
                    <a:pt x="791" y="125"/>
                    <a:pt x="795" y="125"/>
                  </a:cubicBezTo>
                  <a:cubicBezTo>
                    <a:pt x="796" y="125"/>
                    <a:pt x="796" y="125"/>
                    <a:pt x="797" y="125"/>
                  </a:cubicBezTo>
                  <a:cubicBezTo>
                    <a:pt x="803" y="125"/>
                    <a:pt x="810" y="131"/>
                    <a:pt x="810" y="134"/>
                  </a:cubicBezTo>
                  <a:cubicBezTo>
                    <a:pt x="810" y="135"/>
                    <a:pt x="809" y="136"/>
                    <a:pt x="808" y="136"/>
                  </a:cubicBezTo>
                  <a:cubicBezTo>
                    <a:pt x="808" y="137"/>
                    <a:pt x="807" y="137"/>
                    <a:pt x="805" y="137"/>
                  </a:cubicBezTo>
                  <a:cubicBezTo>
                    <a:pt x="797" y="137"/>
                    <a:pt x="786" y="139"/>
                    <a:pt x="783" y="144"/>
                  </a:cubicBezTo>
                  <a:cubicBezTo>
                    <a:pt x="781" y="146"/>
                    <a:pt x="781" y="148"/>
                    <a:pt x="781" y="151"/>
                  </a:cubicBezTo>
                  <a:cubicBezTo>
                    <a:pt x="784" y="159"/>
                    <a:pt x="774" y="162"/>
                    <a:pt x="766" y="165"/>
                  </a:cubicBezTo>
                  <a:cubicBezTo>
                    <a:pt x="761" y="166"/>
                    <a:pt x="755" y="168"/>
                    <a:pt x="756" y="171"/>
                  </a:cubicBezTo>
                  <a:cubicBezTo>
                    <a:pt x="756" y="178"/>
                    <a:pt x="755" y="193"/>
                    <a:pt x="746" y="199"/>
                  </a:cubicBezTo>
                  <a:cubicBezTo>
                    <a:pt x="745" y="200"/>
                    <a:pt x="744" y="201"/>
                    <a:pt x="744" y="201"/>
                  </a:cubicBezTo>
                  <a:cubicBezTo>
                    <a:pt x="745" y="203"/>
                    <a:pt x="754" y="204"/>
                    <a:pt x="757" y="197"/>
                  </a:cubicBezTo>
                  <a:cubicBezTo>
                    <a:pt x="758" y="195"/>
                    <a:pt x="761" y="193"/>
                    <a:pt x="765" y="193"/>
                  </a:cubicBezTo>
                  <a:cubicBezTo>
                    <a:pt x="774" y="193"/>
                    <a:pt x="786" y="199"/>
                    <a:pt x="787" y="202"/>
                  </a:cubicBezTo>
                  <a:cubicBezTo>
                    <a:pt x="788" y="203"/>
                    <a:pt x="788" y="204"/>
                    <a:pt x="787" y="204"/>
                  </a:cubicBezTo>
                  <a:cubicBezTo>
                    <a:pt x="787" y="205"/>
                    <a:pt x="785" y="206"/>
                    <a:pt x="783" y="206"/>
                  </a:cubicBezTo>
                  <a:cubicBezTo>
                    <a:pt x="782" y="206"/>
                    <a:pt x="780" y="205"/>
                    <a:pt x="778" y="205"/>
                  </a:cubicBezTo>
                  <a:cubicBezTo>
                    <a:pt x="776" y="205"/>
                    <a:pt x="774" y="204"/>
                    <a:pt x="772" y="204"/>
                  </a:cubicBezTo>
                  <a:cubicBezTo>
                    <a:pt x="770" y="204"/>
                    <a:pt x="769" y="205"/>
                    <a:pt x="768" y="206"/>
                  </a:cubicBezTo>
                  <a:cubicBezTo>
                    <a:pt x="768" y="206"/>
                    <a:pt x="768" y="207"/>
                    <a:pt x="768" y="208"/>
                  </a:cubicBezTo>
                  <a:cubicBezTo>
                    <a:pt x="769" y="214"/>
                    <a:pt x="778" y="215"/>
                    <a:pt x="781" y="215"/>
                  </a:cubicBezTo>
                  <a:cubicBezTo>
                    <a:pt x="785" y="215"/>
                    <a:pt x="789" y="214"/>
                    <a:pt x="791" y="213"/>
                  </a:cubicBezTo>
                  <a:cubicBezTo>
                    <a:pt x="792" y="213"/>
                    <a:pt x="792" y="212"/>
                    <a:pt x="793" y="212"/>
                  </a:cubicBezTo>
                  <a:cubicBezTo>
                    <a:pt x="797" y="212"/>
                    <a:pt x="803" y="220"/>
                    <a:pt x="804" y="225"/>
                  </a:cubicBezTo>
                  <a:cubicBezTo>
                    <a:pt x="804" y="227"/>
                    <a:pt x="803" y="229"/>
                    <a:pt x="800" y="229"/>
                  </a:cubicBezTo>
                  <a:cubicBezTo>
                    <a:pt x="800" y="229"/>
                    <a:pt x="799" y="230"/>
                    <a:pt x="798" y="230"/>
                  </a:cubicBezTo>
                  <a:cubicBezTo>
                    <a:pt x="794" y="230"/>
                    <a:pt x="790" y="229"/>
                    <a:pt x="786" y="228"/>
                  </a:cubicBezTo>
                  <a:cubicBezTo>
                    <a:pt x="781" y="227"/>
                    <a:pt x="776" y="226"/>
                    <a:pt x="772" y="226"/>
                  </a:cubicBezTo>
                  <a:cubicBezTo>
                    <a:pt x="767" y="226"/>
                    <a:pt x="764" y="227"/>
                    <a:pt x="761" y="229"/>
                  </a:cubicBezTo>
                  <a:cubicBezTo>
                    <a:pt x="758" y="231"/>
                    <a:pt x="755" y="232"/>
                    <a:pt x="752" y="232"/>
                  </a:cubicBezTo>
                  <a:cubicBezTo>
                    <a:pt x="750" y="232"/>
                    <a:pt x="749" y="232"/>
                    <a:pt x="747" y="231"/>
                  </a:cubicBezTo>
                  <a:cubicBezTo>
                    <a:pt x="745" y="231"/>
                    <a:pt x="743" y="230"/>
                    <a:pt x="741" y="232"/>
                  </a:cubicBezTo>
                  <a:cubicBezTo>
                    <a:pt x="741" y="233"/>
                    <a:pt x="741" y="233"/>
                    <a:pt x="741" y="233"/>
                  </a:cubicBezTo>
                  <a:cubicBezTo>
                    <a:pt x="741" y="234"/>
                    <a:pt x="744" y="236"/>
                    <a:pt x="746" y="237"/>
                  </a:cubicBezTo>
                  <a:cubicBezTo>
                    <a:pt x="749" y="239"/>
                    <a:pt x="752" y="241"/>
                    <a:pt x="752" y="243"/>
                  </a:cubicBezTo>
                  <a:cubicBezTo>
                    <a:pt x="752" y="246"/>
                    <a:pt x="768" y="249"/>
                    <a:pt x="778" y="249"/>
                  </a:cubicBezTo>
                  <a:cubicBezTo>
                    <a:pt x="782" y="249"/>
                    <a:pt x="787" y="256"/>
                    <a:pt x="789" y="262"/>
                  </a:cubicBezTo>
                  <a:cubicBezTo>
                    <a:pt x="791" y="269"/>
                    <a:pt x="789" y="274"/>
                    <a:pt x="785" y="276"/>
                  </a:cubicBezTo>
                  <a:cubicBezTo>
                    <a:pt x="782" y="277"/>
                    <a:pt x="779" y="278"/>
                    <a:pt x="776" y="278"/>
                  </a:cubicBezTo>
                  <a:cubicBezTo>
                    <a:pt x="774" y="278"/>
                    <a:pt x="772" y="278"/>
                    <a:pt x="770" y="278"/>
                  </a:cubicBezTo>
                  <a:cubicBezTo>
                    <a:pt x="769" y="277"/>
                    <a:pt x="767" y="277"/>
                    <a:pt x="766" y="277"/>
                  </a:cubicBezTo>
                  <a:cubicBezTo>
                    <a:pt x="763" y="277"/>
                    <a:pt x="761" y="278"/>
                    <a:pt x="759" y="280"/>
                  </a:cubicBezTo>
                  <a:cubicBezTo>
                    <a:pt x="759" y="281"/>
                    <a:pt x="759" y="283"/>
                    <a:pt x="759" y="284"/>
                  </a:cubicBezTo>
                  <a:cubicBezTo>
                    <a:pt x="762" y="290"/>
                    <a:pt x="776" y="296"/>
                    <a:pt x="783" y="296"/>
                  </a:cubicBezTo>
                  <a:cubicBezTo>
                    <a:pt x="784" y="296"/>
                    <a:pt x="784" y="296"/>
                    <a:pt x="785" y="296"/>
                  </a:cubicBezTo>
                  <a:cubicBezTo>
                    <a:pt x="787" y="295"/>
                    <a:pt x="788" y="295"/>
                    <a:pt x="789" y="297"/>
                  </a:cubicBezTo>
                  <a:cubicBezTo>
                    <a:pt x="790" y="297"/>
                    <a:pt x="790" y="298"/>
                    <a:pt x="790" y="299"/>
                  </a:cubicBezTo>
                  <a:cubicBezTo>
                    <a:pt x="790" y="302"/>
                    <a:pt x="787" y="307"/>
                    <a:pt x="781" y="307"/>
                  </a:cubicBezTo>
                  <a:cubicBezTo>
                    <a:pt x="781" y="307"/>
                    <a:pt x="780" y="307"/>
                    <a:pt x="778" y="307"/>
                  </a:cubicBezTo>
                  <a:cubicBezTo>
                    <a:pt x="774" y="306"/>
                    <a:pt x="768" y="306"/>
                    <a:pt x="762" y="306"/>
                  </a:cubicBezTo>
                  <a:cubicBezTo>
                    <a:pt x="752" y="306"/>
                    <a:pt x="750" y="307"/>
                    <a:pt x="749" y="308"/>
                  </a:cubicBezTo>
                  <a:cubicBezTo>
                    <a:pt x="749" y="308"/>
                    <a:pt x="749" y="308"/>
                    <a:pt x="750" y="309"/>
                  </a:cubicBezTo>
                  <a:cubicBezTo>
                    <a:pt x="751" y="311"/>
                    <a:pt x="755" y="313"/>
                    <a:pt x="759" y="315"/>
                  </a:cubicBezTo>
                  <a:cubicBezTo>
                    <a:pt x="765" y="318"/>
                    <a:pt x="770" y="321"/>
                    <a:pt x="771" y="324"/>
                  </a:cubicBezTo>
                  <a:cubicBezTo>
                    <a:pt x="771" y="325"/>
                    <a:pt x="770" y="327"/>
                    <a:pt x="769" y="328"/>
                  </a:cubicBezTo>
                  <a:cubicBezTo>
                    <a:pt x="764" y="332"/>
                    <a:pt x="759" y="332"/>
                    <a:pt x="754" y="332"/>
                  </a:cubicBezTo>
                  <a:cubicBezTo>
                    <a:pt x="751" y="332"/>
                    <a:pt x="748" y="333"/>
                    <a:pt x="744" y="334"/>
                  </a:cubicBezTo>
                  <a:cubicBezTo>
                    <a:pt x="743" y="334"/>
                    <a:pt x="742" y="334"/>
                    <a:pt x="741" y="334"/>
                  </a:cubicBezTo>
                  <a:cubicBezTo>
                    <a:pt x="737" y="334"/>
                    <a:pt x="730" y="331"/>
                    <a:pt x="725" y="328"/>
                  </a:cubicBezTo>
                  <a:cubicBezTo>
                    <a:pt x="720" y="326"/>
                    <a:pt x="716" y="324"/>
                    <a:pt x="714" y="324"/>
                  </a:cubicBezTo>
                  <a:cubicBezTo>
                    <a:pt x="713" y="324"/>
                    <a:pt x="712" y="324"/>
                    <a:pt x="712" y="324"/>
                  </a:cubicBezTo>
                  <a:cubicBezTo>
                    <a:pt x="711" y="326"/>
                    <a:pt x="711" y="327"/>
                    <a:pt x="713" y="329"/>
                  </a:cubicBezTo>
                  <a:cubicBezTo>
                    <a:pt x="713" y="331"/>
                    <a:pt x="714" y="332"/>
                    <a:pt x="713" y="334"/>
                  </a:cubicBezTo>
                  <a:cubicBezTo>
                    <a:pt x="713" y="335"/>
                    <a:pt x="710" y="336"/>
                    <a:pt x="706" y="336"/>
                  </a:cubicBezTo>
                  <a:cubicBezTo>
                    <a:pt x="702" y="337"/>
                    <a:pt x="699" y="339"/>
                    <a:pt x="699" y="341"/>
                  </a:cubicBezTo>
                  <a:cubicBezTo>
                    <a:pt x="700" y="344"/>
                    <a:pt x="703" y="346"/>
                    <a:pt x="707" y="346"/>
                  </a:cubicBezTo>
                  <a:cubicBezTo>
                    <a:pt x="709" y="346"/>
                    <a:pt x="711" y="346"/>
                    <a:pt x="712" y="345"/>
                  </a:cubicBezTo>
                  <a:cubicBezTo>
                    <a:pt x="718" y="342"/>
                    <a:pt x="727" y="341"/>
                    <a:pt x="733" y="341"/>
                  </a:cubicBezTo>
                  <a:cubicBezTo>
                    <a:pt x="740" y="341"/>
                    <a:pt x="748" y="342"/>
                    <a:pt x="748" y="346"/>
                  </a:cubicBezTo>
                  <a:cubicBezTo>
                    <a:pt x="748" y="351"/>
                    <a:pt x="746" y="362"/>
                    <a:pt x="738" y="362"/>
                  </a:cubicBezTo>
                  <a:cubicBezTo>
                    <a:pt x="737" y="362"/>
                    <a:pt x="735" y="362"/>
                    <a:pt x="733" y="361"/>
                  </a:cubicBezTo>
                  <a:cubicBezTo>
                    <a:pt x="726" y="358"/>
                    <a:pt x="719" y="355"/>
                    <a:pt x="715" y="355"/>
                  </a:cubicBezTo>
                  <a:cubicBezTo>
                    <a:pt x="714" y="355"/>
                    <a:pt x="713" y="356"/>
                    <a:pt x="713" y="356"/>
                  </a:cubicBezTo>
                  <a:cubicBezTo>
                    <a:pt x="712" y="356"/>
                    <a:pt x="712" y="357"/>
                    <a:pt x="713" y="358"/>
                  </a:cubicBezTo>
                  <a:cubicBezTo>
                    <a:pt x="714" y="361"/>
                    <a:pt x="722" y="366"/>
                    <a:pt x="730" y="372"/>
                  </a:cubicBezTo>
                  <a:cubicBezTo>
                    <a:pt x="740" y="379"/>
                    <a:pt x="750" y="386"/>
                    <a:pt x="751" y="390"/>
                  </a:cubicBezTo>
                  <a:cubicBezTo>
                    <a:pt x="751" y="391"/>
                    <a:pt x="751" y="392"/>
                    <a:pt x="750" y="392"/>
                  </a:cubicBezTo>
                  <a:cubicBezTo>
                    <a:pt x="749" y="395"/>
                    <a:pt x="749" y="398"/>
                    <a:pt x="750" y="401"/>
                  </a:cubicBezTo>
                  <a:cubicBezTo>
                    <a:pt x="751" y="405"/>
                    <a:pt x="752" y="409"/>
                    <a:pt x="745" y="412"/>
                  </a:cubicBezTo>
                  <a:cubicBezTo>
                    <a:pt x="742" y="412"/>
                    <a:pt x="740" y="413"/>
                    <a:pt x="737" y="413"/>
                  </a:cubicBezTo>
                  <a:cubicBezTo>
                    <a:pt x="727" y="413"/>
                    <a:pt x="718" y="408"/>
                    <a:pt x="713" y="401"/>
                  </a:cubicBezTo>
                  <a:cubicBezTo>
                    <a:pt x="708" y="394"/>
                    <a:pt x="700" y="390"/>
                    <a:pt x="695" y="390"/>
                  </a:cubicBezTo>
                  <a:cubicBezTo>
                    <a:pt x="695" y="390"/>
                    <a:pt x="694" y="390"/>
                    <a:pt x="693" y="391"/>
                  </a:cubicBezTo>
                  <a:cubicBezTo>
                    <a:pt x="693" y="391"/>
                    <a:pt x="693" y="392"/>
                    <a:pt x="693" y="393"/>
                  </a:cubicBezTo>
                  <a:cubicBezTo>
                    <a:pt x="693" y="395"/>
                    <a:pt x="694" y="397"/>
                    <a:pt x="694" y="398"/>
                  </a:cubicBezTo>
                  <a:cubicBezTo>
                    <a:pt x="695" y="401"/>
                    <a:pt x="696" y="404"/>
                    <a:pt x="695" y="405"/>
                  </a:cubicBezTo>
                  <a:cubicBezTo>
                    <a:pt x="694" y="407"/>
                    <a:pt x="693" y="407"/>
                    <a:pt x="690" y="408"/>
                  </a:cubicBezTo>
                  <a:cubicBezTo>
                    <a:pt x="685" y="409"/>
                    <a:pt x="681" y="414"/>
                    <a:pt x="681" y="417"/>
                  </a:cubicBezTo>
                  <a:cubicBezTo>
                    <a:pt x="681" y="417"/>
                    <a:pt x="681" y="418"/>
                    <a:pt x="682" y="418"/>
                  </a:cubicBezTo>
                  <a:cubicBezTo>
                    <a:pt x="682" y="418"/>
                    <a:pt x="683" y="417"/>
                    <a:pt x="685" y="416"/>
                  </a:cubicBezTo>
                  <a:cubicBezTo>
                    <a:pt x="688" y="415"/>
                    <a:pt x="691" y="414"/>
                    <a:pt x="694" y="414"/>
                  </a:cubicBezTo>
                  <a:cubicBezTo>
                    <a:pt x="700" y="414"/>
                    <a:pt x="706" y="416"/>
                    <a:pt x="711" y="418"/>
                  </a:cubicBezTo>
                  <a:cubicBezTo>
                    <a:pt x="714" y="419"/>
                    <a:pt x="716" y="420"/>
                    <a:pt x="718" y="420"/>
                  </a:cubicBezTo>
                  <a:cubicBezTo>
                    <a:pt x="721" y="421"/>
                    <a:pt x="725" y="421"/>
                    <a:pt x="729" y="421"/>
                  </a:cubicBezTo>
                  <a:cubicBezTo>
                    <a:pt x="735" y="421"/>
                    <a:pt x="740" y="421"/>
                    <a:pt x="743" y="419"/>
                  </a:cubicBezTo>
                  <a:cubicBezTo>
                    <a:pt x="745" y="418"/>
                    <a:pt x="745" y="418"/>
                    <a:pt x="746" y="418"/>
                  </a:cubicBezTo>
                  <a:cubicBezTo>
                    <a:pt x="747" y="418"/>
                    <a:pt x="747" y="418"/>
                    <a:pt x="747" y="419"/>
                  </a:cubicBezTo>
                  <a:cubicBezTo>
                    <a:pt x="748" y="420"/>
                    <a:pt x="744" y="424"/>
                    <a:pt x="738" y="427"/>
                  </a:cubicBezTo>
                  <a:cubicBezTo>
                    <a:pt x="735" y="429"/>
                    <a:pt x="729" y="432"/>
                    <a:pt x="723" y="434"/>
                  </a:cubicBezTo>
                  <a:cubicBezTo>
                    <a:pt x="714" y="439"/>
                    <a:pt x="703" y="443"/>
                    <a:pt x="697" y="449"/>
                  </a:cubicBezTo>
                  <a:cubicBezTo>
                    <a:pt x="686" y="458"/>
                    <a:pt x="655" y="462"/>
                    <a:pt x="645" y="463"/>
                  </a:cubicBezTo>
                  <a:cubicBezTo>
                    <a:pt x="639" y="463"/>
                    <a:pt x="637" y="464"/>
                    <a:pt x="634" y="465"/>
                  </a:cubicBezTo>
                  <a:cubicBezTo>
                    <a:pt x="632" y="466"/>
                    <a:pt x="629" y="468"/>
                    <a:pt x="623" y="468"/>
                  </a:cubicBezTo>
                  <a:cubicBezTo>
                    <a:pt x="618" y="468"/>
                    <a:pt x="617" y="469"/>
                    <a:pt x="616" y="471"/>
                  </a:cubicBezTo>
                  <a:cubicBezTo>
                    <a:pt x="616" y="472"/>
                    <a:pt x="615" y="473"/>
                    <a:pt x="614" y="473"/>
                  </a:cubicBezTo>
                  <a:cubicBezTo>
                    <a:pt x="613" y="473"/>
                    <a:pt x="611" y="472"/>
                    <a:pt x="609" y="471"/>
                  </a:cubicBezTo>
                  <a:cubicBezTo>
                    <a:pt x="603" y="468"/>
                    <a:pt x="598" y="468"/>
                    <a:pt x="596" y="470"/>
                  </a:cubicBezTo>
                  <a:cubicBezTo>
                    <a:pt x="595" y="471"/>
                    <a:pt x="595" y="473"/>
                    <a:pt x="596" y="476"/>
                  </a:cubicBezTo>
                  <a:cubicBezTo>
                    <a:pt x="597" y="480"/>
                    <a:pt x="593" y="482"/>
                    <a:pt x="589" y="484"/>
                  </a:cubicBezTo>
                  <a:cubicBezTo>
                    <a:pt x="584" y="486"/>
                    <a:pt x="579" y="489"/>
                    <a:pt x="578" y="494"/>
                  </a:cubicBezTo>
                  <a:cubicBezTo>
                    <a:pt x="574" y="506"/>
                    <a:pt x="560" y="518"/>
                    <a:pt x="545" y="523"/>
                  </a:cubicBezTo>
                  <a:cubicBezTo>
                    <a:pt x="538" y="525"/>
                    <a:pt x="533" y="525"/>
                    <a:pt x="528" y="525"/>
                  </a:cubicBezTo>
                  <a:cubicBezTo>
                    <a:pt x="523" y="526"/>
                    <a:pt x="520" y="526"/>
                    <a:pt x="518" y="528"/>
                  </a:cubicBezTo>
                  <a:cubicBezTo>
                    <a:pt x="516" y="530"/>
                    <a:pt x="514" y="530"/>
                    <a:pt x="513" y="529"/>
                  </a:cubicBezTo>
                  <a:cubicBezTo>
                    <a:pt x="512" y="527"/>
                    <a:pt x="513" y="523"/>
                    <a:pt x="514" y="520"/>
                  </a:cubicBezTo>
                  <a:cubicBezTo>
                    <a:pt x="515" y="519"/>
                    <a:pt x="515" y="518"/>
                    <a:pt x="514" y="517"/>
                  </a:cubicBezTo>
                  <a:cubicBezTo>
                    <a:pt x="514" y="516"/>
                    <a:pt x="513" y="516"/>
                    <a:pt x="512" y="516"/>
                  </a:cubicBezTo>
                  <a:cubicBezTo>
                    <a:pt x="510" y="516"/>
                    <a:pt x="509" y="516"/>
                    <a:pt x="508" y="517"/>
                  </a:cubicBezTo>
                  <a:cubicBezTo>
                    <a:pt x="508" y="518"/>
                    <a:pt x="508" y="519"/>
                    <a:pt x="508" y="520"/>
                  </a:cubicBezTo>
                  <a:cubicBezTo>
                    <a:pt x="509" y="523"/>
                    <a:pt x="508" y="526"/>
                    <a:pt x="507" y="528"/>
                  </a:cubicBezTo>
                  <a:cubicBezTo>
                    <a:pt x="505" y="531"/>
                    <a:pt x="501" y="533"/>
                    <a:pt x="495" y="533"/>
                  </a:cubicBezTo>
                  <a:cubicBezTo>
                    <a:pt x="488" y="534"/>
                    <a:pt x="482" y="536"/>
                    <a:pt x="481" y="538"/>
                  </a:cubicBezTo>
                  <a:cubicBezTo>
                    <a:pt x="481" y="539"/>
                    <a:pt x="481" y="540"/>
                    <a:pt x="482" y="541"/>
                  </a:cubicBezTo>
                  <a:cubicBezTo>
                    <a:pt x="483" y="543"/>
                    <a:pt x="484" y="545"/>
                    <a:pt x="483" y="546"/>
                  </a:cubicBezTo>
                  <a:cubicBezTo>
                    <a:pt x="483" y="547"/>
                    <a:pt x="481" y="548"/>
                    <a:pt x="479" y="548"/>
                  </a:cubicBezTo>
                  <a:cubicBezTo>
                    <a:pt x="478" y="548"/>
                    <a:pt x="475" y="547"/>
                    <a:pt x="473" y="546"/>
                  </a:cubicBezTo>
                  <a:cubicBezTo>
                    <a:pt x="471" y="545"/>
                    <a:pt x="470" y="544"/>
                    <a:pt x="470" y="544"/>
                  </a:cubicBezTo>
                  <a:cubicBezTo>
                    <a:pt x="469" y="544"/>
                    <a:pt x="468" y="545"/>
                    <a:pt x="468" y="546"/>
                  </a:cubicBezTo>
                  <a:cubicBezTo>
                    <a:pt x="467" y="547"/>
                    <a:pt x="469" y="549"/>
                    <a:pt x="471" y="550"/>
                  </a:cubicBezTo>
                  <a:cubicBezTo>
                    <a:pt x="476" y="552"/>
                    <a:pt x="478" y="556"/>
                    <a:pt x="478" y="559"/>
                  </a:cubicBezTo>
                  <a:cubicBezTo>
                    <a:pt x="478" y="561"/>
                    <a:pt x="476" y="562"/>
                    <a:pt x="474" y="562"/>
                  </a:cubicBezTo>
                  <a:cubicBezTo>
                    <a:pt x="471" y="563"/>
                    <a:pt x="469" y="564"/>
                    <a:pt x="468" y="565"/>
                  </a:cubicBezTo>
                  <a:cubicBezTo>
                    <a:pt x="468" y="566"/>
                    <a:pt x="468" y="567"/>
                    <a:pt x="469" y="568"/>
                  </a:cubicBezTo>
                  <a:cubicBezTo>
                    <a:pt x="471" y="571"/>
                    <a:pt x="472" y="575"/>
                    <a:pt x="471" y="577"/>
                  </a:cubicBezTo>
                  <a:cubicBezTo>
                    <a:pt x="470" y="578"/>
                    <a:pt x="470" y="579"/>
                    <a:pt x="468" y="579"/>
                  </a:cubicBezTo>
                  <a:cubicBezTo>
                    <a:pt x="467" y="580"/>
                    <a:pt x="467" y="582"/>
                    <a:pt x="466" y="584"/>
                  </a:cubicBezTo>
                  <a:cubicBezTo>
                    <a:pt x="466" y="587"/>
                    <a:pt x="465" y="590"/>
                    <a:pt x="462" y="591"/>
                  </a:cubicBezTo>
                  <a:cubicBezTo>
                    <a:pt x="461" y="591"/>
                    <a:pt x="460" y="593"/>
                    <a:pt x="460" y="595"/>
                  </a:cubicBezTo>
                  <a:cubicBezTo>
                    <a:pt x="459" y="597"/>
                    <a:pt x="458" y="601"/>
                    <a:pt x="453" y="601"/>
                  </a:cubicBezTo>
                  <a:cubicBezTo>
                    <a:pt x="452" y="601"/>
                    <a:pt x="452" y="601"/>
                    <a:pt x="451" y="600"/>
                  </a:cubicBezTo>
                  <a:cubicBezTo>
                    <a:pt x="450" y="600"/>
                    <a:pt x="449" y="600"/>
                    <a:pt x="449" y="600"/>
                  </a:cubicBezTo>
                  <a:cubicBezTo>
                    <a:pt x="444" y="600"/>
                    <a:pt x="442" y="602"/>
                    <a:pt x="442" y="604"/>
                  </a:cubicBezTo>
                  <a:cubicBezTo>
                    <a:pt x="442" y="605"/>
                    <a:pt x="443" y="606"/>
                    <a:pt x="444" y="607"/>
                  </a:cubicBezTo>
                  <a:cubicBezTo>
                    <a:pt x="447" y="608"/>
                    <a:pt x="448" y="617"/>
                    <a:pt x="448" y="623"/>
                  </a:cubicBezTo>
                  <a:cubicBezTo>
                    <a:pt x="448" y="625"/>
                    <a:pt x="448" y="630"/>
                    <a:pt x="445" y="631"/>
                  </a:cubicBezTo>
                  <a:cubicBezTo>
                    <a:pt x="443" y="631"/>
                    <a:pt x="443" y="636"/>
                    <a:pt x="442" y="641"/>
                  </a:cubicBezTo>
                  <a:cubicBezTo>
                    <a:pt x="441" y="646"/>
                    <a:pt x="441" y="652"/>
                    <a:pt x="438" y="653"/>
                  </a:cubicBezTo>
                  <a:cubicBezTo>
                    <a:pt x="436" y="654"/>
                    <a:pt x="435" y="657"/>
                    <a:pt x="434" y="659"/>
                  </a:cubicBezTo>
                  <a:cubicBezTo>
                    <a:pt x="432" y="662"/>
                    <a:pt x="430" y="665"/>
                    <a:pt x="428" y="665"/>
                  </a:cubicBezTo>
                  <a:close/>
                  <a:moveTo>
                    <a:pt x="386" y="646"/>
                  </a:moveTo>
                  <a:cubicBezTo>
                    <a:pt x="392" y="646"/>
                    <a:pt x="400" y="650"/>
                    <a:pt x="402" y="654"/>
                  </a:cubicBezTo>
                  <a:cubicBezTo>
                    <a:pt x="404" y="658"/>
                    <a:pt x="420" y="662"/>
                    <a:pt x="427" y="664"/>
                  </a:cubicBezTo>
                  <a:cubicBezTo>
                    <a:pt x="430" y="664"/>
                    <a:pt x="431" y="661"/>
                    <a:pt x="433" y="658"/>
                  </a:cubicBezTo>
                  <a:cubicBezTo>
                    <a:pt x="434" y="656"/>
                    <a:pt x="435" y="654"/>
                    <a:pt x="437" y="652"/>
                  </a:cubicBezTo>
                  <a:cubicBezTo>
                    <a:pt x="440" y="651"/>
                    <a:pt x="440" y="646"/>
                    <a:pt x="441" y="641"/>
                  </a:cubicBezTo>
                  <a:cubicBezTo>
                    <a:pt x="442" y="635"/>
                    <a:pt x="442" y="630"/>
                    <a:pt x="445" y="630"/>
                  </a:cubicBezTo>
                  <a:cubicBezTo>
                    <a:pt x="446" y="629"/>
                    <a:pt x="447" y="627"/>
                    <a:pt x="447" y="623"/>
                  </a:cubicBezTo>
                  <a:cubicBezTo>
                    <a:pt x="447" y="616"/>
                    <a:pt x="446" y="609"/>
                    <a:pt x="444" y="608"/>
                  </a:cubicBezTo>
                  <a:cubicBezTo>
                    <a:pt x="442" y="607"/>
                    <a:pt x="441" y="605"/>
                    <a:pt x="441" y="604"/>
                  </a:cubicBezTo>
                  <a:cubicBezTo>
                    <a:pt x="441" y="602"/>
                    <a:pt x="444" y="599"/>
                    <a:pt x="449" y="599"/>
                  </a:cubicBezTo>
                  <a:cubicBezTo>
                    <a:pt x="449" y="599"/>
                    <a:pt x="450" y="599"/>
                    <a:pt x="451" y="599"/>
                  </a:cubicBezTo>
                  <a:cubicBezTo>
                    <a:pt x="452" y="600"/>
                    <a:pt x="452" y="600"/>
                    <a:pt x="453" y="600"/>
                  </a:cubicBezTo>
                  <a:cubicBezTo>
                    <a:pt x="457" y="600"/>
                    <a:pt x="458" y="597"/>
                    <a:pt x="459" y="594"/>
                  </a:cubicBezTo>
                  <a:cubicBezTo>
                    <a:pt x="459" y="592"/>
                    <a:pt x="460" y="590"/>
                    <a:pt x="462" y="590"/>
                  </a:cubicBezTo>
                  <a:cubicBezTo>
                    <a:pt x="464" y="589"/>
                    <a:pt x="465" y="586"/>
                    <a:pt x="465" y="584"/>
                  </a:cubicBezTo>
                  <a:cubicBezTo>
                    <a:pt x="466" y="581"/>
                    <a:pt x="466" y="579"/>
                    <a:pt x="468" y="578"/>
                  </a:cubicBezTo>
                  <a:cubicBezTo>
                    <a:pt x="469" y="578"/>
                    <a:pt x="470" y="578"/>
                    <a:pt x="470" y="577"/>
                  </a:cubicBezTo>
                  <a:cubicBezTo>
                    <a:pt x="471" y="575"/>
                    <a:pt x="470" y="571"/>
                    <a:pt x="468" y="569"/>
                  </a:cubicBezTo>
                  <a:cubicBezTo>
                    <a:pt x="467" y="567"/>
                    <a:pt x="467" y="566"/>
                    <a:pt x="467" y="565"/>
                  </a:cubicBezTo>
                  <a:cubicBezTo>
                    <a:pt x="468" y="563"/>
                    <a:pt x="471" y="562"/>
                    <a:pt x="474" y="561"/>
                  </a:cubicBezTo>
                  <a:cubicBezTo>
                    <a:pt x="476" y="561"/>
                    <a:pt x="477" y="560"/>
                    <a:pt x="477" y="559"/>
                  </a:cubicBezTo>
                  <a:cubicBezTo>
                    <a:pt x="477" y="556"/>
                    <a:pt x="475" y="553"/>
                    <a:pt x="471" y="551"/>
                  </a:cubicBezTo>
                  <a:cubicBezTo>
                    <a:pt x="468" y="550"/>
                    <a:pt x="466" y="547"/>
                    <a:pt x="467" y="546"/>
                  </a:cubicBezTo>
                  <a:cubicBezTo>
                    <a:pt x="467" y="544"/>
                    <a:pt x="468" y="543"/>
                    <a:pt x="470" y="543"/>
                  </a:cubicBezTo>
                  <a:cubicBezTo>
                    <a:pt x="471" y="543"/>
                    <a:pt x="472" y="544"/>
                    <a:pt x="474" y="545"/>
                  </a:cubicBezTo>
                  <a:cubicBezTo>
                    <a:pt x="476" y="546"/>
                    <a:pt x="478" y="547"/>
                    <a:pt x="479" y="547"/>
                  </a:cubicBezTo>
                  <a:cubicBezTo>
                    <a:pt x="481" y="547"/>
                    <a:pt x="482" y="547"/>
                    <a:pt x="482" y="546"/>
                  </a:cubicBezTo>
                  <a:cubicBezTo>
                    <a:pt x="483" y="545"/>
                    <a:pt x="482" y="543"/>
                    <a:pt x="481" y="542"/>
                  </a:cubicBezTo>
                  <a:cubicBezTo>
                    <a:pt x="480" y="540"/>
                    <a:pt x="480" y="539"/>
                    <a:pt x="480" y="538"/>
                  </a:cubicBezTo>
                  <a:cubicBezTo>
                    <a:pt x="482" y="534"/>
                    <a:pt x="490" y="533"/>
                    <a:pt x="495" y="532"/>
                  </a:cubicBezTo>
                  <a:cubicBezTo>
                    <a:pt x="500" y="532"/>
                    <a:pt x="504" y="530"/>
                    <a:pt x="506" y="528"/>
                  </a:cubicBezTo>
                  <a:cubicBezTo>
                    <a:pt x="507" y="526"/>
                    <a:pt x="508" y="523"/>
                    <a:pt x="507" y="521"/>
                  </a:cubicBezTo>
                  <a:cubicBezTo>
                    <a:pt x="506" y="519"/>
                    <a:pt x="507" y="517"/>
                    <a:pt x="508" y="517"/>
                  </a:cubicBezTo>
                  <a:cubicBezTo>
                    <a:pt x="508" y="516"/>
                    <a:pt x="510" y="515"/>
                    <a:pt x="512" y="515"/>
                  </a:cubicBezTo>
                  <a:cubicBezTo>
                    <a:pt x="513" y="515"/>
                    <a:pt x="515" y="516"/>
                    <a:pt x="515" y="517"/>
                  </a:cubicBezTo>
                  <a:cubicBezTo>
                    <a:pt x="516" y="517"/>
                    <a:pt x="516" y="518"/>
                    <a:pt x="515" y="520"/>
                  </a:cubicBezTo>
                  <a:cubicBezTo>
                    <a:pt x="513" y="524"/>
                    <a:pt x="513" y="527"/>
                    <a:pt x="514" y="528"/>
                  </a:cubicBezTo>
                  <a:cubicBezTo>
                    <a:pt x="515" y="529"/>
                    <a:pt x="515" y="529"/>
                    <a:pt x="515" y="529"/>
                  </a:cubicBezTo>
                  <a:cubicBezTo>
                    <a:pt x="516" y="529"/>
                    <a:pt x="516" y="528"/>
                    <a:pt x="517" y="527"/>
                  </a:cubicBezTo>
                  <a:cubicBezTo>
                    <a:pt x="520" y="525"/>
                    <a:pt x="523" y="525"/>
                    <a:pt x="528" y="524"/>
                  </a:cubicBezTo>
                  <a:cubicBezTo>
                    <a:pt x="532" y="524"/>
                    <a:pt x="538" y="524"/>
                    <a:pt x="545" y="522"/>
                  </a:cubicBezTo>
                  <a:cubicBezTo>
                    <a:pt x="559" y="517"/>
                    <a:pt x="573" y="505"/>
                    <a:pt x="577" y="494"/>
                  </a:cubicBezTo>
                  <a:cubicBezTo>
                    <a:pt x="578" y="488"/>
                    <a:pt x="584" y="485"/>
                    <a:pt x="588" y="483"/>
                  </a:cubicBezTo>
                  <a:cubicBezTo>
                    <a:pt x="593" y="481"/>
                    <a:pt x="596" y="479"/>
                    <a:pt x="595" y="476"/>
                  </a:cubicBezTo>
                  <a:cubicBezTo>
                    <a:pt x="594" y="473"/>
                    <a:pt x="594" y="471"/>
                    <a:pt x="595" y="469"/>
                  </a:cubicBezTo>
                  <a:cubicBezTo>
                    <a:pt x="597" y="467"/>
                    <a:pt x="602" y="467"/>
                    <a:pt x="609" y="470"/>
                  </a:cubicBezTo>
                  <a:cubicBezTo>
                    <a:pt x="611" y="471"/>
                    <a:pt x="613" y="472"/>
                    <a:pt x="614" y="472"/>
                  </a:cubicBezTo>
                  <a:cubicBezTo>
                    <a:pt x="615" y="472"/>
                    <a:pt x="615" y="471"/>
                    <a:pt x="615" y="470"/>
                  </a:cubicBezTo>
                  <a:cubicBezTo>
                    <a:pt x="616" y="469"/>
                    <a:pt x="617" y="467"/>
                    <a:pt x="623" y="467"/>
                  </a:cubicBezTo>
                  <a:cubicBezTo>
                    <a:pt x="629" y="467"/>
                    <a:pt x="632" y="465"/>
                    <a:pt x="634" y="464"/>
                  </a:cubicBezTo>
                  <a:cubicBezTo>
                    <a:pt x="636" y="463"/>
                    <a:pt x="639" y="462"/>
                    <a:pt x="645" y="462"/>
                  </a:cubicBezTo>
                  <a:cubicBezTo>
                    <a:pt x="657" y="461"/>
                    <a:pt x="686" y="456"/>
                    <a:pt x="696" y="448"/>
                  </a:cubicBezTo>
                  <a:cubicBezTo>
                    <a:pt x="703" y="442"/>
                    <a:pt x="714" y="438"/>
                    <a:pt x="723" y="433"/>
                  </a:cubicBezTo>
                  <a:cubicBezTo>
                    <a:pt x="729" y="431"/>
                    <a:pt x="734" y="428"/>
                    <a:pt x="738" y="426"/>
                  </a:cubicBezTo>
                  <a:cubicBezTo>
                    <a:pt x="744" y="423"/>
                    <a:pt x="746" y="420"/>
                    <a:pt x="746" y="419"/>
                  </a:cubicBezTo>
                  <a:cubicBezTo>
                    <a:pt x="746" y="419"/>
                    <a:pt x="745" y="419"/>
                    <a:pt x="744" y="420"/>
                  </a:cubicBezTo>
                  <a:cubicBezTo>
                    <a:pt x="741" y="421"/>
                    <a:pt x="735" y="422"/>
                    <a:pt x="729" y="422"/>
                  </a:cubicBezTo>
                  <a:cubicBezTo>
                    <a:pt x="725" y="422"/>
                    <a:pt x="721" y="422"/>
                    <a:pt x="718" y="421"/>
                  </a:cubicBezTo>
                  <a:cubicBezTo>
                    <a:pt x="716" y="421"/>
                    <a:pt x="713" y="420"/>
                    <a:pt x="711" y="419"/>
                  </a:cubicBezTo>
                  <a:cubicBezTo>
                    <a:pt x="706" y="417"/>
                    <a:pt x="700" y="415"/>
                    <a:pt x="694" y="415"/>
                  </a:cubicBezTo>
                  <a:cubicBezTo>
                    <a:pt x="691" y="415"/>
                    <a:pt x="688" y="416"/>
                    <a:pt x="686" y="417"/>
                  </a:cubicBezTo>
                  <a:cubicBezTo>
                    <a:pt x="684" y="418"/>
                    <a:pt x="683" y="419"/>
                    <a:pt x="682" y="419"/>
                  </a:cubicBezTo>
                  <a:cubicBezTo>
                    <a:pt x="681" y="419"/>
                    <a:pt x="680" y="418"/>
                    <a:pt x="680" y="417"/>
                  </a:cubicBezTo>
                  <a:cubicBezTo>
                    <a:pt x="680" y="414"/>
                    <a:pt x="684" y="408"/>
                    <a:pt x="690" y="407"/>
                  </a:cubicBezTo>
                  <a:cubicBezTo>
                    <a:pt x="692" y="406"/>
                    <a:pt x="694" y="406"/>
                    <a:pt x="694" y="405"/>
                  </a:cubicBezTo>
                  <a:cubicBezTo>
                    <a:pt x="695" y="404"/>
                    <a:pt x="694" y="401"/>
                    <a:pt x="693" y="398"/>
                  </a:cubicBezTo>
                  <a:cubicBezTo>
                    <a:pt x="693" y="397"/>
                    <a:pt x="692" y="395"/>
                    <a:pt x="692" y="394"/>
                  </a:cubicBezTo>
                  <a:cubicBezTo>
                    <a:pt x="692" y="392"/>
                    <a:pt x="692" y="391"/>
                    <a:pt x="692" y="390"/>
                  </a:cubicBezTo>
                  <a:cubicBezTo>
                    <a:pt x="693" y="389"/>
                    <a:pt x="694" y="389"/>
                    <a:pt x="695" y="389"/>
                  </a:cubicBezTo>
                  <a:cubicBezTo>
                    <a:pt x="700" y="389"/>
                    <a:pt x="709" y="393"/>
                    <a:pt x="713" y="400"/>
                  </a:cubicBezTo>
                  <a:cubicBezTo>
                    <a:pt x="718" y="407"/>
                    <a:pt x="727" y="412"/>
                    <a:pt x="737" y="412"/>
                  </a:cubicBezTo>
                  <a:cubicBezTo>
                    <a:pt x="739" y="412"/>
                    <a:pt x="742" y="411"/>
                    <a:pt x="745" y="411"/>
                  </a:cubicBezTo>
                  <a:cubicBezTo>
                    <a:pt x="751" y="409"/>
                    <a:pt x="750" y="405"/>
                    <a:pt x="749" y="401"/>
                  </a:cubicBezTo>
                  <a:cubicBezTo>
                    <a:pt x="748" y="398"/>
                    <a:pt x="748" y="394"/>
                    <a:pt x="750" y="392"/>
                  </a:cubicBezTo>
                  <a:cubicBezTo>
                    <a:pt x="750" y="391"/>
                    <a:pt x="750" y="391"/>
                    <a:pt x="750" y="390"/>
                  </a:cubicBezTo>
                  <a:cubicBezTo>
                    <a:pt x="749" y="386"/>
                    <a:pt x="739" y="379"/>
                    <a:pt x="729" y="373"/>
                  </a:cubicBezTo>
                  <a:cubicBezTo>
                    <a:pt x="720" y="367"/>
                    <a:pt x="713" y="362"/>
                    <a:pt x="712" y="358"/>
                  </a:cubicBezTo>
                  <a:cubicBezTo>
                    <a:pt x="711" y="357"/>
                    <a:pt x="711" y="356"/>
                    <a:pt x="712" y="355"/>
                  </a:cubicBezTo>
                  <a:cubicBezTo>
                    <a:pt x="712" y="355"/>
                    <a:pt x="713" y="354"/>
                    <a:pt x="715" y="354"/>
                  </a:cubicBezTo>
                  <a:cubicBezTo>
                    <a:pt x="719" y="354"/>
                    <a:pt x="726" y="357"/>
                    <a:pt x="734" y="360"/>
                  </a:cubicBezTo>
                  <a:cubicBezTo>
                    <a:pt x="735" y="361"/>
                    <a:pt x="737" y="361"/>
                    <a:pt x="738" y="361"/>
                  </a:cubicBezTo>
                  <a:cubicBezTo>
                    <a:pt x="745" y="361"/>
                    <a:pt x="747" y="350"/>
                    <a:pt x="747" y="346"/>
                  </a:cubicBezTo>
                  <a:cubicBezTo>
                    <a:pt x="747" y="343"/>
                    <a:pt x="741" y="342"/>
                    <a:pt x="733" y="342"/>
                  </a:cubicBezTo>
                  <a:cubicBezTo>
                    <a:pt x="725" y="342"/>
                    <a:pt x="718" y="343"/>
                    <a:pt x="713" y="346"/>
                  </a:cubicBezTo>
                  <a:cubicBezTo>
                    <a:pt x="711" y="347"/>
                    <a:pt x="709" y="347"/>
                    <a:pt x="707" y="347"/>
                  </a:cubicBezTo>
                  <a:cubicBezTo>
                    <a:pt x="702" y="347"/>
                    <a:pt x="699" y="344"/>
                    <a:pt x="698" y="341"/>
                  </a:cubicBezTo>
                  <a:cubicBezTo>
                    <a:pt x="698" y="340"/>
                    <a:pt x="699" y="336"/>
                    <a:pt x="706" y="335"/>
                  </a:cubicBezTo>
                  <a:cubicBezTo>
                    <a:pt x="710" y="335"/>
                    <a:pt x="712" y="334"/>
                    <a:pt x="713" y="333"/>
                  </a:cubicBezTo>
                  <a:cubicBezTo>
                    <a:pt x="713" y="332"/>
                    <a:pt x="712" y="331"/>
                    <a:pt x="712" y="330"/>
                  </a:cubicBezTo>
                  <a:cubicBezTo>
                    <a:pt x="711" y="328"/>
                    <a:pt x="709" y="325"/>
                    <a:pt x="711" y="323"/>
                  </a:cubicBezTo>
                  <a:cubicBezTo>
                    <a:pt x="712" y="323"/>
                    <a:pt x="713" y="323"/>
                    <a:pt x="714" y="323"/>
                  </a:cubicBezTo>
                  <a:cubicBezTo>
                    <a:pt x="716" y="323"/>
                    <a:pt x="721" y="325"/>
                    <a:pt x="725" y="327"/>
                  </a:cubicBezTo>
                  <a:cubicBezTo>
                    <a:pt x="731" y="330"/>
                    <a:pt x="737" y="333"/>
                    <a:pt x="741" y="333"/>
                  </a:cubicBezTo>
                  <a:cubicBezTo>
                    <a:pt x="742" y="333"/>
                    <a:pt x="743" y="333"/>
                    <a:pt x="744" y="333"/>
                  </a:cubicBezTo>
                  <a:cubicBezTo>
                    <a:pt x="748" y="332"/>
                    <a:pt x="751" y="331"/>
                    <a:pt x="754" y="331"/>
                  </a:cubicBezTo>
                  <a:cubicBezTo>
                    <a:pt x="759" y="331"/>
                    <a:pt x="763" y="331"/>
                    <a:pt x="768" y="327"/>
                  </a:cubicBezTo>
                  <a:cubicBezTo>
                    <a:pt x="769" y="326"/>
                    <a:pt x="770" y="325"/>
                    <a:pt x="770" y="324"/>
                  </a:cubicBezTo>
                  <a:cubicBezTo>
                    <a:pt x="769" y="321"/>
                    <a:pt x="764" y="318"/>
                    <a:pt x="758" y="316"/>
                  </a:cubicBezTo>
                  <a:cubicBezTo>
                    <a:pt x="754" y="314"/>
                    <a:pt x="750" y="312"/>
                    <a:pt x="749" y="310"/>
                  </a:cubicBezTo>
                  <a:cubicBezTo>
                    <a:pt x="748" y="309"/>
                    <a:pt x="748" y="308"/>
                    <a:pt x="748" y="307"/>
                  </a:cubicBezTo>
                  <a:cubicBezTo>
                    <a:pt x="749" y="306"/>
                    <a:pt x="751" y="305"/>
                    <a:pt x="762" y="305"/>
                  </a:cubicBezTo>
                  <a:cubicBezTo>
                    <a:pt x="768" y="305"/>
                    <a:pt x="774" y="305"/>
                    <a:pt x="778" y="306"/>
                  </a:cubicBezTo>
                  <a:cubicBezTo>
                    <a:pt x="780" y="306"/>
                    <a:pt x="781" y="306"/>
                    <a:pt x="781" y="306"/>
                  </a:cubicBezTo>
                  <a:cubicBezTo>
                    <a:pt x="782" y="306"/>
                    <a:pt x="782" y="306"/>
                    <a:pt x="782" y="306"/>
                  </a:cubicBezTo>
                  <a:cubicBezTo>
                    <a:pt x="786" y="306"/>
                    <a:pt x="789" y="302"/>
                    <a:pt x="789" y="299"/>
                  </a:cubicBezTo>
                  <a:cubicBezTo>
                    <a:pt x="789" y="298"/>
                    <a:pt x="789" y="296"/>
                    <a:pt x="787" y="296"/>
                  </a:cubicBezTo>
                  <a:cubicBezTo>
                    <a:pt x="787" y="296"/>
                    <a:pt x="786" y="297"/>
                    <a:pt x="785" y="297"/>
                  </a:cubicBezTo>
                  <a:cubicBezTo>
                    <a:pt x="785" y="297"/>
                    <a:pt x="784" y="297"/>
                    <a:pt x="783" y="297"/>
                  </a:cubicBezTo>
                  <a:cubicBezTo>
                    <a:pt x="775" y="297"/>
                    <a:pt x="762" y="291"/>
                    <a:pt x="759" y="285"/>
                  </a:cubicBezTo>
                  <a:cubicBezTo>
                    <a:pt x="758" y="283"/>
                    <a:pt x="758" y="281"/>
                    <a:pt x="759" y="280"/>
                  </a:cubicBezTo>
                  <a:cubicBezTo>
                    <a:pt x="760" y="277"/>
                    <a:pt x="762" y="276"/>
                    <a:pt x="766" y="276"/>
                  </a:cubicBezTo>
                  <a:cubicBezTo>
                    <a:pt x="767" y="276"/>
                    <a:pt x="769" y="276"/>
                    <a:pt x="770" y="277"/>
                  </a:cubicBezTo>
                  <a:cubicBezTo>
                    <a:pt x="772" y="277"/>
                    <a:pt x="774" y="277"/>
                    <a:pt x="776" y="277"/>
                  </a:cubicBezTo>
                  <a:cubicBezTo>
                    <a:pt x="779" y="277"/>
                    <a:pt x="782" y="277"/>
                    <a:pt x="784" y="275"/>
                  </a:cubicBezTo>
                  <a:cubicBezTo>
                    <a:pt x="790" y="272"/>
                    <a:pt x="789" y="265"/>
                    <a:pt x="788" y="263"/>
                  </a:cubicBezTo>
                  <a:cubicBezTo>
                    <a:pt x="786" y="256"/>
                    <a:pt x="781" y="250"/>
                    <a:pt x="778" y="250"/>
                  </a:cubicBezTo>
                  <a:cubicBezTo>
                    <a:pt x="771" y="250"/>
                    <a:pt x="751" y="247"/>
                    <a:pt x="751" y="243"/>
                  </a:cubicBezTo>
                  <a:cubicBezTo>
                    <a:pt x="751" y="241"/>
                    <a:pt x="748" y="239"/>
                    <a:pt x="746" y="238"/>
                  </a:cubicBezTo>
                  <a:cubicBezTo>
                    <a:pt x="743" y="236"/>
                    <a:pt x="740" y="235"/>
                    <a:pt x="740" y="233"/>
                  </a:cubicBezTo>
                  <a:cubicBezTo>
                    <a:pt x="740" y="232"/>
                    <a:pt x="740" y="232"/>
                    <a:pt x="741" y="231"/>
                  </a:cubicBezTo>
                  <a:cubicBezTo>
                    <a:pt x="742" y="230"/>
                    <a:pt x="743" y="230"/>
                    <a:pt x="744" y="230"/>
                  </a:cubicBezTo>
                  <a:cubicBezTo>
                    <a:pt x="745" y="230"/>
                    <a:pt x="746" y="230"/>
                    <a:pt x="747" y="230"/>
                  </a:cubicBezTo>
                  <a:cubicBezTo>
                    <a:pt x="749" y="231"/>
                    <a:pt x="751" y="231"/>
                    <a:pt x="752" y="231"/>
                  </a:cubicBezTo>
                  <a:cubicBezTo>
                    <a:pt x="755" y="231"/>
                    <a:pt x="758" y="230"/>
                    <a:pt x="760" y="228"/>
                  </a:cubicBezTo>
                  <a:cubicBezTo>
                    <a:pt x="763" y="226"/>
                    <a:pt x="767" y="225"/>
                    <a:pt x="772" y="225"/>
                  </a:cubicBezTo>
                  <a:cubicBezTo>
                    <a:pt x="777" y="225"/>
                    <a:pt x="782" y="226"/>
                    <a:pt x="786" y="227"/>
                  </a:cubicBezTo>
                  <a:cubicBezTo>
                    <a:pt x="791" y="228"/>
                    <a:pt x="795" y="229"/>
                    <a:pt x="798" y="229"/>
                  </a:cubicBezTo>
                  <a:cubicBezTo>
                    <a:pt x="799" y="229"/>
                    <a:pt x="799" y="228"/>
                    <a:pt x="800" y="228"/>
                  </a:cubicBezTo>
                  <a:cubicBezTo>
                    <a:pt x="802" y="228"/>
                    <a:pt x="803" y="227"/>
                    <a:pt x="803" y="225"/>
                  </a:cubicBezTo>
                  <a:cubicBezTo>
                    <a:pt x="803" y="220"/>
                    <a:pt x="796" y="213"/>
                    <a:pt x="793" y="213"/>
                  </a:cubicBezTo>
                  <a:cubicBezTo>
                    <a:pt x="792" y="213"/>
                    <a:pt x="792" y="214"/>
                    <a:pt x="792" y="214"/>
                  </a:cubicBezTo>
                  <a:cubicBezTo>
                    <a:pt x="789" y="215"/>
                    <a:pt x="785" y="216"/>
                    <a:pt x="781" y="216"/>
                  </a:cubicBezTo>
                  <a:cubicBezTo>
                    <a:pt x="773" y="216"/>
                    <a:pt x="767" y="213"/>
                    <a:pt x="767" y="208"/>
                  </a:cubicBezTo>
                  <a:cubicBezTo>
                    <a:pt x="767" y="207"/>
                    <a:pt x="767" y="206"/>
                    <a:pt x="767" y="205"/>
                  </a:cubicBezTo>
                  <a:cubicBezTo>
                    <a:pt x="768" y="204"/>
                    <a:pt x="770" y="203"/>
                    <a:pt x="772" y="203"/>
                  </a:cubicBezTo>
                  <a:cubicBezTo>
                    <a:pt x="774" y="203"/>
                    <a:pt x="776" y="204"/>
                    <a:pt x="778" y="204"/>
                  </a:cubicBezTo>
                  <a:cubicBezTo>
                    <a:pt x="780" y="204"/>
                    <a:pt x="782" y="205"/>
                    <a:pt x="783" y="205"/>
                  </a:cubicBezTo>
                  <a:cubicBezTo>
                    <a:pt x="785" y="205"/>
                    <a:pt x="786" y="204"/>
                    <a:pt x="787" y="204"/>
                  </a:cubicBezTo>
                  <a:cubicBezTo>
                    <a:pt x="787" y="203"/>
                    <a:pt x="787" y="203"/>
                    <a:pt x="787" y="203"/>
                  </a:cubicBezTo>
                  <a:cubicBezTo>
                    <a:pt x="785" y="199"/>
                    <a:pt x="773" y="194"/>
                    <a:pt x="765" y="194"/>
                  </a:cubicBezTo>
                  <a:cubicBezTo>
                    <a:pt x="763" y="194"/>
                    <a:pt x="759" y="195"/>
                    <a:pt x="758" y="198"/>
                  </a:cubicBezTo>
                  <a:cubicBezTo>
                    <a:pt x="756" y="202"/>
                    <a:pt x="751" y="204"/>
                    <a:pt x="748" y="204"/>
                  </a:cubicBezTo>
                  <a:cubicBezTo>
                    <a:pt x="746" y="204"/>
                    <a:pt x="744" y="203"/>
                    <a:pt x="743" y="202"/>
                  </a:cubicBezTo>
                  <a:cubicBezTo>
                    <a:pt x="743" y="201"/>
                    <a:pt x="743" y="199"/>
                    <a:pt x="746" y="198"/>
                  </a:cubicBezTo>
                  <a:cubicBezTo>
                    <a:pt x="753" y="193"/>
                    <a:pt x="756" y="179"/>
                    <a:pt x="755" y="171"/>
                  </a:cubicBezTo>
                  <a:cubicBezTo>
                    <a:pt x="754" y="168"/>
                    <a:pt x="760" y="166"/>
                    <a:pt x="766" y="164"/>
                  </a:cubicBezTo>
                  <a:cubicBezTo>
                    <a:pt x="774" y="161"/>
                    <a:pt x="782" y="158"/>
                    <a:pt x="780" y="151"/>
                  </a:cubicBezTo>
                  <a:cubicBezTo>
                    <a:pt x="780" y="148"/>
                    <a:pt x="780" y="146"/>
                    <a:pt x="782" y="143"/>
                  </a:cubicBezTo>
                  <a:cubicBezTo>
                    <a:pt x="787" y="137"/>
                    <a:pt x="801" y="136"/>
                    <a:pt x="805" y="136"/>
                  </a:cubicBezTo>
                  <a:cubicBezTo>
                    <a:pt x="806" y="136"/>
                    <a:pt x="807" y="136"/>
                    <a:pt x="808" y="136"/>
                  </a:cubicBezTo>
                  <a:cubicBezTo>
                    <a:pt x="808" y="135"/>
                    <a:pt x="809" y="135"/>
                    <a:pt x="809" y="134"/>
                  </a:cubicBezTo>
                  <a:cubicBezTo>
                    <a:pt x="809" y="131"/>
                    <a:pt x="803" y="126"/>
                    <a:pt x="797" y="126"/>
                  </a:cubicBezTo>
                  <a:cubicBezTo>
                    <a:pt x="796" y="126"/>
                    <a:pt x="796" y="126"/>
                    <a:pt x="795" y="126"/>
                  </a:cubicBezTo>
                  <a:cubicBezTo>
                    <a:pt x="791" y="126"/>
                    <a:pt x="787" y="128"/>
                    <a:pt x="783" y="131"/>
                  </a:cubicBezTo>
                  <a:cubicBezTo>
                    <a:pt x="780" y="133"/>
                    <a:pt x="776" y="134"/>
                    <a:pt x="774" y="134"/>
                  </a:cubicBezTo>
                  <a:cubicBezTo>
                    <a:pt x="773" y="134"/>
                    <a:pt x="772" y="134"/>
                    <a:pt x="771" y="133"/>
                  </a:cubicBezTo>
                  <a:cubicBezTo>
                    <a:pt x="770" y="132"/>
                    <a:pt x="769" y="131"/>
                    <a:pt x="770" y="130"/>
                  </a:cubicBezTo>
                  <a:cubicBezTo>
                    <a:pt x="772" y="125"/>
                    <a:pt x="784" y="120"/>
                    <a:pt x="791" y="120"/>
                  </a:cubicBezTo>
                  <a:cubicBezTo>
                    <a:pt x="801" y="120"/>
                    <a:pt x="820" y="119"/>
                    <a:pt x="827" y="115"/>
                  </a:cubicBezTo>
                  <a:cubicBezTo>
                    <a:pt x="828" y="115"/>
                    <a:pt x="829" y="114"/>
                    <a:pt x="828" y="114"/>
                  </a:cubicBezTo>
                  <a:cubicBezTo>
                    <a:pt x="828" y="112"/>
                    <a:pt x="819" y="109"/>
                    <a:pt x="808" y="109"/>
                  </a:cubicBezTo>
                  <a:cubicBezTo>
                    <a:pt x="805" y="109"/>
                    <a:pt x="803" y="109"/>
                    <a:pt x="801" y="110"/>
                  </a:cubicBezTo>
                  <a:cubicBezTo>
                    <a:pt x="799" y="110"/>
                    <a:pt x="798" y="110"/>
                    <a:pt x="796" y="110"/>
                  </a:cubicBezTo>
                  <a:cubicBezTo>
                    <a:pt x="793" y="110"/>
                    <a:pt x="791" y="109"/>
                    <a:pt x="791" y="108"/>
                  </a:cubicBezTo>
                  <a:cubicBezTo>
                    <a:pt x="791" y="106"/>
                    <a:pt x="797" y="104"/>
                    <a:pt x="808" y="104"/>
                  </a:cubicBezTo>
                  <a:cubicBezTo>
                    <a:pt x="820" y="104"/>
                    <a:pt x="823" y="102"/>
                    <a:pt x="827" y="101"/>
                  </a:cubicBezTo>
                  <a:cubicBezTo>
                    <a:pt x="830" y="99"/>
                    <a:pt x="833" y="98"/>
                    <a:pt x="839" y="98"/>
                  </a:cubicBezTo>
                  <a:cubicBezTo>
                    <a:pt x="847" y="97"/>
                    <a:pt x="849" y="94"/>
                    <a:pt x="851" y="93"/>
                  </a:cubicBezTo>
                  <a:cubicBezTo>
                    <a:pt x="853" y="91"/>
                    <a:pt x="854" y="90"/>
                    <a:pt x="858" y="89"/>
                  </a:cubicBezTo>
                  <a:cubicBezTo>
                    <a:pt x="867" y="89"/>
                    <a:pt x="891" y="79"/>
                    <a:pt x="891" y="75"/>
                  </a:cubicBezTo>
                  <a:cubicBezTo>
                    <a:pt x="891" y="71"/>
                    <a:pt x="858" y="61"/>
                    <a:pt x="841" y="61"/>
                  </a:cubicBezTo>
                  <a:cubicBezTo>
                    <a:pt x="822" y="61"/>
                    <a:pt x="813" y="65"/>
                    <a:pt x="812" y="74"/>
                  </a:cubicBezTo>
                  <a:cubicBezTo>
                    <a:pt x="812" y="78"/>
                    <a:pt x="810" y="79"/>
                    <a:pt x="806" y="79"/>
                  </a:cubicBezTo>
                  <a:cubicBezTo>
                    <a:pt x="803" y="79"/>
                    <a:pt x="800" y="79"/>
                    <a:pt x="796" y="78"/>
                  </a:cubicBezTo>
                  <a:cubicBezTo>
                    <a:pt x="793" y="77"/>
                    <a:pt x="789" y="76"/>
                    <a:pt x="786" y="76"/>
                  </a:cubicBezTo>
                  <a:cubicBezTo>
                    <a:pt x="784" y="76"/>
                    <a:pt x="783" y="76"/>
                    <a:pt x="782" y="77"/>
                  </a:cubicBezTo>
                  <a:cubicBezTo>
                    <a:pt x="781" y="77"/>
                    <a:pt x="780" y="77"/>
                    <a:pt x="779" y="77"/>
                  </a:cubicBezTo>
                  <a:cubicBezTo>
                    <a:pt x="777" y="77"/>
                    <a:pt x="776" y="75"/>
                    <a:pt x="775" y="74"/>
                  </a:cubicBezTo>
                  <a:cubicBezTo>
                    <a:pt x="774" y="72"/>
                    <a:pt x="774" y="71"/>
                    <a:pt x="772" y="71"/>
                  </a:cubicBezTo>
                  <a:cubicBezTo>
                    <a:pt x="771" y="71"/>
                    <a:pt x="770" y="71"/>
                    <a:pt x="769" y="72"/>
                  </a:cubicBezTo>
                  <a:cubicBezTo>
                    <a:pt x="765" y="74"/>
                    <a:pt x="761" y="77"/>
                    <a:pt x="757" y="80"/>
                  </a:cubicBezTo>
                  <a:cubicBezTo>
                    <a:pt x="752" y="84"/>
                    <a:pt x="747" y="88"/>
                    <a:pt x="741" y="91"/>
                  </a:cubicBezTo>
                  <a:cubicBezTo>
                    <a:pt x="736" y="93"/>
                    <a:pt x="731" y="97"/>
                    <a:pt x="727" y="100"/>
                  </a:cubicBezTo>
                  <a:cubicBezTo>
                    <a:pt x="723" y="103"/>
                    <a:pt x="720" y="106"/>
                    <a:pt x="716" y="107"/>
                  </a:cubicBezTo>
                  <a:cubicBezTo>
                    <a:pt x="715" y="107"/>
                    <a:pt x="715" y="106"/>
                    <a:pt x="714" y="106"/>
                  </a:cubicBezTo>
                  <a:cubicBezTo>
                    <a:pt x="714" y="104"/>
                    <a:pt x="716" y="100"/>
                    <a:pt x="740" y="76"/>
                  </a:cubicBezTo>
                  <a:cubicBezTo>
                    <a:pt x="744" y="71"/>
                    <a:pt x="746" y="66"/>
                    <a:pt x="744" y="62"/>
                  </a:cubicBezTo>
                  <a:cubicBezTo>
                    <a:pt x="742" y="57"/>
                    <a:pt x="737" y="55"/>
                    <a:pt x="731" y="56"/>
                  </a:cubicBezTo>
                  <a:cubicBezTo>
                    <a:pt x="723" y="56"/>
                    <a:pt x="721" y="59"/>
                    <a:pt x="719" y="62"/>
                  </a:cubicBezTo>
                  <a:cubicBezTo>
                    <a:pt x="718" y="64"/>
                    <a:pt x="716" y="66"/>
                    <a:pt x="713" y="67"/>
                  </a:cubicBezTo>
                  <a:cubicBezTo>
                    <a:pt x="710" y="68"/>
                    <a:pt x="705" y="70"/>
                    <a:pt x="698" y="73"/>
                  </a:cubicBezTo>
                  <a:cubicBezTo>
                    <a:pt x="687" y="77"/>
                    <a:pt x="674" y="83"/>
                    <a:pt x="668" y="83"/>
                  </a:cubicBezTo>
                  <a:cubicBezTo>
                    <a:pt x="667" y="83"/>
                    <a:pt x="666" y="82"/>
                    <a:pt x="666" y="81"/>
                  </a:cubicBezTo>
                  <a:cubicBezTo>
                    <a:pt x="665" y="78"/>
                    <a:pt x="672" y="75"/>
                    <a:pt x="683" y="70"/>
                  </a:cubicBezTo>
                  <a:cubicBezTo>
                    <a:pt x="689" y="67"/>
                    <a:pt x="696" y="64"/>
                    <a:pt x="696" y="62"/>
                  </a:cubicBezTo>
                  <a:cubicBezTo>
                    <a:pt x="696" y="61"/>
                    <a:pt x="687" y="59"/>
                    <a:pt x="667" y="59"/>
                  </a:cubicBezTo>
                  <a:cubicBezTo>
                    <a:pt x="656" y="59"/>
                    <a:pt x="645" y="60"/>
                    <a:pt x="637" y="61"/>
                  </a:cubicBezTo>
                  <a:cubicBezTo>
                    <a:pt x="631" y="62"/>
                    <a:pt x="623" y="64"/>
                    <a:pt x="615" y="66"/>
                  </a:cubicBezTo>
                  <a:cubicBezTo>
                    <a:pt x="605" y="68"/>
                    <a:pt x="595" y="70"/>
                    <a:pt x="590" y="70"/>
                  </a:cubicBezTo>
                  <a:cubicBezTo>
                    <a:pt x="590" y="70"/>
                    <a:pt x="590" y="70"/>
                    <a:pt x="590" y="70"/>
                  </a:cubicBezTo>
                  <a:cubicBezTo>
                    <a:pt x="590" y="70"/>
                    <a:pt x="587" y="70"/>
                    <a:pt x="586" y="68"/>
                  </a:cubicBezTo>
                  <a:cubicBezTo>
                    <a:pt x="586" y="62"/>
                    <a:pt x="627" y="55"/>
                    <a:pt x="643" y="53"/>
                  </a:cubicBezTo>
                  <a:cubicBezTo>
                    <a:pt x="650" y="52"/>
                    <a:pt x="659" y="52"/>
                    <a:pt x="669" y="52"/>
                  </a:cubicBezTo>
                  <a:cubicBezTo>
                    <a:pt x="685" y="52"/>
                    <a:pt x="702" y="52"/>
                    <a:pt x="711" y="49"/>
                  </a:cubicBezTo>
                  <a:cubicBezTo>
                    <a:pt x="718" y="46"/>
                    <a:pt x="727" y="44"/>
                    <a:pt x="734" y="43"/>
                  </a:cubicBezTo>
                  <a:cubicBezTo>
                    <a:pt x="742" y="41"/>
                    <a:pt x="749" y="40"/>
                    <a:pt x="751" y="37"/>
                  </a:cubicBezTo>
                  <a:cubicBezTo>
                    <a:pt x="752" y="37"/>
                    <a:pt x="752" y="36"/>
                    <a:pt x="752" y="36"/>
                  </a:cubicBezTo>
                  <a:cubicBezTo>
                    <a:pt x="750" y="32"/>
                    <a:pt x="735" y="28"/>
                    <a:pt x="726" y="28"/>
                  </a:cubicBezTo>
                  <a:cubicBezTo>
                    <a:pt x="725" y="28"/>
                    <a:pt x="725" y="28"/>
                    <a:pt x="725" y="28"/>
                  </a:cubicBezTo>
                  <a:cubicBezTo>
                    <a:pt x="723" y="28"/>
                    <a:pt x="722" y="28"/>
                    <a:pt x="721" y="28"/>
                  </a:cubicBezTo>
                  <a:cubicBezTo>
                    <a:pt x="715" y="28"/>
                    <a:pt x="708" y="27"/>
                    <a:pt x="705" y="24"/>
                  </a:cubicBezTo>
                  <a:cubicBezTo>
                    <a:pt x="704" y="23"/>
                    <a:pt x="704" y="22"/>
                    <a:pt x="704" y="21"/>
                  </a:cubicBezTo>
                  <a:cubicBezTo>
                    <a:pt x="705" y="18"/>
                    <a:pt x="700" y="17"/>
                    <a:pt x="695" y="15"/>
                  </a:cubicBezTo>
                  <a:cubicBezTo>
                    <a:pt x="691" y="14"/>
                    <a:pt x="688" y="13"/>
                    <a:pt x="687" y="11"/>
                  </a:cubicBezTo>
                  <a:cubicBezTo>
                    <a:pt x="686" y="9"/>
                    <a:pt x="677" y="9"/>
                    <a:pt x="669" y="9"/>
                  </a:cubicBezTo>
                  <a:cubicBezTo>
                    <a:pt x="660" y="9"/>
                    <a:pt x="650" y="8"/>
                    <a:pt x="646" y="6"/>
                  </a:cubicBezTo>
                  <a:cubicBezTo>
                    <a:pt x="641" y="3"/>
                    <a:pt x="627" y="1"/>
                    <a:pt x="612" y="1"/>
                  </a:cubicBezTo>
                  <a:cubicBezTo>
                    <a:pt x="609" y="1"/>
                    <a:pt x="605" y="1"/>
                    <a:pt x="602" y="1"/>
                  </a:cubicBezTo>
                  <a:cubicBezTo>
                    <a:pt x="593" y="2"/>
                    <a:pt x="578" y="2"/>
                    <a:pt x="565" y="2"/>
                  </a:cubicBezTo>
                  <a:cubicBezTo>
                    <a:pt x="554" y="2"/>
                    <a:pt x="545" y="2"/>
                    <a:pt x="541" y="3"/>
                  </a:cubicBezTo>
                  <a:cubicBezTo>
                    <a:pt x="538" y="3"/>
                    <a:pt x="535" y="4"/>
                    <a:pt x="532" y="4"/>
                  </a:cubicBezTo>
                  <a:cubicBezTo>
                    <a:pt x="529" y="5"/>
                    <a:pt x="526" y="6"/>
                    <a:pt x="522" y="6"/>
                  </a:cubicBezTo>
                  <a:cubicBezTo>
                    <a:pt x="522" y="6"/>
                    <a:pt x="522" y="6"/>
                    <a:pt x="522" y="6"/>
                  </a:cubicBezTo>
                  <a:cubicBezTo>
                    <a:pt x="521" y="6"/>
                    <a:pt x="521" y="6"/>
                    <a:pt x="521" y="6"/>
                  </a:cubicBezTo>
                  <a:cubicBezTo>
                    <a:pt x="515" y="6"/>
                    <a:pt x="507" y="7"/>
                    <a:pt x="506" y="10"/>
                  </a:cubicBezTo>
                  <a:cubicBezTo>
                    <a:pt x="506" y="10"/>
                    <a:pt x="506" y="11"/>
                    <a:pt x="507" y="12"/>
                  </a:cubicBezTo>
                  <a:cubicBezTo>
                    <a:pt x="509" y="15"/>
                    <a:pt x="509" y="17"/>
                    <a:pt x="509" y="18"/>
                  </a:cubicBezTo>
                  <a:cubicBezTo>
                    <a:pt x="507" y="20"/>
                    <a:pt x="504" y="22"/>
                    <a:pt x="501" y="22"/>
                  </a:cubicBezTo>
                  <a:cubicBezTo>
                    <a:pt x="499" y="22"/>
                    <a:pt x="497" y="21"/>
                    <a:pt x="496" y="20"/>
                  </a:cubicBezTo>
                  <a:cubicBezTo>
                    <a:pt x="496" y="20"/>
                    <a:pt x="496" y="19"/>
                    <a:pt x="496" y="18"/>
                  </a:cubicBezTo>
                  <a:cubicBezTo>
                    <a:pt x="496" y="17"/>
                    <a:pt x="496" y="16"/>
                    <a:pt x="495" y="15"/>
                  </a:cubicBezTo>
                  <a:cubicBezTo>
                    <a:pt x="493" y="13"/>
                    <a:pt x="488" y="11"/>
                    <a:pt x="483" y="11"/>
                  </a:cubicBezTo>
                  <a:cubicBezTo>
                    <a:pt x="479" y="11"/>
                    <a:pt x="476" y="12"/>
                    <a:pt x="474" y="14"/>
                  </a:cubicBezTo>
                  <a:cubicBezTo>
                    <a:pt x="473" y="15"/>
                    <a:pt x="471" y="15"/>
                    <a:pt x="467" y="15"/>
                  </a:cubicBezTo>
                  <a:cubicBezTo>
                    <a:pt x="463" y="15"/>
                    <a:pt x="458" y="14"/>
                    <a:pt x="453" y="14"/>
                  </a:cubicBezTo>
                  <a:cubicBezTo>
                    <a:pt x="448" y="13"/>
                    <a:pt x="444" y="12"/>
                    <a:pt x="440" y="12"/>
                  </a:cubicBezTo>
                  <a:cubicBezTo>
                    <a:pt x="437" y="12"/>
                    <a:pt x="435" y="13"/>
                    <a:pt x="435" y="14"/>
                  </a:cubicBezTo>
                  <a:cubicBezTo>
                    <a:pt x="432" y="17"/>
                    <a:pt x="416" y="18"/>
                    <a:pt x="402" y="18"/>
                  </a:cubicBezTo>
                  <a:cubicBezTo>
                    <a:pt x="396" y="19"/>
                    <a:pt x="390" y="19"/>
                    <a:pt x="386" y="19"/>
                  </a:cubicBezTo>
                  <a:cubicBezTo>
                    <a:pt x="384" y="20"/>
                    <a:pt x="384" y="20"/>
                    <a:pt x="384" y="20"/>
                  </a:cubicBezTo>
                  <a:cubicBezTo>
                    <a:pt x="384" y="21"/>
                    <a:pt x="389" y="23"/>
                    <a:pt x="392" y="25"/>
                  </a:cubicBezTo>
                  <a:cubicBezTo>
                    <a:pt x="397" y="27"/>
                    <a:pt x="402" y="30"/>
                    <a:pt x="401" y="32"/>
                  </a:cubicBezTo>
                  <a:cubicBezTo>
                    <a:pt x="401" y="34"/>
                    <a:pt x="396" y="35"/>
                    <a:pt x="389" y="35"/>
                  </a:cubicBezTo>
                  <a:cubicBezTo>
                    <a:pt x="383" y="35"/>
                    <a:pt x="376" y="36"/>
                    <a:pt x="375" y="38"/>
                  </a:cubicBezTo>
                  <a:cubicBezTo>
                    <a:pt x="374" y="38"/>
                    <a:pt x="375" y="39"/>
                    <a:pt x="375" y="40"/>
                  </a:cubicBezTo>
                  <a:cubicBezTo>
                    <a:pt x="378" y="43"/>
                    <a:pt x="385" y="47"/>
                    <a:pt x="392" y="50"/>
                  </a:cubicBezTo>
                  <a:cubicBezTo>
                    <a:pt x="399" y="54"/>
                    <a:pt x="407" y="58"/>
                    <a:pt x="412" y="63"/>
                  </a:cubicBezTo>
                  <a:cubicBezTo>
                    <a:pt x="415" y="65"/>
                    <a:pt x="416" y="67"/>
                    <a:pt x="415" y="68"/>
                  </a:cubicBezTo>
                  <a:cubicBezTo>
                    <a:pt x="415" y="69"/>
                    <a:pt x="414" y="69"/>
                    <a:pt x="413" y="69"/>
                  </a:cubicBezTo>
                  <a:cubicBezTo>
                    <a:pt x="409" y="69"/>
                    <a:pt x="400" y="65"/>
                    <a:pt x="393" y="60"/>
                  </a:cubicBezTo>
                  <a:cubicBezTo>
                    <a:pt x="387" y="57"/>
                    <a:pt x="382" y="56"/>
                    <a:pt x="376" y="54"/>
                  </a:cubicBezTo>
                  <a:cubicBezTo>
                    <a:pt x="370" y="53"/>
                    <a:pt x="364" y="52"/>
                    <a:pt x="360" y="48"/>
                  </a:cubicBezTo>
                  <a:cubicBezTo>
                    <a:pt x="355" y="43"/>
                    <a:pt x="339" y="38"/>
                    <a:pt x="329" y="38"/>
                  </a:cubicBezTo>
                  <a:cubicBezTo>
                    <a:pt x="326" y="38"/>
                    <a:pt x="323" y="39"/>
                    <a:pt x="322" y="40"/>
                  </a:cubicBezTo>
                  <a:cubicBezTo>
                    <a:pt x="321" y="40"/>
                    <a:pt x="321" y="41"/>
                    <a:pt x="321" y="41"/>
                  </a:cubicBezTo>
                  <a:cubicBezTo>
                    <a:pt x="321" y="44"/>
                    <a:pt x="326" y="47"/>
                    <a:pt x="330" y="50"/>
                  </a:cubicBezTo>
                  <a:cubicBezTo>
                    <a:pt x="335" y="54"/>
                    <a:pt x="340" y="57"/>
                    <a:pt x="340" y="59"/>
                  </a:cubicBezTo>
                  <a:cubicBezTo>
                    <a:pt x="340" y="61"/>
                    <a:pt x="338" y="62"/>
                    <a:pt x="335" y="62"/>
                  </a:cubicBezTo>
                  <a:cubicBezTo>
                    <a:pt x="333" y="62"/>
                    <a:pt x="330" y="62"/>
                    <a:pt x="328" y="61"/>
                  </a:cubicBezTo>
                  <a:cubicBezTo>
                    <a:pt x="325" y="61"/>
                    <a:pt x="323" y="60"/>
                    <a:pt x="321" y="60"/>
                  </a:cubicBezTo>
                  <a:cubicBezTo>
                    <a:pt x="320" y="60"/>
                    <a:pt x="320" y="60"/>
                    <a:pt x="319" y="61"/>
                  </a:cubicBezTo>
                  <a:cubicBezTo>
                    <a:pt x="319" y="61"/>
                    <a:pt x="319" y="61"/>
                    <a:pt x="318" y="61"/>
                  </a:cubicBezTo>
                  <a:cubicBezTo>
                    <a:pt x="316" y="61"/>
                    <a:pt x="313" y="58"/>
                    <a:pt x="309" y="55"/>
                  </a:cubicBezTo>
                  <a:cubicBezTo>
                    <a:pt x="304" y="51"/>
                    <a:pt x="297" y="46"/>
                    <a:pt x="292" y="46"/>
                  </a:cubicBezTo>
                  <a:cubicBezTo>
                    <a:pt x="291" y="46"/>
                    <a:pt x="290" y="46"/>
                    <a:pt x="289" y="47"/>
                  </a:cubicBezTo>
                  <a:cubicBezTo>
                    <a:pt x="288" y="48"/>
                    <a:pt x="289" y="50"/>
                    <a:pt x="290" y="53"/>
                  </a:cubicBezTo>
                  <a:cubicBezTo>
                    <a:pt x="291" y="56"/>
                    <a:pt x="292" y="60"/>
                    <a:pt x="292" y="64"/>
                  </a:cubicBezTo>
                  <a:cubicBezTo>
                    <a:pt x="292" y="72"/>
                    <a:pt x="283" y="78"/>
                    <a:pt x="279" y="78"/>
                  </a:cubicBezTo>
                  <a:cubicBezTo>
                    <a:pt x="278" y="78"/>
                    <a:pt x="278" y="77"/>
                    <a:pt x="278" y="77"/>
                  </a:cubicBezTo>
                  <a:cubicBezTo>
                    <a:pt x="277" y="76"/>
                    <a:pt x="278" y="75"/>
                    <a:pt x="279" y="74"/>
                  </a:cubicBezTo>
                  <a:cubicBezTo>
                    <a:pt x="281" y="70"/>
                    <a:pt x="281" y="62"/>
                    <a:pt x="279" y="55"/>
                  </a:cubicBezTo>
                  <a:cubicBezTo>
                    <a:pt x="277" y="50"/>
                    <a:pt x="274" y="46"/>
                    <a:pt x="271" y="45"/>
                  </a:cubicBezTo>
                  <a:cubicBezTo>
                    <a:pt x="270" y="44"/>
                    <a:pt x="269" y="44"/>
                    <a:pt x="267" y="44"/>
                  </a:cubicBezTo>
                  <a:cubicBezTo>
                    <a:pt x="262" y="44"/>
                    <a:pt x="254" y="46"/>
                    <a:pt x="247" y="48"/>
                  </a:cubicBezTo>
                  <a:cubicBezTo>
                    <a:pt x="240" y="50"/>
                    <a:pt x="232" y="52"/>
                    <a:pt x="227" y="52"/>
                  </a:cubicBezTo>
                  <a:cubicBezTo>
                    <a:pt x="226" y="52"/>
                    <a:pt x="226" y="52"/>
                    <a:pt x="225" y="52"/>
                  </a:cubicBezTo>
                  <a:cubicBezTo>
                    <a:pt x="216" y="52"/>
                    <a:pt x="207" y="54"/>
                    <a:pt x="207" y="57"/>
                  </a:cubicBezTo>
                  <a:cubicBezTo>
                    <a:pt x="206" y="58"/>
                    <a:pt x="208" y="59"/>
                    <a:pt x="210" y="60"/>
                  </a:cubicBezTo>
                  <a:cubicBezTo>
                    <a:pt x="214" y="63"/>
                    <a:pt x="214" y="64"/>
                    <a:pt x="214" y="66"/>
                  </a:cubicBezTo>
                  <a:cubicBezTo>
                    <a:pt x="214" y="67"/>
                    <a:pt x="212" y="68"/>
                    <a:pt x="210" y="68"/>
                  </a:cubicBezTo>
                  <a:cubicBezTo>
                    <a:pt x="206" y="68"/>
                    <a:pt x="203" y="66"/>
                    <a:pt x="200" y="64"/>
                  </a:cubicBezTo>
                  <a:cubicBezTo>
                    <a:pt x="197" y="62"/>
                    <a:pt x="191" y="61"/>
                    <a:pt x="188" y="61"/>
                  </a:cubicBezTo>
                  <a:cubicBezTo>
                    <a:pt x="178" y="61"/>
                    <a:pt x="168" y="64"/>
                    <a:pt x="167" y="67"/>
                  </a:cubicBezTo>
                  <a:cubicBezTo>
                    <a:pt x="167" y="67"/>
                    <a:pt x="167" y="67"/>
                    <a:pt x="167" y="68"/>
                  </a:cubicBezTo>
                  <a:cubicBezTo>
                    <a:pt x="171" y="70"/>
                    <a:pt x="173" y="74"/>
                    <a:pt x="174" y="79"/>
                  </a:cubicBezTo>
                  <a:cubicBezTo>
                    <a:pt x="174" y="84"/>
                    <a:pt x="174" y="88"/>
                    <a:pt x="172" y="90"/>
                  </a:cubicBezTo>
                  <a:cubicBezTo>
                    <a:pt x="171" y="91"/>
                    <a:pt x="170" y="92"/>
                    <a:pt x="168" y="92"/>
                  </a:cubicBezTo>
                  <a:cubicBezTo>
                    <a:pt x="166" y="92"/>
                    <a:pt x="163" y="91"/>
                    <a:pt x="159" y="89"/>
                  </a:cubicBezTo>
                  <a:cubicBezTo>
                    <a:pt x="154" y="88"/>
                    <a:pt x="149" y="86"/>
                    <a:pt x="144" y="86"/>
                  </a:cubicBezTo>
                  <a:cubicBezTo>
                    <a:pt x="133" y="87"/>
                    <a:pt x="84" y="110"/>
                    <a:pt x="79" y="119"/>
                  </a:cubicBezTo>
                  <a:cubicBezTo>
                    <a:pt x="78" y="120"/>
                    <a:pt x="78" y="121"/>
                    <a:pt x="78" y="121"/>
                  </a:cubicBezTo>
                  <a:cubicBezTo>
                    <a:pt x="80" y="124"/>
                    <a:pt x="86" y="125"/>
                    <a:pt x="93" y="125"/>
                  </a:cubicBezTo>
                  <a:cubicBezTo>
                    <a:pt x="94" y="125"/>
                    <a:pt x="95" y="125"/>
                    <a:pt x="97" y="125"/>
                  </a:cubicBezTo>
                  <a:cubicBezTo>
                    <a:pt x="98" y="125"/>
                    <a:pt x="100" y="125"/>
                    <a:pt x="101" y="125"/>
                  </a:cubicBezTo>
                  <a:cubicBezTo>
                    <a:pt x="106" y="125"/>
                    <a:pt x="111" y="125"/>
                    <a:pt x="114" y="126"/>
                  </a:cubicBezTo>
                  <a:cubicBezTo>
                    <a:pt x="116" y="127"/>
                    <a:pt x="117" y="129"/>
                    <a:pt x="117" y="131"/>
                  </a:cubicBezTo>
                  <a:cubicBezTo>
                    <a:pt x="117" y="138"/>
                    <a:pt x="109" y="149"/>
                    <a:pt x="102" y="154"/>
                  </a:cubicBezTo>
                  <a:cubicBezTo>
                    <a:pt x="97" y="157"/>
                    <a:pt x="87" y="157"/>
                    <a:pt x="77" y="158"/>
                  </a:cubicBezTo>
                  <a:cubicBezTo>
                    <a:pt x="67" y="158"/>
                    <a:pt x="57" y="158"/>
                    <a:pt x="56" y="162"/>
                  </a:cubicBezTo>
                  <a:cubicBezTo>
                    <a:pt x="56" y="165"/>
                    <a:pt x="47" y="167"/>
                    <a:pt x="33" y="170"/>
                  </a:cubicBezTo>
                  <a:cubicBezTo>
                    <a:pt x="19" y="173"/>
                    <a:pt x="1" y="177"/>
                    <a:pt x="1" y="183"/>
                  </a:cubicBezTo>
                  <a:cubicBezTo>
                    <a:pt x="1" y="187"/>
                    <a:pt x="3" y="192"/>
                    <a:pt x="9" y="193"/>
                  </a:cubicBezTo>
                  <a:cubicBezTo>
                    <a:pt x="11" y="194"/>
                    <a:pt x="14" y="194"/>
                    <a:pt x="16" y="194"/>
                  </a:cubicBezTo>
                  <a:cubicBezTo>
                    <a:pt x="22" y="195"/>
                    <a:pt x="28" y="195"/>
                    <a:pt x="33" y="200"/>
                  </a:cubicBezTo>
                  <a:cubicBezTo>
                    <a:pt x="37" y="204"/>
                    <a:pt x="44" y="207"/>
                    <a:pt x="53" y="207"/>
                  </a:cubicBezTo>
                  <a:cubicBezTo>
                    <a:pt x="60" y="207"/>
                    <a:pt x="67" y="206"/>
                    <a:pt x="72" y="203"/>
                  </a:cubicBezTo>
                  <a:cubicBezTo>
                    <a:pt x="76" y="202"/>
                    <a:pt x="79" y="201"/>
                    <a:pt x="82" y="201"/>
                  </a:cubicBezTo>
                  <a:cubicBezTo>
                    <a:pt x="87" y="201"/>
                    <a:pt x="91" y="203"/>
                    <a:pt x="93" y="206"/>
                  </a:cubicBezTo>
                  <a:cubicBezTo>
                    <a:pt x="95" y="207"/>
                    <a:pt x="96" y="210"/>
                    <a:pt x="96" y="212"/>
                  </a:cubicBezTo>
                  <a:cubicBezTo>
                    <a:pt x="96" y="216"/>
                    <a:pt x="92" y="216"/>
                    <a:pt x="89" y="216"/>
                  </a:cubicBezTo>
                  <a:cubicBezTo>
                    <a:pt x="86" y="216"/>
                    <a:pt x="82" y="215"/>
                    <a:pt x="78" y="215"/>
                  </a:cubicBezTo>
                  <a:cubicBezTo>
                    <a:pt x="73" y="214"/>
                    <a:pt x="69" y="214"/>
                    <a:pt x="65" y="214"/>
                  </a:cubicBezTo>
                  <a:cubicBezTo>
                    <a:pt x="61" y="214"/>
                    <a:pt x="58" y="214"/>
                    <a:pt x="56" y="215"/>
                  </a:cubicBezTo>
                  <a:cubicBezTo>
                    <a:pt x="52" y="218"/>
                    <a:pt x="43" y="219"/>
                    <a:pt x="35" y="219"/>
                  </a:cubicBezTo>
                  <a:cubicBezTo>
                    <a:pt x="29" y="219"/>
                    <a:pt x="23" y="219"/>
                    <a:pt x="21" y="221"/>
                  </a:cubicBezTo>
                  <a:cubicBezTo>
                    <a:pt x="21" y="221"/>
                    <a:pt x="21" y="221"/>
                    <a:pt x="21" y="222"/>
                  </a:cubicBezTo>
                  <a:cubicBezTo>
                    <a:pt x="22" y="226"/>
                    <a:pt x="29" y="226"/>
                    <a:pt x="36" y="227"/>
                  </a:cubicBezTo>
                  <a:cubicBezTo>
                    <a:pt x="40" y="227"/>
                    <a:pt x="43" y="228"/>
                    <a:pt x="47" y="228"/>
                  </a:cubicBezTo>
                  <a:cubicBezTo>
                    <a:pt x="50" y="229"/>
                    <a:pt x="52" y="230"/>
                    <a:pt x="52" y="231"/>
                  </a:cubicBezTo>
                  <a:cubicBezTo>
                    <a:pt x="53" y="233"/>
                    <a:pt x="52" y="234"/>
                    <a:pt x="50" y="236"/>
                  </a:cubicBezTo>
                  <a:cubicBezTo>
                    <a:pt x="49" y="237"/>
                    <a:pt x="48" y="239"/>
                    <a:pt x="48" y="240"/>
                  </a:cubicBezTo>
                  <a:cubicBezTo>
                    <a:pt x="47" y="243"/>
                    <a:pt x="49" y="244"/>
                    <a:pt x="54" y="245"/>
                  </a:cubicBezTo>
                  <a:cubicBezTo>
                    <a:pt x="57" y="246"/>
                    <a:pt x="60" y="247"/>
                    <a:pt x="65" y="249"/>
                  </a:cubicBezTo>
                  <a:cubicBezTo>
                    <a:pt x="71" y="253"/>
                    <a:pt x="81" y="255"/>
                    <a:pt x="86" y="255"/>
                  </a:cubicBezTo>
                  <a:cubicBezTo>
                    <a:pt x="88" y="255"/>
                    <a:pt x="89" y="255"/>
                    <a:pt x="89" y="255"/>
                  </a:cubicBezTo>
                  <a:cubicBezTo>
                    <a:pt x="89" y="255"/>
                    <a:pt x="89" y="254"/>
                    <a:pt x="88" y="253"/>
                  </a:cubicBezTo>
                  <a:cubicBezTo>
                    <a:pt x="86" y="251"/>
                    <a:pt x="86" y="250"/>
                    <a:pt x="86" y="249"/>
                  </a:cubicBezTo>
                  <a:cubicBezTo>
                    <a:pt x="87" y="247"/>
                    <a:pt x="91" y="247"/>
                    <a:pt x="92" y="247"/>
                  </a:cubicBezTo>
                  <a:cubicBezTo>
                    <a:pt x="96" y="247"/>
                    <a:pt x="101" y="248"/>
                    <a:pt x="103" y="250"/>
                  </a:cubicBezTo>
                  <a:cubicBezTo>
                    <a:pt x="104" y="252"/>
                    <a:pt x="107" y="251"/>
                    <a:pt x="110" y="249"/>
                  </a:cubicBezTo>
                  <a:cubicBezTo>
                    <a:pt x="113" y="248"/>
                    <a:pt x="116" y="246"/>
                    <a:pt x="119" y="246"/>
                  </a:cubicBezTo>
                  <a:cubicBezTo>
                    <a:pt x="120" y="246"/>
                    <a:pt x="121" y="247"/>
                    <a:pt x="122" y="247"/>
                  </a:cubicBezTo>
                  <a:cubicBezTo>
                    <a:pt x="123" y="247"/>
                    <a:pt x="124" y="247"/>
                    <a:pt x="124" y="247"/>
                  </a:cubicBezTo>
                  <a:cubicBezTo>
                    <a:pt x="127" y="247"/>
                    <a:pt x="129" y="246"/>
                    <a:pt x="131" y="244"/>
                  </a:cubicBezTo>
                  <a:cubicBezTo>
                    <a:pt x="133" y="243"/>
                    <a:pt x="134" y="242"/>
                    <a:pt x="136" y="242"/>
                  </a:cubicBezTo>
                  <a:cubicBezTo>
                    <a:pt x="138" y="242"/>
                    <a:pt x="139" y="243"/>
                    <a:pt x="140" y="243"/>
                  </a:cubicBezTo>
                  <a:cubicBezTo>
                    <a:pt x="143" y="245"/>
                    <a:pt x="152" y="247"/>
                    <a:pt x="161" y="249"/>
                  </a:cubicBezTo>
                  <a:cubicBezTo>
                    <a:pt x="171" y="251"/>
                    <a:pt x="181" y="253"/>
                    <a:pt x="187" y="256"/>
                  </a:cubicBezTo>
                  <a:cubicBezTo>
                    <a:pt x="190" y="258"/>
                    <a:pt x="194" y="259"/>
                    <a:pt x="197" y="260"/>
                  </a:cubicBezTo>
                  <a:cubicBezTo>
                    <a:pt x="205" y="263"/>
                    <a:pt x="211" y="265"/>
                    <a:pt x="210" y="271"/>
                  </a:cubicBezTo>
                  <a:cubicBezTo>
                    <a:pt x="209" y="280"/>
                    <a:pt x="220" y="286"/>
                    <a:pt x="230" y="290"/>
                  </a:cubicBezTo>
                  <a:cubicBezTo>
                    <a:pt x="244" y="296"/>
                    <a:pt x="244" y="310"/>
                    <a:pt x="244" y="314"/>
                  </a:cubicBezTo>
                  <a:cubicBezTo>
                    <a:pt x="244" y="318"/>
                    <a:pt x="247" y="321"/>
                    <a:pt x="250" y="324"/>
                  </a:cubicBezTo>
                  <a:cubicBezTo>
                    <a:pt x="253" y="327"/>
                    <a:pt x="255" y="329"/>
                    <a:pt x="254" y="331"/>
                  </a:cubicBezTo>
                  <a:cubicBezTo>
                    <a:pt x="252" y="334"/>
                    <a:pt x="254" y="339"/>
                    <a:pt x="261" y="345"/>
                  </a:cubicBezTo>
                  <a:cubicBezTo>
                    <a:pt x="263" y="346"/>
                    <a:pt x="263" y="347"/>
                    <a:pt x="263" y="349"/>
                  </a:cubicBezTo>
                  <a:cubicBezTo>
                    <a:pt x="263" y="351"/>
                    <a:pt x="261" y="354"/>
                    <a:pt x="258" y="356"/>
                  </a:cubicBezTo>
                  <a:cubicBezTo>
                    <a:pt x="254" y="359"/>
                    <a:pt x="252" y="361"/>
                    <a:pt x="254" y="363"/>
                  </a:cubicBezTo>
                  <a:cubicBezTo>
                    <a:pt x="256" y="366"/>
                    <a:pt x="255" y="369"/>
                    <a:pt x="255" y="372"/>
                  </a:cubicBezTo>
                  <a:cubicBezTo>
                    <a:pt x="254" y="375"/>
                    <a:pt x="253" y="378"/>
                    <a:pt x="255" y="380"/>
                  </a:cubicBezTo>
                  <a:cubicBezTo>
                    <a:pt x="256" y="381"/>
                    <a:pt x="258" y="382"/>
                    <a:pt x="261" y="383"/>
                  </a:cubicBezTo>
                  <a:cubicBezTo>
                    <a:pt x="262" y="383"/>
                    <a:pt x="263" y="383"/>
                    <a:pt x="264" y="383"/>
                  </a:cubicBezTo>
                  <a:cubicBezTo>
                    <a:pt x="269" y="383"/>
                    <a:pt x="271" y="381"/>
                    <a:pt x="273" y="378"/>
                  </a:cubicBezTo>
                  <a:cubicBezTo>
                    <a:pt x="275" y="376"/>
                    <a:pt x="278" y="373"/>
                    <a:pt x="282" y="373"/>
                  </a:cubicBezTo>
                  <a:cubicBezTo>
                    <a:pt x="285" y="373"/>
                    <a:pt x="286" y="374"/>
                    <a:pt x="287" y="375"/>
                  </a:cubicBezTo>
                  <a:cubicBezTo>
                    <a:pt x="288" y="376"/>
                    <a:pt x="288" y="378"/>
                    <a:pt x="287" y="380"/>
                  </a:cubicBezTo>
                  <a:cubicBezTo>
                    <a:pt x="286" y="383"/>
                    <a:pt x="286" y="386"/>
                    <a:pt x="288" y="388"/>
                  </a:cubicBezTo>
                  <a:cubicBezTo>
                    <a:pt x="290" y="390"/>
                    <a:pt x="294" y="392"/>
                    <a:pt x="298" y="393"/>
                  </a:cubicBezTo>
                  <a:cubicBezTo>
                    <a:pt x="304" y="394"/>
                    <a:pt x="310" y="396"/>
                    <a:pt x="316" y="401"/>
                  </a:cubicBezTo>
                  <a:cubicBezTo>
                    <a:pt x="320" y="405"/>
                    <a:pt x="322" y="408"/>
                    <a:pt x="321" y="410"/>
                  </a:cubicBezTo>
                  <a:cubicBezTo>
                    <a:pt x="321" y="411"/>
                    <a:pt x="320" y="412"/>
                    <a:pt x="318" y="412"/>
                  </a:cubicBezTo>
                  <a:cubicBezTo>
                    <a:pt x="316" y="412"/>
                    <a:pt x="313" y="411"/>
                    <a:pt x="309" y="408"/>
                  </a:cubicBezTo>
                  <a:cubicBezTo>
                    <a:pt x="305" y="405"/>
                    <a:pt x="296" y="403"/>
                    <a:pt x="285" y="403"/>
                  </a:cubicBezTo>
                  <a:cubicBezTo>
                    <a:pt x="276" y="403"/>
                    <a:pt x="272" y="404"/>
                    <a:pt x="271" y="405"/>
                  </a:cubicBezTo>
                  <a:cubicBezTo>
                    <a:pt x="272" y="407"/>
                    <a:pt x="299" y="423"/>
                    <a:pt x="308" y="423"/>
                  </a:cubicBezTo>
                  <a:cubicBezTo>
                    <a:pt x="309" y="423"/>
                    <a:pt x="309" y="422"/>
                    <a:pt x="310" y="422"/>
                  </a:cubicBezTo>
                  <a:cubicBezTo>
                    <a:pt x="310" y="422"/>
                    <a:pt x="311" y="422"/>
                    <a:pt x="312" y="422"/>
                  </a:cubicBezTo>
                  <a:cubicBezTo>
                    <a:pt x="317" y="422"/>
                    <a:pt x="322" y="427"/>
                    <a:pt x="324" y="431"/>
                  </a:cubicBezTo>
                  <a:cubicBezTo>
                    <a:pt x="325" y="434"/>
                    <a:pt x="325" y="437"/>
                    <a:pt x="323" y="438"/>
                  </a:cubicBezTo>
                  <a:cubicBezTo>
                    <a:pt x="320" y="441"/>
                    <a:pt x="321" y="447"/>
                    <a:pt x="321" y="452"/>
                  </a:cubicBezTo>
                  <a:cubicBezTo>
                    <a:pt x="321" y="454"/>
                    <a:pt x="321" y="456"/>
                    <a:pt x="320" y="458"/>
                  </a:cubicBezTo>
                  <a:cubicBezTo>
                    <a:pt x="320" y="461"/>
                    <a:pt x="317" y="461"/>
                    <a:pt x="316" y="461"/>
                  </a:cubicBezTo>
                  <a:cubicBezTo>
                    <a:pt x="314" y="461"/>
                    <a:pt x="312" y="461"/>
                    <a:pt x="310" y="460"/>
                  </a:cubicBezTo>
                  <a:cubicBezTo>
                    <a:pt x="308" y="460"/>
                    <a:pt x="305" y="459"/>
                    <a:pt x="303" y="459"/>
                  </a:cubicBezTo>
                  <a:cubicBezTo>
                    <a:pt x="303" y="459"/>
                    <a:pt x="302" y="459"/>
                    <a:pt x="301" y="459"/>
                  </a:cubicBezTo>
                  <a:cubicBezTo>
                    <a:pt x="295" y="460"/>
                    <a:pt x="290" y="462"/>
                    <a:pt x="290" y="469"/>
                  </a:cubicBezTo>
                  <a:cubicBezTo>
                    <a:pt x="290" y="473"/>
                    <a:pt x="288" y="476"/>
                    <a:pt x="285" y="480"/>
                  </a:cubicBezTo>
                  <a:cubicBezTo>
                    <a:pt x="282" y="483"/>
                    <a:pt x="279" y="486"/>
                    <a:pt x="278" y="491"/>
                  </a:cubicBezTo>
                  <a:cubicBezTo>
                    <a:pt x="277" y="497"/>
                    <a:pt x="282" y="498"/>
                    <a:pt x="286" y="500"/>
                  </a:cubicBezTo>
                  <a:cubicBezTo>
                    <a:pt x="288" y="501"/>
                    <a:pt x="290" y="502"/>
                    <a:pt x="292" y="503"/>
                  </a:cubicBezTo>
                  <a:cubicBezTo>
                    <a:pt x="293" y="503"/>
                    <a:pt x="294" y="504"/>
                    <a:pt x="294" y="505"/>
                  </a:cubicBezTo>
                  <a:cubicBezTo>
                    <a:pt x="294" y="507"/>
                    <a:pt x="291" y="508"/>
                    <a:pt x="289" y="509"/>
                  </a:cubicBezTo>
                  <a:cubicBezTo>
                    <a:pt x="285" y="511"/>
                    <a:pt x="282" y="513"/>
                    <a:pt x="281" y="516"/>
                  </a:cubicBezTo>
                  <a:cubicBezTo>
                    <a:pt x="280" y="522"/>
                    <a:pt x="295" y="533"/>
                    <a:pt x="301" y="537"/>
                  </a:cubicBezTo>
                  <a:cubicBezTo>
                    <a:pt x="305" y="539"/>
                    <a:pt x="304" y="545"/>
                    <a:pt x="304" y="551"/>
                  </a:cubicBezTo>
                  <a:cubicBezTo>
                    <a:pt x="304" y="555"/>
                    <a:pt x="303" y="559"/>
                    <a:pt x="304" y="562"/>
                  </a:cubicBezTo>
                  <a:cubicBezTo>
                    <a:pt x="305" y="565"/>
                    <a:pt x="307" y="565"/>
                    <a:pt x="309" y="565"/>
                  </a:cubicBezTo>
                  <a:cubicBezTo>
                    <a:pt x="309" y="565"/>
                    <a:pt x="309" y="565"/>
                    <a:pt x="310" y="565"/>
                  </a:cubicBezTo>
                  <a:cubicBezTo>
                    <a:pt x="310" y="565"/>
                    <a:pt x="311" y="565"/>
                    <a:pt x="312" y="565"/>
                  </a:cubicBezTo>
                  <a:cubicBezTo>
                    <a:pt x="313" y="566"/>
                    <a:pt x="313" y="568"/>
                    <a:pt x="313" y="570"/>
                  </a:cubicBezTo>
                  <a:cubicBezTo>
                    <a:pt x="312" y="575"/>
                    <a:pt x="314" y="577"/>
                    <a:pt x="317" y="579"/>
                  </a:cubicBezTo>
                  <a:cubicBezTo>
                    <a:pt x="318" y="581"/>
                    <a:pt x="320" y="582"/>
                    <a:pt x="320" y="584"/>
                  </a:cubicBezTo>
                  <a:cubicBezTo>
                    <a:pt x="320" y="587"/>
                    <a:pt x="323" y="588"/>
                    <a:pt x="325" y="589"/>
                  </a:cubicBezTo>
                  <a:cubicBezTo>
                    <a:pt x="329" y="591"/>
                    <a:pt x="333" y="592"/>
                    <a:pt x="331" y="597"/>
                  </a:cubicBezTo>
                  <a:cubicBezTo>
                    <a:pt x="329" y="603"/>
                    <a:pt x="333" y="608"/>
                    <a:pt x="336" y="612"/>
                  </a:cubicBezTo>
                  <a:cubicBezTo>
                    <a:pt x="337" y="613"/>
                    <a:pt x="337" y="614"/>
                    <a:pt x="338" y="614"/>
                  </a:cubicBezTo>
                  <a:cubicBezTo>
                    <a:pt x="339" y="616"/>
                    <a:pt x="342" y="618"/>
                    <a:pt x="344" y="621"/>
                  </a:cubicBezTo>
                  <a:cubicBezTo>
                    <a:pt x="348" y="624"/>
                    <a:pt x="353" y="628"/>
                    <a:pt x="354" y="632"/>
                  </a:cubicBezTo>
                  <a:cubicBezTo>
                    <a:pt x="356" y="637"/>
                    <a:pt x="362" y="642"/>
                    <a:pt x="367" y="642"/>
                  </a:cubicBezTo>
                  <a:cubicBezTo>
                    <a:pt x="368" y="642"/>
                    <a:pt x="369" y="642"/>
                    <a:pt x="370" y="642"/>
                  </a:cubicBezTo>
                  <a:cubicBezTo>
                    <a:pt x="371" y="642"/>
                    <a:pt x="372" y="642"/>
                    <a:pt x="373" y="642"/>
                  </a:cubicBezTo>
                  <a:cubicBezTo>
                    <a:pt x="376" y="642"/>
                    <a:pt x="377" y="643"/>
                    <a:pt x="379" y="644"/>
                  </a:cubicBezTo>
                  <a:cubicBezTo>
                    <a:pt x="380" y="646"/>
                    <a:pt x="382" y="647"/>
                    <a:pt x="384" y="646"/>
                  </a:cubicBezTo>
                  <a:cubicBezTo>
                    <a:pt x="385" y="646"/>
                    <a:pt x="386" y="646"/>
                    <a:pt x="386" y="646"/>
                  </a:cubicBezTo>
                  <a:close/>
                  <a:moveTo>
                    <a:pt x="288" y="444"/>
                  </a:moveTo>
                  <a:cubicBezTo>
                    <a:pt x="288" y="444"/>
                    <a:pt x="288" y="444"/>
                    <a:pt x="288" y="444"/>
                  </a:cubicBezTo>
                  <a:cubicBezTo>
                    <a:pt x="285" y="444"/>
                    <a:pt x="281" y="444"/>
                    <a:pt x="279" y="442"/>
                  </a:cubicBezTo>
                  <a:cubicBezTo>
                    <a:pt x="276" y="439"/>
                    <a:pt x="273" y="438"/>
                    <a:pt x="271" y="437"/>
                  </a:cubicBezTo>
                  <a:cubicBezTo>
                    <a:pt x="268" y="436"/>
                    <a:pt x="266" y="435"/>
                    <a:pt x="263" y="432"/>
                  </a:cubicBezTo>
                  <a:cubicBezTo>
                    <a:pt x="258" y="427"/>
                    <a:pt x="261" y="424"/>
                    <a:pt x="263" y="421"/>
                  </a:cubicBezTo>
                  <a:cubicBezTo>
                    <a:pt x="264" y="420"/>
                    <a:pt x="265" y="420"/>
                    <a:pt x="265" y="419"/>
                  </a:cubicBezTo>
                  <a:cubicBezTo>
                    <a:pt x="266" y="417"/>
                    <a:pt x="269" y="416"/>
                    <a:pt x="274" y="416"/>
                  </a:cubicBezTo>
                  <a:cubicBezTo>
                    <a:pt x="281" y="416"/>
                    <a:pt x="291" y="419"/>
                    <a:pt x="294" y="424"/>
                  </a:cubicBezTo>
                  <a:cubicBezTo>
                    <a:pt x="296" y="428"/>
                    <a:pt x="299" y="429"/>
                    <a:pt x="301" y="430"/>
                  </a:cubicBezTo>
                  <a:cubicBezTo>
                    <a:pt x="304" y="431"/>
                    <a:pt x="306" y="431"/>
                    <a:pt x="306" y="435"/>
                  </a:cubicBezTo>
                  <a:cubicBezTo>
                    <a:pt x="305" y="440"/>
                    <a:pt x="296" y="444"/>
                    <a:pt x="288" y="444"/>
                  </a:cubicBezTo>
                  <a:close/>
                  <a:moveTo>
                    <a:pt x="274" y="417"/>
                  </a:moveTo>
                  <a:cubicBezTo>
                    <a:pt x="269" y="417"/>
                    <a:pt x="266" y="418"/>
                    <a:pt x="266" y="419"/>
                  </a:cubicBezTo>
                  <a:cubicBezTo>
                    <a:pt x="265" y="420"/>
                    <a:pt x="265" y="421"/>
                    <a:pt x="264" y="422"/>
                  </a:cubicBezTo>
                  <a:cubicBezTo>
                    <a:pt x="262" y="424"/>
                    <a:pt x="260" y="427"/>
                    <a:pt x="263" y="431"/>
                  </a:cubicBezTo>
                  <a:cubicBezTo>
                    <a:pt x="266" y="434"/>
                    <a:pt x="269" y="435"/>
                    <a:pt x="271" y="436"/>
                  </a:cubicBezTo>
                  <a:cubicBezTo>
                    <a:pt x="274" y="437"/>
                    <a:pt x="276" y="438"/>
                    <a:pt x="279" y="441"/>
                  </a:cubicBezTo>
                  <a:cubicBezTo>
                    <a:pt x="281" y="443"/>
                    <a:pt x="284" y="443"/>
                    <a:pt x="288" y="443"/>
                  </a:cubicBezTo>
                  <a:cubicBezTo>
                    <a:pt x="295" y="443"/>
                    <a:pt x="304" y="440"/>
                    <a:pt x="305" y="435"/>
                  </a:cubicBezTo>
                  <a:cubicBezTo>
                    <a:pt x="305" y="432"/>
                    <a:pt x="303" y="432"/>
                    <a:pt x="301" y="431"/>
                  </a:cubicBezTo>
                  <a:cubicBezTo>
                    <a:pt x="299" y="430"/>
                    <a:pt x="295" y="429"/>
                    <a:pt x="293" y="425"/>
                  </a:cubicBezTo>
                  <a:cubicBezTo>
                    <a:pt x="291" y="420"/>
                    <a:pt x="281" y="417"/>
                    <a:pt x="274" y="4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0" name="Freeform 127"/>
            <p:cNvSpPr>
              <a:spLocks noEditPoints="1"/>
            </p:cNvSpPr>
            <p:nvPr/>
          </p:nvSpPr>
          <p:spPr>
            <a:xfrm>
              <a:off x="933451" y="2157413"/>
              <a:ext cx="69850" cy="65088"/>
            </a:xfrm>
            <a:custGeom>
              <a:gdLst>
                <a:gd name="T0" fmla="*/ 6 w 41"/>
                <a:gd name="T1" fmla="*/ 38 h 38"/>
                <a:gd name="T2" fmla="*/ 3 w 41"/>
                <a:gd name="T3" fmla="*/ 35 h 38"/>
                <a:gd name="T4" fmla="*/ 1 w 41"/>
                <a:gd name="T5" fmla="*/ 25 h 38"/>
                <a:gd name="T6" fmla="*/ 8 w 41"/>
                <a:gd name="T7" fmla="*/ 23 h 38"/>
                <a:gd name="T8" fmla="*/ 9 w 41"/>
                <a:gd name="T9" fmla="*/ 23 h 38"/>
                <a:gd name="T10" fmla="*/ 12 w 41"/>
                <a:gd name="T11" fmla="*/ 21 h 38"/>
                <a:gd name="T12" fmla="*/ 18 w 41"/>
                <a:gd name="T13" fmla="*/ 13 h 38"/>
                <a:gd name="T14" fmla="*/ 25 w 41"/>
                <a:gd name="T15" fmla="*/ 6 h 38"/>
                <a:gd name="T16" fmla="*/ 35 w 41"/>
                <a:gd name="T17" fmla="*/ 0 h 38"/>
                <a:gd name="T18" fmla="*/ 37 w 41"/>
                <a:gd name="T19" fmla="*/ 1 h 38"/>
                <a:gd name="T20" fmla="*/ 37 w 41"/>
                <a:gd name="T21" fmla="*/ 3 h 38"/>
                <a:gd name="T22" fmla="*/ 39 w 41"/>
                <a:gd name="T23" fmla="*/ 6 h 38"/>
                <a:gd name="T24" fmla="*/ 41 w 41"/>
                <a:gd name="T25" fmla="*/ 9 h 38"/>
                <a:gd name="T26" fmla="*/ 40 w 41"/>
                <a:gd name="T27" fmla="*/ 10 h 38"/>
                <a:gd name="T28" fmla="*/ 35 w 41"/>
                <a:gd name="T29" fmla="*/ 12 h 38"/>
                <a:gd name="T30" fmla="*/ 30 w 41"/>
                <a:gd name="T31" fmla="*/ 14 h 38"/>
                <a:gd name="T32" fmla="*/ 32 w 41"/>
                <a:gd name="T33" fmla="*/ 17 h 38"/>
                <a:gd name="T34" fmla="*/ 35 w 41"/>
                <a:gd name="T35" fmla="*/ 23 h 38"/>
                <a:gd name="T36" fmla="*/ 16 w 41"/>
                <a:gd name="T37" fmla="*/ 37 h 38"/>
                <a:gd name="T38" fmla="*/ 13 w 41"/>
                <a:gd name="T39" fmla="*/ 36 h 38"/>
                <a:gd name="T40" fmla="*/ 11 w 41"/>
                <a:gd name="T41" fmla="*/ 36 h 38"/>
                <a:gd name="T42" fmla="*/ 8 w 41"/>
                <a:gd name="T43" fmla="*/ 37 h 38"/>
                <a:gd name="T44" fmla="*/ 6 w 41"/>
                <a:gd name="T45" fmla="*/ 38 h 38"/>
                <a:gd name="T46" fmla="*/ 7 w 41"/>
                <a:gd name="T47" fmla="*/ 24 h 38"/>
                <a:gd name="T48" fmla="*/ 2 w 41"/>
                <a:gd name="T49" fmla="*/ 26 h 38"/>
                <a:gd name="T50" fmla="*/ 3 w 41"/>
                <a:gd name="T51" fmla="*/ 35 h 38"/>
                <a:gd name="T52" fmla="*/ 8 w 41"/>
                <a:gd name="T53" fmla="*/ 36 h 38"/>
                <a:gd name="T54" fmla="*/ 11 w 41"/>
                <a:gd name="T55" fmla="*/ 35 h 38"/>
                <a:gd name="T56" fmla="*/ 14 w 41"/>
                <a:gd name="T57" fmla="*/ 36 h 38"/>
                <a:gd name="T58" fmla="*/ 16 w 41"/>
                <a:gd name="T59" fmla="*/ 36 h 38"/>
                <a:gd name="T60" fmla="*/ 34 w 41"/>
                <a:gd name="T61" fmla="*/ 23 h 38"/>
                <a:gd name="T62" fmla="*/ 32 w 41"/>
                <a:gd name="T63" fmla="*/ 18 h 38"/>
                <a:gd name="T64" fmla="*/ 29 w 41"/>
                <a:gd name="T65" fmla="*/ 15 h 38"/>
                <a:gd name="T66" fmla="*/ 35 w 41"/>
                <a:gd name="T67" fmla="*/ 11 h 38"/>
                <a:gd name="T68" fmla="*/ 39 w 41"/>
                <a:gd name="T69" fmla="*/ 9 h 38"/>
                <a:gd name="T70" fmla="*/ 40 w 41"/>
                <a:gd name="T71" fmla="*/ 8 h 38"/>
                <a:gd name="T72" fmla="*/ 39 w 41"/>
                <a:gd name="T73" fmla="*/ 7 h 38"/>
                <a:gd name="T74" fmla="*/ 36 w 41"/>
                <a:gd name="T75" fmla="*/ 2 h 38"/>
                <a:gd name="T76" fmla="*/ 36 w 41"/>
                <a:gd name="T77" fmla="*/ 1 h 38"/>
                <a:gd name="T78" fmla="*/ 26 w 41"/>
                <a:gd name="T79" fmla="*/ 7 h 38"/>
                <a:gd name="T80" fmla="*/ 19 w 41"/>
                <a:gd name="T81" fmla="*/ 14 h 38"/>
                <a:gd name="T82" fmla="*/ 13 w 41"/>
                <a:gd name="T83" fmla="*/ 22 h 38"/>
                <a:gd name="T84" fmla="*/ 9 w 41"/>
                <a:gd name="T85" fmla="*/ 24 h 38"/>
                <a:gd name="T86" fmla="*/ 8 w 41"/>
                <a:gd name="T87" fmla="*/ 24 h 38"/>
                <a:gd name="T88" fmla="*/ 7 w 41"/>
                <a:gd name="T89" fmla="*/ 24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 h="38">
                  <a:moveTo>
                    <a:pt x="6" y="38"/>
                  </a:moveTo>
                  <a:cubicBezTo>
                    <a:pt x="5" y="38"/>
                    <a:pt x="4" y="37"/>
                    <a:pt x="3" y="35"/>
                  </a:cubicBezTo>
                  <a:cubicBezTo>
                    <a:pt x="1" y="33"/>
                    <a:pt x="0" y="28"/>
                    <a:pt x="1" y="25"/>
                  </a:cubicBezTo>
                  <a:cubicBezTo>
                    <a:pt x="3" y="23"/>
                    <a:pt x="6" y="23"/>
                    <a:pt x="8" y="23"/>
                  </a:cubicBezTo>
                  <a:cubicBezTo>
                    <a:pt x="9" y="23"/>
                    <a:pt x="9" y="23"/>
                    <a:pt x="9" y="23"/>
                  </a:cubicBezTo>
                  <a:cubicBezTo>
                    <a:pt x="11" y="23"/>
                    <a:pt x="12" y="22"/>
                    <a:pt x="12" y="21"/>
                  </a:cubicBezTo>
                  <a:cubicBezTo>
                    <a:pt x="13" y="19"/>
                    <a:pt x="15" y="17"/>
                    <a:pt x="18" y="13"/>
                  </a:cubicBezTo>
                  <a:cubicBezTo>
                    <a:pt x="20" y="11"/>
                    <a:pt x="23" y="9"/>
                    <a:pt x="25" y="6"/>
                  </a:cubicBezTo>
                  <a:cubicBezTo>
                    <a:pt x="29" y="2"/>
                    <a:pt x="32" y="0"/>
                    <a:pt x="35" y="0"/>
                  </a:cubicBezTo>
                  <a:cubicBezTo>
                    <a:pt x="36" y="0"/>
                    <a:pt x="36" y="0"/>
                    <a:pt x="37" y="1"/>
                  </a:cubicBezTo>
                  <a:cubicBezTo>
                    <a:pt x="37" y="1"/>
                    <a:pt x="37" y="2"/>
                    <a:pt x="37" y="3"/>
                  </a:cubicBezTo>
                  <a:cubicBezTo>
                    <a:pt x="37" y="4"/>
                    <a:pt x="38" y="5"/>
                    <a:pt x="39" y="6"/>
                  </a:cubicBezTo>
                  <a:cubicBezTo>
                    <a:pt x="40" y="7"/>
                    <a:pt x="41" y="8"/>
                    <a:pt x="41" y="9"/>
                  </a:cubicBezTo>
                  <a:cubicBezTo>
                    <a:pt x="41" y="9"/>
                    <a:pt x="41" y="10"/>
                    <a:pt x="40" y="10"/>
                  </a:cubicBezTo>
                  <a:cubicBezTo>
                    <a:pt x="39" y="11"/>
                    <a:pt x="37" y="11"/>
                    <a:pt x="35" y="12"/>
                  </a:cubicBezTo>
                  <a:cubicBezTo>
                    <a:pt x="32" y="12"/>
                    <a:pt x="30" y="13"/>
                    <a:pt x="30" y="14"/>
                  </a:cubicBezTo>
                  <a:cubicBezTo>
                    <a:pt x="30" y="15"/>
                    <a:pt x="31" y="16"/>
                    <a:pt x="32" y="17"/>
                  </a:cubicBezTo>
                  <a:cubicBezTo>
                    <a:pt x="35" y="18"/>
                    <a:pt x="37" y="20"/>
                    <a:pt x="35" y="23"/>
                  </a:cubicBezTo>
                  <a:cubicBezTo>
                    <a:pt x="32" y="28"/>
                    <a:pt x="19" y="37"/>
                    <a:pt x="16" y="37"/>
                  </a:cubicBezTo>
                  <a:cubicBezTo>
                    <a:pt x="15" y="37"/>
                    <a:pt x="14" y="37"/>
                    <a:pt x="13" y="36"/>
                  </a:cubicBezTo>
                  <a:cubicBezTo>
                    <a:pt x="13" y="36"/>
                    <a:pt x="12" y="36"/>
                    <a:pt x="11" y="36"/>
                  </a:cubicBezTo>
                  <a:cubicBezTo>
                    <a:pt x="11" y="36"/>
                    <a:pt x="10" y="36"/>
                    <a:pt x="8" y="37"/>
                  </a:cubicBezTo>
                  <a:cubicBezTo>
                    <a:pt x="8" y="38"/>
                    <a:pt x="7" y="38"/>
                    <a:pt x="6" y="38"/>
                  </a:cubicBezTo>
                  <a:close/>
                  <a:moveTo>
                    <a:pt x="7" y="24"/>
                  </a:moveTo>
                  <a:cubicBezTo>
                    <a:pt x="5" y="24"/>
                    <a:pt x="3" y="24"/>
                    <a:pt x="2" y="26"/>
                  </a:cubicBezTo>
                  <a:cubicBezTo>
                    <a:pt x="1" y="28"/>
                    <a:pt x="2" y="32"/>
                    <a:pt x="3" y="35"/>
                  </a:cubicBezTo>
                  <a:cubicBezTo>
                    <a:pt x="5" y="37"/>
                    <a:pt x="6" y="37"/>
                    <a:pt x="8" y="36"/>
                  </a:cubicBezTo>
                  <a:cubicBezTo>
                    <a:pt x="9" y="35"/>
                    <a:pt x="10" y="35"/>
                    <a:pt x="11" y="35"/>
                  </a:cubicBezTo>
                  <a:cubicBezTo>
                    <a:pt x="12" y="35"/>
                    <a:pt x="13" y="35"/>
                    <a:pt x="14" y="36"/>
                  </a:cubicBezTo>
                  <a:cubicBezTo>
                    <a:pt x="14" y="36"/>
                    <a:pt x="15" y="36"/>
                    <a:pt x="16" y="36"/>
                  </a:cubicBezTo>
                  <a:cubicBezTo>
                    <a:pt x="19" y="36"/>
                    <a:pt x="32" y="27"/>
                    <a:pt x="34" y="23"/>
                  </a:cubicBezTo>
                  <a:cubicBezTo>
                    <a:pt x="36" y="21"/>
                    <a:pt x="34" y="20"/>
                    <a:pt x="32" y="18"/>
                  </a:cubicBezTo>
                  <a:cubicBezTo>
                    <a:pt x="30" y="17"/>
                    <a:pt x="29" y="16"/>
                    <a:pt x="29" y="15"/>
                  </a:cubicBezTo>
                  <a:cubicBezTo>
                    <a:pt x="29" y="12"/>
                    <a:pt x="32" y="12"/>
                    <a:pt x="35" y="11"/>
                  </a:cubicBezTo>
                  <a:cubicBezTo>
                    <a:pt x="36" y="10"/>
                    <a:pt x="38" y="10"/>
                    <a:pt x="39" y="9"/>
                  </a:cubicBezTo>
                  <a:cubicBezTo>
                    <a:pt x="40" y="9"/>
                    <a:pt x="40" y="9"/>
                    <a:pt x="40" y="8"/>
                  </a:cubicBezTo>
                  <a:cubicBezTo>
                    <a:pt x="39" y="7"/>
                    <a:pt x="39" y="7"/>
                    <a:pt x="39" y="7"/>
                  </a:cubicBezTo>
                  <a:cubicBezTo>
                    <a:pt x="38" y="6"/>
                    <a:pt x="36" y="4"/>
                    <a:pt x="36" y="2"/>
                  </a:cubicBezTo>
                  <a:cubicBezTo>
                    <a:pt x="36" y="2"/>
                    <a:pt x="36" y="2"/>
                    <a:pt x="36" y="1"/>
                  </a:cubicBezTo>
                  <a:cubicBezTo>
                    <a:pt x="35" y="0"/>
                    <a:pt x="31" y="1"/>
                    <a:pt x="26" y="7"/>
                  </a:cubicBezTo>
                  <a:cubicBezTo>
                    <a:pt x="23" y="10"/>
                    <a:pt x="21" y="12"/>
                    <a:pt x="19" y="14"/>
                  </a:cubicBezTo>
                  <a:cubicBezTo>
                    <a:pt x="16" y="17"/>
                    <a:pt x="14" y="20"/>
                    <a:pt x="13" y="22"/>
                  </a:cubicBezTo>
                  <a:cubicBezTo>
                    <a:pt x="13" y="24"/>
                    <a:pt x="10" y="24"/>
                    <a:pt x="9" y="24"/>
                  </a:cubicBezTo>
                  <a:cubicBezTo>
                    <a:pt x="8" y="24"/>
                    <a:pt x="8" y="24"/>
                    <a:pt x="8" y="24"/>
                  </a:cubicBezTo>
                  <a:cubicBezTo>
                    <a:pt x="7" y="24"/>
                    <a:pt x="7" y="24"/>
                    <a:pt x="7"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1" name="Freeform 128"/>
            <p:cNvSpPr>
              <a:spLocks noEditPoints="1"/>
            </p:cNvSpPr>
            <p:nvPr/>
          </p:nvSpPr>
          <p:spPr>
            <a:xfrm>
              <a:off x="682626" y="2289175"/>
              <a:ext cx="41275" cy="19050"/>
            </a:xfrm>
            <a:custGeom>
              <a:gdLst>
                <a:gd name="T0" fmla="*/ 3 w 24"/>
                <a:gd name="T1" fmla="*/ 12 h 12"/>
                <a:gd name="T2" fmla="*/ 3 w 24"/>
                <a:gd name="T3" fmla="*/ 12 h 12"/>
                <a:gd name="T4" fmla="*/ 2 w 24"/>
                <a:gd name="T5" fmla="*/ 12 h 12"/>
                <a:gd name="T6" fmla="*/ 0 w 24"/>
                <a:gd name="T7" fmla="*/ 10 h 12"/>
                <a:gd name="T8" fmla="*/ 19 w 24"/>
                <a:gd name="T9" fmla="*/ 0 h 12"/>
                <a:gd name="T10" fmla="*/ 21 w 24"/>
                <a:gd name="T11" fmla="*/ 1 h 12"/>
                <a:gd name="T12" fmla="*/ 24 w 24"/>
                <a:gd name="T13" fmla="*/ 4 h 12"/>
                <a:gd name="T14" fmla="*/ 13 w 24"/>
                <a:gd name="T15" fmla="*/ 8 h 12"/>
                <a:gd name="T16" fmla="*/ 8 w 24"/>
                <a:gd name="T17" fmla="*/ 10 h 12"/>
                <a:gd name="T18" fmla="*/ 3 w 24"/>
                <a:gd name="T19" fmla="*/ 12 h 12"/>
                <a:gd name="T20" fmla="*/ 19 w 24"/>
                <a:gd name="T21" fmla="*/ 1 h 12"/>
                <a:gd name="T22" fmla="*/ 1 w 24"/>
                <a:gd name="T23" fmla="*/ 10 h 12"/>
                <a:gd name="T24" fmla="*/ 2 w 24"/>
                <a:gd name="T25" fmla="*/ 11 h 12"/>
                <a:gd name="T26" fmla="*/ 3 w 24"/>
                <a:gd name="T27" fmla="*/ 11 h 12"/>
                <a:gd name="T28" fmla="*/ 3 w 24"/>
                <a:gd name="T29" fmla="*/ 11 h 12"/>
                <a:gd name="T30" fmla="*/ 7 w 24"/>
                <a:gd name="T31" fmla="*/ 9 h 12"/>
                <a:gd name="T32" fmla="*/ 13 w 24"/>
                <a:gd name="T33" fmla="*/ 7 h 12"/>
                <a:gd name="T34" fmla="*/ 23 w 24"/>
                <a:gd name="T35" fmla="*/ 3 h 12"/>
                <a:gd name="T36" fmla="*/ 21 w 24"/>
                <a:gd name="T37" fmla="*/ 2 h 12"/>
                <a:gd name="T38" fmla="*/ 19 w 24"/>
                <a:gd name="T39" fmla="*/ 1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2">
                  <a:moveTo>
                    <a:pt x="3" y="12"/>
                  </a:moveTo>
                  <a:cubicBezTo>
                    <a:pt x="3" y="12"/>
                    <a:pt x="3" y="12"/>
                    <a:pt x="3" y="12"/>
                  </a:cubicBezTo>
                  <a:cubicBezTo>
                    <a:pt x="2" y="12"/>
                    <a:pt x="2" y="12"/>
                    <a:pt x="2" y="12"/>
                  </a:cubicBezTo>
                  <a:cubicBezTo>
                    <a:pt x="0" y="11"/>
                    <a:pt x="0" y="10"/>
                    <a:pt x="0" y="10"/>
                  </a:cubicBezTo>
                  <a:cubicBezTo>
                    <a:pt x="0" y="7"/>
                    <a:pt x="12" y="0"/>
                    <a:pt x="19" y="0"/>
                  </a:cubicBezTo>
                  <a:cubicBezTo>
                    <a:pt x="20" y="0"/>
                    <a:pt x="21" y="1"/>
                    <a:pt x="21" y="1"/>
                  </a:cubicBezTo>
                  <a:cubicBezTo>
                    <a:pt x="23" y="2"/>
                    <a:pt x="24" y="3"/>
                    <a:pt x="24" y="4"/>
                  </a:cubicBezTo>
                  <a:cubicBezTo>
                    <a:pt x="24" y="6"/>
                    <a:pt x="17" y="8"/>
                    <a:pt x="13" y="8"/>
                  </a:cubicBezTo>
                  <a:cubicBezTo>
                    <a:pt x="11" y="8"/>
                    <a:pt x="9" y="9"/>
                    <a:pt x="8" y="10"/>
                  </a:cubicBezTo>
                  <a:cubicBezTo>
                    <a:pt x="6" y="11"/>
                    <a:pt x="5" y="12"/>
                    <a:pt x="3" y="12"/>
                  </a:cubicBezTo>
                  <a:close/>
                  <a:moveTo>
                    <a:pt x="19" y="1"/>
                  </a:moveTo>
                  <a:cubicBezTo>
                    <a:pt x="12" y="1"/>
                    <a:pt x="1" y="8"/>
                    <a:pt x="1" y="10"/>
                  </a:cubicBezTo>
                  <a:cubicBezTo>
                    <a:pt x="1" y="10"/>
                    <a:pt x="1" y="10"/>
                    <a:pt x="2" y="11"/>
                  </a:cubicBezTo>
                  <a:cubicBezTo>
                    <a:pt x="2" y="11"/>
                    <a:pt x="2" y="11"/>
                    <a:pt x="3" y="11"/>
                  </a:cubicBezTo>
                  <a:cubicBezTo>
                    <a:pt x="3" y="11"/>
                    <a:pt x="3" y="11"/>
                    <a:pt x="3" y="11"/>
                  </a:cubicBezTo>
                  <a:cubicBezTo>
                    <a:pt x="4" y="11"/>
                    <a:pt x="6" y="10"/>
                    <a:pt x="7" y="9"/>
                  </a:cubicBezTo>
                  <a:cubicBezTo>
                    <a:pt x="9" y="8"/>
                    <a:pt x="11" y="7"/>
                    <a:pt x="13" y="7"/>
                  </a:cubicBezTo>
                  <a:cubicBezTo>
                    <a:pt x="17" y="7"/>
                    <a:pt x="23" y="5"/>
                    <a:pt x="23" y="3"/>
                  </a:cubicBezTo>
                  <a:cubicBezTo>
                    <a:pt x="23" y="3"/>
                    <a:pt x="22" y="2"/>
                    <a:pt x="21" y="2"/>
                  </a:cubicBezTo>
                  <a:cubicBezTo>
                    <a:pt x="20" y="2"/>
                    <a:pt x="20" y="1"/>
                    <a:pt x="1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2" name="Freeform 129"/>
            <p:cNvSpPr>
              <a:spLocks noEditPoints="1"/>
            </p:cNvSpPr>
            <p:nvPr/>
          </p:nvSpPr>
          <p:spPr>
            <a:xfrm>
              <a:off x="1681164" y="2468563"/>
              <a:ext cx="1435100" cy="708025"/>
            </a:xfrm>
            <a:custGeom>
              <a:gdLst>
                <a:gd name="T0" fmla="*/ 598 w 846"/>
                <a:gd name="T1" fmla="*/ 338 h 417"/>
                <a:gd name="T2" fmla="*/ 536 w 846"/>
                <a:gd name="T3" fmla="*/ 329 h 417"/>
                <a:gd name="T4" fmla="*/ 507 w 846"/>
                <a:gd name="T5" fmla="*/ 344 h 417"/>
                <a:gd name="T6" fmla="*/ 465 w 846"/>
                <a:gd name="T7" fmla="*/ 341 h 417"/>
                <a:gd name="T8" fmla="*/ 433 w 846"/>
                <a:gd name="T9" fmla="*/ 352 h 417"/>
                <a:gd name="T10" fmla="*/ 403 w 846"/>
                <a:gd name="T11" fmla="*/ 405 h 417"/>
                <a:gd name="T12" fmla="*/ 354 w 846"/>
                <a:gd name="T13" fmla="*/ 355 h 417"/>
                <a:gd name="T14" fmla="*/ 247 w 846"/>
                <a:gd name="T15" fmla="*/ 310 h 417"/>
                <a:gd name="T16" fmla="*/ 93 w 846"/>
                <a:gd name="T17" fmla="*/ 274 h 417"/>
                <a:gd name="T18" fmla="*/ 33 w 846"/>
                <a:gd name="T19" fmla="*/ 209 h 417"/>
                <a:gd name="T20" fmla="*/ 12 w 846"/>
                <a:gd name="T21" fmla="*/ 63 h 417"/>
                <a:gd name="T22" fmla="*/ 15 w 846"/>
                <a:gd name="T23" fmla="*/ 21 h 417"/>
                <a:gd name="T24" fmla="*/ 35 w 846"/>
                <a:gd name="T25" fmla="*/ 27 h 417"/>
                <a:gd name="T26" fmla="*/ 449 w 846"/>
                <a:gd name="T27" fmla="*/ 15 h 417"/>
                <a:gd name="T28" fmla="*/ 514 w 846"/>
                <a:gd name="T29" fmla="*/ 27 h 417"/>
                <a:gd name="T30" fmla="*/ 501 w 846"/>
                <a:gd name="T31" fmla="*/ 53 h 417"/>
                <a:gd name="T32" fmla="*/ 560 w 846"/>
                <a:gd name="T33" fmla="*/ 53 h 417"/>
                <a:gd name="T34" fmla="*/ 595 w 846"/>
                <a:gd name="T35" fmla="*/ 61 h 417"/>
                <a:gd name="T36" fmla="*/ 564 w 846"/>
                <a:gd name="T37" fmla="*/ 86 h 417"/>
                <a:gd name="T38" fmla="*/ 612 w 846"/>
                <a:gd name="T39" fmla="*/ 101 h 417"/>
                <a:gd name="T40" fmla="*/ 603 w 846"/>
                <a:gd name="T41" fmla="*/ 137 h 417"/>
                <a:gd name="T42" fmla="*/ 668 w 846"/>
                <a:gd name="T43" fmla="*/ 113 h 417"/>
                <a:gd name="T44" fmla="*/ 814 w 846"/>
                <a:gd name="T45" fmla="*/ 37 h 417"/>
                <a:gd name="T46" fmla="*/ 819 w 846"/>
                <a:gd name="T47" fmla="*/ 90 h 417"/>
                <a:gd name="T48" fmla="*/ 792 w 846"/>
                <a:gd name="T49" fmla="*/ 137 h 417"/>
                <a:gd name="T50" fmla="*/ 767 w 846"/>
                <a:gd name="T51" fmla="*/ 152 h 417"/>
                <a:gd name="T52" fmla="*/ 720 w 846"/>
                <a:gd name="T53" fmla="*/ 182 h 417"/>
                <a:gd name="T54" fmla="*/ 709 w 846"/>
                <a:gd name="T55" fmla="*/ 179 h 417"/>
                <a:gd name="T56" fmla="*/ 714 w 846"/>
                <a:gd name="T57" fmla="*/ 231 h 417"/>
                <a:gd name="T58" fmla="*/ 703 w 846"/>
                <a:gd name="T59" fmla="*/ 260 h 417"/>
                <a:gd name="T60" fmla="*/ 643 w 846"/>
                <a:gd name="T61" fmla="*/ 361 h 417"/>
                <a:gd name="T62" fmla="*/ 613 w 846"/>
                <a:gd name="T63" fmla="*/ 370 h 417"/>
                <a:gd name="T64" fmla="*/ 642 w 846"/>
                <a:gd name="T65" fmla="*/ 361 h 417"/>
                <a:gd name="T66" fmla="*/ 702 w 846"/>
                <a:gd name="T67" fmla="*/ 260 h 417"/>
                <a:gd name="T68" fmla="*/ 712 w 846"/>
                <a:gd name="T69" fmla="*/ 234 h 417"/>
                <a:gd name="T70" fmla="*/ 705 w 846"/>
                <a:gd name="T71" fmla="*/ 181 h 417"/>
                <a:gd name="T72" fmla="*/ 722 w 846"/>
                <a:gd name="T73" fmla="*/ 183 h 417"/>
                <a:gd name="T74" fmla="*/ 767 w 846"/>
                <a:gd name="T75" fmla="*/ 153 h 417"/>
                <a:gd name="T76" fmla="*/ 786 w 846"/>
                <a:gd name="T77" fmla="*/ 130 h 417"/>
                <a:gd name="T78" fmla="*/ 824 w 846"/>
                <a:gd name="T79" fmla="*/ 91 h 417"/>
                <a:gd name="T80" fmla="*/ 777 w 846"/>
                <a:gd name="T81" fmla="*/ 82 h 417"/>
                <a:gd name="T82" fmla="*/ 637 w 846"/>
                <a:gd name="T83" fmla="*/ 141 h 417"/>
                <a:gd name="T84" fmla="*/ 611 w 846"/>
                <a:gd name="T85" fmla="*/ 102 h 417"/>
                <a:gd name="T86" fmla="*/ 565 w 846"/>
                <a:gd name="T87" fmla="*/ 87 h 417"/>
                <a:gd name="T88" fmla="*/ 594 w 846"/>
                <a:gd name="T89" fmla="*/ 61 h 417"/>
                <a:gd name="T90" fmla="*/ 535 w 846"/>
                <a:gd name="T91" fmla="*/ 47 h 417"/>
                <a:gd name="T92" fmla="*/ 482 w 846"/>
                <a:gd name="T93" fmla="*/ 51 h 417"/>
                <a:gd name="T94" fmla="*/ 478 w 846"/>
                <a:gd name="T95" fmla="*/ 21 h 417"/>
                <a:gd name="T96" fmla="*/ 436 w 846"/>
                <a:gd name="T97" fmla="*/ 1 h 417"/>
                <a:gd name="T98" fmla="*/ 29 w 846"/>
                <a:gd name="T99" fmla="*/ 34 h 417"/>
                <a:gd name="T100" fmla="*/ 19 w 846"/>
                <a:gd name="T101" fmla="*/ 58 h 417"/>
                <a:gd name="T102" fmla="*/ 12 w 846"/>
                <a:gd name="T103" fmla="*/ 155 h 417"/>
                <a:gd name="T104" fmla="*/ 58 w 846"/>
                <a:gd name="T105" fmla="*/ 248 h 417"/>
                <a:gd name="T106" fmla="*/ 147 w 846"/>
                <a:gd name="T107" fmla="*/ 294 h 417"/>
                <a:gd name="T108" fmla="*/ 317 w 846"/>
                <a:gd name="T109" fmla="*/ 353 h 417"/>
                <a:gd name="T110" fmla="*/ 396 w 846"/>
                <a:gd name="T111" fmla="*/ 401 h 417"/>
                <a:gd name="T112" fmla="*/ 432 w 846"/>
                <a:gd name="T113" fmla="*/ 352 h 417"/>
                <a:gd name="T114" fmla="*/ 458 w 846"/>
                <a:gd name="T115" fmla="*/ 339 h 417"/>
                <a:gd name="T116" fmla="*/ 506 w 846"/>
                <a:gd name="T117" fmla="*/ 344 h 417"/>
                <a:gd name="T118" fmla="*/ 530 w 846"/>
                <a:gd name="T119" fmla="*/ 331 h 417"/>
                <a:gd name="T120" fmla="*/ 586 w 846"/>
                <a:gd name="T121" fmla="*/ 340 h 4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6" h="417">
                  <a:moveTo>
                    <a:pt x="643" y="417"/>
                  </a:moveTo>
                  <a:cubicBezTo>
                    <a:pt x="639" y="417"/>
                    <a:pt x="635" y="415"/>
                    <a:pt x="634" y="412"/>
                  </a:cubicBezTo>
                  <a:cubicBezTo>
                    <a:pt x="634" y="409"/>
                    <a:pt x="630" y="401"/>
                    <a:pt x="625" y="400"/>
                  </a:cubicBezTo>
                  <a:cubicBezTo>
                    <a:pt x="622" y="399"/>
                    <a:pt x="622" y="397"/>
                    <a:pt x="622" y="394"/>
                  </a:cubicBezTo>
                  <a:cubicBezTo>
                    <a:pt x="622" y="391"/>
                    <a:pt x="622" y="387"/>
                    <a:pt x="619" y="385"/>
                  </a:cubicBezTo>
                  <a:cubicBezTo>
                    <a:pt x="615" y="382"/>
                    <a:pt x="614" y="378"/>
                    <a:pt x="614" y="375"/>
                  </a:cubicBezTo>
                  <a:cubicBezTo>
                    <a:pt x="614" y="373"/>
                    <a:pt x="614" y="372"/>
                    <a:pt x="612" y="370"/>
                  </a:cubicBezTo>
                  <a:cubicBezTo>
                    <a:pt x="611" y="368"/>
                    <a:pt x="612" y="366"/>
                    <a:pt x="613" y="363"/>
                  </a:cubicBezTo>
                  <a:cubicBezTo>
                    <a:pt x="614" y="360"/>
                    <a:pt x="615" y="357"/>
                    <a:pt x="612" y="354"/>
                  </a:cubicBezTo>
                  <a:cubicBezTo>
                    <a:pt x="609" y="351"/>
                    <a:pt x="607" y="348"/>
                    <a:pt x="604" y="345"/>
                  </a:cubicBezTo>
                  <a:cubicBezTo>
                    <a:pt x="602" y="342"/>
                    <a:pt x="600" y="340"/>
                    <a:pt x="598" y="338"/>
                  </a:cubicBezTo>
                  <a:cubicBezTo>
                    <a:pt x="597" y="337"/>
                    <a:pt x="595" y="336"/>
                    <a:pt x="594" y="336"/>
                  </a:cubicBezTo>
                  <a:cubicBezTo>
                    <a:pt x="592" y="336"/>
                    <a:pt x="589" y="338"/>
                    <a:pt x="586" y="341"/>
                  </a:cubicBezTo>
                  <a:cubicBezTo>
                    <a:pt x="585" y="342"/>
                    <a:pt x="585" y="342"/>
                    <a:pt x="585" y="342"/>
                  </a:cubicBezTo>
                  <a:cubicBezTo>
                    <a:pt x="583" y="344"/>
                    <a:pt x="581" y="345"/>
                    <a:pt x="579" y="345"/>
                  </a:cubicBezTo>
                  <a:cubicBezTo>
                    <a:pt x="577" y="345"/>
                    <a:pt x="574" y="343"/>
                    <a:pt x="574" y="340"/>
                  </a:cubicBezTo>
                  <a:cubicBezTo>
                    <a:pt x="573" y="337"/>
                    <a:pt x="568" y="331"/>
                    <a:pt x="561" y="331"/>
                  </a:cubicBezTo>
                  <a:cubicBezTo>
                    <a:pt x="558" y="331"/>
                    <a:pt x="554" y="332"/>
                    <a:pt x="551" y="333"/>
                  </a:cubicBezTo>
                  <a:cubicBezTo>
                    <a:pt x="548" y="334"/>
                    <a:pt x="545" y="335"/>
                    <a:pt x="544" y="335"/>
                  </a:cubicBezTo>
                  <a:cubicBezTo>
                    <a:pt x="542" y="335"/>
                    <a:pt x="541" y="334"/>
                    <a:pt x="541" y="333"/>
                  </a:cubicBezTo>
                  <a:cubicBezTo>
                    <a:pt x="541" y="330"/>
                    <a:pt x="540" y="328"/>
                    <a:pt x="538" y="328"/>
                  </a:cubicBezTo>
                  <a:cubicBezTo>
                    <a:pt x="538" y="328"/>
                    <a:pt x="537" y="328"/>
                    <a:pt x="536" y="329"/>
                  </a:cubicBezTo>
                  <a:cubicBezTo>
                    <a:pt x="534" y="332"/>
                    <a:pt x="533" y="333"/>
                    <a:pt x="530" y="332"/>
                  </a:cubicBezTo>
                  <a:cubicBezTo>
                    <a:pt x="529" y="332"/>
                    <a:pt x="528" y="332"/>
                    <a:pt x="525" y="332"/>
                  </a:cubicBezTo>
                  <a:cubicBezTo>
                    <a:pt x="519" y="331"/>
                    <a:pt x="513" y="334"/>
                    <a:pt x="512" y="336"/>
                  </a:cubicBezTo>
                  <a:cubicBezTo>
                    <a:pt x="512" y="336"/>
                    <a:pt x="512" y="337"/>
                    <a:pt x="513" y="337"/>
                  </a:cubicBezTo>
                  <a:cubicBezTo>
                    <a:pt x="515" y="339"/>
                    <a:pt x="515" y="340"/>
                    <a:pt x="515" y="341"/>
                  </a:cubicBezTo>
                  <a:cubicBezTo>
                    <a:pt x="514" y="343"/>
                    <a:pt x="514" y="344"/>
                    <a:pt x="516" y="345"/>
                  </a:cubicBezTo>
                  <a:cubicBezTo>
                    <a:pt x="522" y="350"/>
                    <a:pt x="523" y="352"/>
                    <a:pt x="522" y="353"/>
                  </a:cubicBezTo>
                  <a:cubicBezTo>
                    <a:pt x="522" y="354"/>
                    <a:pt x="521" y="354"/>
                    <a:pt x="520" y="354"/>
                  </a:cubicBezTo>
                  <a:cubicBezTo>
                    <a:pt x="519" y="354"/>
                    <a:pt x="519" y="354"/>
                    <a:pt x="519" y="354"/>
                  </a:cubicBezTo>
                  <a:cubicBezTo>
                    <a:pt x="515" y="353"/>
                    <a:pt x="512" y="349"/>
                    <a:pt x="509" y="346"/>
                  </a:cubicBezTo>
                  <a:cubicBezTo>
                    <a:pt x="508" y="345"/>
                    <a:pt x="507" y="344"/>
                    <a:pt x="507" y="344"/>
                  </a:cubicBezTo>
                  <a:cubicBezTo>
                    <a:pt x="507" y="344"/>
                    <a:pt x="507" y="344"/>
                    <a:pt x="507" y="344"/>
                  </a:cubicBezTo>
                  <a:cubicBezTo>
                    <a:pt x="507" y="344"/>
                    <a:pt x="507" y="344"/>
                    <a:pt x="507" y="344"/>
                  </a:cubicBezTo>
                  <a:cubicBezTo>
                    <a:pt x="506" y="348"/>
                    <a:pt x="506" y="350"/>
                    <a:pt x="501" y="350"/>
                  </a:cubicBezTo>
                  <a:cubicBezTo>
                    <a:pt x="500" y="350"/>
                    <a:pt x="500" y="350"/>
                    <a:pt x="500" y="350"/>
                  </a:cubicBezTo>
                  <a:cubicBezTo>
                    <a:pt x="499" y="350"/>
                    <a:pt x="498" y="350"/>
                    <a:pt x="497" y="350"/>
                  </a:cubicBezTo>
                  <a:cubicBezTo>
                    <a:pt x="495" y="350"/>
                    <a:pt x="495" y="350"/>
                    <a:pt x="495" y="350"/>
                  </a:cubicBezTo>
                  <a:cubicBezTo>
                    <a:pt x="492" y="350"/>
                    <a:pt x="490" y="349"/>
                    <a:pt x="487" y="346"/>
                  </a:cubicBezTo>
                  <a:cubicBezTo>
                    <a:pt x="486" y="344"/>
                    <a:pt x="481" y="340"/>
                    <a:pt x="479" y="340"/>
                  </a:cubicBezTo>
                  <a:cubicBezTo>
                    <a:pt x="479" y="340"/>
                    <a:pt x="478" y="340"/>
                    <a:pt x="478" y="341"/>
                  </a:cubicBezTo>
                  <a:cubicBezTo>
                    <a:pt x="478" y="343"/>
                    <a:pt x="476" y="345"/>
                    <a:pt x="473" y="345"/>
                  </a:cubicBezTo>
                  <a:cubicBezTo>
                    <a:pt x="470" y="345"/>
                    <a:pt x="467" y="343"/>
                    <a:pt x="465" y="341"/>
                  </a:cubicBezTo>
                  <a:cubicBezTo>
                    <a:pt x="464" y="339"/>
                    <a:pt x="462" y="338"/>
                    <a:pt x="461" y="338"/>
                  </a:cubicBezTo>
                  <a:cubicBezTo>
                    <a:pt x="460" y="338"/>
                    <a:pt x="459" y="338"/>
                    <a:pt x="459" y="339"/>
                  </a:cubicBezTo>
                  <a:cubicBezTo>
                    <a:pt x="459" y="341"/>
                    <a:pt x="458" y="341"/>
                    <a:pt x="457" y="341"/>
                  </a:cubicBezTo>
                  <a:cubicBezTo>
                    <a:pt x="456" y="341"/>
                    <a:pt x="455" y="341"/>
                    <a:pt x="454" y="340"/>
                  </a:cubicBezTo>
                  <a:cubicBezTo>
                    <a:pt x="453" y="340"/>
                    <a:pt x="452" y="339"/>
                    <a:pt x="451" y="339"/>
                  </a:cubicBezTo>
                  <a:cubicBezTo>
                    <a:pt x="450" y="339"/>
                    <a:pt x="449" y="340"/>
                    <a:pt x="448" y="341"/>
                  </a:cubicBezTo>
                  <a:cubicBezTo>
                    <a:pt x="447" y="343"/>
                    <a:pt x="446" y="345"/>
                    <a:pt x="443" y="345"/>
                  </a:cubicBezTo>
                  <a:cubicBezTo>
                    <a:pt x="443" y="345"/>
                    <a:pt x="443" y="345"/>
                    <a:pt x="442" y="345"/>
                  </a:cubicBezTo>
                  <a:cubicBezTo>
                    <a:pt x="438" y="344"/>
                    <a:pt x="436" y="344"/>
                    <a:pt x="436" y="345"/>
                  </a:cubicBezTo>
                  <a:cubicBezTo>
                    <a:pt x="435" y="345"/>
                    <a:pt x="435" y="346"/>
                    <a:pt x="436" y="347"/>
                  </a:cubicBezTo>
                  <a:cubicBezTo>
                    <a:pt x="436" y="349"/>
                    <a:pt x="434" y="351"/>
                    <a:pt x="433" y="352"/>
                  </a:cubicBezTo>
                  <a:cubicBezTo>
                    <a:pt x="430" y="356"/>
                    <a:pt x="425" y="360"/>
                    <a:pt x="421" y="360"/>
                  </a:cubicBezTo>
                  <a:cubicBezTo>
                    <a:pt x="420" y="360"/>
                    <a:pt x="418" y="359"/>
                    <a:pt x="417" y="359"/>
                  </a:cubicBezTo>
                  <a:cubicBezTo>
                    <a:pt x="414" y="359"/>
                    <a:pt x="413" y="360"/>
                    <a:pt x="413" y="362"/>
                  </a:cubicBezTo>
                  <a:cubicBezTo>
                    <a:pt x="413" y="366"/>
                    <a:pt x="409" y="368"/>
                    <a:pt x="405" y="370"/>
                  </a:cubicBezTo>
                  <a:cubicBezTo>
                    <a:pt x="404" y="371"/>
                    <a:pt x="403" y="371"/>
                    <a:pt x="402" y="372"/>
                  </a:cubicBezTo>
                  <a:cubicBezTo>
                    <a:pt x="401" y="373"/>
                    <a:pt x="401" y="374"/>
                    <a:pt x="402" y="376"/>
                  </a:cubicBezTo>
                  <a:cubicBezTo>
                    <a:pt x="402" y="378"/>
                    <a:pt x="403" y="382"/>
                    <a:pt x="398" y="386"/>
                  </a:cubicBezTo>
                  <a:cubicBezTo>
                    <a:pt x="397" y="387"/>
                    <a:pt x="396" y="388"/>
                    <a:pt x="396" y="388"/>
                  </a:cubicBezTo>
                  <a:cubicBezTo>
                    <a:pt x="396" y="390"/>
                    <a:pt x="397" y="391"/>
                    <a:pt x="398" y="392"/>
                  </a:cubicBezTo>
                  <a:cubicBezTo>
                    <a:pt x="400" y="395"/>
                    <a:pt x="403" y="398"/>
                    <a:pt x="403" y="404"/>
                  </a:cubicBezTo>
                  <a:cubicBezTo>
                    <a:pt x="403" y="405"/>
                    <a:pt x="403" y="405"/>
                    <a:pt x="403" y="405"/>
                  </a:cubicBezTo>
                  <a:cubicBezTo>
                    <a:pt x="402" y="405"/>
                    <a:pt x="402" y="405"/>
                    <a:pt x="402" y="405"/>
                  </a:cubicBezTo>
                  <a:cubicBezTo>
                    <a:pt x="400" y="403"/>
                    <a:pt x="398" y="402"/>
                    <a:pt x="396" y="402"/>
                  </a:cubicBezTo>
                  <a:cubicBezTo>
                    <a:pt x="396" y="402"/>
                    <a:pt x="396" y="402"/>
                    <a:pt x="396" y="402"/>
                  </a:cubicBezTo>
                  <a:cubicBezTo>
                    <a:pt x="396" y="402"/>
                    <a:pt x="396" y="402"/>
                    <a:pt x="396" y="402"/>
                  </a:cubicBezTo>
                  <a:cubicBezTo>
                    <a:pt x="392" y="402"/>
                    <a:pt x="387" y="400"/>
                    <a:pt x="382" y="398"/>
                  </a:cubicBezTo>
                  <a:cubicBezTo>
                    <a:pt x="379" y="396"/>
                    <a:pt x="377" y="395"/>
                    <a:pt x="376" y="395"/>
                  </a:cubicBezTo>
                  <a:cubicBezTo>
                    <a:pt x="374" y="395"/>
                    <a:pt x="374" y="393"/>
                    <a:pt x="373" y="391"/>
                  </a:cubicBezTo>
                  <a:cubicBezTo>
                    <a:pt x="373" y="389"/>
                    <a:pt x="372" y="387"/>
                    <a:pt x="371" y="386"/>
                  </a:cubicBezTo>
                  <a:cubicBezTo>
                    <a:pt x="370" y="384"/>
                    <a:pt x="370" y="382"/>
                    <a:pt x="370" y="380"/>
                  </a:cubicBezTo>
                  <a:cubicBezTo>
                    <a:pt x="370" y="378"/>
                    <a:pt x="369" y="376"/>
                    <a:pt x="368" y="375"/>
                  </a:cubicBezTo>
                  <a:cubicBezTo>
                    <a:pt x="365" y="373"/>
                    <a:pt x="357" y="365"/>
                    <a:pt x="354" y="355"/>
                  </a:cubicBezTo>
                  <a:cubicBezTo>
                    <a:pt x="351" y="346"/>
                    <a:pt x="335" y="341"/>
                    <a:pt x="329" y="341"/>
                  </a:cubicBezTo>
                  <a:cubicBezTo>
                    <a:pt x="328" y="341"/>
                    <a:pt x="328" y="341"/>
                    <a:pt x="328" y="341"/>
                  </a:cubicBezTo>
                  <a:cubicBezTo>
                    <a:pt x="325" y="341"/>
                    <a:pt x="322" y="346"/>
                    <a:pt x="320" y="350"/>
                  </a:cubicBezTo>
                  <a:cubicBezTo>
                    <a:pt x="319" y="353"/>
                    <a:pt x="318" y="354"/>
                    <a:pt x="317" y="354"/>
                  </a:cubicBezTo>
                  <a:cubicBezTo>
                    <a:pt x="317" y="354"/>
                    <a:pt x="317" y="354"/>
                    <a:pt x="317" y="354"/>
                  </a:cubicBezTo>
                  <a:cubicBezTo>
                    <a:pt x="315" y="354"/>
                    <a:pt x="311" y="352"/>
                    <a:pt x="305" y="348"/>
                  </a:cubicBezTo>
                  <a:cubicBezTo>
                    <a:pt x="303" y="347"/>
                    <a:pt x="301" y="346"/>
                    <a:pt x="300" y="345"/>
                  </a:cubicBezTo>
                  <a:cubicBezTo>
                    <a:pt x="297" y="344"/>
                    <a:pt x="295" y="340"/>
                    <a:pt x="295" y="336"/>
                  </a:cubicBezTo>
                  <a:cubicBezTo>
                    <a:pt x="295" y="332"/>
                    <a:pt x="288" y="325"/>
                    <a:pt x="286" y="325"/>
                  </a:cubicBezTo>
                  <a:cubicBezTo>
                    <a:pt x="284" y="324"/>
                    <a:pt x="271" y="312"/>
                    <a:pt x="269" y="310"/>
                  </a:cubicBezTo>
                  <a:cubicBezTo>
                    <a:pt x="247" y="310"/>
                    <a:pt x="247" y="310"/>
                    <a:pt x="247" y="310"/>
                  </a:cubicBezTo>
                  <a:cubicBezTo>
                    <a:pt x="242" y="316"/>
                    <a:pt x="242" y="316"/>
                    <a:pt x="242" y="316"/>
                  </a:cubicBezTo>
                  <a:cubicBezTo>
                    <a:pt x="200" y="317"/>
                    <a:pt x="200" y="317"/>
                    <a:pt x="200" y="317"/>
                  </a:cubicBezTo>
                  <a:cubicBezTo>
                    <a:pt x="200" y="317"/>
                    <a:pt x="200" y="317"/>
                    <a:pt x="200" y="317"/>
                  </a:cubicBezTo>
                  <a:cubicBezTo>
                    <a:pt x="200" y="316"/>
                    <a:pt x="169" y="305"/>
                    <a:pt x="163" y="303"/>
                  </a:cubicBezTo>
                  <a:cubicBezTo>
                    <a:pt x="157" y="302"/>
                    <a:pt x="148" y="296"/>
                    <a:pt x="147" y="295"/>
                  </a:cubicBezTo>
                  <a:cubicBezTo>
                    <a:pt x="113" y="299"/>
                    <a:pt x="113" y="299"/>
                    <a:pt x="113" y="299"/>
                  </a:cubicBezTo>
                  <a:cubicBezTo>
                    <a:pt x="113" y="299"/>
                    <a:pt x="113" y="299"/>
                    <a:pt x="113" y="299"/>
                  </a:cubicBezTo>
                  <a:cubicBezTo>
                    <a:pt x="111" y="296"/>
                    <a:pt x="110" y="293"/>
                    <a:pt x="109" y="290"/>
                  </a:cubicBezTo>
                  <a:cubicBezTo>
                    <a:pt x="108" y="284"/>
                    <a:pt x="100" y="275"/>
                    <a:pt x="96" y="274"/>
                  </a:cubicBezTo>
                  <a:cubicBezTo>
                    <a:pt x="96" y="274"/>
                    <a:pt x="95" y="274"/>
                    <a:pt x="94" y="274"/>
                  </a:cubicBezTo>
                  <a:cubicBezTo>
                    <a:pt x="93" y="274"/>
                    <a:pt x="93" y="274"/>
                    <a:pt x="93" y="274"/>
                  </a:cubicBezTo>
                  <a:cubicBezTo>
                    <a:pt x="90" y="274"/>
                    <a:pt x="88" y="274"/>
                    <a:pt x="84" y="271"/>
                  </a:cubicBezTo>
                  <a:cubicBezTo>
                    <a:pt x="78" y="268"/>
                    <a:pt x="72" y="264"/>
                    <a:pt x="66" y="264"/>
                  </a:cubicBezTo>
                  <a:cubicBezTo>
                    <a:pt x="63" y="264"/>
                    <a:pt x="63" y="262"/>
                    <a:pt x="63" y="260"/>
                  </a:cubicBezTo>
                  <a:cubicBezTo>
                    <a:pt x="63" y="257"/>
                    <a:pt x="63" y="254"/>
                    <a:pt x="58" y="250"/>
                  </a:cubicBezTo>
                  <a:cubicBezTo>
                    <a:pt x="57" y="249"/>
                    <a:pt x="57" y="249"/>
                    <a:pt x="57" y="249"/>
                  </a:cubicBezTo>
                  <a:cubicBezTo>
                    <a:pt x="49" y="242"/>
                    <a:pt x="43" y="237"/>
                    <a:pt x="43" y="233"/>
                  </a:cubicBezTo>
                  <a:cubicBezTo>
                    <a:pt x="43" y="233"/>
                    <a:pt x="43" y="231"/>
                    <a:pt x="43" y="230"/>
                  </a:cubicBezTo>
                  <a:cubicBezTo>
                    <a:pt x="44" y="227"/>
                    <a:pt x="45" y="224"/>
                    <a:pt x="41" y="223"/>
                  </a:cubicBezTo>
                  <a:cubicBezTo>
                    <a:pt x="36" y="220"/>
                    <a:pt x="36" y="219"/>
                    <a:pt x="35" y="214"/>
                  </a:cubicBezTo>
                  <a:cubicBezTo>
                    <a:pt x="35" y="213"/>
                    <a:pt x="35" y="213"/>
                    <a:pt x="35" y="213"/>
                  </a:cubicBezTo>
                  <a:cubicBezTo>
                    <a:pt x="35" y="210"/>
                    <a:pt x="34" y="210"/>
                    <a:pt x="33" y="209"/>
                  </a:cubicBezTo>
                  <a:cubicBezTo>
                    <a:pt x="31" y="209"/>
                    <a:pt x="30" y="208"/>
                    <a:pt x="28" y="205"/>
                  </a:cubicBezTo>
                  <a:cubicBezTo>
                    <a:pt x="24" y="199"/>
                    <a:pt x="21" y="195"/>
                    <a:pt x="17" y="193"/>
                  </a:cubicBezTo>
                  <a:cubicBezTo>
                    <a:pt x="15" y="192"/>
                    <a:pt x="15" y="188"/>
                    <a:pt x="14" y="184"/>
                  </a:cubicBezTo>
                  <a:cubicBezTo>
                    <a:pt x="14" y="180"/>
                    <a:pt x="14" y="177"/>
                    <a:pt x="12" y="174"/>
                  </a:cubicBezTo>
                  <a:cubicBezTo>
                    <a:pt x="9" y="167"/>
                    <a:pt x="8" y="163"/>
                    <a:pt x="11" y="154"/>
                  </a:cubicBezTo>
                  <a:cubicBezTo>
                    <a:pt x="13" y="147"/>
                    <a:pt x="11" y="139"/>
                    <a:pt x="6" y="131"/>
                  </a:cubicBezTo>
                  <a:cubicBezTo>
                    <a:pt x="3" y="126"/>
                    <a:pt x="5" y="120"/>
                    <a:pt x="8" y="115"/>
                  </a:cubicBezTo>
                  <a:cubicBezTo>
                    <a:pt x="9" y="112"/>
                    <a:pt x="9" y="110"/>
                    <a:pt x="10" y="108"/>
                  </a:cubicBezTo>
                  <a:cubicBezTo>
                    <a:pt x="10" y="106"/>
                    <a:pt x="10" y="100"/>
                    <a:pt x="11" y="94"/>
                  </a:cubicBezTo>
                  <a:cubicBezTo>
                    <a:pt x="11" y="87"/>
                    <a:pt x="11" y="78"/>
                    <a:pt x="12" y="72"/>
                  </a:cubicBezTo>
                  <a:cubicBezTo>
                    <a:pt x="13" y="69"/>
                    <a:pt x="13" y="66"/>
                    <a:pt x="12" y="63"/>
                  </a:cubicBezTo>
                  <a:cubicBezTo>
                    <a:pt x="12" y="61"/>
                    <a:pt x="12" y="60"/>
                    <a:pt x="13" y="59"/>
                  </a:cubicBezTo>
                  <a:cubicBezTo>
                    <a:pt x="14" y="59"/>
                    <a:pt x="14" y="59"/>
                    <a:pt x="16" y="59"/>
                  </a:cubicBezTo>
                  <a:cubicBezTo>
                    <a:pt x="17" y="59"/>
                    <a:pt x="18" y="59"/>
                    <a:pt x="18" y="58"/>
                  </a:cubicBezTo>
                  <a:cubicBezTo>
                    <a:pt x="19" y="57"/>
                    <a:pt x="18" y="56"/>
                    <a:pt x="15" y="55"/>
                  </a:cubicBezTo>
                  <a:cubicBezTo>
                    <a:pt x="13" y="53"/>
                    <a:pt x="12" y="51"/>
                    <a:pt x="12" y="49"/>
                  </a:cubicBezTo>
                  <a:cubicBezTo>
                    <a:pt x="11" y="47"/>
                    <a:pt x="11" y="44"/>
                    <a:pt x="9" y="41"/>
                  </a:cubicBezTo>
                  <a:cubicBezTo>
                    <a:pt x="3" y="34"/>
                    <a:pt x="1" y="26"/>
                    <a:pt x="1" y="22"/>
                  </a:cubicBezTo>
                  <a:cubicBezTo>
                    <a:pt x="1" y="21"/>
                    <a:pt x="1" y="21"/>
                    <a:pt x="1" y="21"/>
                  </a:cubicBezTo>
                  <a:cubicBezTo>
                    <a:pt x="0" y="20"/>
                    <a:pt x="0" y="20"/>
                    <a:pt x="0" y="20"/>
                  </a:cubicBezTo>
                  <a:cubicBezTo>
                    <a:pt x="1" y="20"/>
                    <a:pt x="1" y="20"/>
                    <a:pt x="1" y="20"/>
                  </a:cubicBezTo>
                  <a:cubicBezTo>
                    <a:pt x="7" y="20"/>
                    <a:pt x="11" y="21"/>
                    <a:pt x="15" y="21"/>
                  </a:cubicBezTo>
                  <a:cubicBezTo>
                    <a:pt x="19" y="21"/>
                    <a:pt x="22" y="21"/>
                    <a:pt x="24" y="20"/>
                  </a:cubicBezTo>
                  <a:cubicBezTo>
                    <a:pt x="25" y="20"/>
                    <a:pt x="25" y="20"/>
                    <a:pt x="25" y="20"/>
                  </a:cubicBezTo>
                  <a:cubicBezTo>
                    <a:pt x="25" y="20"/>
                    <a:pt x="25" y="20"/>
                    <a:pt x="25" y="20"/>
                  </a:cubicBezTo>
                  <a:cubicBezTo>
                    <a:pt x="25" y="22"/>
                    <a:pt x="25" y="24"/>
                    <a:pt x="26" y="25"/>
                  </a:cubicBezTo>
                  <a:cubicBezTo>
                    <a:pt x="27" y="25"/>
                    <a:pt x="27" y="25"/>
                    <a:pt x="27" y="25"/>
                  </a:cubicBezTo>
                  <a:cubicBezTo>
                    <a:pt x="29" y="25"/>
                    <a:pt x="31" y="27"/>
                    <a:pt x="31" y="29"/>
                  </a:cubicBezTo>
                  <a:cubicBezTo>
                    <a:pt x="32" y="31"/>
                    <a:pt x="31" y="34"/>
                    <a:pt x="29" y="35"/>
                  </a:cubicBezTo>
                  <a:cubicBezTo>
                    <a:pt x="28" y="36"/>
                    <a:pt x="27" y="38"/>
                    <a:pt x="27" y="39"/>
                  </a:cubicBezTo>
                  <a:cubicBezTo>
                    <a:pt x="28" y="41"/>
                    <a:pt x="29" y="42"/>
                    <a:pt x="31" y="42"/>
                  </a:cubicBezTo>
                  <a:cubicBezTo>
                    <a:pt x="32" y="42"/>
                    <a:pt x="33" y="41"/>
                    <a:pt x="34" y="40"/>
                  </a:cubicBezTo>
                  <a:cubicBezTo>
                    <a:pt x="36" y="38"/>
                    <a:pt x="36" y="32"/>
                    <a:pt x="35" y="27"/>
                  </a:cubicBezTo>
                  <a:cubicBezTo>
                    <a:pt x="34" y="25"/>
                    <a:pt x="35" y="23"/>
                    <a:pt x="35" y="21"/>
                  </a:cubicBezTo>
                  <a:cubicBezTo>
                    <a:pt x="35" y="18"/>
                    <a:pt x="35" y="15"/>
                    <a:pt x="33" y="12"/>
                  </a:cubicBezTo>
                  <a:cubicBezTo>
                    <a:pt x="32" y="12"/>
                    <a:pt x="31" y="11"/>
                    <a:pt x="31" y="11"/>
                  </a:cubicBezTo>
                  <a:cubicBezTo>
                    <a:pt x="31" y="10"/>
                    <a:pt x="31" y="10"/>
                    <a:pt x="31" y="10"/>
                  </a:cubicBezTo>
                  <a:cubicBezTo>
                    <a:pt x="31" y="10"/>
                    <a:pt x="31" y="10"/>
                    <a:pt x="31" y="10"/>
                  </a:cubicBezTo>
                  <a:cubicBezTo>
                    <a:pt x="432" y="8"/>
                    <a:pt x="432" y="8"/>
                    <a:pt x="432" y="8"/>
                  </a:cubicBezTo>
                  <a:cubicBezTo>
                    <a:pt x="432" y="6"/>
                    <a:pt x="433" y="0"/>
                    <a:pt x="436" y="0"/>
                  </a:cubicBezTo>
                  <a:cubicBezTo>
                    <a:pt x="436" y="0"/>
                    <a:pt x="437" y="1"/>
                    <a:pt x="438" y="1"/>
                  </a:cubicBezTo>
                  <a:cubicBezTo>
                    <a:pt x="440" y="3"/>
                    <a:pt x="440" y="5"/>
                    <a:pt x="441" y="7"/>
                  </a:cubicBezTo>
                  <a:cubicBezTo>
                    <a:pt x="441" y="10"/>
                    <a:pt x="441" y="11"/>
                    <a:pt x="444" y="12"/>
                  </a:cubicBezTo>
                  <a:cubicBezTo>
                    <a:pt x="446" y="13"/>
                    <a:pt x="447" y="14"/>
                    <a:pt x="449" y="15"/>
                  </a:cubicBezTo>
                  <a:cubicBezTo>
                    <a:pt x="452" y="16"/>
                    <a:pt x="454" y="17"/>
                    <a:pt x="456" y="17"/>
                  </a:cubicBezTo>
                  <a:cubicBezTo>
                    <a:pt x="456" y="16"/>
                    <a:pt x="457" y="16"/>
                    <a:pt x="457" y="16"/>
                  </a:cubicBezTo>
                  <a:cubicBezTo>
                    <a:pt x="459" y="15"/>
                    <a:pt x="461" y="14"/>
                    <a:pt x="463" y="14"/>
                  </a:cubicBezTo>
                  <a:cubicBezTo>
                    <a:pt x="466" y="14"/>
                    <a:pt x="468" y="15"/>
                    <a:pt x="470" y="17"/>
                  </a:cubicBezTo>
                  <a:cubicBezTo>
                    <a:pt x="472" y="20"/>
                    <a:pt x="475" y="20"/>
                    <a:pt x="477" y="20"/>
                  </a:cubicBezTo>
                  <a:cubicBezTo>
                    <a:pt x="477" y="20"/>
                    <a:pt x="477" y="20"/>
                    <a:pt x="478" y="20"/>
                  </a:cubicBezTo>
                  <a:cubicBezTo>
                    <a:pt x="479" y="20"/>
                    <a:pt x="480" y="20"/>
                    <a:pt x="482" y="22"/>
                  </a:cubicBezTo>
                  <a:cubicBezTo>
                    <a:pt x="483" y="24"/>
                    <a:pt x="486" y="26"/>
                    <a:pt x="489" y="26"/>
                  </a:cubicBezTo>
                  <a:cubicBezTo>
                    <a:pt x="491" y="26"/>
                    <a:pt x="492" y="26"/>
                    <a:pt x="493" y="24"/>
                  </a:cubicBezTo>
                  <a:cubicBezTo>
                    <a:pt x="494" y="23"/>
                    <a:pt x="496" y="22"/>
                    <a:pt x="498" y="22"/>
                  </a:cubicBezTo>
                  <a:cubicBezTo>
                    <a:pt x="503" y="22"/>
                    <a:pt x="509" y="25"/>
                    <a:pt x="514" y="27"/>
                  </a:cubicBezTo>
                  <a:cubicBezTo>
                    <a:pt x="516" y="27"/>
                    <a:pt x="516" y="27"/>
                    <a:pt x="516" y="27"/>
                  </a:cubicBezTo>
                  <a:cubicBezTo>
                    <a:pt x="515" y="28"/>
                    <a:pt x="515" y="28"/>
                    <a:pt x="515" y="28"/>
                  </a:cubicBezTo>
                  <a:cubicBezTo>
                    <a:pt x="512" y="30"/>
                    <a:pt x="510" y="31"/>
                    <a:pt x="507" y="31"/>
                  </a:cubicBezTo>
                  <a:cubicBezTo>
                    <a:pt x="507" y="31"/>
                    <a:pt x="507" y="31"/>
                    <a:pt x="506" y="31"/>
                  </a:cubicBezTo>
                  <a:cubicBezTo>
                    <a:pt x="497" y="31"/>
                    <a:pt x="480" y="40"/>
                    <a:pt x="478" y="46"/>
                  </a:cubicBezTo>
                  <a:cubicBezTo>
                    <a:pt x="478" y="47"/>
                    <a:pt x="478" y="48"/>
                    <a:pt x="478" y="49"/>
                  </a:cubicBezTo>
                  <a:cubicBezTo>
                    <a:pt x="480" y="50"/>
                    <a:pt x="481" y="50"/>
                    <a:pt x="482" y="50"/>
                  </a:cubicBezTo>
                  <a:cubicBezTo>
                    <a:pt x="484" y="50"/>
                    <a:pt x="485" y="50"/>
                    <a:pt x="486" y="50"/>
                  </a:cubicBezTo>
                  <a:cubicBezTo>
                    <a:pt x="487" y="49"/>
                    <a:pt x="489" y="49"/>
                    <a:pt x="490" y="49"/>
                  </a:cubicBezTo>
                  <a:cubicBezTo>
                    <a:pt x="493" y="49"/>
                    <a:pt x="495" y="50"/>
                    <a:pt x="497" y="52"/>
                  </a:cubicBezTo>
                  <a:cubicBezTo>
                    <a:pt x="498" y="53"/>
                    <a:pt x="500" y="53"/>
                    <a:pt x="501" y="53"/>
                  </a:cubicBezTo>
                  <a:cubicBezTo>
                    <a:pt x="507" y="53"/>
                    <a:pt x="514" y="48"/>
                    <a:pt x="521" y="44"/>
                  </a:cubicBezTo>
                  <a:cubicBezTo>
                    <a:pt x="524" y="41"/>
                    <a:pt x="527" y="40"/>
                    <a:pt x="529" y="38"/>
                  </a:cubicBezTo>
                  <a:cubicBezTo>
                    <a:pt x="531" y="37"/>
                    <a:pt x="532" y="37"/>
                    <a:pt x="533" y="37"/>
                  </a:cubicBezTo>
                  <a:cubicBezTo>
                    <a:pt x="534" y="37"/>
                    <a:pt x="534" y="37"/>
                    <a:pt x="534" y="37"/>
                  </a:cubicBezTo>
                  <a:cubicBezTo>
                    <a:pt x="535" y="38"/>
                    <a:pt x="534" y="39"/>
                    <a:pt x="534" y="41"/>
                  </a:cubicBezTo>
                  <a:cubicBezTo>
                    <a:pt x="533" y="42"/>
                    <a:pt x="533" y="44"/>
                    <a:pt x="533" y="45"/>
                  </a:cubicBezTo>
                  <a:cubicBezTo>
                    <a:pt x="534" y="46"/>
                    <a:pt x="534" y="46"/>
                    <a:pt x="535" y="46"/>
                  </a:cubicBezTo>
                  <a:cubicBezTo>
                    <a:pt x="539" y="46"/>
                    <a:pt x="540" y="47"/>
                    <a:pt x="541" y="49"/>
                  </a:cubicBezTo>
                  <a:cubicBezTo>
                    <a:pt x="542" y="51"/>
                    <a:pt x="542" y="53"/>
                    <a:pt x="546" y="55"/>
                  </a:cubicBezTo>
                  <a:cubicBezTo>
                    <a:pt x="547" y="56"/>
                    <a:pt x="549" y="56"/>
                    <a:pt x="550" y="56"/>
                  </a:cubicBezTo>
                  <a:cubicBezTo>
                    <a:pt x="553" y="56"/>
                    <a:pt x="557" y="54"/>
                    <a:pt x="560" y="53"/>
                  </a:cubicBezTo>
                  <a:cubicBezTo>
                    <a:pt x="564" y="51"/>
                    <a:pt x="569" y="50"/>
                    <a:pt x="573" y="50"/>
                  </a:cubicBezTo>
                  <a:cubicBezTo>
                    <a:pt x="578" y="50"/>
                    <a:pt x="580" y="52"/>
                    <a:pt x="582" y="54"/>
                  </a:cubicBezTo>
                  <a:cubicBezTo>
                    <a:pt x="583" y="56"/>
                    <a:pt x="583" y="56"/>
                    <a:pt x="584" y="56"/>
                  </a:cubicBezTo>
                  <a:cubicBezTo>
                    <a:pt x="585" y="56"/>
                    <a:pt x="585" y="56"/>
                    <a:pt x="586" y="56"/>
                  </a:cubicBezTo>
                  <a:cubicBezTo>
                    <a:pt x="587" y="55"/>
                    <a:pt x="587" y="54"/>
                    <a:pt x="588" y="54"/>
                  </a:cubicBezTo>
                  <a:cubicBezTo>
                    <a:pt x="588" y="53"/>
                    <a:pt x="588" y="53"/>
                    <a:pt x="588" y="53"/>
                  </a:cubicBezTo>
                  <a:cubicBezTo>
                    <a:pt x="588" y="53"/>
                    <a:pt x="588" y="53"/>
                    <a:pt x="588" y="53"/>
                  </a:cubicBezTo>
                  <a:cubicBezTo>
                    <a:pt x="591" y="55"/>
                    <a:pt x="594" y="57"/>
                    <a:pt x="597" y="59"/>
                  </a:cubicBezTo>
                  <a:cubicBezTo>
                    <a:pt x="598" y="60"/>
                    <a:pt x="598" y="60"/>
                    <a:pt x="598" y="60"/>
                  </a:cubicBezTo>
                  <a:cubicBezTo>
                    <a:pt x="597" y="60"/>
                    <a:pt x="597" y="60"/>
                    <a:pt x="597" y="60"/>
                  </a:cubicBezTo>
                  <a:cubicBezTo>
                    <a:pt x="595" y="60"/>
                    <a:pt x="595" y="61"/>
                    <a:pt x="595" y="61"/>
                  </a:cubicBezTo>
                  <a:cubicBezTo>
                    <a:pt x="595" y="64"/>
                    <a:pt x="590" y="64"/>
                    <a:pt x="582" y="65"/>
                  </a:cubicBezTo>
                  <a:cubicBezTo>
                    <a:pt x="576" y="66"/>
                    <a:pt x="570" y="66"/>
                    <a:pt x="565" y="67"/>
                  </a:cubicBezTo>
                  <a:cubicBezTo>
                    <a:pt x="553" y="70"/>
                    <a:pt x="541" y="82"/>
                    <a:pt x="542" y="85"/>
                  </a:cubicBezTo>
                  <a:cubicBezTo>
                    <a:pt x="542" y="85"/>
                    <a:pt x="542" y="85"/>
                    <a:pt x="543" y="85"/>
                  </a:cubicBezTo>
                  <a:cubicBezTo>
                    <a:pt x="544" y="85"/>
                    <a:pt x="545" y="86"/>
                    <a:pt x="545" y="86"/>
                  </a:cubicBezTo>
                  <a:cubicBezTo>
                    <a:pt x="547" y="88"/>
                    <a:pt x="545" y="93"/>
                    <a:pt x="543" y="99"/>
                  </a:cubicBezTo>
                  <a:cubicBezTo>
                    <a:pt x="542" y="103"/>
                    <a:pt x="541" y="107"/>
                    <a:pt x="540" y="111"/>
                  </a:cubicBezTo>
                  <a:cubicBezTo>
                    <a:pt x="538" y="122"/>
                    <a:pt x="538" y="133"/>
                    <a:pt x="542" y="137"/>
                  </a:cubicBezTo>
                  <a:cubicBezTo>
                    <a:pt x="544" y="140"/>
                    <a:pt x="547" y="140"/>
                    <a:pt x="550" y="138"/>
                  </a:cubicBezTo>
                  <a:cubicBezTo>
                    <a:pt x="560" y="132"/>
                    <a:pt x="563" y="127"/>
                    <a:pt x="560" y="117"/>
                  </a:cubicBezTo>
                  <a:cubicBezTo>
                    <a:pt x="557" y="107"/>
                    <a:pt x="561" y="92"/>
                    <a:pt x="564" y="86"/>
                  </a:cubicBezTo>
                  <a:cubicBezTo>
                    <a:pt x="566" y="83"/>
                    <a:pt x="569" y="82"/>
                    <a:pt x="571" y="81"/>
                  </a:cubicBezTo>
                  <a:cubicBezTo>
                    <a:pt x="575" y="80"/>
                    <a:pt x="578" y="79"/>
                    <a:pt x="579" y="75"/>
                  </a:cubicBezTo>
                  <a:cubicBezTo>
                    <a:pt x="580" y="71"/>
                    <a:pt x="584" y="69"/>
                    <a:pt x="588" y="69"/>
                  </a:cubicBezTo>
                  <a:cubicBezTo>
                    <a:pt x="593" y="69"/>
                    <a:pt x="599" y="72"/>
                    <a:pt x="602" y="78"/>
                  </a:cubicBezTo>
                  <a:cubicBezTo>
                    <a:pt x="607" y="85"/>
                    <a:pt x="604" y="91"/>
                    <a:pt x="600" y="96"/>
                  </a:cubicBezTo>
                  <a:cubicBezTo>
                    <a:pt x="599" y="99"/>
                    <a:pt x="597" y="102"/>
                    <a:pt x="597" y="104"/>
                  </a:cubicBezTo>
                  <a:cubicBezTo>
                    <a:pt x="596" y="106"/>
                    <a:pt x="597" y="106"/>
                    <a:pt x="597" y="107"/>
                  </a:cubicBezTo>
                  <a:cubicBezTo>
                    <a:pt x="597" y="107"/>
                    <a:pt x="597" y="107"/>
                    <a:pt x="597" y="107"/>
                  </a:cubicBezTo>
                  <a:cubicBezTo>
                    <a:pt x="597" y="107"/>
                    <a:pt x="599" y="106"/>
                    <a:pt x="600" y="105"/>
                  </a:cubicBezTo>
                  <a:cubicBezTo>
                    <a:pt x="603" y="103"/>
                    <a:pt x="606" y="101"/>
                    <a:pt x="610" y="101"/>
                  </a:cubicBezTo>
                  <a:cubicBezTo>
                    <a:pt x="610" y="101"/>
                    <a:pt x="611" y="101"/>
                    <a:pt x="612" y="101"/>
                  </a:cubicBezTo>
                  <a:cubicBezTo>
                    <a:pt x="617" y="103"/>
                    <a:pt x="616" y="109"/>
                    <a:pt x="616" y="114"/>
                  </a:cubicBezTo>
                  <a:cubicBezTo>
                    <a:pt x="616" y="117"/>
                    <a:pt x="616" y="119"/>
                    <a:pt x="617" y="120"/>
                  </a:cubicBezTo>
                  <a:cubicBezTo>
                    <a:pt x="618" y="120"/>
                    <a:pt x="618" y="120"/>
                    <a:pt x="618" y="120"/>
                  </a:cubicBezTo>
                  <a:cubicBezTo>
                    <a:pt x="618" y="120"/>
                    <a:pt x="618" y="120"/>
                    <a:pt x="618" y="120"/>
                  </a:cubicBezTo>
                  <a:cubicBezTo>
                    <a:pt x="617" y="124"/>
                    <a:pt x="617" y="129"/>
                    <a:pt x="620" y="131"/>
                  </a:cubicBezTo>
                  <a:cubicBezTo>
                    <a:pt x="620" y="132"/>
                    <a:pt x="620" y="132"/>
                    <a:pt x="620" y="132"/>
                  </a:cubicBezTo>
                  <a:cubicBezTo>
                    <a:pt x="620" y="132"/>
                    <a:pt x="620" y="132"/>
                    <a:pt x="620" y="132"/>
                  </a:cubicBezTo>
                  <a:cubicBezTo>
                    <a:pt x="618" y="134"/>
                    <a:pt x="616" y="135"/>
                    <a:pt x="615" y="135"/>
                  </a:cubicBezTo>
                  <a:cubicBezTo>
                    <a:pt x="614" y="135"/>
                    <a:pt x="613" y="134"/>
                    <a:pt x="613" y="134"/>
                  </a:cubicBezTo>
                  <a:cubicBezTo>
                    <a:pt x="612" y="132"/>
                    <a:pt x="610" y="130"/>
                    <a:pt x="608" y="130"/>
                  </a:cubicBezTo>
                  <a:cubicBezTo>
                    <a:pt x="605" y="130"/>
                    <a:pt x="603" y="133"/>
                    <a:pt x="603" y="137"/>
                  </a:cubicBezTo>
                  <a:cubicBezTo>
                    <a:pt x="603" y="140"/>
                    <a:pt x="605" y="142"/>
                    <a:pt x="607" y="143"/>
                  </a:cubicBezTo>
                  <a:cubicBezTo>
                    <a:pt x="610" y="145"/>
                    <a:pt x="614" y="146"/>
                    <a:pt x="618" y="146"/>
                  </a:cubicBezTo>
                  <a:cubicBezTo>
                    <a:pt x="623" y="146"/>
                    <a:pt x="627" y="145"/>
                    <a:pt x="631" y="143"/>
                  </a:cubicBezTo>
                  <a:cubicBezTo>
                    <a:pt x="633" y="142"/>
                    <a:pt x="635" y="141"/>
                    <a:pt x="636" y="140"/>
                  </a:cubicBezTo>
                  <a:cubicBezTo>
                    <a:pt x="647" y="134"/>
                    <a:pt x="662" y="127"/>
                    <a:pt x="664" y="122"/>
                  </a:cubicBezTo>
                  <a:cubicBezTo>
                    <a:pt x="665" y="122"/>
                    <a:pt x="665" y="122"/>
                    <a:pt x="665" y="122"/>
                  </a:cubicBezTo>
                  <a:cubicBezTo>
                    <a:pt x="665" y="122"/>
                    <a:pt x="665" y="122"/>
                    <a:pt x="665" y="122"/>
                  </a:cubicBezTo>
                  <a:cubicBezTo>
                    <a:pt x="668" y="120"/>
                    <a:pt x="669" y="119"/>
                    <a:pt x="669" y="119"/>
                  </a:cubicBezTo>
                  <a:cubicBezTo>
                    <a:pt x="669" y="118"/>
                    <a:pt x="669" y="116"/>
                    <a:pt x="668" y="113"/>
                  </a:cubicBezTo>
                  <a:cubicBezTo>
                    <a:pt x="668" y="113"/>
                    <a:pt x="668" y="113"/>
                    <a:pt x="668" y="113"/>
                  </a:cubicBezTo>
                  <a:cubicBezTo>
                    <a:pt x="668" y="113"/>
                    <a:pt x="668" y="113"/>
                    <a:pt x="668" y="113"/>
                  </a:cubicBezTo>
                  <a:cubicBezTo>
                    <a:pt x="672" y="112"/>
                    <a:pt x="675" y="112"/>
                    <a:pt x="680" y="112"/>
                  </a:cubicBezTo>
                  <a:cubicBezTo>
                    <a:pt x="694" y="111"/>
                    <a:pt x="705" y="107"/>
                    <a:pt x="708" y="103"/>
                  </a:cubicBezTo>
                  <a:cubicBezTo>
                    <a:pt x="709" y="101"/>
                    <a:pt x="709" y="100"/>
                    <a:pt x="708" y="98"/>
                  </a:cubicBezTo>
                  <a:cubicBezTo>
                    <a:pt x="708" y="98"/>
                    <a:pt x="708" y="98"/>
                    <a:pt x="707" y="97"/>
                  </a:cubicBezTo>
                  <a:cubicBezTo>
                    <a:pt x="707" y="97"/>
                    <a:pt x="707" y="97"/>
                    <a:pt x="707" y="97"/>
                  </a:cubicBezTo>
                  <a:cubicBezTo>
                    <a:pt x="708" y="97"/>
                    <a:pt x="708" y="97"/>
                    <a:pt x="708" y="97"/>
                  </a:cubicBezTo>
                  <a:cubicBezTo>
                    <a:pt x="715" y="90"/>
                    <a:pt x="725" y="82"/>
                    <a:pt x="727" y="82"/>
                  </a:cubicBezTo>
                  <a:cubicBezTo>
                    <a:pt x="731" y="82"/>
                    <a:pt x="774" y="82"/>
                    <a:pt x="777" y="82"/>
                  </a:cubicBezTo>
                  <a:cubicBezTo>
                    <a:pt x="779" y="81"/>
                    <a:pt x="793" y="71"/>
                    <a:pt x="795" y="63"/>
                  </a:cubicBezTo>
                  <a:cubicBezTo>
                    <a:pt x="797" y="55"/>
                    <a:pt x="805" y="36"/>
                    <a:pt x="812" y="36"/>
                  </a:cubicBezTo>
                  <a:cubicBezTo>
                    <a:pt x="813" y="36"/>
                    <a:pt x="813" y="36"/>
                    <a:pt x="814" y="37"/>
                  </a:cubicBezTo>
                  <a:cubicBezTo>
                    <a:pt x="817" y="39"/>
                    <a:pt x="822" y="39"/>
                    <a:pt x="826" y="40"/>
                  </a:cubicBezTo>
                  <a:cubicBezTo>
                    <a:pt x="830" y="40"/>
                    <a:pt x="833" y="40"/>
                    <a:pt x="834" y="43"/>
                  </a:cubicBezTo>
                  <a:cubicBezTo>
                    <a:pt x="834" y="44"/>
                    <a:pt x="834" y="44"/>
                    <a:pt x="834" y="46"/>
                  </a:cubicBezTo>
                  <a:cubicBezTo>
                    <a:pt x="833" y="52"/>
                    <a:pt x="832" y="65"/>
                    <a:pt x="846" y="83"/>
                  </a:cubicBezTo>
                  <a:cubicBezTo>
                    <a:pt x="846" y="83"/>
                    <a:pt x="846" y="83"/>
                    <a:pt x="846" y="83"/>
                  </a:cubicBezTo>
                  <a:cubicBezTo>
                    <a:pt x="846" y="84"/>
                    <a:pt x="846" y="84"/>
                    <a:pt x="846" y="84"/>
                  </a:cubicBezTo>
                  <a:cubicBezTo>
                    <a:pt x="842" y="86"/>
                    <a:pt x="838" y="89"/>
                    <a:pt x="835" y="92"/>
                  </a:cubicBezTo>
                  <a:cubicBezTo>
                    <a:pt x="833" y="93"/>
                    <a:pt x="832" y="94"/>
                    <a:pt x="830" y="94"/>
                  </a:cubicBezTo>
                  <a:cubicBezTo>
                    <a:pt x="830" y="94"/>
                    <a:pt x="830" y="94"/>
                    <a:pt x="830" y="94"/>
                  </a:cubicBezTo>
                  <a:cubicBezTo>
                    <a:pt x="828" y="94"/>
                    <a:pt x="825" y="93"/>
                    <a:pt x="823" y="92"/>
                  </a:cubicBezTo>
                  <a:cubicBezTo>
                    <a:pt x="822" y="91"/>
                    <a:pt x="820" y="90"/>
                    <a:pt x="819" y="90"/>
                  </a:cubicBezTo>
                  <a:cubicBezTo>
                    <a:pt x="818" y="90"/>
                    <a:pt x="817" y="91"/>
                    <a:pt x="817" y="91"/>
                  </a:cubicBezTo>
                  <a:cubicBezTo>
                    <a:pt x="815" y="93"/>
                    <a:pt x="814" y="95"/>
                    <a:pt x="813" y="96"/>
                  </a:cubicBezTo>
                  <a:cubicBezTo>
                    <a:pt x="811" y="99"/>
                    <a:pt x="809" y="102"/>
                    <a:pt x="806" y="102"/>
                  </a:cubicBezTo>
                  <a:cubicBezTo>
                    <a:pt x="804" y="102"/>
                    <a:pt x="803" y="103"/>
                    <a:pt x="802" y="104"/>
                  </a:cubicBezTo>
                  <a:cubicBezTo>
                    <a:pt x="802" y="105"/>
                    <a:pt x="801" y="106"/>
                    <a:pt x="798" y="107"/>
                  </a:cubicBezTo>
                  <a:cubicBezTo>
                    <a:pt x="794" y="108"/>
                    <a:pt x="791" y="112"/>
                    <a:pt x="790" y="115"/>
                  </a:cubicBezTo>
                  <a:cubicBezTo>
                    <a:pt x="788" y="118"/>
                    <a:pt x="788" y="121"/>
                    <a:pt x="789" y="122"/>
                  </a:cubicBezTo>
                  <a:cubicBezTo>
                    <a:pt x="789" y="124"/>
                    <a:pt x="788" y="125"/>
                    <a:pt x="787" y="127"/>
                  </a:cubicBezTo>
                  <a:cubicBezTo>
                    <a:pt x="786" y="127"/>
                    <a:pt x="785" y="128"/>
                    <a:pt x="785" y="129"/>
                  </a:cubicBezTo>
                  <a:cubicBezTo>
                    <a:pt x="785" y="129"/>
                    <a:pt x="785" y="129"/>
                    <a:pt x="786" y="129"/>
                  </a:cubicBezTo>
                  <a:cubicBezTo>
                    <a:pt x="789" y="130"/>
                    <a:pt x="792" y="133"/>
                    <a:pt x="792" y="137"/>
                  </a:cubicBezTo>
                  <a:cubicBezTo>
                    <a:pt x="793" y="139"/>
                    <a:pt x="792" y="141"/>
                    <a:pt x="790" y="142"/>
                  </a:cubicBezTo>
                  <a:cubicBezTo>
                    <a:pt x="788" y="143"/>
                    <a:pt x="786" y="144"/>
                    <a:pt x="784" y="144"/>
                  </a:cubicBezTo>
                  <a:cubicBezTo>
                    <a:pt x="781" y="144"/>
                    <a:pt x="779" y="143"/>
                    <a:pt x="777" y="140"/>
                  </a:cubicBezTo>
                  <a:cubicBezTo>
                    <a:pt x="777" y="140"/>
                    <a:pt x="777" y="140"/>
                    <a:pt x="777" y="140"/>
                  </a:cubicBezTo>
                  <a:cubicBezTo>
                    <a:pt x="777" y="140"/>
                    <a:pt x="777" y="140"/>
                    <a:pt x="776" y="141"/>
                  </a:cubicBezTo>
                  <a:cubicBezTo>
                    <a:pt x="776" y="143"/>
                    <a:pt x="775" y="147"/>
                    <a:pt x="771" y="147"/>
                  </a:cubicBezTo>
                  <a:cubicBezTo>
                    <a:pt x="763" y="147"/>
                    <a:pt x="748" y="151"/>
                    <a:pt x="748" y="154"/>
                  </a:cubicBezTo>
                  <a:cubicBezTo>
                    <a:pt x="748" y="154"/>
                    <a:pt x="748" y="154"/>
                    <a:pt x="748" y="154"/>
                  </a:cubicBezTo>
                  <a:cubicBezTo>
                    <a:pt x="749" y="154"/>
                    <a:pt x="749" y="154"/>
                    <a:pt x="749" y="154"/>
                  </a:cubicBezTo>
                  <a:cubicBezTo>
                    <a:pt x="751" y="154"/>
                    <a:pt x="754" y="154"/>
                    <a:pt x="757" y="153"/>
                  </a:cubicBezTo>
                  <a:cubicBezTo>
                    <a:pt x="761" y="152"/>
                    <a:pt x="764" y="152"/>
                    <a:pt x="767" y="152"/>
                  </a:cubicBezTo>
                  <a:cubicBezTo>
                    <a:pt x="768" y="152"/>
                    <a:pt x="769" y="152"/>
                    <a:pt x="770" y="153"/>
                  </a:cubicBezTo>
                  <a:cubicBezTo>
                    <a:pt x="770" y="153"/>
                    <a:pt x="770" y="154"/>
                    <a:pt x="770" y="155"/>
                  </a:cubicBezTo>
                  <a:cubicBezTo>
                    <a:pt x="769" y="157"/>
                    <a:pt x="755" y="161"/>
                    <a:pt x="749" y="161"/>
                  </a:cubicBezTo>
                  <a:cubicBezTo>
                    <a:pt x="748" y="161"/>
                    <a:pt x="748" y="161"/>
                    <a:pt x="748" y="161"/>
                  </a:cubicBezTo>
                  <a:cubicBezTo>
                    <a:pt x="743" y="160"/>
                    <a:pt x="740" y="162"/>
                    <a:pt x="739" y="163"/>
                  </a:cubicBezTo>
                  <a:cubicBezTo>
                    <a:pt x="740" y="164"/>
                    <a:pt x="740" y="164"/>
                    <a:pt x="740" y="164"/>
                  </a:cubicBezTo>
                  <a:cubicBezTo>
                    <a:pt x="741" y="164"/>
                    <a:pt x="741" y="165"/>
                    <a:pt x="742" y="166"/>
                  </a:cubicBezTo>
                  <a:cubicBezTo>
                    <a:pt x="742" y="170"/>
                    <a:pt x="737" y="178"/>
                    <a:pt x="733" y="183"/>
                  </a:cubicBezTo>
                  <a:cubicBezTo>
                    <a:pt x="730" y="186"/>
                    <a:pt x="728" y="187"/>
                    <a:pt x="726" y="187"/>
                  </a:cubicBezTo>
                  <a:cubicBezTo>
                    <a:pt x="725" y="187"/>
                    <a:pt x="723" y="186"/>
                    <a:pt x="722" y="183"/>
                  </a:cubicBezTo>
                  <a:cubicBezTo>
                    <a:pt x="721" y="182"/>
                    <a:pt x="720" y="182"/>
                    <a:pt x="720" y="182"/>
                  </a:cubicBezTo>
                  <a:cubicBezTo>
                    <a:pt x="720" y="182"/>
                    <a:pt x="720" y="183"/>
                    <a:pt x="720" y="184"/>
                  </a:cubicBezTo>
                  <a:cubicBezTo>
                    <a:pt x="719" y="186"/>
                    <a:pt x="720" y="188"/>
                    <a:pt x="721" y="189"/>
                  </a:cubicBezTo>
                  <a:cubicBezTo>
                    <a:pt x="722" y="189"/>
                    <a:pt x="723" y="190"/>
                    <a:pt x="723" y="190"/>
                  </a:cubicBezTo>
                  <a:cubicBezTo>
                    <a:pt x="725" y="194"/>
                    <a:pt x="723" y="201"/>
                    <a:pt x="719" y="208"/>
                  </a:cubicBezTo>
                  <a:cubicBezTo>
                    <a:pt x="718" y="212"/>
                    <a:pt x="715" y="217"/>
                    <a:pt x="713" y="217"/>
                  </a:cubicBezTo>
                  <a:cubicBezTo>
                    <a:pt x="712" y="217"/>
                    <a:pt x="712" y="217"/>
                    <a:pt x="712" y="217"/>
                  </a:cubicBezTo>
                  <a:cubicBezTo>
                    <a:pt x="712" y="217"/>
                    <a:pt x="711" y="216"/>
                    <a:pt x="712" y="212"/>
                  </a:cubicBezTo>
                  <a:cubicBezTo>
                    <a:pt x="714" y="205"/>
                    <a:pt x="713" y="200"/>
                    <a:pt x="708" y="195"/>
                  </a:cubicBezTo>
                  <a:cubicBezTo>
                    <a:pt x="704" y="190"/>
                    <a:pt x="708" y="183"/>
                    <a:pt x="710" y="181"/>
                  </a:cubicBezTo>
                  <a:cubicBezTo>
                    <a:pt x="710" y="180"/>
                    <a:pt x="710" y="179"/>
                    <a:pt x="710" y="179"/>
                  </a:cubicBezTo>
                  <a:cubicBezTo>
                    <a:pt x="709" y="179"/>
                    <a:pt x="709" y="179"/>
                    <a:pt x="709" y="179"/>
                  </a:cubicBezTo>
                  <a:cubicBezTo>
                    <a:pt x="708" y="179"/>
                    <a:pt x="706" y="179"/>
                    <a:pt x="706" y="181"/>
                  </a:cubicBezTo>
                  <a:cubicBezTo>
                    <a:pt x="705" y="182"/>
                    <a:pt x="705" y="186"/>
                    <a:pt x="705" y="189"/>
                  </a:cubicBezTo>
                  <a:cubicBezTo>
                    <a:pt x="705" y="195"/>
                    <a:pt x="705" y="200"/>
                    <a:pt x="703" y="200"/>
                  </a:cubicBezTo>
                  <a:cubicBezTo>
                    <a:pt x="697" y="202"/>
                    <a:pt x="696" y="203"/>
                    <a:pt x="696" y="203"/>
                  </a:cubicBezTo>
                  <a:cubicBezTo>
                    <a:pt x="696" y="204"/>
                    <a:pt x="697" y="204"/>
                    <a:pt x="697" y="205"/>
                  </a:cubicBezTo>
                  <a:cubicBezTo>
                    <a:pt x="698" y="205"/>
                    <a:pt x="698" y="205"/>
                    <a:pt x="698" y="205"/>
                  </a:cubicBezTo>
                  <a:cubicBezTo>
                    <a:pt x="701" y="207"/>
                    <a:pt x="707" y="212"/>
                    <a:pt x="708" y="215"/>
                  </a:cubicBezTo>
                  <a:cubicBezTo>
                    <a:pt x="708" y="216"/>
                    <a:pt x="708" y="217"/>
                    <a:pt x="707" y="218"/>
                  </a:cubicBezTo>
                  <a:cubicBezTo>
                    <a:pt x="706" y="219"/>
                    <a:pt x="703" y="221"/>
                    <a:pt x="704" y="223"/>
                  </a:cubicBezTo>
                  <a:cubicBezTo>
                    <a:pt x="704" y="223"/>
                    <a:pt x="705" y="224"/>
                    <a:pt x="707" y="224"/>
                  </a:cubicBezTo>
                  <a:cubicBezTo>
                    <a:pt x="711" y="224"/>
                    <a:pt x="714" y="228"/>
                    <a:pt x="714" y="231"/>
                  </a:cubicBezTo>
                  <a:cubicBezTo>
                    <a:pt x="714" y="233"/>
                    <a:pt x="714" y="234"/>
                    <a:pt x="712" y="235"/>
                  </a:cubicBezTo>
                  <a:cubicBezTo>
                    <a:pt x="711" y="235"/>
                    <a:pt x="710" y="236"/>
                    <a:pt x="710" y="237"/>
                  </a:cubicBezTo>
                  <a:cubicBezTo>
                    <a:pt x="710" y="237"/>
                    <a:pt x="712" y="239"/>
                    <a:pt x="716" y="239"/>
                  </a:cubicBezTo>
                  <a:cubicBezTo>
                    <a:pt x="718" y="239"/>
                    <a:pt x="720" y="239"/>
                    <a:pt x="720" y="240"/>
                  </a:cubicBezTo>
                  <a:cubicBezTo>
                    <a:pt x="721" y="243"/>
                    <a:pt x="715" y="247"/>
                    <a:pt x="713" y="248"/>
                  </a:cubicBezTo>
                  <a:cubicBezTo>
                    <a:pt x="712" y="249"/>
                    <a:pt x="710" y="250"/>
                    <a:pt x="708" y="250"/>
                  </a:cubicBezTo>
                  <a:cubicBezTo>
                    <a:pt x="705" y="250"/>
                    <a:pt x="703" y="249"/>
                    <a:pt x="702" y="248"/>
                  </a:cubicBezTo>
                  <a:cubicBezTo>
                    <a:pt x="702" y="246"/>
                    <a:pt x="700" y="247"/>
                    <a:pt x="700" y="248"/>
                  </a:cubicBezTo>
                  <a:cubicBezTo>
                    <a:pt x="699" y="249"/>
                    <a:pt x="699" y="250"/>
                    <a:pt x="700" y="252"/>
                  </a:cubicBezTo>
                  <a:cubicBezTo>
                    <a:pt x="700" y="253"/>
                    <a:pt x="701" y="253"/>
                    <a:pt x="701" y="254"/>
                  </a:cubicBezTo>
                  <a:cubicBezTo>
                    <a:pt x="702" y="256"/>
                    <a:pt x="704" y="258"/>
                    <a:pt x="703" y="260"/>
                  </a:cubicBezTo>
                  <a:cubicBezTo>
                    <a:pt x="703" y="261"/>
                    <a:pt x="701" y="262"/>
                    <a:pt x="698" y="263"/>
                  </a:cubicBezTo>
                  <a:cubicBezTo>
                    <a:pt x="690" y="264"/>
                    <a:pt x="684" y="269"/>
                    <a:pt x="683" y="273"/>
                  </a:cubicBezTo>
                  <a:cubicBezTo>
                    <a:pt x="683" y="276"/>
                    <a:pt x="680" y="277"/>
                    <a:pt x="678" y="277"/>
                  </a:cubicBezTo>
                  <a:cubicBezTo>
                    <a:pt x="677" y="277"/>
                    <a:pt x="676" y="277"/>
                    <a:pt x="676" y="277"/>
                  </a:cubicBezTo>
                  <a:cubicBezTo>
                    <a:pt x="675" y="277"/>
                    <a:pt x="674" y="276"/>
                    <a:pt x="674" y="276"/>
                  </a:cubicBezTo>
                  <a:cubicBezTo>
                    <a:pt x="670" y="276"/>
                    <a:pt x="664" y="283"/>
                    <a:pt x="662" y="288"/>
                  </a:cubicBezTo>
                  <a:cubicBezTo>
                    <a:pt x="662" y="291"/>
                    <a:pt x="659" y="291"/>
                    <a:pt x="657" y="292"/>
                  </a:cubicBezTo>
                  <a:cubicBezTo>
                    <a:pt x="654" y="293"/>
                    <a:pt x="652" y="293"/>
                    <a:pt x="649" y="295"/>
                  </a:cubicBezTo>
                  <a:cubicBezTo>
                    <a:pt x="644" y="300"/>
                    <a:pt x="633" y="316"/>
                    <a:pt x="632" y="325"/>
                  </a:cubicBezTo>
                  <a:cubicBezTo>
                    <a:pt x="632" y="335"/>
                    <a:pt x="635" y="347"/>
                    <a:pt x="640" y="353"/>
                  </a:cubicBezTo>
                  <a:cubicBezTo>
                    <a:pt x="643" y="357"/>
                    <a:pt x="643" y="359"/>
                    <a:pt x="643" y="361"/>
                  </a:cubicBezTo>
                  <a:cubicBezTo>
                    <a:pt x="643" y="363"/>
                    <a:pt x="643" y="365"/>
                    <a:pt x="645" y="367"/>
                  </a:cubicBezTo>
                  <a:cubicBezTo>
                    <a:pt x="649" y="373"/>
                    <a:pt x="653" y="391"/>
                    <a:pt x="653" y="397"/>
                  </a:cubicBezTo>
                  <a:cubicBezTo>
                    <a:pt x="652" y="400"/>
                    <a:pt x="651" y="402"/>
                    <a:pt x="650" y="405"/>
                  </a:cubicBezTo>
                  <a:cubicBezTo>
                    <a:pt x="648" y="408"/>
                    <a:pt x="647" y="411"/>
                    <a:pt x="646" y="414"/>
                  </a:cubicBezTo>
                  <a:cubicBezTo>
                    <a:pt x="646" y="416"/>
                    <a:pt x="645" y="417"/>
                    <a:pt x="643" y="417"/>
                  </a:cubicBezTo>
                  <a:close/>
                  <a:moveTo>
                    <a:pt x="594" y="335"/>
                  </a:moveTo>
                  <a:cubicBezTo>
                    <a:pt x="596" y="335"/>
                    <a:pt x="597" y="336"/>
                    <a:pt x="598" y="337"/>
                  </a:cubicBezTo>
                  <a:cubicBezTo>
                    <a:pt x="601" y="339"/>
                    <a:pt x="603" y="342"/>
                    <a:pt x="605" y="344"/>
                  </a:cubicBezTo>
                  <a:cubicBezTo>
                    <a:pt x="607" y="347"/>
                    <a:pt x="610" y="350"/>
                    <a:pt x="613" y="353"/>
                  </a:cubicBezTo>
                  <a:cubicBezTo>
                    <a:pt x="616" y="356"/>
                    <a:pt x="615" y="360"/>
                    <a:pt x="614" y="363"/>
                  </a:cubicBezTo>
                  <a:cubicBezTo>
                    <a:pt x="613" y="366"/>
                    <a:pt x="612" y="368"/>
                    <a:pt x="613" y="370"/>
                  </a:cubicBezTo>
                  <a:cubicBezTo>
                    <a:pt x="615" y="371"/>
                    <a:pt x="615" y="373"/>
                    <a:pt x="615" y="375"/>
                  </a:cubicBezTo>
                  <a:cubicBezTo>
                    <a:pt x="615" y="378"/>
                    <a:pt x="616" y="381"/>
                    <a:pt x="619" y="384"/>
                  </a:cubicBezTo>
                  <a:cubicBezTo>
                    <a:pt x="623" y="387"/>
                    <a:pt x="623" y="390"/>
                    <a:pt x="623" y="394"/>
                  </a:cubicBezTo>
                  <a:cubicBezTo>
                    <a:pt x="623" y="397"/>
                    <a:pt x="623" y="399"/>
                    <a:pt x="625" y="399"/>
                  </a:cubicBezTo>
                  <a:cubicBezTo>
                    <a:pt x="630" y="400"/>
                    <a:pt x="635" y="409"/>
                    <a:pt x="635" y="412"/>
                  </a:cubicBezTo>
                  <a:cubicBezTo>
                    <a:pt x="636" y="414"/>
                    <a:pt x="640" y="416"/>
                    <a:pt x="643" y="416"/>
                  </a:cubicBezTo>
                  <a:cubicBezTo>
                    <a:pt x="644" y="416"/>
                    <a:pt x="645" y="415"/>
                    <a:pt x="645" y="414"/>
                  </a:cubicBezTo>
                  <a:cubicBezTo>
                    <a:pt x="646" y="411"/>
                    <a:pt x="647" y="408"/>
                    <a:pt x="649" y="405"/>
                  </a:cubicBezTo>
                  <a:cubicBezTo>
                    <a:pt x="650" y="402"/>
                    <a:pt x="651" y="399"/>
                    <a:pt x="652" y="397"/>
                  </a:cubicBezTo>
                  <a:cubicBezTo>
                    <a:pt x="652" y="392"/>
                    <a:pt x="648" y="374"/>
                    <a:pt x="644" y="368"/>
                  </a:cubicBezTo>
                  <a:cubicBezTo>
                    <a:pt x="642" y="365"/>
                    <a:pt x="642" y="363"/>
                    <a:pt x="642" y="361"/>
                  </a:cubicBezTo>
                  <a:cubicBezTo>
                    <a:pt x="642" y="359"/>
                    <a:pt x="642" y="357"/>
                    <a:pt x="640" y="354"/>
                  </a:cubicBezTo>
                  <a:cubicBezTo>
                    <a:pt x="635" y="347"/>
                    <a:pt x="631" y="335"/>
                    <a:pt x="631" y="325"/>
                  </a:cubicBezTo>
                  <a:cubicBezTo>
                    <a:pt x="632" y="316"/>
                    <a:pt x="643" y="300"/>
                    <a:pt x="649" y="295"/>
                  </a:cubicBezTo>
                  <a:cubicBezTo>
                    <a:pt x="651" y="292"/>
                    <a:pt x="654" y="292"/>
                    <a:pt x="656" y="291"/>
                  </a:cubicBezTo>
                  <a:cubicBezTo>
                    <a:pt x="659" y="290"/>
                    <a:pt x="661" y="290"/>
                    <a:pt x="661" y="287"/>
                  </a:cubicBezTo>
                  <a:cubicBezTo>
                    <a:pt x="663" y="282"/>
                    <a:pt x="670" y="275"/>
                    <a:pt x="674" y="275"/>
                  </a:cubicBezTo>
                  <a:cubicBezTo>
                    <a:pt x="674" y="275"/>
                    <a:pt x="675" y="276"/>
                    <a:pt x="676" y="276"/>
                  </a:cubicBezTo>
                  <a:cubicBezTo>
                    <a:pt x="676" y="276"/>
                    <a:pt x="677" y="276"/>
                    <a:pt x="678" y="276"/>
                  </a:cubicBezTo>
                  <a:cubicBezTo>
                    <a:pt x="680" y="276"/>
                    <a:pt x="682" y="275"/>
                    <a:pt x="682" y="273"/>
                  </a:cubicBezTo>
                  <a:cubicBezTo>
                    <a:pt x="683" y="268"/>
                    <a:pt x="689" y="263"/>
                    <a:pt x="698" y="262"/>
                  </a:cubicBezTo>
                  <a:cubicBezTo>
                    <a:pt x="700" y="261"/>
                    <a:pt x="702" y="261"/>
                    <a:pt x="702" y="260"/>
                  </a:cubicBezTo>
                  <a:cubicBezTo>
                    <a:pt x="703" y="258"/>
                    <a:pt x="701" y="257"/>
                    <a:pt x="700" y="255"/>
                  </a:cubicBezTo>
                  <a:cubicBezTo>
                    <a:pt x="700" y="254"/>
                    <a:pt x="699" y="253"/>
                    <a:pt x="699" y="253"/>
                  </a:cubicBezTo>
                  <a:cubicBezTo>
                    <a:pt x="698" y="251"/>
                    <a:pt x="698" y="249"/>
                    <a:pt x="699" y="248"/>
                  </a:cubicBezTo>
                  <a:cubicBezTo>
                    <a:pt x="699" y="247"/>
                    <a:pt x="701" y="246"/>
                    <a:pt x="702" y="246"/>
                  </a:cubicBezTo>
                  <a:cubicBezTo>
                    <a:pt x="702" y="246"/>
                    <a:pt x="703" y="246"/>
                    <a:pt x="703" y="247"/>
                  </a:cubicBezTo>
                  <a:cubicBezTo>
                    <a:pt x="704" y="248"/>
                    <a:pt x="706" y="249"/>
                    <a:pt x="708" y="249"/>
                  </a:cubicBezTo>
                  <a:cubicBezTo>
                    <a:pt x="710" y="249"/>
                    <a:pt x="711" y="248"/>
                    <a:pt x="713" y="248"/>
                  </a:cubicBezTo>
                  <a:cubicBezTo>
                    <a:pt x="716" y="245"/>
                    <a:pt x="719" y="242"/>
                    <a:pt x="719" y="241"/>
                  </a:cubicBezTo>
                  <a:cubicBezTo>
                    <a:pt x="719" y="240"/>
                    <a:pt x="718" y="240"/>
                    <a:pt x="716" y="240"/>
                  </a:cubicBezTo>
                  <a:cubicBezTo>
                    <a:pt x="712" y="240"/>
                    <a:pt x="709" y="238"/>
                    <a:pt x="709" y="237"/>
                  </a:cubicBezTo>
                  <a:cubicBezTo>
                    <a:pt x="709" y="236"/>
                    <a:pt x="709" y="235"/>
                    <a:pt x="712" y="234"/>
                  </a:cubicBezTo>
                  <a:cubicBezTo>
                    <a:pt x="713" y="233"/>
                    <a:pt x="713" y="232"/>
                    <a:pt x="713" y="231"/>
                  </a:cubicBezTo>
                  <a:cubicBezTo>
                    <a:pt x="713" y="228"/>
                    <a:pt x="710" y="225"/>
                    <a:pt x="707" y="225"/>
                  </a:cubicBezTo>
                  <a:cubicBezTo>
                    <a:pt x="704" y="225"/>
                    <a:pt x="703" y="224"/>
                    <a:pt x="703" y="223"/>
                  </a:cubicBezTo>
                  <a:cubicBezTo>
                    <a:pt x="702" y="221"/>
                    <a:pt x="704" y="219"/>
                    <a:pt x="706" y="217"/>
                  </a:cubicBezTo>
                  <a:cubicBezTo>
                    <a:pt x="707" y="216"/>
                    <a:pt x="707" y="216"/>
                    <a:pt x="707" y="215"/>
                  </a:cubicBezTo>
                  <a:cubicBezTo>
                    <a:pt x="707" y="212"/>
                    <a:pt x="701" y="208"/>
                    <a:pt x="697" y="206"/>
                  </a:cubicBezTo>
                  <a:cubicBezTo>
                    <a:pt x="697" y="205"/>
                    <a:pt x="697" y="205"/>
                    <a:pt x="697" y="205"/>
                  </a:cubicBezTo>
                  <a:cubicBezTo>
                    <a:pt x="696" y="205"/>
                    <a:pt x="695" y="204"/>
                    <a:pt x="695" y="203"/>
                  </a:cubicBezTo>
                  <a:cubicBezTo>
                    <a:pt x="696" y="201"/>
                    <a:pt x="698" y="200"/>
                    <a:pt x="703" y="199"/>
                  </a:cubicBezTo>
                  <a:cubicBezTo>
                    <a:pt x="704" y="199"/>
                    <a:pt x="704" y="193"/>
                    <a:pt x="704" y="189"/>
                  </a:cubicBezTo>
                  <a:cubicBezTo>
                    <a:pt x="704" y="186"/>
                    <a:pt x="704" y="182"/>
                    <a:pt x="705" y="181"/>
                  </a:cubicBezTo>
                  <a:cubicBezTo>
                    <a:pt x="706" y="179"/>
                    <a:pt x="708" y="178"/>
                    <a:pt x="709" y="178"/>
                  </a:cubicBezTo>
                  <a:cubicBezTo>
                    <a:pt x="710" y="178"/>
                    <a:pt x="711" y="178"/>
                    <a:pt x="711" y="179"/>
                  </a:cubicBezTo>
                  <a:cubicBezTo>
                    <a:pt x="711" y="179"/>
                    <a:pt x="711" y="180"/>
                    <a:pt x="710" y="181"/>
                  </a:cubicBezTo>
                  <a:cubicBezTo>
                    <a:pt x="708" y="185"/>
                    <a:pt x="705" y="190"/>
                    <a:pt x="709" y="195"/>
                  </a:cubicBezTo>
                  <a:cubicBezTo>
                    <a:pt x="713" y="200"/>
                    <a:pt x="715" y="205"/>
                    <a:pt x="713" y="213"/>
                  </a:cubicBezTo>
                  <a:cubicBezTo>
                    <a:pt x="712" y="216"/>
                    <a:pt x="713" y="216"/>
                    <a:pt x="713" y="216"/>
                  </a:cubicBezTo>
                  <a:cubicBezTo>
                    <a:pt x="713" y="216"/>
                    <a:pt x="715" y="215"/>
                    <a:pt x="719" y="208"/>
                  </a:cubicBezTo>
                  <a:cubicBezTo>
                    <a:pt x="723" y="200"/>
                    <a:pt x="723" y="193"/>
                    <a:pt x="722" y="191"/>
                  </a:cubicBezTo>
                  <a:cubicBezTo>
                    <a:pt x="722" y="190"/>
                    <a:pt x="722" y="190"/>
                    <a:pt x="721" y="190"/>
                  </a:cubicBezTo>
                  <a:cubicBezTo>
                    <a:pt x="719" y="189"/>
                    <a:pt x="718" y="186"/>
                    <a:pt x="719" y="184"/>
                  </a:cubicBezTo>
                  <a:cubicBezTo>
                    <a:pt x="719" y="181"/>
                    <a:pt x="721" y="181"/>
                    <a:pt x="722" y="183"/>
                  </a:cubicBezTo>
                  <a:cubicBezTo>
                    <a:pt x="724" y="185"/>
                    <a:pt x="725" y="186"/>
                    <a:pt x="726" y="186"/>
                  </a:cubicBezTo>
                  <a:cubicBezTo>
                    <a:pt x="728" y="186"/>
                    <a:pt x="729" y="185"/>
                    <a:pt x="732" y="182"/>
                  </a:cubicBezTo>
                  <a:cubicBezTo>
                    <a:pt x="736" y="177"/>
                    <a:pt x="741" y="170"/>
                    <a:pt x="741" y="166"/>
                  </a:cubicBezTo>
                  <a:cubicBezTo>
                    <a:pt x="740" y="166"/>
                    <a:pt x="740" y="165"/>
                    <a:pt x="740" y="165"/>
                  </a:cubicBezTo>
                  <a:cubicBezTo>
                    <a:pt x="738" y="164"/>
                    <a:pt x="738" y="163"/>
                    <a:pt x="738" y="162"/>
                  </a:cubicBezTo>
                  <a:cubicBezTo>
                    <a:pt x="739" y="161"/>
                    <a:pt x="743" y="160"/>
                    <a:pt x="747" y="160"/>
                  </a:cubicBezTo>
                  <a:cubicBezTo>
                    <a:pt x="748" y="160"/>
                    <a:pt x="748" y="160"/>
                    <a:pt x="748" y="160"/>
                  </a:cubicBezTo>
                  <a:cubicBezTo>
                    <a:pt x="749" y="160"/>
                    <a:pt x="749" y="160"/>
                    <a:pt x="749" y="160"/>
                  </a:cubicBezTo>
                  <a:cubicBezTo>
                    <a:pt x="755" y="160"/>
                    <a:pt x="768" y="156"/>
                    <a:pt x="769" y="154"/>
                  </a:cubicBezTo>
                  <a:cubicBezTo>
                    <a:pt x="769" y="153"/>
                    <a:pt x="769" y="153"/>
                    <a:pt x="769" y="153"/>
                  </a:cubicBezTo>
                  <a:cubicBezTo>
                    <a:pt x="769" y="153"/>
                    <a:pt x="768" y="153"/>
                    <a:pt x="767" y="153"/>
                  </a:cubicBezTo>
                  <a:cubicBezTo>
                    <a:pt x="764" y="153"/>
                    <a:pt x="761" y="153"/>
                    <a:pt x="757" y="154"/>
                  </a:cubicBezTo>
                  <a:cubicBezTo>
                    <a:pt x="753" y="155"/>
                    <a:pt x="749" y="155"/>
                    <a:pt x="747" y="155"/>
                  </a:cubicBezTo>
                  <a:cubicBezTo>
                    <a:pt x="747" y="154"/>
                    <a:pt x="747" y="154"/>
                    <a:pt x="747" y="154"/>
                  </a:cubicBezTo>
                  <a:cubicBezTo>
                    <a:pt x="747" y="150"/>
                    <a:pt x="764" y="146"/>
                    <a:pt x="771" y="146"/>
                  </a:cubicBezTo>
                  <a:cubicBezTo>
                    <a:pt x="774" y="146"/>
                    <a:pt x="775" y="143"/>
                    <a:pt x="775" y="141"/>
                  </a:cubicBezTo>
                  <a:cubicBezTo>
                    <a:pt x="776" y="140"/>
                    <a:pt x="776" y="139"/>
                    <a:pt x="777" y="139"/>
                  </a:cubicBezTo>
                  <a:cubicBezTo>
                    <a:pt x="777" y="139"/>
                    <a:pt x="777" y="139"/>
                    <a:pt x="778" y="140"/>
                  </a:cubicBezTo>
                  <a:cubicBezTo>
                    <a:pt x="780" y="142"/>
                    <a:pt x="781" y="143"/>
                    <a:pt x="784" y="143"/>
                  </a:cubicBezTo>
                  <a:cubicBezTo>
                    <a:pt x="786" y="143"/>
                    <a:pt x="788" y="142"/>
                    <a:pt x="790" y="141"/>
                  </a:cubicBezTo>
                  <a:cubicBezTo>
                    <a:pt x="792" y="140"/>
                    <a:pt x="792" y="138"/>
                    <a:pt x="791" y="137"/>
                  </a:cubicBezTo>
                  <a:cubicBezTo>
                    <a:pt x="791" y="134"/>
                    <a:pt x="789" y="131"/>
                    <a:pt x="786" y="130"/>
                  </a:cubicBezTo>
                  <a:cubicBezTo>
                    <a:pt x="785" y="130"/>
                    <a:pt x="784" y="130"/>
                    <a:pt x="784" y="129"/>
                  </a:cubicBezTo>
                  <a:cubicBezTo>
                    <a:pt x="784" y="128"/>
                    <a:pt x="785" y="127"/>
                    <a:pt x="786" y="126"/>
                  </a:cubicBezTo>
                  <a:cubicBezTo>
                    <a:pt x="787" y="125"/>
                    <a:pt x="788" y="124"/>
                    <a:pt x="788" y="123"/>
                  </a:cubicBezTo>
                  <a:cubicBezTo>
                    <a:pt x="787" y="121"/>
                    <a:pt x="788" y="117"/>
                    <a:pt x="789" y="115"/>
                  </a:cubicBezTo>
                  <a:cubicBezTo>
                    <a:pt x="791" y="111"/>
                    <a:pt x="794" y="107"/>
                    <a:pt x="797" y="106"/>
                  </a:cubicBezTo>
                  <a:cubicBezTo>
                    <a:pt x="800" y="106"/>
                    <a:pt x="801" y="104"/>
                    <a:pt x="802" y="103"/>
                  </a:cubicBezTo>
                  <a:cubicBezTo>
                    <a:pt x="802" y="102"/>
                    <a:pt x="803" y="101"/>
                    <a:pt x="806" y="101"/>
                  </a:cubicBezTo>
                  <a:cubicBezTo>
                    <a:pt x="809" y="101"/>
                    <a:pt x="810" y="99"/>
                    <a:pt x="812" y="96"/>
                  </a:cubicBezTo>
                  <a:cubicBezTo>
                    <a:pt x="813" y="94"/>
                    <a:pt x="814" y="92"/>
                    <a:pt x="816" y="90"/>
                  </a:cubicBezTo>
                  <a:cubicBezTo>
                    <a:pt x="817" y="90"/>
                    <a:pt x="818" y="89"/>
                    <a:pt x="819" y="89"/>
                  </a:cubicBezTo>
                  <a:cubicBezTo>
                    <a:pt x="821" y="89"/>
                    <a:pt x="822" y="90"/>
                    <a:pt x="824" y="91"/>
                  </a:cubicBezTo>
                  <a:cubicBezTo>
                    <a:pt x="826" y="92"/>
                    <a:pt x="828" y="93"/>
                    <a:pt x="830" y="93"/>
                  </a:cubicBezTo>
                  <a:cubicBezTo>
                    <a:pt x="830" y="93"/>
                    <a:pt x="830" y="93"/>
                    <a:pt x="830" y="93"/>
                  </a:cubicBezTo>
                  <a:cubicBezTo>
                    <a:pt x="831" y="93"/>
                    <a:pt x="833" y="92"/>
                    <a:pt x="834" y="91"/>
                  </a:cubicBezTo>
                  <a:cubicBezTo>
                    <a:pt x="837" y="89"/>
                    <a:pt x="841" y="86"/>
                    <a:pt x="845" y="83"/>
                  </a:cubicBezTo>
                  <a:cubicBezTo>
                    <a:pt x="831" y="65"/>
                    <a:pt x="832" y="52"/>
                    <a:pt x="833" y="46"/>
                  </a:cubicBezTo>
                  <a:cubicBezTo>
                    <a:pt x="833" y="44"/>
                    <a:pt x="833" y="44"/>
                    <a:pt x="833" y="43"/>
                  </a:cubicBezTo>
                  <a:cubicBezTo>
                    <a:pt x="832" y="41"/>
                    <a:pt x="829" y="41"/>
                    <a:pt x="826" y="41"/>
                  </a:cubicBezTo>
                  <a:cubicBezTo>
                    <a:pt x="821" y="40"/>
                    <a:pt x="817" y="40"/>
                    <a:pt x="813" y="38"/>
                  </a:cubicBezTo>
                  <a:cubicBezTo>
                    <a:pt x="813" y="37"/>
                    <a:pt x="812" y="37"/>
                    <a:pt x="812" y="37"/>
                  </a:cubicBezTo>
                  <a:cubicBezTo>
                    <a:pt x="806" y="37"/>
                    <a:pt x="798" y="54"/>
                    <a:pt x="796" y="63"/>
                  </a:cubicBezTo>
                  <a:cubicBezTo>
                    <a:pt x="794" y="72"/>
                    <a:pt x="778" y="82"/>
                    <a:pt x="777" y="82"/>
                  </a:cubicBezTo>
                  <a:cubicBezTo>
                    <a:pt x="777" y="82"/>
                    <a:pt x="777" y="82"/>
                    <a:pt x="777" y="82"/>
                  </a:cubicBezTo>
                  <a:cubicBezTo>
                    <a:pt x="777" y="83"/>
                    <a:pt x="777" y="83"/>
                    <a:pt x="777" y="83"/>
                  </a:cubicBezTo>
                  <a:cubicBezTo>
                    <a:pt x="777" y="83"/>
                    <a:pt x="731" y="83"/>
                    <a:pt x="727" y="83"/>
                  </a:cubicBezTo>
                  <a:cubicBezTo>
                    <a:pt x="726" y="83"/>
                    <a:pt x="718" y="88"/>
                    <a:pt x="709" y="97"/>
                  </a:cubicBezTo>
                  <a:cubicBezTo>
                    <a:pt x="709" y="97"/>
                    <a:pt x="709" y="97"/>
                    <a:pt x="709" y="98"/>
                  </a:cubicBezTo>
                  <a:cubicBezTo>
                    <a:pt x="710" y="100"/>
                    <a:pt x="710" y="102"/>
                    <a:pt x="709" y="103"/>
                  </a:cubicBezTo>
                  <a:cubicBezTo>
                    <a:pt x="706" y="109"/>
                    <a:pt x="692" y="112"/>
                    <a:pt x="680" y="113"/>
                  </a:cubicBezTo>
                  <a:cubicBezTo>
                    <a:pt x="676" y="113"/>
                    <a:pt x="672" y="113"/>
                    <a:pt x="669" y="114"/>
                  </a:cubicBezTo>
                  <a:cubicBezTo>
                    <a:pt x="670" y="116"/>
                    <a:pt x="670" y="118"/>
                    <a:pt x="670" y="119"/>
                  </a:cubicBezTo>
                  <a:cubicBezTo>
                    <a:pt x="670" y="120"/>
                    <a:pt x="668" y="121"/>
                    <a:pt x="665" y="123"/>
                  </a:cubicBezTo>
                  <a:cubicBezTo>
                    <a:pt x="663" y="127"/>
                    <a:pt x="648" y="135"/>
                    <a:pt x="637" y="141"/>
                  </a:cubicBezTo>
                  <a:cubicBezTo>
                    <a:pt x="635" y="142"/>
                    <a:pt x="633" y="143"/>
                    <a:pt x="632" y="144"/>
                  </a:cubicBezTo>
                  <a:cubicBezTo>
                    <a:pt x="628" y="146"/>
                    <a:pt x="623" y="147"/>
                    <a:pt x="618" y="147"/>
                  </a:cubicBezTo>
                  <a:cubicBezTo>
                    <a:pt x="614" y="147"/>
                    <a:pt x="610" y="146"/>
                    <a:pt x="607" y="144"/>
                  </a:cubicBezTo>
                  <a:cubicBezTo>
                    <a:pt x="604" y="142"/>
                    <a:pt x="602" y="140"/>
                    <a:pt x="602" y="137"/>
                  </a:cubicBezTo>
                  <a:cubicBezTo>
                    <a:pt x="602" y="130"/>
                    <a:pt x="606" y="129"/>
                    <a:pt x="608" y="129"/>
                  </a:cubicBezTo>
                  <a:cubicBezTo>
                    <a:pt x="610" y="129"/>
                    <a:pt x="613" y="131"/>
                    <a:pt x="614" y="133"/>
                  </a:cubicBezTo>
                  <a:cubicBezTo>
                    <a:pt x="614" y="134"/>
                    <a:pt x="614" y="134"/>
                    <a:pt x="615" y="134"/>
                  </a:cubicBezTo>
                  <a:cubicBezTo>
                    <a:pt x="616" y="134"/>
                    <a:pt x="617" y="133"/>
                    <a:pt x="619" y="132"/>
                  </a:cubicBezTo>
                  <a:cubicBezTo>
                    <a:pt x="616" y="129"/>
                    <a:pt x="616" y="124"/>
                    <a:pt x="616" y="121"/>
                  </a:cubicBezTo>
                  <a:cubicBezTo>
                    <a:pt x="615" y="120"/>
                    <a:pt x="615" y="117"/>
                    <a:pt x="615" y="114"/>
                  </a:cubicBezTo>
                  <a:cubicBezTo>
                    <a:pt x="615" y="109"/>
                    <a:pt x="615" y="104"/>
                    <a:pt x="611" y="102"/>
                  </a:cubicBezTo>
                  <a:cubicBezTo>
                    <a:pt x="610" y="102"/>
                    <a:pt x="610" y="102"/>
                    <a:pt x="610" y="102"/>
                  </a:cubicBezTo>
                  <a:cubicBezTo>
                    <a:pt x="606" y="102"/>
                    <a:pt x="603" y="104"/>
                    <a:pt x="601" y="106"/>
                  </a:cubicBezTo>
                  <a:cubicBezTo>
                    <a:pt x="599" y="107"/>
                    <a:pt x="598" y="108"/>
                    <a:pt x="597" y="108"/>
                  </a:cubicBezTo>
                  <a:cubicBezTo>
                    <a:pt x="596" y="108"/>
                    <a:pt x="596" y="107"/>
                    <a:pt x="596" y="107"/>
                  </a:cubicBezTo>
                  <a:cubicBezTo>
                    <a:pt x="595" y="107"/>
                    <a:pt x="595" y="106"/>
                    <a:pt x="596" y="104"/>
                  </a:cubicBezTo>
                  <a:cubicBezTo>
                    <a:pt x="596" y="101"/>
                    <a:pt x="598" y="99"/>
                    <a:pt x="600" y="96"/>
                  </a:cubicBezTo>
                  <a:cubicBezTo>
                    <a:pt x="603" y="90"/>
                    <a:pt x="606" y="85"/>
                    <a:pt x="602" y="78"/>
                  </a:cubicBezTo>
                  <a:cubicBezTo>
                    <a:pt x="598" y="73"/>
                    <a:pt x="593" y="70"/>
                    <a:pt x="588" y="70"/>
                  </a:cubicBezTo>
                  <a:cubicBezTo>
                    <a:pt x="584" y="70"/>
                    <a:pt x="581" y="72"/>
                    <a:pt x="580" y="75"/>
                  </a:cubicBezTo>
                  <a:cubicBezTo>
                    <a:pt x="578" y="80"/>
                    <a:pt x="575" y="81"/>
                    <a:pt x="572" y="82"/>
                  </a:cubicBezTo>
                  <a:cubicBezTo>
                    <a:pt x="569" y="83"/>
                    <a:pt x="566" y="84"/>
                    <a:pt x="565" y="87"/>
                  </a:cubicBezTo>
                  <a:cubicBezTo>
                    <a:pt x="562" y="93"/>
                    <a:pt x="559" y="107"/>
                    <a:pt x="561" y="117"/>
                  </a:cubicBezTo>
                  <a:cubicBezTo>
                    <a:pt x="564" y="127"/>
                    <a:pt x="561" y="133"/>
                    <a:pt x="551" y="139"/>
                  </a:cubicBezTo>
                  <a:cubicBezTo>
                    <a:pt x="547" y="141"/>
                    <a:pt x="544" y="141"/>
                    <a:pt x="541" y="138"/>
                  </a:cubicBezTo>
                  <a:cubicBezTo>
                    <a:pt x="537" y="133"/>
                    <a:pt x="537" y="122"/>
                    <a:pt x="539" y="111"/>
                  </a:cubicBezTo>
                  <a:cubicBezTo>
                    <a:pt x="540" y="106"/>
                    <a:pt x="541" y="102"/>
                    <a:pt x="542" y="99"/>
                  </a:cubicBezTo>
                  <a:cubicBezTo>
                    <a:pt x="544" y="93"/>
                    <a:pt x="545" y="88"/>
                    <a:pt x="544" y="87"/>
                  </a:cubicBezTo>
                  <a:cubicBezTo>
                    <a:pt x="544" y="86"/>
                    <a:pt x="543" y="86"/>
                    <a:pt x="543" y="86"/>
                  </a:cubicBezTo>
                  <a:cubicBezTo>
                    <a:pt x="541" y="86"/>
                    <a:pt x="541" y="85"/>
                    <a:pt x="541" y="85"/>
                  </a:cubicBezTo>
                  <a:cubicBezTo>
                    <a:pt x="540" y="81"/>
                    <a:pt x="553" y="69"/>
                    <a:pt x="564" y="66"/>
                  </a:cubicBezTo>
                  <a:cubicBezTo>
                    <a:pt x="570" y="65"/>
                    <a:pt x="576" y="65"/>
                    <a:pt x="582" y="64"/>
                  </a:cubicBezTo>
                  <a:cubicBezTo>
                    <a:pt x="588" y="63"/>
                    <a:pt x="594" y="63"/>
                    <a:pt x="594" y="61"/>
                  </a:cubicBezTo>
                  <a:cubicBezTo>
                    <a:pt x="594" y="60"/>
                    <a:pt x="595" y="60"/>
                    <a:pt x="596" y="59"/>
                  </a:cubicBezTo>
                  <a:cubicBezTo>
                    <a:pt x="593" y="57"/>
                    <a:pt x="590" y="56"/>
                    <a:pt x="588" y="54"/>
                  </a:cubicBezTo>
                  <a:cubicBezTo>
                    <a:pt x="588" y="55"/>
                    <a:pt x="588" y="56"/>
                    <a:pt x="587" y="56"/>
                  </a:cubicBezTo>
                  <a:cubicBezTo>
                    <a:pt x="586" y="57"/>
                    <a:pt x="585" y="57"/>
                    <a:pt x="584" y="57"/>
                  </a:cubicBezTo>
                  <a:cubicBezTo>
                    <a:pt x="583" y="57"/>
                    <a:pt x="582" y="56"/>
                    <a:pt x="581" y="55"/>
                  </a:cubicBezTo>
                  <a:cubicBezTo>
                    <a:pt x="580" y="53"/>
                    <a:pt x="578" y="51"/>
                    <a:pt x="573" y="51"/>
                  </a:cubicBezTo>
                  <a:cubicBezTo>
                    <a:pt x="569" y="51"/>
                    <a:pt x="565" y="52"/>
                    <a:pt x="561" y="54"/>
                  </a:cubicBezTo>
                  <a:cubicBezTo>
                    <a:pt x="557" y="55"/>
                    <a:pt x="553" y="57"/>
                    <a:pt x="550" y="57"/>
                  </a:cubicBezTo>
                  <a:cubicBezTo>
                    <a:pt x="548" y="57"/>
                    <a:pt x="547" y="56"/>
                    <a:pt x="546" y="56"/>
                  </a:cubicBezTo>
                  <a:cubicBezTo>
                    <a:pt x="542" y="54"/>
                    <a:pt x="541" y="52"/>
                    <a:pt x="540" y="50"/>
                  </a:cubicBezTo>
                  <a:cubicBezTo>
                    <a:pt x="539" y="48"/>
                    <a:pt x="538" y="47"/>
                    <a:pt x="535" y="47"/>
                  </a:cubicBezTo>
                  <a:cubicBezTo>
                    <a:pt x="534" y="47"/>
                    <a:pt x="533" y="46"/>
                    <a:pt x="532" y="46"/>
                  </a:cubicBezTo>
                  <a:cubicBezTo>
                    <a:pt x="531" y="45"/>
                    <a:pt x="532" y="42"/>
                    <a:pt x="533" y="40"/>
                  </a:cubicBezTo>
                  <a:cubicBezTo>
                    <a:pt x="533" y="39"/>
                    <a:pt x="534" y="38"/>
                    <a:pt x="533" y="38"/>
                  </a:cubicBezTo>
                  <a:cubicBezTo>
                    <a:pt x="533" y="38"/>
                    <a:pt x="533" y="38"/>
                    <a:pt x="533" y="38"/>
                  </a:cubicBezTo>
                  <a:cubicBezTo>
                    <a:pt x="533" y="38"/>
                    <a:pt x="532" y="38"/>
                    <a:pt x="530" y="39"/>
                  </a:cubicBezTo>
                  <a:cubicBezTo>
                    <a:pt x="527" y="40"/>
                    <a:pt x="525" y="42"/>
                    <a:pt x="522" y="44"/>
                  </a:cubicBezTo>
                  <a:cubicBezTo>
                    <a:pt x="514" y="49"/>
                    <a:pt x="507" y="54"/>
                    <a:pt x="501" y="54"/>
                  </a:cubicBezTo>
                  <a:cubicBezTo>
                    <a:pt x="499" y="54"/>
                    <a:pt x="498" y="54"/>
                    <a:pt x="496" y="52"/>
                  </a:cubicBezTo>
                  <a:cubicBezTo>
                    <a:pt x="495" y="51"/>
                    <a:pt x="493" y="50"/>
                    <a:pt x="490" y="50"/>
                  </a:cubicBezTo>
                  <a:cubicBezTo>
                    <a:pt x="489" y="50"/>
                    <a:pt x="488" y="50"/>
                    <a:pt x="486" y="51"/>
                  </a:cubicBezTo>
                  <a:cubicBezTo>
                    <a:pt x="485" y="51"/>
                    <a:pt x="484" y="51"/>
                    <a:pt x="482" y="51"/>
                  </a:cubicBezTo>
                  <a:cubicBezTo>
                    <a:pt x="480" y="51"/>
                    <a:pt x="479" y="51"/>
                    <a:pt x="478" y="49"/>
                  </a:cubicBezTo>
                  <a:cubicBezTo>
                    <a:pt x="477" y="49"/>
                    <a:pt x="476" y="47"/>
                    <a:pt x="477" y="46"/>
                  </a:cubicBezTo>
                  <a:cubicBezTo>
                    <a:pt x="480" y="39"/>
                    <a:pt x="497" y="30"/>
                    <a:pt x="506" y="30"/>
                  </a:cubicBezTo>
                  <a:cubicBezTo>
                    <a:pt x="507" y="30"/>
                    <a:pt x="507" y="30"/>
                    <a:pt x="507" y="30"/>
                  </a:cubicBezTo>
                  <a:cubicBezTo>
                    <a:pt x="509" y="30"/>
                    <a:pt x="511" y="29"/>
                    <a:pt x="514" y="27"/>
                  </a:cubicBezTo>
                  <a:cubicBezTo>
                    <a:pt x="514" y="27"/>
                    <a:pt x="514" y="27"/>
                    <a:pt x="514" y="27"/>
                  </a:cubicBezTo>
                  <a:cubicBezTo>
                    <a:pt x="509" y="26"/>
                    <a:pt x="503" y="23"/>
                    <a:pt x="498" y="23"/>
                  </a:cubicBezTo>
                  <a:cubicBezTo>
                    <a:pt x="496" y="23"/>
                    <a:pt x="495" y="24"/>
                    <a:pt x="494" y="25"/>
                  </a:cubicBezTo>
                  <a:cubicBezTo>
                    <a:pt x="493" y="26"/>
                    <a:pt x="491" y="27"/>
                    <a:pt x="489" y="27"/>
                  </a:cubicBezTo>
                  <a:cubicBezTo>
                    <a:pt x="486" y="27"/>
                    <a:pt x="483" y="25"/>
                    <a:pt x="481" y="23"/>
                  </a:cubicBezTo>
                  <a:cubicBezTo>
                    <a:pt x="480" y="21"/>
                    <a:pt x="479" y="21"/>
                    <a:pt x="478" y="21"/>
                  </a:cubicBezTo>
                  <a:cubicBezTo>
                    <a:pt x="477" y="21"/>
                    <a:pt x="477" y="21"/>
                    <a:pt x="477" y="21"/>
                  </a:cubicBezTo>
                  <a:cubicBezTo>
                    <a:pt x="475" y="21"/>
                    <a:pt x="472" y="21"/>
                    <a:pt x="469" y="18"/>
                  </a:cubicBezTo>
                  <a:cubicBezTo>
                    <a:pt x="467" y="16"/>
                    <a:pt x="465" y="15"/>
                    <a:pt x="463" y="15"/>
                  </a:cubicBezTo>
                  <a:cubicBezTo>
                    <a:pt x="461" y="15"/>
                    <a:pt x="459" y="16"/>
                    <a:pt x="458" y="17"/>
                  </a:cubicBezTo>
                  <a:cubicBezTo>
                    <a:pt x="457" y="17"/>
                    <a:pt x="457" y="17"/>
                    <a:pt x="456" y="18"/>
                  </a:cubicBezTo>
                  <a:cubicBezTo>
                    <a:pt x="456" y="18"/>
                    <a:pt x="455" y="18"/>
                    <a:pt x="454" y="18"/>
                  </a:cubicBezTo>
                  <a:cubicBezTo>
                    <a:pt x="453" y="18"/>
                    <a:pt x="451" y="17"/>
                    <a:pt x="448" y="16"/>
                  </a:cubicBezTo>
                  <a:cubicBezTo>
                    <a:pt x="447" y="15"/>
                    <a:pt x="445" y="14"/>
                    <a:pt x="443" y="13"/>
                  </a:cubicBezTo>
                  <a:cubicBezTo>
                    <a:pt x="440" y="12"/>
                    <a:pt x="440" y="10"/>
                    <a:pt x="440" y="7"/>
                  </a:cubicBezTo>
                  <a:cubicBezTo>
                    <a:pt x="439" y="5"/>
                    <a:pt x="439" y="3"/>
                    <a:pt x="437" y="2"/>
                  </a:cubicBezTo>
                  <a:cubicBezTo>
                    <a:pt x="436" y="1"/>
                    <a:pt x="436" y="1"/>
                    <a:pt x="436" y="1"/>
                  </a:cubicBezTo>
                  <a:cubicBezTo>
                    <a:pt x="434" y="1"/>
                    <a:pt x="433" y="6"/>
                    <a:pt x="433" y="8"/>
                  </a:cubicBezTo>
                  <a:cubicBezTo>
                    <a:pt x="433" y="9"/>
                    <a:pt x="433" y="9"/>
                    <a:pt x="433" y="9"/>
                  </a:cubicBezTo>
                  <a:cubicBezTo>
                    <a:pt x="432" y="9"/>
                    <a:pt x="432" y="9"/>
                    <a:pt x="432" y="9"/>
                  </a:cubicBezTo>
                  <a:cubicBezTo>
                    <a:pt x="32" y="11"/>
                    <a:pt x="32" y="11"/>
                    <a:pt x="32" y="11"/>
                  </a:cubicBezTo>
                  <a:cubicBezTo>
                    <a:pt x="33" y="11"/>
                    <a:pt x="33" y="11"/>
                    <a:pt x="33" y="12"/>
                  </a:cubicBezTo>
                  <a:cubicBezTo>
                    <a:pt x="36" y="15"/>
                    <a:pt x="36" y="18"/>
                    <a:pt x="36" y="21"/>
                  </a:cubicBezTo>
                  <a:cubicBezTo>
                    <a:pt x="36" y="23"/>
                    <a:pt x="35" y="25"/>
                    <a:pt x="36" y="27"/>
                  </a:cubicBezTo>
                  <a:cubicBezTo>
                    <a:pt x="37" y="31"/>
                    <a:pt x="37" y="38"/>
                    <a:pt x="34" y="41"/>
                  </a:cubicBezTo>
                  <a:cubicBezTo>
                    <a:pt x="34" y="42"/>
                    <a:pt x="32" y="43"/>
                    <a:pt x="31" y="43"/>
                  </a:cubicBezTo>
                  <a:cubicBezTo>
                    <a:pt x="28" y="43"/>
                    <a:pt x="27" y="41"/>
                    <a:pt x="26" y="39"/>
                  </a:cubicBezTo>
                  <a:cubicBezTo>
                    <a:pt x="26" y="37"/>
                    <a:pt x="27" y="35"/>
                    <a:pt x="29" y="34"/>
                  </a:cubicBezTo>
                  <a:cubicBezTo>
                    <a:pt x="30" y="33"/>
                    <a:pt x="31" y="31"/>
                    <a:pt x="30" y="29"/>
                  </a:cubicBezTo>
                  <a:cubicBezTo>
                    <a:pt x="30" y="28"/>
                    <a:pt x="29" y="26"/>
                    <a:pt x="27" y="26"/>
                  </a:cubicBezTo>
                  <a:cubicBezTo>
                    <a:pt x="26" y="26"/>
                    <a:pt x="26" y="26"/>
                    <a:pt x="25" y="25"/>
                  </a:cubicBezTo>
                  <a:cubicBezTo>
                    <a:pt x="24" y="24"/>
                    <a:pt x="24" y="23"/>
                    <a:pt x="24" y="21"/>
                  </a:cubicBezTo>
                  <a:cubicBezTo>
                    <a:pt x="21" y="22"/>
                    <a:pt x="18" y="22"/>
                    <a:pt x="15" y="22"/>
                  </a:cubicBezTo>
                  <a:cubicBezTo>
                    <a:pt x="11" y="22"/>
                    <a:pt x="7" y="22"/>
                    <a:pt x="2" y="21"/>
                  </a:cubicBezTo>
                  <a:cubicBezTo>
                    <a:pt x="2" y="21"/>
                    <a:pt x="2" y="21"/>
                    <a:pt x="2" y="21"/>
                  </a:cubicBezTo>
                  <a:cubicBezTo>
                    <a:pt x="2" y="25"/>
                    <a:pt x="4" y="34"/>
                    <a:pt x="9" y="41"/>
                  </a:cubicBezTo>
                  <a:cubicBezTo>
                    <a:pt x="12" y="44"/>
                    <a:pt x="12" y="47"/>
                    <a:pt x="13" y="49"/>
                  </a:cubicBezTo>
                  <a:cubicBezTo>
                    <a:pt x="13" y="51"/>
                    <a:pt x="13" y="53"/>
                    <a:pt x="16" y="54"/>
                  </a:cubicBezTo>
                  <a:cubicBezTo>
                    <a:pt x="18" y="55"/>
                    <a:pt x="20" y="57"/>
                    <a:pt x="19" y="58"/>
                  </a:cubicBezTo>
                  <a:cubicBezTo>
                    <a:pt x="19" y="59"/>
                    <a:pt x="19" y="60"/>
                    <a:pt x="17" y="60"/>
                  </a:cubicBezTo>
                  <a:cubicBezTo>
                    <a:pt x="16" y="60"/>
                    <a:pt x="16" y="60"/>
                    <a:pt x="15" y="60"/>
                  </a:cubicBezTo>
                  <a:cubicBezTo>
                    <a:pt x="15" y="60"/>
                    <a:pt x="15" y="60"/>
                    <a:pt x="15" y="60"/>
                  </a:cubicBezTo>
                  <a:cubicBezTo>
                    <a:pt x="14" y="60"/>
                    <a:pt x="14" y="60"/>
                    <a:pt x="14" y="60"/>
                  </a:cubicBezTo>
                  <a:cubicBezTo>
                    <a:pt x="13" y="60"/>
                    <a:pt x="13" y="62"/>
                    <a:pt x="13" y="63"/>
                  </a:cubicBezTo>
                  <a:cubicBezTo>
                    <a:pt x="14" y="66"/>
                    <a:pt x="14" y="69"/>
                    <a:pt x="13" y="73"/>
                  </a:cubicBezTo>
                  <a:cubicBezTo>
                    <a:pt x="12" y="78"/>
                    <a:pt x="12" y="87"/>
                    <a:pt x="12" y="94"/>
                  </a:cubicBezTo>
                  <a:cubicBezTo>
                    <a:pt x="11" y="100"/>
                    <a:pt x="11" y="106"/>
                    <a:pt x="11" y="108"/>
                  </a:cubicBezTo>
                  <a:cubicBezTo>
                    <a:pt x="10" y="110"/>
                    <a:pt x="10" y="113"/>
                    <a:pt x="9" y="115"/>
                  </a:cubicBezTo>
                  <a:cubicBezTo>
                    <a:pt x="6" y="120"/>
                    <a:pt x="4" y="126"/>
                    <a:pt x="7" y="131"/>
                  </a:cubicBezTo>
                  <a:cubicBezTo>
                    <a:pt x="12" y="138"/>
                    <a:pt x="14" y="147"/>
                    <a:pt x="12" y="155"/>
                  </a:cubicBezTo>
                  <a:cubicBezTo>
                    <a:pt x="9" y="163"/>
                    <a:pt x="10" y="167"/>
                    <a:pt x="13" y="173"/>
                  </a:cubicBezTo>
                  <a:cubicBezTo>
                    <a:pt x="15" y="176"/>
                    <a:pt x="15" y="180"/>
                    <a:pt x="15" y="184"/>
                  </a:cubicBezTo>
                  <a:cubicBezTo>
                    <a:pt x="16" y="188"/>
                    <a:pt x="16" y="191"/>
                    <a:pt x="18" y="192"/>
                  </a:cubicBezTo>
                  <a:cubicBezTo>
                    <a:pt x="21" y="194"/>
                    <a:pt x="25" y="198"/>
                    <a:pt x="29" y="205"/>
                  </a:cubicBezTo>
                  <a:cubicBezTo>
                    <a:pt x="30" y="207"/>
                    <a:pt x="32" y="208"/>
                    <a:pt x="33" y="208"/>
                  </a:cubicBezTo>
                  <a:cubicBezTo>
                    <a:pt x="35" y="209"/>
                    <a:pt x="36" y="210"/>
                    <a:pt x="36" y="213"/>
                  </a:cubicBezTo>
                  <a:cubicBezTo>
                    <a:pt x="36" y="213"/>
                    <a:pt x="36" y="213"/>
                    <a:pt x="36" y="213"/>
                  </a:cubicBezTo>
                  <a:cubicBezTo>
                    <a:pt x="37" y="219"/>
                    <a:pt x="37" y="220"/>
                    <a:pt x="42" y="222"/>
                  </a:cubicBezTo>
                  <a:cubicBezTo>
                    <a:pt x="46" y="224"/>
                    <a:pt x="45" y="227"/>
                    <a:pt x="44" y="231"/>
                  </a:cubicBezTo>
                  <a:cubicBezTo>
                    <a:pt x="44" y="232"/>
                    <a:pt x="44" y="233"/>
                    <a:pt x="44" y="233"/>
                  </a:cubicBezTo>
                  <a:cubicBezTo>
                    <a:pt x="44" y="236"/>
                    <a:pt x="50" y="242"/>
                    <a:pt x="58" y="248"/>
                  </a:cubicBezTo>
                  <a:cubicBezTo>
                    <a:pt x="59" y="249"/>
                    <a:pt x="59" y="249"/>
                    <a:pt x="59" y="249"/>
                  </a:cubicBezTo>
                  <a:cubicBezTo>
                    <a:pt x="64" y="254"/>
                    <a:pt x="64" y="257"/>
                    <a:pt x="64" y="260"/>
                  </a:cubicBezTo>
                  <a:cubicBezTo>
                    <a:pt x="64" y="262"/>
                    <a:pt x="64" y="263"/>
                    <a:pt x="66" y="263"/>
                  </a:cubicBezTo>
                  <a:cubicBezTo>
                    <a:pt x="73" y="263"/>
                    <a:pt x="79" y="267"/>
                    <a:pt x="84" y="270"/>
                  </a:cubicBezTo>
                  <a:cubicBezTo>
                    <a:pt x="88" y="273"/>
                    <a:pt x="91" y="273"/>
                    <a:pt x="93" y="273"/>
                  </a:cubicBezTo>
                  <a:cubicBezTo>
                    <a:pt x="93" y="273"/>
                    <a:pt x="93" y="273"/>
                    <a:pt x="94" y="273"/>
                  </a:cubicBezTo>
                  <a:cubicBezTo>
                    <a:pt x="95" y="273"/>
                    <a:pt x="96" y="273"/>
                    <a:pt x="97" y="273"/>
                  </a:cubicBezTo>
                  <a:cubicBezTo>
                    <a:pt x="101" y="274"/>
                    <a:pt x="109" y="283"/>
                    <a:pt x="110" y="289"/>
                  </a:cubicBezTo>
                  <a:cubicBezTo>
                    <a:pt x="111" y="293"/>
                    <a:pt x="112" y="295"/>
                    <a:pt x="114" y="298"/>
                  </a:cubicBezTo>
                  <a:cubicBezTo>
                    <a:pt x="147" y="294"/>
                    <a:pt x="147" y="294"/>
                    <a:pt x="147" y="294"/>
                  </a:cubicBezTo>
                  <a:cubicBezTo>
                    <a:pt x="147" y="294"/>
                    <a:pt x="147" y="294"/>
                    <a:pt x="147" y="294"/>
                  </a:cubicBezTo>
                  <a:cubicBezTo>
                    <a:pt x="147" y="294"/>
                    <a:pt x="157" y="301"/>
                    <a:pt x="163" y="302"/>
                  </a:cubicBezTo>
                  <a:cubicBezTo>
                    <a:pt x="169" y="304"/>
                    <a:pt x="198" y="315"/>
                    <a:pt x="201" y="316"/>
                  </a:cubicBezTo>
                  <a:cubicBezTo>
                    <a:pt x="242" y="315"/>
                    <a:pt x="242" y="315"/>
                    <a:pt x="242" y="315"/>
                  </a:cubicBezTo>
                  <a:cubicBezTo>
                    <a:pt x="246" y="309"/>
                    <a:pt x="246" y="309"/>
                    <a:pt x="246" y="309"/>
                  </a:cubicBezTo>
                  <a:cubicBezTo>
                    <a:pt x="270" y="309"/>
                    <a:pt x="270" y="309"/>
                    <a:pt x="270" y="309"/>
                  </a:cubicBezTo>
                  <a:cubicBezTo>
                    <a:pt x="270" y="309"/>
                    <a:pt x="270" y="309"/>
                    <a:pt x="270" y="309"/>
                  </a:cubicBezTo>
                  <a:cubicBezTo>
                    <a:pt x="276" y="315"/>
                    <a:pt x="285" y="323"/>
                    <a:pt x="286" y="324"/>
                  </a:cubicBezTo>
                  <a:cubicBezTo>
                    <a:pt x="288" y="325"/>
                    <a:pt x="296" y="331"/>
                    <a:pt x="296" y="336"/>
                  </a:cubicBezTo>
                  <a:cubicBezTo>
                    <a:pt x="296" y="340"/>
                    <a:pt x="297" y="343"/>
                    <a:pt x="301" y="345"/>
                  </a:cubicBezTo>
                  <a:cubicBezTo>
                    <a:pt x="302" y="345"/>
                    <a:pt x="303" y="346"/>
                    <a:pt x="305" y="347"/>
                  </a:cubicBezTo>
                  <a:cubicBezTo>
                    <a:pt x="309" y="350"/>
                    <a:pt x="315" y="353"/>
                    <a:pt x="317" y="353"/>
                  </a:cubicBezTo>
                  <a:cubicBezTo>
                    <a:pt x="317" y="353"/>
                    <a:pt x="318" y="351"/>
                    <a:pt x="319" y="350"/>
                  </a:cubicBezTo>
                  <a:cubicBezTo>
                    <a:pt x="321" y="346"/>
                    <a:pt x="324" y="340"/>
                    <a:pt x="328" y="340"/>
                  </a:cubicBezTo>
                  <a:cubicBezTo>
                    <a:pt x="329" y="340"/>
                    <a:pt x="329" y="340"/>
                    <a:pt x="329" y="340"/>
                  </a:cubicBezTo>
                  <a:cubicBezTo>
                    <a:pt x="335" y="340"/>
                    <a:pt x="352" y="345"/>
                    <a:pt x="355" y="355"/>
                  </a:cubicBezTo>
                  <a:cubicBezTo>
                    <a:pt x="358" y="364"/>
                    <a:pt x="366" y="372"/>
                    <a:pt x="369" y="374"/>
                  </a:cubicBezTo>
                  <a:cubicBezTo>
                    <a:pt x="370" y="375"/>
                    <a:pt x="371" y="378"/>
                    <a:pt x="371" y="380"/>
                  </a:cubicBezTo>
                  <a:cubicBezTo>
                    <a:pt x="371" y="382"/>
                    <a:pt x="371" y="384"/>
                    <a:pt x="372" y="385"/>
                  </a:cubicBezTo>
                  <a:cubicBezTo>
                    <a:pt x="373" y="387"/>
                    <a:pt x="374" y="389"/>
                    <a:pt x="374" y="390"/>
                  </a:cubicBezTo>
                  <a:cubicBezTo>
                    <a:pt x="374" y="392"/>
                    <a:pt x="375" y="394"/>
                    <a:pt x="376" y="394"/>
                  </a:cubicBezTo>
                  <a:cubicBezTo>
                    <a:pt x="377" y="394"/>
                    <a:pt x="379" y="395"/>
                    <a:pt x="382" y="397"/>
                  </a:cubicBezTo>
                  <a:cubicBezTo>
                    <a:pt x="387" y="399"/>
                    <a:pt x="393" y="402"/>
                    <a:pt x="396" y="401"/>
                  </a:cubicBezTo>
                  <a:cubicBezTo>
                    <a:pt x="398" y="401"/>
                    <a:pt x="399" y="402"/>
                    <a:pt x="402" y="403"/>
                  </a:cubicBezTo>
                  <a:cubicBezTo>
                    <a:pt x="402" y="398"/>
                    <a:pt x="399" y="395"/>
                    <a:pt x="398" y="393"/>
                  </a:cubicBezTo>
                  <a:cubicBezTo>
                    <a:pt x="396" y="391"/>
                    <a:pt x="395" y="390"/>
                    <a:pt x="395" y="388"/>
                  </a:cubicBezTo>
                  <a:cubicBezTo>
                    <a:pt x="396" y="387"/>
                    <a:pt x="396" y="386"/>
                    <a:pt x="398" y="385"/>
                  </a:cubicBezTo>
                  <a:cubicBezTo>
                    <a:pt x="402" y="382"/>
                    <a:pt x="401" y="379"/>
                    <a:pt x="401" y="376"/>
                  </a:cubicBezTo>
                  <a:cubicBezTo>
                    <a:pt x="400" y="374"/>
                    <a:pt x="399" y="372"/>
                    <a:pt x="401" y="371"/>
                  </a:cubicBezTo>
                  <a:cubicBezTo>
                    <a:pt x="402" y="370"/>
                    <a:pt x="403" y="370"/>
                    <a:pt x="405" y="369"/>
                  </a:cubicBezTo>
                  <a:cubicBezTo>
                    <a:pt x="408" y="367"/>
                    <a:pt x="412" y="365"/>
                    <a:pt x="412" y="362"/>
                  </a:cubicBezTo>
                  <a:cubicBezTo>
                    <a:pt x="412" y="359"/>
                    <a:pt x="415" y="358"/>
                    <a:pt x="417" y="358"/>
                  </a:cubicBezTo>
                  <a:cubicBezTo>
                    <a:pt x="418" y="358"/>
                    <a:pt x="420" y="359"/>
                    <a:pt x="421" y="359"/>
                  </a:cubicBezTo>
                  <a:cubicBezTo>
                    <a:pt x="424" y="359"/>
                    <a:pt x="429" y="355"/>
                    <a:pt x="432" y="352"/>
                  </a:cubicBezTo>
                  <a:cubicBezTo>
                    <a:pt x="434" y="350"/>
                    <a:pt x="435" y="348"/>
                    <a:pt x="435" y="347"/>
                  </a:cubicBezTo>
                  <a:cubicBezTo>
                    <a:pt x="434" y="346"/>
                    <a:pt x="435" y="345"/>
                    <a:pt x="435" y="344"/>
                  </a:cubicBezTo>
                  <a:cubicBezTo>
                    <a:pt x="436" y="344"/>
                    <a:pt x="436" y="343"/>
                    <a:pt x="438" y="343"/>
                  </a:cubicBezTo>
                  <a:cubicBezTo>
                    <a:pt x="439" y="343"/>
                    <a:pt x="440" y="343"/>
                    <a:pt x="442" y="344"/>
                  </a:cubicBezTo>
                  <a:cubicBezTo>
                    <a:pt x="443" y="344"/>
                    <a:pt x="443" y="344"/>
                    <a:pt x="443" y="344"/>
                  </a:cubicBezTo>
                  <a:cubicBezTo>
                    <a:pt x="446" y="344"/>
                    <a:pt x="447" y="342"/>
                    <a:pt x="447" y="341"/>
                  </a:cubicBezTo>
                  <a:cubicBezTo>
                    <a:pt x="448" y="339"/>
                    <a:pt x="449" y="338"/>
                    <a:pt x="451" y="338"/>
                  </a:cubicBezTo>
                  <a:cubicBezTo>
                    <a:pt x="451" y="338"/>
                    <a:pt x="451" y="338"/>
                    <a:pt x="451" y="338"/>
                  </a:cubicBezTo>
                  <a:cubicBezTo>
                    <a:pt x="452" y="338"/>
                    <a:pt x="453" y="339"/>
                    <a:pt x="454" y="339"/>
                  </a:cubicBezTo>
                  <a:cubicBezTo>
                    <a:pt x="455" y="340"/>
                    <a:pt x="457" y="340"/>
                    <a:pt x="457" y="340"/>
                  </a:cubicBezTo>
                  <a:cubicBezTo>
                    <a:pt x="458" y="340"/>
                    <a:pt x="458" y="340"/>
                    <a:pt x="458" y="339"/>
                  </a:cubicBezTo>
                  <a:cubicBezTo>
                    <a:pt x="458" y="338"/>
                    <a:pt x="459" y="337"/>
                    <a:pt x="461" y="337"/>
                  </a:cubicBezTo>
                  <a:cubicBezTo>
                    <a:pt x="462" y="337"/>
                    <a:pt x="465" y="338"/>
                    <a:pt x="466" y="341"/>
                  </a:cubicBezTo>
                  <a:cubicBezTo>
                    <a:pt x="468" y="342"/>
                    <a:pt x="470" y="344"/>
                    <a:pt x="473" y="344"/>
                  </a:cubicBezTo>
                  <a:cubicBezTo>
                    <a:pt x="474" y="344"/>
                    <a:pt x="477" y="343"/>
                    <a:pt x="477" y="341"/>
                  </a:cubicBezTo>
                  <a:cubicBezTo>
                    <a:pt x="478" y="339"/>
                    <a:pt x="478" y="339"/>
                    <a:pt x="479" y="339"/>
                  </a:cubicBezTo>
                  <a:cubicBezTo>
                    <a:pt x="481" y="339"/>
                    <a:pt x="484" y="341"/>
                    <a:pt x="488" y="345"/>
                  </a:cubicBezTo>
                  <a:cubicBezTo>
                    <a:pt x="491" y="349"/>
                    <a:pt x="493" y="349"/>
                    <a:pt x="495" y="349"/>
                  </a:cubicBezTo>
                  <a:cubicBezTo>
                    <a:pt x="497" y="349"/>
                    <a:pt x="497" y="349"/>
                    <a:pt x="497" y="349"/>
                  </a:cubicBezTo>
                  <a:cubicBezTo>
                    <a:pt x="498" y="349"/>
                    <a:pt x="499" y="349"/>
                    <a:pt x="500" y="349"/>
                  </a:cubicBezTo>
                  <a:cubicBezTo>
                    <a:pt x="501" y="349"/>
                    <a:pt x="501" y="349"/>
                    <a:pt x="501" y="349"/>
                  </a:cubicBezTo>
                  <a:cubicBezTo>
                    <a:pt x="505" y="349"/>
                    <a:pt x="505" y="348"/>
                    <a:pt x="506" y="344"/>
                  </a:cubicBezTo>
                  <a:cubicBezTo>
                    <a:pt x="506" y="344"/>
                    <a:pt x="506" y="344"/>
                    <a:pt x="506" y="344"/>
                  </a:cubicBezTo>
                  <a:cubicBezTo>
                    <a:pt x="506" y="343"/>
                    <a:pt x="506" y="343"/>
                    <a:pt x="507" y="343"/>
                  </a:cubicBezTo>
                  <a:cubicBezTo>
                    <a:pt x="507" y="343"/>
                    <a:pt x="508" y="344"/>
                    <a:pt x="510" y="346"/>
                  </a:cubicBezTo>
                  <a:cubicBezTo>
                    <a:pt x="513" y="349"/>
                    <a:pt x="516" y="352"/>
                    <a:pt x="519" y="353"/>
                  </a:cubicBezTo>
                  <a:cubicBezTo>
                    <a:pt x="521" y="353"/>
                    <a:pt x="521" y="353"/>
                    <a:pt x="521" y="352"/>
                  </a:cubicBezTo>
                  <a:cubicBezTo>
                    <a:pt x="521" y="352"/>
                    <a:pt x="522" y="351"/>
                    <a:pt x="515" y="346"/>
                  </a:cubicBezTo>
                  <a:cubicBezTo>
                    <a:pt x="513" y="344"/>
                    <a:pt x="513" y="342"/>
                    <a:pt x="514" y="341"/>
                  </a:cubicBezTo>
                  <a:cubicBezTo>
                    <a:pt x="514" y="340"/>
                    <a:pt x="514" y="339"/>
                    <a:pt x="513" y="338"/>
                  </a:cubicBezTo>
                  <a:cubicBezTo>
                    <a:pt x="511" y="337"/>
                    <a:pt x="511" y="336"/>
                    <a:pt x="512" y="335"/>
                  </a:cubicBezTo>
                  <a:cubicBezTo>
                    <a:pt x="512" y="333"/>
                    <a:pt x="519" y="330"/>
                    <a:pt x="525" y="331"/>
                  </a:cubicBezTo>
                  <a:cubicBezTo>
                    <a:pt x="528" y="331"/>
                    <a:pt x="529" y="331"/>
                    <a:pt x="530" y="331"/>
                  </a:cubicBezTo>
                  <a:cubicBezTo>
                    <a:pt x="531" y="331"/>
                    <a:pt x="532" y="331"/>
                    <a:pt x="532" y="331"/>
                  </a:cubicBezTo>
                  <a:cubicBezTo>
                    <a:pt x="533" y="331"/>
                    <a:pt x="534" y="331"/>
                    <a:pt x="535" y="329"/>
                  </a:cubicBezTo>
                  <a:cubicBezTo>
                    <a:pt x="536" y="327"/>
                    <a:pt x="537" y="327"/>
                    <a:pt x="538" y="327"/>
                  </a:cubicBezTo>
                  <a:cubicBezTo>
                    <a:pt x="541" y="327"/>
                    <a:pt x="542" y="330"/>
                    <a:pt x="542" y="333"/>
                  </a:cubicBezTo>
                  <a:cubicBezTo>
                    <a:pt x="542" y="333"/>
                    <a:pt x="542" y="334"/>
                    <a:pt x="544" y="334"/>
                  </a:cubicBezTo>
                  <a:cubicBezTo>
                    <a:pt x="545" y="334"/>
                    <a:pt x="548" y="333"/>
                    <a:pt x="551" y="332"/>
                  </a:cubicBezTo>
                  <a:cubicBezTo>
                    <a:pt x="554" y="331"/>
                    <a:pt x="558" y="330"/>
                    <a:pt x="561" y="330"/>
                  </a:cubicBezTo>
                  <a:cubicBezTo>
                    <a:pt x="568" y="330"/>
                    <a:pt x="574" y="336"/>
                    <a:pt x="575" y="340"/>
                  </a:cubicBezTo>
                  <a:cubicBezTo>
                    <a:pt x="575" y="342"/>
                    <a:pt x="577" y="344"/>
                    <a:pt x="579" y="344"/>
                  </a:cubicBezTo>
                  <a:cubicBezTo>
                    <a:pt x="581" y="344"/>
                    <a:pt x="582" y="343"/>
                    <a:pt x="584" y="341"/>
                  </a:cubicBezTo>
                  <a:cubicBezTo>
                    <a:pt x="585" y="341"/>
                    <a:pt x="585" y="340"/>
                    <a:pt x="586" y="340"/>
                  </a:cubicBezTo>
                  <a:cubicBezTo>
                    <a:pt x="589" y="337"/>
                    <a:pt x="591" y="335"/>
                    <a:pt x="594" y="33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3" name="Freeform 130"/>
            <p:cNvSpPr>
              <a:spLocks noEditPoints="1"/>
            </p:cNvSpPr>
            <p:nvPr/>
          </p:nvSpPr>
          <p:spPr>
            <a:xfrm>
              <a:off x="625476" y="2093913"/>
              <a:ext cx="44450" cy="23813"/>
            </a:xfrm>
            <a:custGeom>
              <a:gdLst>
                <a:gd name="T0" fmla="*/ 17 w 26"/>
                <a:gd name="T1" fmla="*/ 14 h 14"/>
                <a:gd name="T2" fmla="*/ 17 w 26"/>
                <a:gd name="T3" fmla="*/ 14 h 14"/>
                <a:gd name="T4" fmla="*/ 0 w 26"/>
                <a:gd name="T5" fmla="*/ 7 h 14"/>
                <a:gd name="T6" fmla="*/ 1 w 26"/>
                <a:gd name="T7" fmla="*/ 4 h 14"/>
                <a:gd name="T8" fmla="*/ 10 w 26"/>
                <a:gd name="T9" fmla="*/ 0 h 14"/>
                <a:gd name="T10" fmla="*/ 14 w 26"/>
                <a:gd name="T11" fmla="*/ 2 h 14"/>
                <a:gd name="T12" fmla="*/ 15 w 26"/>
                <a:gd name="T13" fmla="*/ 4 h 14"/>
                <a:gd name="T14" fmla="*/ 15 w 26"/>
                <a:gd name="T15" fmla="*/ 4 h 14"/>
                <a:gd name="T16" fmla="*/ 17 w 26"/>
                <a:gd name="T17" fmla="*/ 3 h 14"/>
                <a:gd name="T18" fmla="*/ 21 w 26"/>
                <a:gd name="T19" fmla="*/ 2 h 14"/>
                <a:gd name="T20" fmla="*/ 24 w 26"/>
                <a:gd name="T21" fmla="*/ 3 h 14"/>
                <a:gd name="T22" fmla="*/ 26 w 26"/>
                <a:gd name="T23" fmla="*/ 8 h 14"/>
                <a:gd name="T24" fmla="*/ 21 w 26"/>
                <a:gd name="T25" fmla="*/ 14 h 14"/>
                <a:gd name="T26" fmla="*/ 17 w 26"/>
                <a:gd name="T27" fmla="*/ 14 h 14"/>
                <a:gd name="T28" fmla="*/ 10 w 26"/>
                <a:gd name="T29" fmla="*/ 1 h 14"/>
                <a:gd name="T30" fmla="*/ 1 w 26"/>
                <a:gd name="T31" fmla="*/ 5 h 14"/>
                <a:gd name="T32" fmla="*/ 1 w 26"/>
                <a:gd name="T33" fmla="*/ 7 h 14"/>
                <a:gd name="T34" fmla="*/ 17 w 26"/>
                <a:gd name="T35" fmla="*/ 13 h 14"/>
                <a:gd name="T36" fmla="*/ 17 w 26"/>
                <a:gd name="T37" fmla="*/ 13 h 14"/>
                <a:gd name="T38" fmla="*/ 21 w 26"/>
                <a:gd name="T39" fmla="*/ 13 h 14"/>
                <a:gd name="T40" fmla="*/ 25 w 26"/>
                <a:gd name="T41" fmla="*/ 8 h 14"/>
                <a:gd name="T42" fmla="*/ 23 w 26"/>
                <a:gd name="T43" fmla="*/ 3 h 14"/>
                <a:gd name="T44" fmla="*/ 21 w 26"/>
                <a:gd name="T45" fmla="*/ 3 h 14"/>
                <a:gd name="T46" fmla="*/ 18 w 26"/>
                <a:gd name="T47" fmla="*/ 4 h 14"/>
                <a:gd name="T48" fmla="*/ 15 w 26"/>
                <a:gd name="T49" fmla="*/ 5 h 14"/>
                <a:gd name="T50" fmla="*/ 13 w 26"/>
                <a:gd name="T51" fmla="*/ 3 h 14"/>
                <a:gd name="T52" fmla="*/ 10 w 26"/>
                <a:gd name="T53" fmla="*/ 1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4">
                  <a:moveTo>
                    <a:pt x="17" y="14"/>
                  </a:moveTo>
                  <a:cubicBezTo>
                    <a:pt x="17" y="14"/>
                    <a:pt x="17" y="14"/>
                    <a:pt x="17" y="14"/>
                  </a:cubicBezTo>
                  <a:cubicBezTo>
                    <a:pt x="11" y="14"/>
                    <a:pt x="1" y="11"/>
                    <a:pt x="0" y="7"/>
                  </a:cubicBezTo>
                  <a:cubicBezTo>
                    <a:pt x="0" y="6"/>
                    <a:pt x="0" y="5"/>
                    <a:pt x="1" y="4"/>
                  </a:cubicBezTo>
                  <a:cubicBezTo>
                    <a:pt x="2" y="1"/>
                    <a:pt x="7" y="0"/>
                    <a:pt x="10" y="0"/>
                  </a:cubicBezTo>
                  <a:cubicBezTo>
                    <a:pt x="12" y="0"/>
                    <a:pt x="14" y="1"/>
                    <a:pt x="14" y="2"/>
                  </a:cubicBezTo>
                  <a:cubicBezTo>
                    <a:pt x="14" y="4"/>
                    <a:pt x="14" y="4"/>
                    <a:pt x="15" y="4"/>
                  </a:cubicBezTo>
                  <a:cubicBezTo>
                    <a:pt x="15" y="4"/>
                    <a:pt x="15" y="4"/>
                    <a:pt x="15" y="4"/>
                  </a:cubicBezTo>
                  <a:cubicBezTo>
                    <a:pt x="15" y="4"/>
                    <a:pt x="16" y="3"/>
                    <a:pt x="17" y="3"/>
                  </a:cubicBezTo>
                  <a:cubicBezTo>
                    <a:pt x="19" y="2"/>
                    <a:pt x="20" y="2"/>
                    <a:pt x="21" y="2"/>
                  </a:cubicBezTo>
                  <a:cubicBezTo>
                    <a:pt x="22" y="2"/>
                    <a:pt x="23" y="2"/>
                    <a:pt x="24" y="3"/>
                  </a:cubicBezTo>
                  <a:cubicBezTo>
                    <a:pt x="26" y="4"/>
                    <a:pt x="26" y="6"/>
                    <a:pt x="26" y="8"/>
                  </a:cubicBezTo>
                  <a:cubicBezTo>
                    <a:pt x="25" y="11"/>
                    <a:pt x="23" y="13"/>
                    <a:pt x="21" y="14"/>
                  </a:cubicBezTo>
                  <a:cubicBezTo>
                    <a:pt x="20" y="14"/>
                    <a:pt x="18" y="14"/>
                    <a:pt x="17" y="14"/>
                  </a:cubicBezTo>
                  <a:close/>
                  <a:moveTo>
                    <a:pt x="10" y="1"/>
                  </a:moveTo>
                  <a:cubicBezTo>
                    <a:pt x="7" y="1"/>
                    <a:pt x="3" y="3"/>
                    <a:pt x="1" y="5"/>
                  </a:cubicBezTo>
                  <a:cubicBezTo>
                    <a:pt x="1" y="5"/>
                    <a:pt x="1" y="6"/>
                    <a:pt x="1" y="7"/>
                  </a:cubicBezTo>
                  <a:cubicBezTo>
                    <a:pt x="2" y="10"/>
                    <a:pt x="10" y="13"/>
                    <a:pt x="17" y="13"/>
                  </a:cubicBezTo>
                  <a:cubicBezTo>
                    <a:pt x="17" y="13"/>
                    <a:pt x="17" y="13"/>
                    <a:pt x="17" y="13"/>
                  </a:cubicBezTo>
                  <a:cubicBezTo>
                    <a:pt x="18" y="13"/>
                    <a:pt x="19" y="13"/>
                    <a:pt x="21" y="13"/>
                  </a:cubicBezTo>
                  <a:cubicBezTo>
                    <a:pt x="23" y="12"/>
                    <a:pt x="24" y="10"/>
                    <a:pt x="25" y="8"/>
                  </a:cubicBezTo>
                  <a:cubicBezTo>
                    <a:pt x="25" y="6"/>
                    <a:pt x="25" y="5"/>
                    <a:pt x="23" y="3"/>
                  </a:cubicBezTo>
                  <a:cubicBezTo>
                    <a:pt x="23" y="3"/>
                    <a:pt x="22" y="3"/>
                    <a:pt x="21" y="3"/>
                  </a:cubicBezTo>
                  <a:cubicBezTo>
                    <a:pt x="20" y="3"/>
                    <a:pt x="19" y="3"/>
                    <a:pt x="18" y="4"/>
                  </a:cubicBezTo>
                  <a:cubicBezTo>
                    <a:pt x="17" y="4"/>
                    <a:pt x="16" y="5"/>
                    <a:pt x="15" y="5"/>
                  </a:cubicBezTo>
                  <a:cubicBezTo>
                    <a:pt x="14" y="5"/>
                    <a:pt x="13" y="4"/>
                    <a:pt x="13" y="3"/>
                  </a:cubicBezTo>
                  <a:cubicBezTo>
                    <a:pt x="13" y="1"/>
                    <a:pt x="11" y="1"/>
                    <a:pt x="10"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4" name="Freeform 131"/>
            <p:cNvSpPr>
              <a:spLocks noEditPoints="1"/>
            </p:cNvSpPr>
            <p:nvPr/>
          </p:nvSpPr>
          <p:spPr>
            <a:xfrm>
              <a:off x="609601" y="1638300"/>
              <a:ext cx="950913" cy="660400"/>
            </a:xfrm>
            <a:custGeom>
              <a:gdLst>
                <a:gd name="T0" fmla="*/ 534 w 560"/>
                <a:gd name="T1" fmla="*/ 380 h 389"/>
                <a:gd name="T2" fmla="*/ 507 w 560"/>
                <a:gd name="T3" fmla="*/ 369 h 389"/>
                <a:gd name="T4" fmla="*/ 515 w 560"/>
                <a:gd name="T5" fmla="*/ 352 h 389"/>
                <a:gd name="T6" fmla="*/ 492 w 560"/>
                <a:gd name="T7" fmla="*/ 355 h 389"/>
                <a:gd name="T8" fmla="*/ 487 w 560"/>
                <a:gd name="T9" fmla="*/ 332 h 389"/>
                <a:gd name="T10" fmla="*/ 469 w 560"/>
                <a:gd name="T11" fmla="*/ 315 h 389"/>
                <a:gd name="T12" fmla="*/ 460 w 560"/>
                <a:gd name="T13" fmla="*/ 304 h 389"/>
                <a:gd name="T14" fmla="*/ 416 w 560"/>
                <a:gd name="T15" fmla="*/ 276 h 389"/>
                <a:gd name="T16" fmla="*/ 336 w 560"/>
                <a:gd name="T17" fmla="*/ 265 h 389"/>
                <a:gd name="T18" fmla="*/ 312 w 560"/>
                <a:gd name="T19" fmla="*/ 259 h 389"/>
                <a:gd name="T20" fmla="*/ 291 w 560"/>
                <a:gd name="T21" fmla="*/ 268 h 389"/>
                <a:gd name="T22" fmla="*/ 241 w 560"/>
                <a:gd name="T23" fmla="*/ 283 h 389"/>
                <a:gd name="T24" fmla="*/ 251 w 560"/>
                <a:gd name="T25" fmla="*/ 247 h 389"/>
                <a:gd name="T26" fmla="*/ 203 w 560"/>
                <a:gd name="T27" fmla="*/ 307 h 389"/>
                <a:gd name="T28" fmla="*/ 116 w 560"/>
                <a:gd name="T29" fmla="*/ 369 h 389"/>
                <a:gd name="T30" fmla="*/ 98 w 560"/>
                <a:gd name="T31" fmla="*/ 364 h 389"/>
                <a:gd name="T32" fmla="*/ 136 w 560"/>
                <a:gd name="T33" fmla="*/ 299 h 389"/>
                <a:gd name="T34" fmla="*/ 81 w 560"/>
                <a:gd name="T35" fmla="*/ 273 h 389"/>
                <a:gd name="T36" fmla="*/ 25 w 560"/>
                <a:gd name="T37" fmla="*/ 242 h 389"/>
                <a:gd name="T38" fmla="*/ 79 w 560"/>
                <a:gd name="T39" fmla="*/ 196 h 389"/>
                <a:gd name="T40" fmla="*/ 66 w 560"/>
                <a:gd name="T41" fmla="*/ 175 h 389"/>
                <a:gd name="T42" fmla="*/ 0 w 560"/>
                <a:gd name="T43" fmla="*/ 147 h 389"/>
                <a:gd name="T44" fmla="*/ 58 w 560"/>
                <a:gd name="T45" fmla="*/ 129 h 389"/>
                <a:gd name="T46" fmla="*/ 97 w 560"/>
                <a:gd name="T47" fmla="*/ 125 h 389"/>
                <a:gd name="T48" fmla="*/ 26 w 560"/>
                <a:gd name="T49" fmla="*/ 66 h 389"/>
                <a:gd name="T50" fmla="*/ 118 w 560"/>
                <a:gd name="T51" fmla="*/ 26 h 389"/>
                <a:gd name="T52" fmla="*/ 175 w 560"/>
                <a:gd name="T53" fmla="*/ 9 h 389"/>
                <a:gd name="T54" fmla="*/ 225 w 560"/>
                <a:gd name="T55" fmla="*/ 19 h 389"/>
                <a:gd name="T56" fmla="*/ 336 w 560"/>
                <a:gd name="T57" fmla="*/ 36 h 389"/>
                <a:gd name="T58" fmla="*/ 414 w 560"/>
                <a:gd name="T59" fmla="*/ 266 h 389"/>
                <a:gd name="T60" fmla="*/ 515 w 560"/>
                <a:gd name="T61" fmla="*/ 321 h 389"/>
                <a:gd name="T62" fmla="*/ 556 w 560"/>
                <a:gd name="T63" fmla="*/ 380 h 389"/>
                <a:gd name="T64" fmla="*/ 447 w 560"/>
                <a:gd name="T65" fmla="*/ 297 h 389"/>
                <a:gd name="T66" fmla="*/ 392 w 560"/>
                <a:gd name="T67" fmla="*/ 267 h 389"/>
                <a:gd name="T68" fmla="*/ 263 w 560"/>
                <a:gd name="T69" fmla="*/ 22 h 389"/>
                <a:gd name="T70" fmla="*/ 190 w 560"/>
                <a:gd name="T71" fmla="*/ 8 h 389"/>
                <a:gd name="T72" fmla="*/ 128 w 560"/>
                <a:gd name="T73" fmla="*/ 15 h 389"/>
                <a:gd name="T74" fmla="*/ 86 w 560"/>
                <a:gd name="T75" fmla="*/ 30 h 389"/>
                <a:gd name="T76" fmla="*/ 63 w 560"/>
                <a:gd name="T77" fmla="*/ 111 h 389"/>
                <a:gd name="T78" fmla="*/ 90 w 560"/>
                <a:gd name="T79" fmla="*/ 132 h 389"/>
                <a:gd name="T80" fmla="*/ 33 w 560"/>
                <a:gd name="T81" fmla="*/ 132 h 389"/>
                <a:gd name="T82" fmla="*/ 18 w 560"/>
                <a:gd name="T83" fmla="*/ 161 h 389"/>
                <a:gd name="T84" fmla="*/ 98 w 560"/>
                <a:gd name="T85" fmla="*/ 172 h 389"/>
                <a:gd name="T86" fmla="*/ 49 w 560"/>
                <a:gd name="T87" fmla="*/ 205 h 389"/>
                <a:gd name="T88" fmla="*/ 52 w 560"/>
                <a:gd name="T89" fmla="*/ 275 h 389"/>
                <a:gd name="T90" fmla="*/ 91 w 560"/>
                <a:gd name="T91" fmla="*/ 305 h 389"/>
                <a:gd name="T92" fmla="*/ 153 w 560"/>
                <a:gd name="T93" fmla="*/ 307 h 389"/>
                <a:gd name="T94" fmla="*/ 73 w 560"/>
                <a:gd name="T95" fmla="*/ 383 h 389"/>
                <a:gd name="T96" fmla="*/ 165 w 560"/>
                <a:gd name="T97" fmla="*/ 339 h 389"/>
                <a:gd name="T98" fmla="*/ 211 w 560"/>
                <a:gd name="T99" fmla="*/ 283 h 389"/>
                <a:gd name="T100" fmla="*/ 259 w 560"/>
                <a:gd name="T101" fmla="*/ 256 h 389"/>
                <a:gd name="T102" fmla="*/ 278 w 560"/>
                <a:gd name="T103" fmla="*/ 275 h 389"/>
                <a:gd name="T104" fmla="*/ 291 w 560"/>
                <a:gd name="T105" fmla="*/ 250 h 389"/>
                <a:gd name="T106" fmla="*/ 309 w 560"/>
                <a:gd name="T107" fmla="*/ 268 h 389"/>
                <a:gd name="T108" fmla="*/ 385 w 560"/>
                <a:gd name="T109" fmla="*/ 272 h 389"/>
                <a:gd name="T110" fmla="*/ 423 w 560"/>
                <a:gd name="T111" fmla="*/ 291 h 389"/>
                <a:gd name="T112" fmla="*/ 475 w 560"/>
                <a:gd name="T113" fmla="*/ 294 h 389"/>
                <a:gd name="T114" fmla="*/ 483 w 560"/>
                <a:gd name="T115" fmla="*/ 349 h 389"/>
                <a:gd name="T116" fmla="*/ 496 w 560"/>
                <a:gd name="T117" fmla="*/ 318 h 389"/>
                <a:gd name="T118" fmla="*/ 501 w 560"/>
                <a:gd name="T119" fmla="*/ 353 h 389"/>
                <a:gd name="T120" fmla="*/ 520 w 560"/>
                <a:gd name="T121" fmla="*/ 367 h 389"/>
                <a:gd name="T122" fmla="*/ 515 w 560"/>
                <a:gd name="T123" fmla="*/ 380 h 389"/>
                <a:gd name="T124" fmla="*/ 544 w 560"/>
                <a:gd name="T125" fmla="*/ 385 h 3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0" h="389">
                  <a:moveTo>
                    <a:pt x="546" y="389"/>
                  </a:moveTo>
                  <a:cubicBezTo>
                    <a:pt x="546" y="388"/>
                    <a:pt x="546" y="388"/>
                    <a:pt x="546" y="388"/>
                  </a:cubicBezTo>
                  <a:cubicBezTo>
                    <a:pt x="546" y="387"/>
                    <a:pt x="546" y="387"/>
                    <a:pt x="546" y="386"/>
                  </a:cubicBezTo>
                  <a:cubicBezTo>
                    <a:pt x="546" y="386"/>
                    <a:pt x="546" y="386"/>
                    <a:pt x="546" y="386"/>
                  </a:cubicBezTo>
                  <a:cubicBezTo>
                    <a:pt x="546" y="385"/>
                    <a:pt x="546" y="385"/>
                    <a:pt x="546" y="385"/>
                  </a:cubicBezTo>
                  <a:cubicBezTo>
                    <a:pt x="546" y="385"/>
                    <a:pt x="545" y="386"/>
                    <a:pt x="544" y="386"/>
                  </a:cubicBezTo>
                  <a:cubicBezTo>
                    <a:pt x="543" y="387"/>
                    <a:pt x="542" y="387"/>
                    <a:pt x="542" y="387"/>
                  </a:cubicBezTo>
                  <a:cubicBezTo>
                    <a:pt x="541" y="387"/>
                    <a:pt x="540" y="387"/>
                    <a:pt x="540" y="385"/>
                  </a:cubicBezTo>
                  <a:cubicBezTo>
                    <a:pt x="540" y="384"/>
                    <a:pt x="540" y="383"/>
                    <a:pt x="541" y="382"/>
                  </a:cubicBezTo>
                  <a:cubicBezTo>
                    <a:pt x="541" y="380"/>
                    <a:pt x="541" y="379"/>
                    <a:pt x="541" y="377"/>
                  </a:cubicBezTo>
                  <a:cubicBezTo>
                    <a:pt x="541" y="376"/>
                    <a:pt x="540" y="376"/>
                    <a:pt x="539" y="375"/>
                  </a:cubicBezTo>
                  <a:cubicBezTo>
                    <a:pt x="538" y="375"/>
                    <a:pt x="537" y="377"/>
                    <a:pt x="536" y="378"/>
                  </a:cubicBezTo>
                  <a:cubicBezTo>
                    <a:pt x="535" y="379"/>
                    <a:pt x="535" y="380"/>
                    <a:pt x="534" y="380"/>
                  </a:cubicBezTo>
                  <a:cubicBezTo>
                    <a:pt x="533" y="380"/>
                    <a:pt x="533" y="379"/>
                    <a:pt x="532" y="379"/>
                  </a:cubicBezTo>
                  <a:cubicBezTo>
                    <a:pt x="531" y="376"/>
                    <a:pt x="528" y="375"/>
                    <a:pt x="527" y="375"/>
                  </a:cubicBezTo>
                  <a:cubicBezTo>
                    <a:pt x="526" y="375"/>
                    <a:pt x="526" y="375"/>
                    <a:pt x="526" y="376"/>
                  </a:cubicBezTo>
                  <a:cubicBezTo>
                    <a:pt x="526" y="378"/>
                    <a:pt x="525" y="385"/>
                    <a:pt x="523" y="385"/>
                  </a:cubicBezTo>
                  <a:cubicBezTo>
                    <a:pt x="522" y="385"/>
                    <a:pt x="522" y="385"/>
                    <a:pt x="522" y="384"/>
                  </a:cubicBezTo>
                  <a:cubicBezTo>
                    <a:pt x="520" y="383"/>
                    <a:pt x="517" y="381"/>
                    <a:pt x="515" y="381"/>
                  </a:cubicBezTo>
                  <a:cubicBezTo>
                    <a:pt x="515" y="381"/>
                    <a:pt x="515" y="381"/>
                    <a:pt x="514" y="381"/>
                  </a:cubicBezTo>
                  <a:cubicBezTo>
                    <a:pt x="514" y="382"/>
                    <a:pt x="514" y="383"/>
                    <a:pt x="514" y="384"/>
                  </a:cubicBezTo>
                  <a:cubicBezTo>
                    <a:pt x="514" y="385"/>
                    <a:pt x="514" y="388"/>
                    <a:pt x="512" y="388"/>
                  </a:cubicBezTo>
                  <a:cubicBezTo>
                    <a:pt x="511" y="388"/>
                    <a:pt x="510" y="387"/>
                    <a:pt x="509" y="386"/>
                  </a:cubicBezTo>
                  <a:cubicBezTo>
                    <a:pt x="505" y="384"/>
                    <a:pt x="506" y="381"/>
                    <a:pt x="508" y="378"/>
                  </a:cubicBezTo>
                  <a:cubicBezTo>
                    <a:pt x="508" y="376"/>
                    <a:pt x="509" y="374"/>
                    <a:pt x="508" y="372"/>
                  </a:cubicBezTo>
                  <a:cubicBezTo>
                    <a:pt x="508" y="371"/>
                    <a:pt x="507" y="370"/>
                    <a:pt x="507" y="369"/>
                  </a:cubicBezTo>
                  <a:cubicBezTo>
                    <a:pt x="505" y="366"/>
                    <a:pt x="504" y="363"/>
                    <a:pt x="505" y="361"/>
                  </a:cubicBezTo>
                  <a:cubicBezTo>
                    <a:pt x="505" y="360"/>
                    <a:pt x="506" y="360"/>
                    <a:pt x="507" y="360"/>
                  </a:cubicBezTo>
                  <a:cubicBezTo>
                    <a:pt x="507" y="360"/>
                    <a:pt x="507" y="360"/>
                    <a:pt x="507" y="360"/>
                  </a:cubicBezTo>
                  <a:cubicBezTo>
                    <a:pt x="509" y="360"/>
                    <a:pt x="511" y="362"/>
                    <a:pt x="513" y="364"/>
                  </a:cubicBezTo>
                  <a:cubicBezTo>
                    <a:pt x="515" y="365"/>
                    <a:pt x="516" y="367"/>
                    <a:pt x="518" y="367"/>
                  </a:cubicBezTo>
                  <a:cubicBezTo>
                    <a:pt x="518" y="367"/>
                    <a:pt x="519" y="367"/>
                    <a:pt x="519" y="366"/>
                  </a:cubicBezTo>
                  <a:cubicBezTo>
                    <a:pt x="520" y="365"/>
                    <a:pt x="522" y="364"/>
                    <a:pt x="523" y="363"/>
                  </a:cubicBezTo>
                  <a:cubicBezTo>
                    <a:pt x="525" y="362"/>
                    <a:pt x="526" y="361"/>
                    <a:pt x="526" y="359"/>
                  </a:cubicBezTo>
                  <a:cubicBezTo>
                    <a:pt x="526" y="357"/>
                    <a:pt x="524" y="352"/>
                    <a:pt x="521" y="348"/>
                  </a:cubicBezTo>
                  <a:cubicBezTo>
                    <a:pt x="519" y="346"/>
                    <a:pt x="517" y="345"/>
                    <a:pt x="516" y="345"/>
                  </a:cubicBezTo>
                  <a:cubicBezTo>
                    <a:pt x="516" y="345"/>
                    <a:pt x="516" y="345"/>
                    <a:pt x="516" y="345"/>
                  </a:cubicBezTo>
                  <a:cubicBezTo>
                    <a:pt x="514" y="345"/>
                    <a:pt x="513" y="347"/>
                    <a:pt x="513" y="349"/>
                  </a:cubicBezTo>
                  <a:cubicBezTo>
                    <a:pt x="513" y="350"/>
                    <a:pt x="513" y="352"/>
                    <a:pt x="515" y="352"/>
                  </a:cubicBezTo>
                  <a:cubicBezTo>
                    <a:pt x="519" y="352"/>
                    <a:pt x="522" y="356"/>
                    <a:pt x="522" y="358"/>
                  </a:cubicBezTo>
                  <a:cubicBezTo>
                    <a:pt x="523" y="359"/>
                    <a:pt x="522" y="360"/>
                    <a:pt x="521" y="360"/>
                  </a:cubicBezTo>
                  <a:cubicBezTo>
                    <a:pt x="520" y="360"/>
                    <a:pt x="520" y="360"/>
                    <a:pt x="520" y="360"/>
                  </a:cubicBezTo>
                  <a:cubicBezTo>
                    <a:pt x="516" y="360"/>
                    <a:pt x="510" y="355"/>
                    <a:pt x="508" y="350"/>
                  </a:cubicBezTo>
                  <a:cubicBezTo>
                    <a:pt x="508" y="349"/>
                    <a:pt x="508" y="349"/>
                    <a:pt x="508" y="349"/>
                  </a:cubicBezTo>
                  <a:cubicBezTo>
                    <a:pt x="507" y="349"/>
                    <a:pt x="506" y="351"/>
                    <a:pt x="504" y="352"/>
                  </a:cubicBezTo>
                  <a:cubicBezTo>
                    <a:pt x="503" y="353"/>
                    <a:pt x="502" y="354"/>
                    <a:pt x="501" y="354"/>
                  </a:cubicBezTo>
                  <a:cubicBezTo>
                    <a:pt x="500" y="354"/>
                    <a:pt x="499" y="353"/>
                    <a:pt x="499" y="352"/>
                  </a:cubicBezTo>
                  <a:cubicBezTo>
                    <a:pt x="499" y="351"/>
                    <a:pt x="498" y="351"/>
                    <a:pt x="498" y="351"/>
                  </a:cubicBezTo>
                  <a:cubicBezTo>
                    <a:pt x="498" y="351"/>
                    <a:pt x="497" y="353"/>
                    <a:pt x="497" y="354"/>
                  </a:cubicBezTo>
                  <a:cubicBezTo>
                    <a:pt x="496" y="356"/>
                    <a:pt x="495" y="358"/>
                    <a:pt x="494" y="358"/>
                  </a:cubicBezTo>
                  <a:cubicBezTo>
                    <a:pt x="494" y="358"/>
                    <a:pt x="494" y="358"/>
                    <a:pt x="494" y="358"/>
                  </a:cubicBezTo>
                  <a:cubicBezTo>
                    <a:pt x="493" y="358"/>
                    <a:pt x="492" y="357"/>
                    <a:pt x="492" y="355"/>
                  </a:cubicBezTo>
                  <a:cubicBezTo>
                    <a:pt x="490" y="352"/>
                    <a:pt x="490" y="343"/>
                    <a:pt x="492" y="342"/>
                  </a:cubicBezTo>
                  <a:cubicBezTo>
                    <a:pt x="493" y="341"/>
                    <a:pt x="494" y="341"/>
                    <a:pt x="496" y="340"/>
                  </a:cubicBezTo>
                  <a:cubicBezTo>
                    <a:pt x="498" y="340"/>
                    <a:pt x="500" y="340"/>
                    <a:pt x="500" y="338"/>
                  </a:cubicBezTo>
                  <a:cubicBezTo>
                    <a:pt x="500" y="337"/>
                    <a:pt x="501" y="336"/>
                    <a:pt x="502" y="335"/>
                  </a:cubicBezTo>
                  <a:cubicBezTo>
                    <a:pt x="504" y="333"/>
                    <a:pt x="505" y="332"/>
                    <a:pt x="504" y="328"/>
                  </a:cubicBezTo>
                  <a:cubicBezTo>
                    <a:pt x="503" y="323"/>
                    <a:pt x="499" y="318"/>
                    <a:pt x="497" y="318"/>
                  </a:cubicBezTo>
                  <a:cubicBezTo>
                    <a:pt x="497" y="318"/>
                    <a:pt x="497" y="318"/>
                    <a:pt x="497" y="318"/>
                  </a:cubicBezTo>
                  <a:cubicBezTo>
                    <a:pt x="496" y="320"/>
                    <a:pt x="497" y="322"/>
                    <a:pt x="497" y="324"/>
                  </a:cubicBezTo>
                  <a:cubicBezTo>
                    <a:pt x="499" y="327"/>
                    <a:pt x="500" y="331"/>
                    <a:pt x="497" y="333"/>
                  </a:cubicBezTo>
                  <a:cubicBezTo>
                    <a:pt x="495" y="333"/>
                    <a:pt x="494" y="335"/>
                    <a:pt x="493" y="336"/>
                  </a:cubicBezTo>
                  <a:cubicBezTo>
                    <a:pt x="491" y="337"/>
                    <a:pt x="490" y="338"/>
                    <a:pt x="489" y="338"/>
                  </a:cubicBezTo>
                  <a:cubicBezTo>
                    <a:pt x="488" y="338"/>
                    <a:pt x="488" y="338"/>
                    <a:pt x="487" y="337"/>
                  </a:cubicBezTo>
                  <a:cubicBezTo>
                    <a:pt x="486" y="336"/>
                    <a:pt x="487" y="334"/>
                    <a:pt x="487" y="332"/>
                  </a:cubicBezTo>
                  <a:cubicBezTo>
                    <a:pt x="487" y="329"/>
                    <a:pt x="487" y="328"/>
                    <a:pt x="486" y="327"/>
                  </a:cubicBezTo>
                  <a:cubicBezTo>
                    <a:pt x="485" y="327"/>
                    <a:pt x="485" y="327"/>
                    <a:pt x="485" y="327"/>
                  </a:cubicBezTo>
                  <a:cubicBezTo>
                    <a:pt x="484" y="327"/>
                    <a:pt x="483" y="328"/>
                    <a:pt x="483" y="328"/>
                  </a:cubicBezTo>
                  <a:cubicBezTo>
                    <a:pt x="482" y="330"/>
                    <a:pt x="482" y="333"/>
                    <a:pt x="484" y="336"/>
                  </a:cubicBezTo>
                  <a:cubicBezTo>
                    <a:pt x="486" y="340"/>
                    <a:pt x="488" y="347"/>
                    <a:pt x="487" y="350"/>
                  </a:cubicBezTo>
                  <a:cubicBezTo>
                    <a:pt x="486" y="351"/>
                    <a:pt x="486" y="352"/>
                    <a:pt x="485" y="353"/>
                  </a:cubicBezTo>
                  <a:cubicBezTo>
                    <a:pt x="485" y="353"/>
                    <a:pt x="485" y="353"/>
                    <a:pt x="484" y="353"/>
                  </a:cubicBezTo>
                  <a:cubicBezTo>
                    <a:pt x="483" y="353"/>
                    <a:pt x="483" y="351"/>
                    <a:pt x="482" y="349"/>
                  </a:cubicBezTo>
                  <a:cubicBezTo>
                    <a:pt x="481" y="347"/>
                    <a:pt x="480" y="345"/>
                    <a:pt x="478" y="344"/>
                  </a:cubicBezTo>
                  <a:cubicBezTo>
                    <a:pt x="476" y="344"/>
                    <a:pt x="476" y="342"/>
                    <a:pt x="476" y="339"/>
                  </a:cubicBezTo>
                  <a:cubicBezTo>
                    <a:pt x="476" y="337"/>
                    <a:pt x="476" y="335"/>
                    <a:pt x="473" y="334"/>
                  </a:cubicBezTo>
                  <a:cubicBezTo>
                    <a:pt x="468" y="333"/>
                    <a:pt x="461" y="324"/>
                    <a:pt x="461" y="319"/>
                  </a:cubicBezTo>
                  <a:cubicBezTo>
                    <a:pt x="461" y="316"/>
                    <a:pt x="466" y="315"/>
                    <a:pt x="469" y="315"/>
                  </a:cubicBezTo>
                  <a:cubicBezTo>
                    <a:pt x="470" y="315"/>
                    <a:pt x="471" y="315"/>
                    <a:pt x="472" y="316"/>
                  </a:cubicBezTo>
                  <a:cubicBezTo>
                    <a:pt x="472" y="316"/>
                    <a:pt x="472" y="316"/>
                    <a:pt x="472" y="317"/>
                  </a:cubicBezTo>
                  <a:cubicBezTo>
                    <a:pt x="472" y="318"/>
                    <a:pt x="472" y="318"/>
                    <a:pt x="473" y="319"/>
                  </a:cubicBezTo>
                  <a:cubicBezTo>
                    <a:pt x="474" y="320"/>
                    <a:pt x="476" y="321"/>
                    <a:pt x="478" y="321"/>
                  </a:cubicBezTo>
                  <a:cubicBezTo>
                    <a:pt x="480" y="321"/>
                    <a:pt x="481" y="321"/>
                    <a:pt x="482" y="319"/>
                  </a:cubicBezTo>
                  <a:cubicBezTo>
                    <a:pt x="484" y="314"/>
                    <a:pt x="484" y="305"/>
                    <a:pt x="481" y="300"/>
                  </a:cubicBezTo>
                  <a:cubicBezTo>
                    <a:pt x="479" y="297"/>
                    <a:pt x="476" y="294"/>
                    <a:pt x="475" y="294"/>
                  </a:cubicBezTo>
                  <a:cubicBezTo>
                    <a:pt x="475" y="294"/>
                    <a:pt x="475" y="295"/>
                    <a:pt x="476" y="299"/>
                  </a:cubicBezTo>
                  <a:cubicBezTo>
                    <a:pt x="478" y="307"/>
                    <a:pt x="480" y="311"/>
                    <a:pt x="478" y="313"/>
                  </a:cubicBezTo>
                  <a:cubicBezTo>
                    <a:pt x="478" y="314"/>
                    <a:pt x="476" y="314"/>
                    <a:pt x="474" y="311"/>
                  </a:cubicBezTo>
                  <a:cubicBezTo>
                    <a:pt x="471" y="309"/>
                    <a:pt x="470" y="309"/>
                    <a:pt x="469" y="309"/>
                  </a:cubicBezTo>
                  <a:cubicBezTo>
                    <a:pt x="468" y="308"/>
                    <a:pt x="466" y="308"/>
                    <a:pt x="462" y="305"/>
                  </a:cubicBezTo>
                  <a:cubicBezTo>
                    <a:pt x="460" y="304"/>
                    <a:pt x="460" y="304"/>
                    <a:pt x="460" y="304"/>
                  </a:cubicBezTo>
                  <a:cubicBezTo>
                    <a:pt x="460" y="305"/>
                    <a:pt x="460" y="306"/>
                    <a:pt x="460" y="308"/>
                  </a:cubicBezTo>
                  <a:cubicBezTo>
                    <a:pt x="460" y="310"/>
                    <a:pt x="460" y="312"/>
                    <a:pt x="459" y="313"/>
                  </a:cubicBezTo>
                  <a:cubicBezTo>
                    <a:pt x="458" y="314"/>
                    <a:pt x="456" y="314"/>
                    <a:pt x="454" y="313"/>
                  </a:cubicBezTo>
                  <a:cubicBezTo>
                    <a:pt x="446" y="308"/>
                    <a:pt x="442" y="305"/>
                    <a:pt x="439" y="301"/>
                  </a:cubicBezTo>
                  <a:cubicBezTo>
                    <a:pt x="438" y="300"/>
                    <a:pt x="438" y="299"/>
                    <a:pt x="437" y="299"/>
                  </a:cubicBezTo>
                  <a:cubicBezTo>
                    <a:pt x="434" y="295"/>
                    <a:pt x="427" y="293"/>
                    <a:pt x="423" y="291"/>
                  </a:cubicBezTo>
                  <a:cubicBezTo>
                    <a:pt x="422" y="291"/>
                    <a:pt x="421" y="291"/>
                    <a:pt x="420" y="290"/>
                  </a:cubicBezTo>
                  <a:cubicBezTo>
                    <a:pt x="419" y="290"/>
                    <a:pt x="418" y="290"/>
                    <a:pt x="417" y="289"/>
                  </a:cubicBezTo>
                  <a:cubicBezTo>
                    <a:pt x="414" y="289"/>
                    <a:pt x="412" y="288"/>
                    <a:pt x="412" y="287"/>
                  </a:cubicBezTo>
                  <a:cubicBezTo>
                    <a:pt x="412" y="286"/>
                    <a:pt x="412" y="285"/>
                    <a:pt x="413" y="284"/>
                  </a:cubicBezTo>
                  <a:cubicBezTo>
                    <a:pt x="413" y="284"/>
                    <a:pt x="414" y="283"/>
                    <a:pt x="415" y="282"/>
                  </a:cubicBezTo>
                  <a:cubicBezTo>
                    <a:pt x="416" y="281"/>
                    <a:pt x="418" y="280"/>
                    <a:pt x="418" y="279"/>
                  </a:cubicBezTo>
                  <a:cubicBezTo>
                    <a:pt x="418" y="278"/>
                    <a:pt x="417" y="277"/>
                    <a:pt x="416" y="276"/>
                  </a:cubicBezTo>
                  <a:cubicBezTo>
                    <a:pt x="415" y="275"/>
                    <a:pt x="414" y="275"/>
                    <a:pt x="414" y="275"/>
                  </a:cubicBezTo>
                  <a:cubicBezTo>
                    <a:pt x="412" y="275"/>
                    <a:pt x="411" y="276"/>
                    <a:pt x="409" y="278"/>
                  </a:cubicBezTo>
                  <a:cubicBezTo>
                    <a:pt x="407" y="280"/>
                    <a:pt x="404" y="282"/>
                    <a:pt x="400" y="282"/>
                  </a:cubicBezTo>
                  <a:cubicBezTo>
                    <a:pt x="400" y="282"/>
                    <a:pt x="399" y="282"/>
                    <a:pt x="398" y="282"/>
                  </a:cubicBezTo>
                  <a:cubicBezTo>
                    <a:pt x="392" y="281"/>
                    <a:pt x="390" y="278"/>
                    <a:pt x="389" y="276"/>
                  </a:cubicBezTo>
                  <a:cubicBezTo>
                    <a:pt x="388" y="274"/>
                    <a:pt x="387" y="273"/>
                    <a:pt x="385" y="273"/>
                  </a:cubicBezTo>
                  <a:cubicBezTo>
                    <a:pt x="384" y="273"/>
                    <a:pt x="383" y="273"/>
                    <a:pt x="382" y="274"/>
                  </a:cubicBezTo>
                  <a:cubicBezTo>
                    <a:pt x="377" y="274"/>
                    <a:pt x="369" y="275"/>
                    <a:pt x="362" y="275"/>
                  </a:cubicBezTo>
                  <a:cubicBezTo>
                    <a:pt x="359" y="275"/>
                    <a:pt x="356" y="275"/>
                    <a:pt x="353" y="274"/>
                  </a:cubicBezTo>
                  <a:cubicBezTo>
                    <a:pt x="352" y="274"/>
                    <a:pt x="352" y="274"/>
                    <a:pt x="352" y="274"/>
                  </a:cubicBezTo>
                  <a:cubicBezTo>
                    <a:pt x="342" y="272"/>
                    <a:pt x="337" y="271"/>
                    <a:pt x="337" y="269"/>
                  </a:cubicBezTo>
                  <a:cubicBezTo>
                    <a:pt x="337" y="268"/>
                    <a:pt x="337" y="267"/>
                    <a:pt x="336" y="266"/>
                  </a:cubicBezTo>
                  <a:cubicBezTo>
                    <a:pt x="336" y="265"/>
                    <a:pt x="336" y="265"/>
                    <a:pt x="336" y="265"/>
                  </a:cubicBezTo>
                  <a:cubicBezTo>
                    <a:pt x="336" y="265"/>
                    <a:pt x="335" y="265"/>
                    <a:pt x="334" y="266"/>
                  </a:cubicBezTo>
                  <a:cubicBezTo>
                    <a:pt x="332" y="268"/>
                    <a:pt x="331" y="269"/>
                    <a:pt x="329" y="269"/>
                  </a:cubicBezTo>
                  <a:cubicBezTo>
                    <a:pt x="328" y="269"/>
                    <a:pt x="326" y="269"/>
                    <a:pt x="325" y="267"/>
                  </a:cubicBezTo>
                  <a:cubicBezTo>
                    <a:pt x="324" y="266"/>
                    <a:pt x="322" y="266"/>
                    <a:pt x="321" y="266"/>
                  </a:cubicBezTo>
                  <a:cubicBezTo>
                    <a:pt x="319" y="266"/>
                    <a:pt x="317" y="267"/>
                    <a:pt x="314" y="270"/>
                  </a:cubicBezTo>
                  <a:cubicBezTo>
                    <a:pt x="313" y="270"/>
                    <a:pt x="312" y="271"/>
                    <a:pt x="311" y="271"/>
                  </a:cubicBezTo>
                  <a:cubicBezTo>
                    <a:pt x="310" y="271"/>
                    <a:pt x="309" y="269"/>
                    <a:pt x="308" y="268"/>
                  </a:cubicBezTo>
                  <a:cubicBezTo>
                    <a:pt x="308" y="266"/>
                    <a:pt x="309" y="264"/>
                    <a:pt x="312" y="264"/>
                  </a:cubicBezTo>
                  <a:cubicBezTo>
                    <a:pt x="313" y="263"/>
                    <a:pt x="315" y="263"/>
                    <a:pt x="316" y="263"/>
                  </a:cubicBezTo>
                  <a:cubicBezTo>
                    <a:pt x="317" y="263"/>
                    <a:pt x="320" y="262"/>
                    <a:pt x="320" y="262"/>
                  </a:cubicBezTo>
                  <a:cubicBezTo>
                    <a:pt x="320" y="262"/>
                    <a:pt x="320" y="261"/>
                    <a:pt x="318" y="260"/>
                  </a:cubicBezTo>
                  <a:cubicBezTo>
                    <a:pt x="317" y="259"/>
                    <a:pt x="316" y="258"/>
                    <a:pt x="315" y="258"/>
                  </a:cubicBezTo>
                  <a:cubicBezTo>
                    <a:pt x="314" y="258"/>
                    <a:pt x="313" y="259"/>
                    <a:pt x="312" y="259"/>
                  </a:cubicBezTo>
                  <a:cubicBezTo>
                    <a:pt x="312" y="259"/>
                    <a:pt x="311" y="260"/>
                    <a:pt x="310" y="260"/>
                  </a:cubicBezTo>
                  <a:cubicBezTo>
                    <a:pt x="309" y="260"/>
                    <a:pt x="308" y="259"/>
                    <a:pt x="307" y="257"/>
                  </a:cubicBezTo>
                  <a:cubicBezTo>
                    <a:pt x="305" y="254"/>
                    <a:pt x="304" y="254"/>
                    <a:pt x="302" y="254"/>
                  </a:cubicBezTo>
                  <a:cubicBezTo>
                    <a:pt x="301" y="254"/>
                    <a:pt x="301" y="254"/>
                    <a:pt x="301" y="254"/>
                  </a:cubicBezTo>
                  <a:cubicBezTo>
                    <a:pt x="300" y="254"/>
                    <a:pt x="300" y="254"/>
                    <a:pt x="299" y="254"/>
                  </a:cubicBezTo>
                  <a:cubicBezTo>
                    <a:pt x="298" y="254"/>
                    <a:pt x="297" y="254"/>
                    <a:pt x="296" y="253"/>
                  </a:cubicBezTo>
                  <a:cubicBezTo>
                    <a:pt x="295" y="252"/>
                    <a:pt x="293" y="251"/>
                    <a:pt x="291" y="251"/>
                  </a:cubicBezTo>
                  <a:cubicBezTo>
                    <a:pt x="291" y="251"/>
                    <a:pt x="290" y="251"/>
                    <a:pt x="289" y="253"/>
                  </a:cubicBezTo>
                  <a:cubicBezTo>
                    <a:pt x="288" y="256"/>
                    <a:pt x="286" y="256"/>
                    <a:pt x="285" y="257"/>
                  </a:cubicBezTo>
                  <a:cubicBezTo>
                    <a:pt x="284" y="257"/>
                    <a:pt x="284" y="257"/>
                    <a:pt x="284" y="258"/>
                  </a:cubicBezTo>
                  <a:cubicBezTo>
                    <a:pt x="283" y="258"/>
                    <a:pt x="284" y="259"/>
                    <a:pt x="284" y="260"/>
                  </a:cubicBezTo>
                  <a:cubicBezTo>
                    <a:pt x="285" y="263"/>
                    <a:pt x="288" y="265"/>
                    <a:pt x="289" y="266"/>
                  </a:cubicBezTo>
                  <a:cubicBezTo>
                    <a:pt x="291" y="267"/>
                    <a:pt x="291" y="268"/>
                    <a:pt x="291" y="268"/>
                  </a:cubicBezTo>
                  <a:cubicBezTo>
                    <a:pt x="291" y="269"/>
                    <a:pt x="291" y="269"/>
                    <a:pt x="290" y="270"/>
                  </a:cubicBezTo>
                  <a:cubicBezTo>
                    <a:pt x="290" y="270"/>
                    <a:pt x="290" y="270"/>
                    <a:pt x="289" y="270"/>
                  </a:cubicBezTo>
                  <a:cubicBezTo>
                    <a:pt x="289" y="271"/>
                    <a:pt x="290" y="272"/>
                    <a:pt x="290" y="273"/>
                  </a:cubicBezTo>
                  <a:cubicBezTo>
                    <a:pt x="291" y="274"/>
                    <a:pt x="291" y="275"/>
                    <a:pt x="291" y="276"/>
                  </a:cubicBezTo>
                  <a:cubicBezTo>
                    <a:pt x="291" y="277"/>
                    <a:pt x="290" y="277"/>
                    <a:pt x="290" y="277"/>
                  </a:cubicBezTo>
                  <a:cubicBezTo>
                    <a:pt x="289" y="277"/>
                    <a:pt x="287" y="277"/>
                    <a:pt x="285" y="277"/>
                  </a:cubicBezTo>
                  <a:cubicBezTo>
                    <a:pt x="284" y="276"/>
                    <a:pt x="281" y="276"/>
                    <a:pt x="278" y="276"/>
                  </a:cubicBezTo>
                  <a:cubicBezTo>
                    <a:pt x="275" y="276"/>
                    <a:pt x="272" y="276"/>
                    <a:pt x="269" y="278"/>
                  </a:cubicBezTo>
                  <a:cubicBezTo>
                    <a:pt x="265" y="280"/>
                    <a:pt x="261" y="283"/>
                    <a:pt x="257" y="285"/>
                  </a:cubicBezTo>
                  <a:cubicBezTo>
                    <a:pt x="251" y="290"/>
                    <a:pt x="245" y="294"/>
                    <a:pt x="240" y="294"/>
                  </a:cubicBezTo>
                  <a:cubicBezTo>
                    <a:pt x="235" y="294"/>
                    <a:pt x="231" y="293"/>
                    <a:pt x="231" y="291"/>
                  </a:cubicBezTo>
                  <a:cubicBezTo>
                    <a:pt x="231" y="290"/>
                    <a:pt x="231" y="289"/>
                    <a:pt x="234" y="288"/>
                  </a:cubicBezTo>
                  <a:cubicBezTo>
                    <a:pt x="238" y="287"/>
                    <a:pt x="241" y="284"/>
                    <a:pt x="241" y="283"/>
                  </a:cubicBezTo>
                  <a:cubicBezTo>
                    <a:pt x="241" y="283"/>
                    <a:pt x="241" y="283"/>
                    <a:pt x="239" y="283"/>
                  </a:cubicBezTo>
                  <a:cubicBezTo>
                    <a:pt x="237" y="282"/>
                    <a:pt x="235" y="281"/>
                    <a:pt x="235" y="280"/>
                  </a:cubicBezTo>
                  <a:cubicBezTo>
                    <a:pt x="234" y="278"/>
                    <a:pt x="235" y="275"/>
                    <a:pt x="238" y="271"/>
                  </a:cubicBezTo>
                  <a:cubicBezTo>
                    <a:pt x="240" y="268"/>
                    <a:pt x="240" y="267"/>
                    <a:pt x="240" y="265"/>
                  </a:cubicBezTo>
                  <a:cubicBezTo>
                    <a:pt x="240" y="263"/>
                    <a:pt x="241" y="261"/>
                    <a:pt x="244" y="258"/>
                  </a:cubicBezTo>
                  <a:cubicBezTo>
                    <a:pt x="248" y="254"/>
                    <a:pt x="250" y="253"/>
                    <a:pt x="253" y="253"/>
                  </a:cubicBezTo>
                  <a:cubicBezTo>
                    <a:pt x="255" y="253"/>
                    <a:pt x="257" y="254"/>
                    <a:pt x="260" y="255"/>
                  </a:cubicBezTo>
                  <a:cubicBezTo>
                    <a:pt x="260" y="255"/>
                    <a:pt x="261" y="255"/>
                    <a:pt x="262" y="255"/>
                  </a:cubicBezTo>
                  <a:cubicBezTo>
                    <a:pt x="263" y="255"/>
                    <a:pt x="264" y="255"/>
                    <a:pt x="264" y="254"/>
                  </a:cubicBezTo>
                  <a:cubicBezTo>
                    <a:pt x="264" y="252"/>
                    <a:pt x="263" y="250"/>
                    <a:pt x="259" y="250"/>
                  </a:cubicBezTo>
                  <a:cubicBezTo>
                    <a:pt x="254" y="250"/>
                    <a:pt x="253" y="248"/>
                    <a:pt x="252" y="247"/>
                  </a:cubicBezTo>
                  <a:cubicBezTo>
                    <a:pt x="252" y="246"/>
                    <a:pt x="252" y="246"/>
                    <a:pt x="252" y="246"/>
                  </a:cubicBezTo>
                  <a:cubicBezTo>
                    <a:pt x="252" y="246"/>
                    <a:pt x="251" y="246"/>
                    <a:pt x="251" y="247"/>
                  </a:cubicBezTo>
                  <a:cubicBezTo>
                    <a:pt x="249" y="248"/>
                    <a:pt x="247" y="249"/>
                    <a:pt x="246" y="251"/>
                  </a:cubicBezTo>
                  <a:cubicBezTo>
                    <a:pt x="243" y="253"/>
                    <a:pt x="240" y="255"/>
                    <a:pt x="238" y="255"/>
                  </a:cubicBezTo>
                  <a:cubicBezTo>
                    <a:pt x="236" y="256"/>
                    <a:pt x="235" y="257"/>
                    <a:pt x="234" y="259"/>
                  </a:cubicBezTo>
                  <a:cubicBezTo>
                    <a:pt x="233" y="260"/>
                    <a:pt x="232" y="262"/>
                    <a:pt x="231" y="264"/>
                  </a:cubicBezTo>
                  <a:cubicBezTo>
                    <a:pt x="229" y="266"/>
                    <a:pt x="228" y="267"/>
                    <a:pt x="226" y="268"/>
                  </a:cubicBezTo>
                  <a:cubicBezTo>
                    <a:pt x="223" y="270"/>
                    <a:pt x="221" y="271"/>
                    <a:pt x="221" y="274"/>
                  </a:cubicBezTo>
                  <a:cubicBezTo>
                    <a:pt x="221" y="280"/>
                    <a:pt x="215" y="284"/>
                    <a:pt x="211" y="284"/>
                  </a:cubicBezTo>
                  <a:cubicBezTo>
                    <a:pt x="211" y="284"/>
                    <a:pt x="211" y="284"/>
                    <a:pt x="211" y="284"/>
                  </a:cubicBezTo>
                  <a:cubicBezTo>
                    <a:pt x="208" y="284"/>
                    <a:pt x="202" y="288"/>
                    <a:pt x="200" y="291"/>
                  </a:cubicBezTo>
                  <a:cubicBezTo>
                    <a:pt x="200" y="292"/>
                    <a:pt x="199" y="293"/>
                    <a:pt x="199" y="293"/>
                  </a:cubicBezTo>
                  <a:cubicBezTo>
                    <a:pt x="200" y="294"/>
                    <a:pt x="202" y="294"/>
                    <a:pt x="204" y="295"/>
                  </a:cubicBezTo>
                  <a:cubicBezTo>
                    <a:pt x="208" y="296"/>
                    <a:pt x="211" y="297"/>
                    <a:pt x="211" y="299"/>
                  </a:cubicBezTo>
                  <a:cubicBezTo>
                    <a:pt x="211" y="303"/>
                    <a:pt x="208" y="306"/>
                    <a:pt x="203" y="307"/>
                  </a:cubicBezTo>
                  <a:cubicBezTo>
                    <a:pt x="202" y="307"/>
                    <a:pt x="201" y="309"/>
                    <a:pt x="201" y="312"/>
                  </a:cubicBezTo>
                  <a:cubicBezTo>
                    <a:pt x="201" y="314"/>
                    <a:pt x="201" y="317"/>
                    <a:pt x="198" y="318"/>
                  </a:cubicBezTo>
                  <a:cubicBezTo>
                    <a:pt x="197" y="318"/>
                    <a:pt x="196" y="318"/>
                    <a:pt x="194" y="319"/>
                  </a:cubicBezTo>
                  <a:cubicBezTo>
                    <a:pt x="193" y="319"/>
                    <a:pt x="191" y="319"/>
                    <a:pt x="187" y="322"/>
                  </a:cubicBezTo>
                  <a:cubicBezTo>
                    <a:pt x="181" y="327"/>
                    <a:pt x="175" y="332"/>
                    <a:pt x="171" y="332"/>
                  </a:cubicBezTo>
                  <a:cubicBezTo>
                    <a:pt x="169" y="332"/>
                    <a:pt x="169" y="333"/>
                    <a:pt x="168" y="335"/>
                  </a:cubicBezTo>
                  <a:cubicBezTo>
                    <a:pt x="168" y="337"/>
                    <a:pt x="167" y="339"/>
                    <a:pt x="165" y="340"/>
                  </a:cubicBezTo>
                  <a:cubicBezTo>
                    <a:pt x="161" y="341"/>
                    <a:pt x="141" y="350"/>
                    <a:pt x="139" y="355"/>
                  </a:cubicBezTo>
                  <a:cubicBezTo>
                    <a:pt x="139" y="356"/>
                    <a:pt x="138" y="357"/>
                    <a:pt x="138" y="357"/>
                  </a:cubicBezTo>
                  <a:cubicBezTo>
                    <a:pt x="138" y="360"/>
                    <a:pt x="137" y="362"/>
                    <a:pt x="130" y="364"/>
                  </a:cubicBezTo>
                  <a:cubicBezTo>
                    <a:pt x="125" y="364"/>
                    <a:pt x="123" y="366"/>
                    <a:pt x="121" y="367"/>
                  </a:cubicBezTo>
                  <a:cubicBezTo>
                    <a:pt x="120" y="368"/>
                    <a:pt x="118" y="369"/>
                    <a:pt x="117" y="369"/>
                  </a:cubicBezTo>
                  <a:cubicBezTo>
                    <a:pt x="116" y="369"/>
                    <a:pt x="116" y="369"/>
                    <a:pt x="116" y="369"/>
                  </a:cubicBezTo>
                  <a:cubicBezTo>
                    <a:pt x="115" y="368"/>
                    <a:pt x="113" y="368"/>
                    <a:pt x="112" y="368"/>
                  </a:cubicBezTo>
                  <a:cubicBezTo>
                    <a:pt x="110" y="368"/>
                    <a:pt x="108" y="369"/>
                    <a:pt x="107" y="370"/>
                  </a:cubicBezTo>
                  <a:cubicBezTo>
                    <a:pt x="105" y="372"/>
                    <a:pt x="100" y="375"/>
                    <a:pt x="97" y="375"/>
                  </a:cubicBezTo>
                  <a:cubicBezTo>
                    <a:pt x="96" y="375"/>
                    <a:pt x="95" y="374"/>
                    <a:pt x="94" y="374"/>
                  </a:cubicBezTo>
                  <a:cubicBezTo>
                    <a:pt x="93" y="372"/>
                    <a:pt x="92" y="371"/>
                    <a:pt x="91" y="371"/>
                  </a:cubicBezTo>
                  <a:cubicBezTo>
                    <a:pt x="90" y="371"/>
                    <a:pt x="90" y="373"/>
                    <a:pt x="90" y="374"/>
                  </a:cubicBezTo>
                  <a:cubicBezTo>
                    <a:pt x="89" y="378"/>
                    <a:pt x="77" y="384"/>
                    <a:pt x="73" y="384"/>
                  </a:cubicBezTo>
                  <a:cubicBezTo>
                    <a:pt x="72" y="384"/>
                    <a:pt x="72" y="384"/>
                    <a:pt x="72" y="383"/>
                  </a:cubicBezTo>
                  <a:cubicBezTo>
                    <a:pt x="71" y="383"/>
                    <a:pt x="71" y="382"/>
                    <a:pt x="71" y="382"/>
                  </a:cubicBezTo>
                  <a:cubicBezTo>
                    <a:pt x="71" y="380"/>
                    <a:pt x="73" y="379"/>
                    <a:pt x="75" y="376"/>
                  </a:cubicBezTo>
                  <a:cubicBezTo>
                    <a:pt x="78" y="374"/>
                    <a:pt x="81" y="371"/>
                    <a:pt x="82" y="367"/>
                  </a:cubicBezTo>
                  <a:cubicBezTo>
                    <a:pt x="83" y="365"/>
                    <a:pt x="85" y="363"/>
                    <a:pt x="89" y="363"/>
                  </a:cubicBezTo>
                  <a:cubicBezTo>
                    <a:pt x="92" y="363"/>
                    <a:pt x="95" y="364"/>
                    <a:pt x="98" y="364"/>
                  </a:cubicBezTo>
                  <a:cubicBezTo>
                    <a:pt x="100" y="365"/>
                    <a:pt x="102" y="365"/>
                    <a:pt x="103" y="365"/>
                  </a:cubicBezTo>
                  <a:cubicBezTo>
                    <a:pt x="104" y="365"/>
                    <a:pt x="105" y="365"/>
                    <a:pt x="105" y="365"/>
                  </a:cubicBezTo>
                  <a:cubicBezTo>
                    <a:pt x="106" y="363"/>
                    <a:pt x="121" y="346"/>
                    <a:pt x="130" y="345"/>
                  </a:cubicBezTo>
                  <a:cubicBezTo>
                    <a:pt x="134" y="345"/>
                    <a:pt x="138" y="340"/>
                    <a:pt x="141" y="336"/>
                  </a:cubicBezTo>
                  <a:cubicBezTo>
                    <a:pt x="143" y="333"/>
                    <a:pt x="145" y="330"/>
                    <a:pt x="147" y="330"/>
                  </a:cubicBezTo>
                  <a:cubicBezTo>
                    <a:pt x="149" y="329"/>
                    <a:pt x="149" y="327"/>
                    <a:pt x="149" y="323"/>
                  </a:cubicBezTo>
                  <a:cubicBezTo>
                    <a:pt x="149" y="318"/>
                    <a:pt x="148" y="312"/>
                    <a:pt x="152" y="307"/>
                  </a:cubicBezTo>
                  <a:cubicBezTo>
                    <a:pt x="154" y="305"/>
                    <a:pt x="154" y="305"/>
                    <a:pt x="154" y="305"/>
                  </a:cubicBezTo>
                  <a:cubicBezTo>
                    <a:pt x="155" y="303"/>
                    <a:pt x="158" y="300"/>
                    <a:pt x="158" y="299"/>
                  </a:cubicBezTo>
                  <a:cubicBezTo>
                    <a:pt x="158" y="299"/>
                    <a:pt x="158" y="299"/>
                    <a:pt x="157" y="299"/>
                  </a:cubicBezTo>
                  <a:cubicBezTo>
                    <a:pt x="157" y="299"/>
                    <a:pt x="155" y="299"/>
                    <a:pt x="152" y="301"/>
                  </a:cubicBezTo>
                  <a:cubicBezTo>
                    <a:pt x="148" y="302"/>
                    <a:pt x="145" y="303"/>
                    <a:pt x="142" y="303"/>
                  </a:cubicBezTo>
                  <a:cubicBezTo>
                    <a:pt x="138" y="303"/>
                    <a:pt x="136" y="302"/>
                    <a:pt x="136" y="299"/>
                  </a:cubicBezTo>
                  <a:cubicBezTo>
                    <a:pt x="136" y="298"/>
                    <a:pt x="136" y="297"/>
                    <a:pt x="135" y="297"/>
                  </a:cubicBezTo>
                  <a:cubicBezTo>
                    <a:pt x="134" y="297"/>
                    <a:pt x="131" y="302"/>
                    <a:pt x="131" y="306"/>
                  </a:cubicBezTo>
                  <a:cubicBezTo>
                    <a:pt x="131" y="307"/>
                    <a:pt x="131" y="310"/>
                    <a:pt x="129" y="310"/>
                  </a:cubicBezTo>
                  <a:cubicBezTo>
                    <a:pt x="128" y="310"/>
                    <a:pt x="125" y="308"/>
                    <a:pt x="121" y="303"/>
                  </a:cubicBezTo>
                  <a:cubicBezTo>
                    <a:pt x="118" y="300"/>
                    <a:pt x="114" y="298"/>
                    <a:pt x="109" y="298"/>
                  </a:cubicBezTo>
                  <a:cubicBezTo>
                    <a:pt x="105" y="298"/>
                    <a:pt x="102" y="300"/>
                    <a:pt x="102" y="302"/>
                  </a:cubicBezTo>
                  <a:cubicBezTo>
                    <a:pt x="101" y="305"/>
                    <a:pt x="95" y="306"/>
                    <a:pt x="91" y="306"/>
                  </a:cubicBezTo>
                  <a:cubicBezTo>
                    <a:pt x="89" y="306"/>
                    <a:pt x="86" y="306"/>
                    <a:pt x="85" y="305"/>
                  </a:cubicBezTo>
                  <a:cubicBezTo>
                    <a:pt x="85" y="304"/>
                    <a:pt x="85" y="304"/>
                    <a:pt x="85" y="303"/>
                  </a:cubicBezTo>
                  <a:cubicBezTo>
                    <a:pt x="85" y="302"/>
                    <a:pt x="85" y="300"/>
                    <a:pt x="85" y="298"/>
                  </a:cubicBezTo>
                  <a:cubicBezTo>
                    <a:pt x="84" y="295"/>
                    <a:pt x="84" y="290"/>
                    <a:pt x="86" y="288"/>
                  </a:cubicBezTo>
                  <a:cubicBezTo>
                    <a:pt x="87" y="288"/>
                    <a:pt x="87" y="287"/>
                    <a:pt x="87" y="286"/>
                  </a:cubicBezTo>
                  <a:cubicBezTo>
                    <a:pt x="88" y="283"/>
                    <a:pt x="84" y="276"/>
                    <a:pt x="81" y="273"/>
                  </a:cubicBezTo>
                  <a:cubicBezTo>
                    <a:pt x="80" y="272"/>
                    <a:pt x="80" y="272"/>
                    <a:pt x="80" y="272"/>
                  </a:cubicBezTo>
                  <a:cubicBezTo>
                    <a:pt x="79" y="272"/>
                    <a:pt x="79" y="273"/>
                    <a:pt x="79" y="274"/>
                  </a:cubicBezTo>
                  <a:cubicBezTo>
                    <a:pt x="78" y="276"/>
                    <a:pt x="78" y="279"/>
                    <a:pt x="74" y="279"/>
                  </a:cubicBezTo>
                  <a:cubicBezTo>
                    <a:pt x="71" y="279"/>
                    <a:pt x="69" y="280"/>
                    <a:pt x="66" y="281"/>
                  </a:cubicBezTo>
                  <a:cubicBezTo>
                    <a:pt x="64" y="282"/>
                    <a:pt x="62" y="283"/>
                    <a:pt x="60" y="283"/>
                  </a:cubicBezTo>
                  <a:cubicBezTo>
                    <a:pt x="58" y="283"/>
                    <a:pt x="57" y="283"/>
                    <a:pt x="56" y="281"/>
                  </a:cubicBezTo>
                  <a:cubicBezTo>
                    <a:pt x="55" y="280"/>
                    <a:pt x="53" y="278"/>
                    <a:pt x="51" y="276"/>
                  </a:cubicBezTo>
                  <a:cubicBezTo>
                    <a:pt x="47" y="271"/>
                    <a:pt x="43" y="265"/>
                    <a:pt x="38" y="264"/>
                  </a:cubicBezTo>
                  <a:cubicBezTo>
                    <a:pt x="37" y="264"/>
                    <a:pt x="37" y="264"/>
                    <a:pt x="36" y="263"/>
                  </a:cubicBezTo>
                  <a:cubicBezTo>
                    <a:pt x="36" y="262"/>
                    <a:pt x="37" y="260"/>
                    <a:pt x="38" y="259"/>
                  </a:cubicBezTo>
                  <a:cubicBezTo>
                    <a:pt x="40" y="255"/>
                    <a:pt x="42" y="253"/>
                    <a:pt x="39" y="251"/>
                  </a:cubicBezTo>
                  <a:cubicBezTo>
                    <a:pt x="36" y="249"/>
                    <a:pt x="35" y="249"/>
                    <a:pt x="34" y="249"/>
                  </a:cubicBezTo>
                  <a:cubicBezTo>
                    <a:pt x="32" y="249"/>
                    <a:pt x="30" y="248"/>
                    <a:pt x="25" y="242"/>
                  </a:cubicBezTo>
                  <a:cubicBezTo>
                    <a:pt x="23" y="238"/>
                    <a:pt x="22" y="237"/>
                    <a:pt x="23" y="236"/>
                  </a:cubicBezTo>
                  <a:cubicBezTo>
                    <a:pt x="23" y="235"/>
                    <a:pt x="24" y="235"/>
                    <a:pt x="25" y="235"/>
                  </a:cubicBezTo>
                  <a:cubicBezTo>
                    <a:pt x="28" y="234"/>
                    <a:pt x="31" y="234"/>
                    <a:pt x="32" y="228"/>
                  </a:cubicBezTo>
                  <a:cubicBezTo>
                    <a:pt x="34" y="221"/>
                    <a:pt x="40" y="220"/>
                    <a:pt x="43" y="220"/>
                  </a:cubicBezTo>
                  <a:cubicBezTo>
                    <a:pt x="46" y="219"/>
                    <a:pt x="47" y="219"/>
                    <a:pt x="47" y="218"/>
                  </a:cubicBezTo>
                  <a:cubicBezTo>
                    <a:pt x="47" y="217"/>
                    <a:pt x="47" y="217"/>
                    <a:pt x="47" y="216"/>
                  </a:cubicBezTo>
                  <a:cubicBezTo>
                    <a:pt x="46" y="213"/>
                    <a:pt x="46" y="207"/>
                    <a:pt x="49" y="204"/>
                  </a:cubicBezTo>
                  <a:cubicBezTo>
                    <a:pt x="50" y="203"/>
                    <a:pt x="51" y="203"/>
                    <a:pt x="53" y="203"/>
                  </a:cubicBezTo>
                  <a:cubicBezTo>
                    <a:pt x="57" y="203"/>
                    <a:pt x="60" y="204"/>
                    <a:pt x="62" y="206"/>
                  </a:cubicBezTo>
                  <a:cubicBezTo>
                    <a:pt x="64" y="208"/>
                    <a:pt x="66" y="209"/>
                    <a:pt x="68" y="209"/>
                  </a:cubicBezTo>
                  <a:cubicBezTo>
                    <a:pt x="69" y="209"/>
                    <a:pt x="70" y="209"/>
                    <a:pt x="71" y="208"/>
                  </a:cubicBezTo>
                  <a:cubicBezTo>
                    <a:pt x="74" y="205"/>
                    <a:pt x="75" y="202"/>
                    <a:pt x="76" y="200"/>
                  </a:cubicBezTo>
                  <a:cubicBezTo>
                    <a:pt x="77" y="198"/>
                    <a:pt x="77" y="196"/>
                    <a:pt x="79" y="196"/>
                  </a:cubicBezTo>
                  <a:cubicBezTo>
                    <a:pt x="80" y="196"/>
                    <a:pt x="81" y="196"/>
                    <a:pt x="82" y="196"/>
                  </a:cubicBezTo>
                  <a:cubicBezTo>
                    <a:pt x="84" y="197"/>
                    <a:pt x="86" y="197"/>
                    <a:pt x="89" y="197"/>
                  </a:cubicBezTo>
                  <a:cubicBezTo>
                    <a:pt x="92" y="197"/>
                    <a:pt x="94" y="196"/>
                    <a:pt x="97" y="195"/>
                  </a:cubicBezTo>
                  <a:cubicBezTo>
                    <a:pt x="99" y="193"/>
                    <a:pt x="100" y="191"/>
                    <a:pt x="100" y="189"/>
                  </a:cubicBezTo>
                  <a:cubicBezTo>
                    <a:pt x="101" y="184"/>
                    <a:pt x="98" y="179"/>
                    <a:pt x="95" y="176"/>
                  </a:cubicBezTo>
                  <a:cubicBezTo>
                    <a:pt x="94" y="175"/>
                    <a:pt x="94" y="175"/>
                    <a:pt x="94" y="174"/>
                  </a:cubicBezTo>
                  <a:cubicBezTo>
                    <a:pt x="95" y="173"/>
                    <a:pt x="96" y="172"/>
                    <a:pt x="98" y="172"/>
                  </a:cubicBezTo>
                  <a:cubicBezTo>
                    <a:pt x="99" y="171"/>
                    <a:pt x="101" y="170"/>
                    <a:pt x="101" y="169"/>
                  </a:cubicBezTo>
                  <a:cubicBezTo>
                    <a:pt x="101" y="168"/>
                    <a:pt x="101" y="167"/>
                    <a:pt x="99" y="166"/>
                  </a:cubicBezTo>
                  <a:cubicBezTo>
                    <a:pt x="98" y="165"/>
                    <a:pt x="96" y="164"/>
                    <a:pt x="94" y="164"/>
                  </a:cubicBezTo>
                  <a:cubicBezTo>
                    <a:pt x="87" y="164"/>
                    <a:pt x="77" y="172"/>
                    <a:pt x="74" y="175"/>
                  </a:cubicBezTo>
                  <a:cubicBezTo>
                    <a:pt x="73" y="176"/>
                    <a:pt x="72" y="177"/>
                    <a:pt x="71" y="177"/>
                  </a:cubicBezTo>
                  <a:cubicBezTo>
                    <a:pt x="69" y="177"/>
                    <a:pt x="67" y="176"/>
                    <a:pt x="66" y="175"/>
                  </a:cubicBezTo>
                  <a:cubicBezTo>
                    <a:pt x="64" y="174"/>
                    <a:pt x="62" y="174"/>
                    <a:pt x="61" y="174"/>
                  </a:cubicBezTo>
                  <a:cubicBezTo>
                    <a:pt x="59" y="174"/>
                    <a:pt x="57" y="174"/>
                    <a:pt x="55" y="174"/>
                  </a:cubicBezTo>
                  <a:cubicBezTo>
                    <a:pt x="50" y="175"/>
                    <a:pt x="45" y="175"/>
                    <a:pt x="40" y="175"/>
                  </a:cubicBezTo>
                  <a:cubicBezTo>
                    <a:pt x="35" y="175"/>
                    <a:pt x="32" y="175"/>
                    <a:pt x="29" y="173"/>
                  </a:cubicBezTo>
                  <a:cubicBezTo>
                    <a:pt x="25" y="171"/>
                    <a:pt x="24" y="169"/>
                    <a:pt x="22" y="167"/>
                  </a:cubicBezTo>
                  <a:cubicBezTo>
                    <a:pt x="21" y="165"/>
                    <a:pt x="21" y="164"/>
                    <a:pt x="19" y="163"/>
                  </a:cubicBezTo>
                  <a:cubicBezTo>
                    <a:pt x="18" y="163"/>
                    <a:pt x="17" y="162"/>
                    <a:pt x="17" y="162"/>
                  </a:cubicBezTo>
                  <a:cubicBezTo>
                    <a:pt x="17" y="161"/>
                    <a:pt x="18" y="160"/>
                    <a:pt x="20" y="158"/>
                  </a:cubicBezTo>
                  <a:cubicBezTo>
                    <a:pt x="21" y="158"/>
                    <a:pt x="23" y="157"/>
                    <a:pt x="23" y="156"/>
                  </a:cubicBezTo>
                  <a:cubicBezTo>
                    <a:pt x="23" y="156"/>
                    <a:pt x="22" y="156"/>
                    <a:pt x="21" y="156"/>
                  </a:cubicBezTo>
                  <a:cubicBezTo>
                    <a:pt x="20" y="155"/>
                    <a:pt x="20" y="155"/>
                    <a:pt x="20" y="155"/>
                  </a:cubicBezTo>
                  <a:cubicBezTo>
                    <a:pt x="11" y="154"/>
                    <a:pt x="1" y="152"/>
                    <a:pt x="0" y="149"/>
                  </a:cubicBezTo>
                  <a:cubicBezTo>
                    <a:pt x="0" y="148"/>
                    <a:pt x="0" y="147"/>
                    <a:pt x="0" y="147"/>
                  </a:cubicBezTo>
                  <a:cubicBezTo>
                    <a:pt x="1" y="144"/>
                    <a:pt x="6" y="142"/>
                    <a:pt x="11" y="139"/>
                  </a:cubicBezTo>
                  <a:cubicBezTo>
                    <a:pt x="14" y="138"/>
                    <a:pt x="17" y="137"/>
                    <a:pt x="20" y="135"/>
                  </a:cubicBezTo>
                  <a:cubicBezTo>
                    <a:pt x="21" y="134"/>
                    <a:pt x="23" y="134"/>
                    <a:pt x="24" y="134"/>
                  </a:cubicBezTo>
                  <a:cubicBezTo>
                    <a:pt x="26" y="134"/>
                    <a:pt x="28" y="134"/>
                    <a:pt x="29" y="135"/>
                  </a:cubicBezTo>
                  <a:cubicBezTo>
                    <a:pt x="30" y="135"/>
                    <a:pt x="30" y="135"/>
                    <a:pt x="31" y="135"/>
                  </a:cubicBezTo>
                  <a:cubicBezTo>
                    <a:pt x="31" y="135"/>
                    <a:pt x="32" y="135"/>
                    <a:pt x="32" y="134"/>
                  </a:cubicBezTo>
                  <a:cubicBezTo>
                    <a:pt x="32" y="133"/>
                    <a:pt x="32" y="132"/>
                    <a:pt x="32" y="132"/>
                  </a:cubicBezTo>
                  <a:cubicBezTo>
                    <a:pt x="32" y="130"/>
                    <a:pt x="32" y="130"/>
                    <a:pt x="40" y="125"/>
                  </a:cubicBezTo>
                  <a:cubicBezTo>
                    <a:pt x="40" y="125"/>
                    <a:pt x="40" y="125"/>
                    <a:pt x="40" y="125"/>
                  </a:cubicBezTo>
                  <a:cubicBezTo>
                    <a:pt x="45" y="123"/>
                    <a:pt x="49" y="121"/>
                    <a:pt x="53" y="121"/>
                  </a:cubicBezTo>
                  <a:cubicBezTo>
                    <a:pt x="55" y="121"/>
                    <a:pt x="57" y="122"/>
                    <a:pt x="59" y="123"/>
                  </a:cubicBezTo>
                  <a:cubicBezTo>
                    <a:pt x="59" y="124"/>
                    <a:pt x="59" y="124"/>
                    <a:pt x="59" y="125"/>
                  </a:cubicBezTo>
                  <a:cubicBezTo>
                    <a:pt x="59" y="126"/>
                    <a:pt x="59" y="127"/>
                    <a:pt x="58" y="129"/>
                  </a:cubicBezTo>
                  <a:cubicBezTo>
                    <a:pt x="57" y="131"/>
                    <a:pt x="56" y="133"/>
                    <a:pt x="57" y="134"/>
                  </a:cubicBezTo>
                  <a:cubicBezTo>
                    <a:pt x="57" y="134"/>
                    <a:pt x="57" y="134"/>
                    <a:pt x="58" y="134"/>
                  </a:cubicBezTo>
                  <a:cubicBezTo>
                    <a:pt x="58" y="134"/>
                    <a:pt x="58" y="134"/>
                    <a:pt x="59" y="134"/>
                  </a:cubicBezTo>
                  <a:cubicBezTo>
                    <a:pt x="60" y="134"/>
                    <a:pt x="60" y="134"/>
                    <a:pt x="62" y="134"/>
                  </a:cubicBezTo>
                  <a:cubicBezTo>
                    <a:pt x="64" y="134"/>
                    <a:pt x="68" y="133"/>
                    <a:pt x="71" y="133"/>
                  </a:cubicBezTo>
                  <a:cubicBezTo>
                    <a:pt x="75" y="133"/>
                    <a:pt x="77" y="134"/>
                    <a:pt x="78" y="135"/>
                  </a:cubicBezTo>
                  <a:cubicBezTo>
                    <a:pt x="80" y="139"/>
                    <a:pt x="83" y="136"/>
                    <a:pt x="89" y="132"/>
                  </a:cubicBezTo>
                  <a:cubicBezTo>
                    <a:pt x="93" y="129"/>
                    <a:pt x="98" y="129"/>
                    <a:pt x="102" y="129"/>
                  </a:cubicBezTo>
                  <a:cubicBezTo>
                    <a:pt x="104" y="129"/>
                    <a:pt x="106" y="129"/>
                    <a:pt x="107" y="128"/>
                  </a:cubicBezTo>
                  <a:cubicBezTo>
                    <a:pt x="107" y="128"/>
                    <a:pt x="107" y="128"/>
                    <a:pt x="107" y="127"/>
                  </a:cubicBezTo>
                  <a:cubicBezTo>
                    <a:pt x="106" y="126"/>
                    <a:pt x="104" y="125"/>
                    <a:pt x="102" y="125"/>
                  </a:cubicBezTo>
                  <a:cubicBezTo>
                    <a:pt x="101" y="125"/>
                    <a:pt x="100" y="125"/>
                    <a:pt x="100" y="125"/>
                  </a:cubicBezTo>
                  <a:cubicBezTo>
                    <a:pt x="99" y="125"/>
                    <a:pt x="98" y="125"/>
                    <a:pt x="97" y="125"/>
                  </a:cubicBezTo>
                  <a:cubicBezTo>
                    <a:pt x="96" y="125"/>
                    <a:pt x="93" y="125"/>
                    <a:pt x="91" y="124"/>
                  </a:cubicBezTo>
                  <a:cubicBezTo>
                    <a:pt x="88" y="123"/>
                    <a:pt x="89" y="120"/>
                    <a:pt x="89" y="117"/>
                  </a:cubicBezTo>
                  <a:cubicBezTo>
                    <a:pt x="89" y="114"/>
                    <a:pt x="89" y="112"/>
                    <a:pt x="87" y="112"/>
                  </a:cubicBezTo>
                  <a:cubicBezTo>
                    <a:pt x="86" y="112"/>
                    <a:pt x="85" y="112"/>
                    <a:pt x="85" y="112"/>
                  </a:cubicBezTo>
                  <a:cubicBezTo>
                    <a:pt x="82" y="112"/>
                    <a:pt x="79" y="112"/>
                    <a:pt x="76" y="112"/>
                  </a:cubicBezTo>
                  <a:cubicBezTo>
                    <a:pt x="73" y="113"/>
                    <a:pt x="70" y="113"/>
                    <a:pt x="68" y="113"/>
                  </a:cubicBezTo>
                  <a:cubicBezTo>
                    <a:pt x="66" y="113"/>
                    <a:pt x="63" y="113"/>
                    <a:pt x="62" y="111"/>
                  </a:cubicBezTo>
                  <a:cubicBezTo>
                    <a:pt x="60" y="107"/>
                    <a:pt x="51" y="90"/>
                    <a:pt x="38" y="86"/>
                  </a:cubicBezTo>
                  <a:cubicBezTo>
                    <a:pt x="28" y="83"/>
                    <a:pt x="22" y="81"/>
                    <a:pt x="21" y="78"/>
                  </a:cubicBezTo>
                  <a:cubicBezTo>
                    <a:pt x="21" y="77"/>
                    <a:pt x="21" y="76"/>
                    <a:pt x="22" y="75"/>
                  </a:cubicBezTo>
                  <a:cubicBezTo>
                    <a:pt x="23" y="74"/>
                    <a:pt x="23" y="72"/>
                    <a:pt x="23" y="70"/>
                  </a:cubicBezTo>
                  <a:cubicBezTo>
                    <a:pt x="23" y="69"/>
                    <a:pt x="23" y="67"/>
                    <a:pt x="24" y="67"/>
                  </a:cubicBezTo>
                  <a:cubicBezTo>
                    <a:pt x="24" y="66"/>
                    <a:pt x="25" y="66"/>
                    <a:pt x="26" y="66"/>
                  </a:cubicBezTo>
                  <a:cubicBezTo>
                    <a:pt x="27" y="66"/>
                    <a:pt x="27" y="66"/>
                    <a:pt x="28" y="66"/>
                  </a:cubicBezTo>
                  <a:cubicBezTo>
                    <a:pt x="30" y="66"/>
                    <a:pt x="32" y="66"/>
                    <a:pt x="34" y="66"/>
                  </a:cubicBezTo>
                  <a:cubicBezTo>
                    <a:pt x="48" y="66"/>
                    <a:pt x="58" y="63"/>
                    <a:pt x="63" y="58"/>
                  </a:cubicBezTo>
                  <a:cubicBezTo>
                    <a:pt x="68" y="53"/>
                    <a:pt x="68" y="50"/>
                    <a:pt x="67" y="47"/>
                  </a:cubicBezTo>
                  <a:cubicBezTo>
                    <a:pt x="67" y="46"/>
                    <a:pt x="67" y="44"/>
                    <a:pt x="69" y="43"/>
                  </a:cubicBezTo>
                  <a:cubicBezTo>
                    <a:pt x="69" y="43"/>
                    <a:pt x="70" y="42"/>
                    <a:pt x="70" y="41"/>
                  </a:cubicBezTo>
                  <a:cubicBezTo>
                    <a:pt x="77" y="35"/>
                    <a:pt x="83" y="28"/>
                    <a:pt x="86" y="29"/>
                  </a:cubicBezTo>
                  <a:cubicBezTo>
                    <a:pt x="87" y="29"/>
                    <a:pt x="89" y="29"/>
                    <a:pt x="91" y="29"/>
                  </a:cubicBezTo>
                  <a:cubicBezTo>
                    <a:pt x="94" y="29"/>
                    <a:pt x="104" y="29"/>
                    <a:pt x="107" y="25"/>
                  </a:cubicBezTo>
                  <a:cubicBezTo>
                    <a:pt x="108" y="24"/>
                    <a:pt x="109" y="23"/>
                    <a:pt x="110" y="23"/>
                  </a:cubicBezTo>
                  <a:cubicBezTo>
                    <a:pt x="111" y="23"/>
                    <a:pt x="112" y="24"/>
                    <a:pt x="113" y="25"/>
                  </a:cubicBezTo>
                  <a:cubicBezTo>
                    <a:pt x="114" y="26"/>
                    <a:pt x="115" y="27"/>
                    <a:pt x="116" y="27"/>
                  </a:cubicBezTo>
                  <a:cubicBezTo>
                    <a:pt x="116" y="27"/>
                    <a:pt x="117" y="27"/>
                    <a:pt x="118" y="26"/>
                  </a:cubicBezTo>
                  <a:cubicBezTo>
                    <a:pt x="119" y="25"/>
                    <a:pt x="119" y="25"/>
                    <a:pt x="119" y="24"/>
                  </a:cubicBezTo>
                  <a:cubicBezTo>
                    <a:pt x="119" y="23"/>
                    <a:pt x="118" y="23"/>
                    <a:pt x="117" y="22"/>
                  </a:cubicBezTo>
                  <a:cubicBezTo>
                    <a:pt x="116" y="21"/>
                    <a:pt x="114" y="21"/>
                    <a:pt x="114" y="19"/>
                  </a:cubicBezTo>
                  <a:cubicBezTo>
                    <a:pt x="114" y="18"/>
                    <a:pt x="115" y="17"/>
                    <a:pt x="115" y="17"/>
                  </a:cubicBezTo>
                  <a:cubicBezTo>
                    <a:pt x="117" y="15"/>
                    <a:pt x="122" y="14"/>
                    <a:pt x="125" y="14"/>
                  </a:cubicBezTo>
                  <a:cubicBezTo>
                    <a:pt x="126" y="14"/>
                    <a:pt x="127" y="14"/>
                    <a:pt x="128" y="14"/>
                  </a:cubicBezTo>
                  <a:cubicBezTo>
                    <a:pt x="130" y="14"/>
                    <a:pt x="133" y="15"/>
                    <a:pt x="135" y="15"/>
                  </a:cubicBezTo>
                  <a:cubicBezTo>
                    <a:pt x="142" y="15"/>
                    <a:pt x="147" y="13"/>
                    <a:pt x="151" y="9"/>
                  </a:cubicBezTo>
                  <a:cubicBezTo>
                    <a:pt x="158" y="3"/>
                    <a:pt x="162" y="0"/>
                    <a:pt x="165" y="0"/>
                  </a:cubicBezTo>
                  <a:cubicBezTo>
                    <a:pt x="166" y="0"/>
                    <a:pt x="166" y="0"/>
                    <a:pt x="167" y="0"/>
                  </a:cubicBezTo>
                  <a:cubicBezTo>
                    <a:pt x="167" y="0"/>
                    <a:pt x="168" y="0"/>
                    <a:pt x="169" y="1"/>
                  </a:cubicBezTo>
                  <a:cubicBezTo>
                    <a:pt x="173" y="2"/>
                    <a:pt x="179" y="3"/>
                    <a:pt x="179" y="6"/>
                  </a:cubicBezTo>
                  <a:cubicBezTo>
                    <a:pt x="178" y="8"/>
                    <a:pt x="177" y="9"/>
                    <a:pt x="175" y="9"/>
                  </a:cubicBezTo>
                  <a:cubicBezTo>
                    <a:pt x="174" y="10"/>
                    <a:pt x="172" y="11"/>
                    <a:pt x="172" y="11"/>
                  </a:cubicBezTo>
                  <a:cubicBezTo>
                    <a:pt x="172" y="12"/>
                    <a:pt x="172" y="12"/>
                    <a:pt x="173" y="12"/>
                  </a:cubicBezTo>
                  <a:cubicBezTo>
                    <a:pt x="174" y="13"/>
                    <a:pt x="175" y="13"/>
                    <a:pt x="177" y="13"/>
                  </a:cubicBezTo>
                  <a:cubicBezTo>
                    <a:pt x="179" y="13"/>
                    <a:pt x="182" y="12"/>
                    <a:pt x="183" y="10"/>
                  </a:cubicBezTo>
                  <a:cubicBezTo>
                    <a:pt x="185" y="8"/>
                    <a:pt x="187" y="6"/>
                    <a:pt x="189" y="6"/>
                  </a:cubicBezTo>
                  <a:cubicBezTo>
                    <a:pt x="190" y="6"/>
                    <a:pt x="191" y="7"/>
                    <a:pt x="191" y="7"/>
                  </a:cubicBezTo>
                  <a:cubicBezTo>
                    <a:pt x="191" y="7"/>
                    <a:pt x="192" y="8"/>
                    <a:pt x="191" y="9"/>
                  </a:cubicBezTo>
                  <a:cubicBezTo>
                    <a:pt x="191" y="10"/>
                    <a:pt x="192" y="11"/>
                    <a:pt x="193" y="12"/>
                  </a:cubicBezTo>
                  <a:cubicBezTo>
                    <a:pt x="194" y="14"/>
                    <a:pt x="195" y="14"/>
                    <a:pt x="198" y="14"/>
                  </a:cubicBezTo>
                  <a:cubicBezTo>
                    <a:pt x="199" y="14"/>
                    <a:pt x="201" y="13"/>
                    <a:pt x="203" y="13"/>
                  </a:cubicBezTo>
                  <a:cubicBezTo>
                    <a:pt x="207" y="12"/>
                    <a:pt x="212" y="11"/>
                    <a:pt x="216" y="11"/>
                  </a:cubicBezTo>
                  <a:cubicBezTo>
                    <a:pt x="220" y="11"/>
                    <a:pt x="223" y="12"/>
                    <a:pt x="224" y="14"/>
                  </a:cubicBezTo>
                  <a:cubicBezTo>
                    <a:pt x="225" y="16"/>
                    <a:pt x="225" y="18"/>
                    <a:pt x="225" y="19"/>
                  </a:cubicBezTo>
                  <a:cubicBezTo>
                    <a:pt x="225" y="20"/>
                    <a:pt x="225" y="20"/>
                    <a:pt x="225" y="21"/>
                  </a:cubicBezTo>
                  <a:cubicBezTo>
                    <a:pt x="226" y="21"/>
                    <a:pt x="226" y="21"/>
                    <a:pt x="228" y="21"/>
                  </a:cubicBezTo>
                  <a:cubicBezTo>
                    <a:pt x="231" y="21"/>
                    <a:pt x="232" y="22"/>
                    <a:pt x="233" y="24"/>
                  </a:cubicBezTo>
                  <a:cubicBezTo>
                    <a:pt x="234" y="25"/>
                    <a:pt x="235" y="25"/>
                    <a:pt x="236" y="25"/>
                  </a:cubicBezTo>
                  <a:cubicBezTo>
                    <a:pt x="237" y="25"/>
                    <a:pt x="237" y="25"/>
                    <a:pt x="237" y="25"/>
                  </a:cubicBezTo>
                  <a:cubicBezTo>
                    <a:pt x="241" y="24"/>
                    <a:pt x="252" y="21"/>
                    <a:pt x="263" y="21"/>
                  </a:cubicBezTo>
                  <a:cubicBezTo>
                    <a:pt x="267" y="21"/>
                    <a:pt x="271" y="22"/>
                    <a:pt x="274" y="23"/>
                  </a:cubicBezTo>
                  <a:cubicBezTo>
                    <a:pt x="280" y="24"/>
                    <a:pt x="284" y="26"/>
                    <a:pt x="288" y="28"/>
                  </a:cubicBezTo>
                  <a:cubicBezTo>
                    <a:pt x="293" y="30"/>
                    <a:pt x="297" y="32"/>
                    <a:pt x="302" y="32"/>
                  </a:cubicBezTo>
                  <a:cubicBezTo>
                    <a:pt x="303" y="32"/>
                    <a:pt x="304" y="32"/>
                    <a:pt x="305" y="32"/>
                  </a:cubicBezTo>
                  <a:cubicBezTo>
                    <a:pt x="307" y="31"/>
                    <a:pt x="310" y="31"/>
                    <a:pt x="312" y="31"/>
                  </a:cubicBezTo>
                  <a:cubicBezTo>
                    <a:pt x="318" y="31"/>
                    <a:pt x="323" y="32"/>
                    <a:pt x="328" y="35"/>
                  </a:cubicBezTo>
                  <a:cubicBezTo>
                    <a:pt x="330" y="36"/>
                    <a:pt x="333" y="36"/>
                    <a:pt x="336" y="36"/>
                  </a:cubicBezTo>
                  <a:cubicBezTo>
                    <a:pt x="342" y="36"/>
                    <a:pt x="350" y="35"/>
                    <a:pt x="355" y="34"/>
                  </a:cubicBezTo>
                  <a:cubicBezTo>
                    <a:pt x="356" y="34"/>
                    <a:pt x="357" y="34"/>
                    <a:pt x="358" y="34"/>
                  </a:cubicBezTo>
                  <a:cubicBezTo>
                    <a:pt x="364" y="34"/>
                    <a:pt x="373" y="37"/>
                    <a:pt x="381" y="40"/>
                  </a:cubicBezTo>
                  <a:cubicBezTo>
                    <a:pt x="383" y="41"/>
                    <a:pt x="385" y="42"/>
                    <a:pt x="386" y="42"/>
                  </a:cubicBezTo>
                  <a:cubicBezTo>
                    <a:pt x="388" y="43"/>
                    <a:pt x="390" y="43"/>
                    <a:pt x="393" y="44"/>
                  </a:cubicBezTo>
                  <a:cubicBezTo>
                    <a:pt x="393" y="44"/>
                    <a:pt x="393" y="44"/>
                    <a:pt x="393" y="44"/>
                  </a:cubicBezTo>
                  <a:cubicBezTo>
                    <a:pt x="393" y="267"/>
                    <a:pt x="393" y="267"/>
                    <a:pt x="393" y="267"/>
                  </a:cubicBezTo>
                  <a:cubicBezTo>
                    <a:pt x="394" y="267"/>
                    <a:pt x="397" y="269"/>
                    <a:pt x="399" y="269"/>
                  </a:cubicBezTo>
                  <a:cubicBezTo>
                    <a:pt x="399" y="269"/>
                    <a:pt x="400" y="269"/>
                    <a:pt x="400" y="268"/>
                  </a:cubicBezTo>
                  <a:cubicBezTo>
                    <a:pt x="401" y="267"/>
                    <a:pt x="402" y="267"/>
                    <a:pt x="403" y="267"/>
                  </a:cubicBezTo>
                  <a:cubicBezTo>
                    <a:pt x="404" y="267"/>
                    <a:pt x="404" y="267"/>
                    <a:pt x="405" y="267"/>
                  </a:cubicBezTo>
                  <a:cubicBezTo>
                    <a:pt x="405" y="267"/>
                    <a:pt x="406" y="267"/>
                    <a:pt x="407" y="267"/>
                  </a:cubicBezTo>
                  <a:cubicBezTo>
                    <a:pt x="408" y="267"/>
                    <a:pt x="411" y="267"/>
                    <a:pt x="414" y="266"/>
                  </a:cubicBezTo>
                  <a:cubicBezTo>
                    <a:pt x="415" y="265"/>
                    <a:pt x="416" y="265"/>
                    <a:pt x="417" y="265"/>
                  </a:cubicBezTo>
                  <a:cubicBezTo>
                    <a:pt x="423" y="265"/>
                    <a:pt x="424" y="271"/>
                    <a:pt x="424" y="273"/>
                  </a:cubicBezTo>
                  <a:cubicBezTo>
                    <a:pt x="424" y="275"/>
                    <a:pt x="428" y="278"/>
                    <a:pt x="431" y="280"/>
                  </a:cubicBezTo>
                  <a:cubicBezTo>
                    <a:pt x="434" y="283"/>
                    <a:pt x="437" y="285"/>
                    <a:pt x="439" y="288"/>
                  </a:cubicBezTo>
                  <a:cubicBezTo>
                    <a:pt x="439" y="289"/>
                    <a:pt x="440" y="289"/>
                    <a:pt x="441" y="290"/>
                  </a:cubicBezTo>
                  <a:cubicBezTo>
                    <a:pt x="443" y="293"/>
                    <a:pt x="445" y="296"/>
                    <a:pt x="447" y="296"/>
                  </a:cubicBezTo>
                  <a:cubicBezTo>
                    <a:pt x="448" y="296"/>
                    <a:pt x="448" y="295"/>
                    <a:pt x="449" y="295"/>
                  </a:cubicBezTo>
                  <a:cubicBezTo>
                    <a:pt x="451" y="294"/>
                    <a:pt x="452" y="293"/>
                    <a:pt x="454" y="292"/>
                  </a:cubicBezTo>
                  <a:cubicBezTo>
                    <a:pt x="458" y="291"/>
                    <a:pt x="462" y="289"/>
                    <a:pt x="462" y="285"/>
                  </a:cubicBezTo>
                  <a:cubicBezTo>
                    <a:pt x="462" y="282"/>
                    <a:pt x="468" y="280"/>
                    <a:pt x="473" y="280"/>
                  </a:cubicBezTo>
                  <a:cubicBezTo>
                    <a:pt x="478" y="280"/>
                    <a:pt x="483" y="282"/>
                    <a:pt x="483" y="286"/>
                  </a:cubicBezTo>
                  <a:cubicBezTo>
                    <a:pt x="483" y="289"/>
                    <a:pt x="488" y="293"/>
                    <a:pt x="493" y="297"/>
                  </a:cubicBezTo>
                  <a:cubicBezTo>
                    <a:pt x="500" y="303"/>
                    <a:pt x="508" y="310"/>
                    <a:pt x="515" y="321"/>
                  </a:cubicBezTo>
                  <a:cubicBezTo>
                    <a:pt x="517" y="326"/>
                    <a:pt x="519" y="330"/>
                    <a:pt x="521" y="333"/>
                  </a:cubicBezTo>
                  <a:cubicBezTo>
                    <a:pt x="526" y="343"/>
                    <a:pt x="528" y="347"/>
                    <a:pt x="540" y="352"/>
                  </a:cubicBezTo>
                  <a:cubicBezTo>
                    <a:pt x="556" y="358"/>
                    <a:pt x="557" y="361"/>
                    <a:pt x="554" y="368"/>
                  </a:cubicBezTo>
                  <a:cubicBezTo>
                    <a:pt x="553" y="370"/>
                    <a:pt x="555" y="372"/>
                    <a:pt x="557" y="374"/>
                  </a:cubicBezTo>
                  <a:cubicBezTo>
                    <a:pt x="558" y="375"/>
                    <a:pt x="560" y="376"/>
                    <a:pt x="559" y="378"/>
                  </a:cubicBezTo>
                  <a:cubicBezTo>
                    <a:pt x="559" y="379"/>
                    <a:pt x="558" y="380"/>
                    <a:pt x="557" y="381"/>
                  </a:cubicBezTo>
                  <a:cubicBezTo>
                    <a:pt x="554" y="383"/>
                    <a:pt x="550" y="386"/>
                    <a:pt x="547" y="388"/>
                  </a:cubicBezTo>
                  <a:lnTo>
                    <a:pt x="546" y="389"/>
                  </a:lnTo>
                  <a:close/>
                  <a:moveTo>
                    <a:pt x="546" y="384"/>
                  </a:moveTo>
                  <a:cubicBezTo>
                    <a:pt x="547" y="384"/>
                    <a:pt x="547" y="385"/>
                    <a:pt x="547" y="385"/>
                  </a:cubicBezTo>
                  <a:cubicBezTo>
                    <a:pt x="547" y="386"/>
                    <a:pt x="547" y="386"/>
                    <a:pt x="547" y="386"/>
                  </a:cubicBezTo>
                  <a:cubicBezTo>
                    <a:pt x="547" y="387"/>
                    <a:pt x="547" y="387"/>
                    <a:pt x="547" y="387"/>
                  </a:cubicBezTo>
                  <a:cubicBezTo>
                    <a:pt x="550" y="385"/>
                    <a:pt x="554" y="382"/>
                    <a:pt x="556" y="380"/>
                  </a:cubicBezTo>
                  <a:cubicBezTo>
                    <a:pt x="558" y="380"/>
                    <a:pt x="558" y="379"/>
                    <a:pt x="558" y="378"/>
                  </a:cubicBezTo>
                  <a:cubicBezTo>
                    <a:pt x="558" y="377"/>
                    <a:pt x="557" y="376"/>
                    <a:pt x="556" y="374"/>
                  </a:cubicBezTo>
                  <a:cubicBezTo>
                    <a:pt x="554" y="372"/>
                    <a:pt x="552" y="370"/>
                    <a:pt x="553" y="367"/>
                  </a:cubicBezTo>
                  <a:cubicBezTo>
                    <a:pt x="555" y="362"/>
                    <a:pt x="556" y="359"/>
                    <a:pt x="540" y="353"/>
                  </a:cubicBezTo>
                  <a:cubicBezTo>
                    <a:pt x="527" y="347"/>
                    <a:pt x="525" y="344"/>
                    <a:pt x="520" y="333"/>
                  </a:cubicBezTo>
                  <a:cubicBezTo>
                    <a:pt x="518" y="330"/>
                    <a:pt x="516" y="326"/>
                    <a:pt x="514" y="322"/>
                  </a:cubicBezTo>
                  <a:cubicBezTo>
                    <a:pt x="508" y="311"/>
                    <a:pt x="499" y="304"/>
                    <a:pt x="492" y="298"/>
                  </a:cubicBezTo>
                  <a:cubicBezTo>
                    <a:pt x="486" y="293"/>
                    <a:pt x="482" y="289"/>
                    <a:pt x="482" y="286"/>
                  </a:cubicBezTo>
                  <a:cubicBezTo>
                    <a:pt x="482" y="283"/>
                    <a:pt x="477" y="281"/>
                    <a:pt x="473" y="281"/>
                  </a:cubicBezTo>
                  <a:cubicBezTo>
                    <a:pt x="468" y="281"/>
                    <a:pt x="463" y="283"/>
                    <a:pt x="463" y="285"/>
                  </a:cubicBezTo>
                  <a:cubicBezTo>
                    <a:pt x="463" y="289"/>
                    <a:pt x="459" y="291"/>
                    <a:pt x="454" y="293"/>
                  </a:cubicBezTo>
                  <a:cubicBezTo>
                    <a:pt x="453" y="294"/>
                    <a:pt x="451" y="295"/>
                    <a:pt x="450" y="296"/>
                  </a:cubicBezTo>
                  <a:cubicBezTo>
                    <a:pt x="449" y="296"/>
                    <a:pt x="448" y="297"/>
                    <a:pt x="447" y="297"/>
                  </a:cubicBezTo>
                  <a:cubicBezTo>
                    <a:pt x="444" y="297"/>
                    <a:pt x="442" y="294"/>
                    <a:pt x="440" y="291"/>
                  </a:cubicBezTo>
                  <a:cubicBezTo>
                    <a:pt x="439" y="290"/>
                    <a:pt x="439" y="289"/>
                    <a:pt x="438" y="288"/>
                  </a:cubicBezTo>
                  <a:cubicBezTo>
                    <a:pt x="436" y="286"/>
                    <a:pt x="433" y="283"/>
                    <a:pt x="430" y="281"/>
                  </a:cubicBezTo>
                  <a:cubicBezTo>
                    <a:pt x="427" y="278"/>
                    <a:pt x="423" y="276"/>
                    <a:pt x="423" y="273"/>
                  </a:cubicBezTo>
                  <a:cubicBezTo>
                    <a:pt x="423" y="271"/>
                    <a:pt x="422" y="266"/>
                    <a:pt x="417" y="266"/>
                  </a:cubicBezTo>
                  <a:cubicBezTo>
                    <a:pt x="416" y="266"/>
                    <a:pt x="415" y="266"/>
                    <a:pt x="414" y="266"/>
                  </a:cubicBezTo>
                  <a:cubicBezTo>
                    <a:pt x="411" y="268"/>
                    <a:pt x="408" y="268"/>
                    <a:pt x="407" y="268"/>
                  </a:cubicBezTo>
                  <a:cubicBezTo>
                    <a:pt x="406" y="268"/>
                    <a:pt x="405" y="268"/>
                    <a:pt x="405" y="268"/>
                  </a:cubicBezTo>
                  <a:cubicBezTo>
                    <a:pt x="404" y="268"/>
                    <a:pt x="404" y="268"/>
                    <a:pt x="403" y="268"/>
                  </a:cubicBezTo>
                  <a:cubicBezTo>
                    <a:pt x="402" y="268"/>
                    <a:pt x="401" y="268"/>
                    <a:pt x="401" y="269"/>
                  </a:cubicBezTo>
                  <a:cubicBezTo>
                    <a:pt x="400" y="270"/>
                    <a:pt x="400" y="270"/>
                    <a:pt x="399" y="270"/>
                  </a:cubicBezTo>
                  <a:cubicBezTo>
                    <a:pt x="396" y="270"/>
                    <a:pt x="393" y="268"/>
                    <a:pt x="393" y="267"/>
                  </a:cubicBezTo>
                  <a:cubicBezTo>
                    <a:pt x="392" y="267"/>
                    <a:pt x="392" y="267"/>
                    <a:pt x="392" y="267"/>
                  </a:cubicBezTo>
                  <a:cubicBezTo>
                    <a:pt x="392" y="45"/>
                    <a:pt x="392" y="45"/>
                    <a:pt x="392" y="45"/>
                  </a:cubicBezTo>
                  <a:cubicBezTo>
                    <a:pt x="390" y="44"/>
                    <a:pt x="388" y="44"/>
                    <a:pt x="386" y="43"/>
                  </a:cubicBezTo>
                  <a:cubicBezTo>
                    <a:pt x="384" y="43"/>
                    <a:pt x="383" y="42"/>
                    <a:pt x="381" y="41"/>
                  </a:cubicBezTo>
                  <a:cubicBezTo>
                    <a:pt x="374" y="38"/>
                    <a:pt x="364" y="35"/>
                    <a:pt x="358" y="35"/>
                  </a:cubicBezTo>
                  <a:cubicBezTo>
                    <a:pt x="357" y="35"/>
                    <a:pt x="356" y="35"/>
                    <a:pt x="356" y="35"/>
                  </a:cubicBezTo>
                  <a:cubicBezTo>
                    <a:pt x="350" y="36"/>
                    <a:pt x="343" y="37"/>
                    <a:pt x="336" y="37"/>
                  </a:cubicBezTo>
                  <a:cubicBezTo>
                    <a:pt x="332" y="37"/>
                    <a:pt x="330" y="37"/>
                    <a:pt x="328" y="36"/>
                  </a:cubicBezTo>
                  <a:cubicBezTo>
                    <a:pt x="325" y="34"/>
                    <a:pt x="320" y="32"/>
                    <a:pt x="312" y="32"/>
                  </a:cubicBezTo>
                  <a:cubicBezTo>
                    <a:pt x="310" y="32"/>
                    <a:pt x="308" y="32"/>
                    <a:pt x="305" y="33"/>
                  </a:cubicBezTo>
                  <a:cubicBezTo>
                    <a:pt x="304" y="33"/>
                    <a:pt x="303" y="33"/>
                    <a:pt x="302" y="33"/>
                  </a:cubicBezTo>
                  <a:cubicBezTo>
                    <a:pt x="297" y="33"/>
                    <a:pt x="293" y="31"/>
                    <a:pt x="288" y="29"/>
                  </a:cubicBezTo>
                  <a:cubicBezTo>
                    <a:pt x="284" y="27"/>
                    <a:pt x="279" y="25"/>
                    <a:pt x="274" y="23"/>
                  </a:cubicBezTo>
                  <a:cubicBezTo>
                    <a:pt x="271" y="23"/>
                    <a:pt x="267" y="22"/>
                    <a:pt x="263" y="22"/>
                  </a:cubicBezTo>
                  <a:cubicBezTo>
                    <a:pt x="252" y="22"/>
                    <a:pt x="241" y="25"/>
                    <a:pt x="237" y="26"/>
                  </a:cubicBezTo>
                  <a:cubicBezTo>
                    <a:pt x="236" y="26"/>
                    <a:pt x="236" y="26"/>
                    <a:pt x="236" y="26"/>
                  </a:cubicBezTo>
                  <a:cubicBezTo>
                    <a:pt x="234" y="26"/>
                    <a:pt x="233" y="25"/>
                    <a:pt x="233" y="24"/>
                  </a:cubicBezTo>
                  <a:cubicBezTo>
                    <a:pt x="232" y="23"/>
                    <a:pt x="230" y="22"/>
                    <a:pt x="228" y="22"/>
                  </a:cubicBezTo>
                  <a:cubicBezTo>
                    <a:pt x="226" y="22"/>
                    <a:pt x="225" y="22"/>
                    <a:pt x="225" y="21"/>
                  </a:cubicBezTo>
                  <a:cubicBezTo>
                    <a:pt x="224" y="21"/>
                    <a:pt x="224" y="20"/>
                    <a:pt x="224" y="19"/>
                  </a:cubicBezTo>
                  <a:cubicBezTo>
                    <a:pt x="224" y="18"/>
                    <a:pt x="224" y="16"/>
                    <a:pt x="223" y="14"/>
                  </a:cubicBezTo>
                  <a:cubicBezTo>
                    <a:pt x="222" y="13"/>
                    <a:pt x="220" y="12"/>
                    <a:pt x="216" y="12"/>
                  </a:cubicBezTo>
                  <a:cubicBezTo>
                    <a:pt x="212" y="12"/>
                    <a:pt x="207" y="13"/>
                    <a:pt x="203" y="14"/>
                  </a:cubicBezTo>
                  <a:cubicBezTo>
                    <a:pt x="201" y="14"/>
                    <a:pt x="199" y="15"/>
                    <a:pt x="198" y="15"/>
                  </a:cubicBezTo>
                  <a:cubicBezTo>
                    <a:pt x="197" y="15"/>
                    <a:pt x="197" y="15"/>
                    <a:pt x="197" y="15"/>
                  </a:cubicBezTo>
                  <a:cubicBezTo>
                    <a:pt x="195" y="15"/>
                    <a:pt x="193" y="14"/>
                    <a:pt x="192" y="13"/>
                  </a:cubicBezTo>
                  <a:cubicBezTo>
                    <a:pt x="191" y="12"/>
                    <a:pt x="190" y="10"/>
                    <a:pt x="190" y="8"/>
                  </a:cubicBezTo>
                  <a:cubicBezTo>
                    <a:pt x="191" y="8"/>
                    <a:pt x="190" y="8"/>
                    <a:pt x="190" y="8"/>
                  </a:cubicBezTo>
                  <a:cubicBezTo>
                    <a:pt x="190" y="7"/>
                    <a:pt x="190" y="7"/>
                    <a:pt x="189" y="7"/>
                  </a:cubicBezTo>
                  <a:cubicBezTo>
                    <a:pt x="188" y="7"/>
                    <a:pt x="185" y="8"/>
                    <a:pt x="184" y="11"/>
                  </a:cubicBezTo>
                  <a:cubicBezTo>
                    <a:pt x="183" y="13"/>
                    <a:pt x="180" y="14"/>
                    <a:pt x="177" y="14"/>
                  </a:cubicBezTo>
                  <a:cubicBezTo>
                    <a:pt x="175" y="14"/>
                    <a:pt x="173" y="14"/>
                    <a:pt x="172" y="13"/>
                  </a:cubicBezTo>
                  <a:cubicBezTo>
                    <a:pt x="171" y="12"/>
                    <a:pt x="171" y="12"/>
                    <a:pt x="171" y="11"/>
                  </a:cubicBezTo>
                  <a:cubicBezTo>
                    <a:pt x="171" y="10"/>
                    <a:pt x="173" y="9"/>
                    <a:pt x="174" y="9"/>
                  </a:cubicBezTo>
                  <a:cubicBezTo>
                    <a:pt x="176" y="8"/>
                    <a:pt x="177" y="7"/>
                    <a:pt x="178" y="6"/>
                  </a:cubicBezTo>
                  <a:cubicBezTo>
                    <a:pt x="178" y="4"/>
                    <a:pt x="172" y="2"/>
                    <a:pt x="168" y="1"/>
                  </a:cubicBezTo>
                  <a:cubicBezTo>
                    <a:pt x="168" y="1"/>
                    <a:pt x="167" y="1"/>
                    <a:pt x="166" y="1"/>
                  </a:cubicBezTo>
                  <a:cubicBezTo>
                    <a:pt x="163" y="0"/>
                    <a:pt x="158" y="5"/>
                    <a:pt x="152" y="10"/>
                  </a:cubicBezTo>
                  <a:cubicBezTo>
                    <a:pt x="148" y="14"/>
                    <a:pt x="142" y="16"/>
                    <a:pt x="135" y="16"/>
                  </a:cubicBezTo>
                  <a:cubicBezTo>
                    <a:pt x="132" y="16"/>
                    <a:pt x="130" y="15"/>
                    <a:pt x="128" y="15"/>
                  </a:cubicBezTo>
                  <a:cubicBezTo>
                    <a:pt x="127" y="15"/>
                    <a:pt x="126" y="15"/>
                    <a:pt x="125" y="15"/>
                  </a:cubicBezTo>
                  <a:cubicBezTo>
                    <a:pt x="121" y="15"/>
                    <a:pt x="117" y="16"/>
                    <a:pt x="116" y="17"/>
                  </a:cubicBezTo>
                  <a:cubicBezTo>
                    <a:pt x="115" y="18"/>
                    <a:pt x="115" y="18"/>
                    <a:pt x="115" y="19"/>
                  </a:cubicBezTo>
                  <a:cubicBezTo>
                    <a:pt x="115" y="20"/>
                    <a:pt x="117" y="21"/>
                    <a:pt x="118" y="21"/>
                  </a:cubicBezTo>
                  <a:cubicBezTo>
                    <a:pt x="119" y="22"/>
                    <a:pt x="120" y="23"/>
                    <a:pt x="120" y="24"/>
                  </a:cubicBezTo>
                  <a:cubicBezTo>
                    <a:pt x="120" y="25"/>
                    <a:pt x="120" y="26"/>
                    <a:pt x="118" y="27"/>
                  </a:cubicBezTo>
                  <a:cubicBezTo>
                    <a:pt x="118" y="28"/>
                    <a:pt x="117" y="28"/>
                    <a:pt x="116" y="28"/>
                  </a:cubicBezTo>
                  <a:cubicBezTo>
                    <a:pt x="115" y="28"/>
                    <a:pt x="113" y="27"/>
                    <a:pt x="112" y="26"/>
                  </a:cubicBezTo>
                  <a:cubicBezTo>
                    <a:pt x="112" y="25"/>
                    <a:pt x="111" y="24"/>
                    <a:pt x="110" y="24"/>
                  </a:cubicBezTo>
                  <a:cubicBezTo>
                    <a:pt x="109" y="24"/>
                    <a:pt x="108" y="25"/>
                    <a:pt x="108" y="26"/>
                  </a:cubicBezTo>
                  <a:cubicBezTo>
                    <a:pt x="104" y="30"/>
                    <a:pt x="95" y="30"/>
                    <a:pt x="91" y="30"/>
                  </a:cubicBezTo>
                  <a:cubicBezTo>
                    <a:pt x="89" y="30"/>
                    <a:pt x="87" y="30"/>
                    <a:pt x="86" y="30"/>
                  </a:cubicBezTo>
                  <a:cubicBezTo>
                    <a:pt x="86" y="30"/>
                    <a:pt x="86" y="30"/>
                    <a:pt x="86" y="30"/>
                  </a:cubicBezTo>
                  <a:cubicBezTo>
                    <a:pt x="83" y="30"/>
                    <a:pt x="75" y="38"/>
                    <a:pt x="71" y="42"/>
                  </a:cubicBezTo>
                  <a:cubicBezTo>
                    <a:pt x="70" y="43"/>
                    <a:pt x="70" y="43"/>
                    <a:pt x="69" y="44"/>
                  </a:cubicBezTo>
                  <a:cubicBezTo>
                    <a:pt x="68" y="45"/>
                    <a:pt x="68" y="46"/>
                    <a:pt x="68" y="47"/>
                  </a:cubicBezTo>
                  <a:cubicBezTo>
                    <a:pt x="69" y="50"/>
                    <a:pt x="69" y="53"/>
                    <a:pt x="63" y="59"/>
                  </a:cubicBezTo>
                  <a:cubicBezTo>
                    <a:pt x="58" y="64"/>
                    <a:pt x="49" y="67"/>
                    <a:pt x="34" y="67"/>
                  </a:cubicBezTo>
                  <a:cubicBezTo>
                    <a:pt x="32" y="67"/>
                    <a:pt x="30" y="67"/>
                    <a:pt x="28" y="67"/>
                  </a:cubicBezTo>
                  <a:cubicBezTo>
                    <a:pt x="27" y="67"/>
                    <a:pt x="27" y="67"/>
                    <a:pt x="26" y="67"/>
                  </a:cubicBezTo>
                  <a:cubicBezTo>
                    <a:pt x="25" y="67"/>
                    <a:pt x="25" y="67"/>
                    <a:pt x="24" y="67"/>
                  </a:cubicBezTo>
                  <a:cubicBezTo>
                    <a:pt x="24" y="68"/>
                    <a:pt x="24" y="69"/>
                    <a:pt x="24" y="70"/>
                  </a:cubicBezTo>
                  <a:cubicBezTo>
                    <a:pt x="24" y="72"/>
                    <a:pt x="24" y="74"/>
                    <a:pt x="23" y="76"/>
                  </a:cubicBezTo>
                  <a:cubicBezTo>
                    <a:pt x="22" y="76"/>
                    <a:pt x="22" y="77"/>
                    <a:pt x="22" y="78"/>
                  </a:cubicBezTo>
                  <a:cubicBezTo>
                    <a:pt x="23" y="80"/>
                    <a:pt x="28" y="82"/>
                    <a:pt x="39" y="85"/>
                  </a:cubicBezTo>
                  <a:cubicBezTo>
                    <a:pt x="52" y="89"/>
                    <a:pt x="61" y="106"/>
                    <a:pt x="63" y="111"/>
                  </a:cubicBezTo>
                  <a:cubicBezTo>
                    <a:pt x="63" y="112"/>
                    <a:pt x="65" y="112"/>
                    <a:pt x="68" y="112"/>
                  </a:cubicBezTo>
                  <a:cubicBezTo>
                    <a:pt x="70" y="112"/>
                    <a:pt x="73" y="112"/>
                    <a:pt x="76" y="111"/>
                  </a:cubicBezTo>
                  <a:cubicBezTo>
                    <a:pt x="79" y="111"/>
                    <a:pt x="82" y="111"/>
                    <a:pt x="85" y="111"/>
                  </a:cubicBezTo>
                  <a:cubicBezTo>
                    <a:pt x="85" y="111"/>
                    <a:pt x="86" y="111"/>
                    <a:pt x="87" y="111"/>
                  </a:cubicBezTo>
                  <a:cubicBezTo>
                    <a:pt x="91" y="111"/>
                    <a:pt x="90" y="115"/>
                    <a:pt x="90" y="117"/>
                  </a:cubicBezTo>
                  <a:cubicBezTo>
                    <a:pt x="90" y="120"/>
                    <a:pt x="89" y="122"/>
                    <a:pt x="92" y="124"/>
                  </a:cubicBezTo>
                  <a:cubicBezTo>
                    <a:pt x="94" y="124"/>
                    <a:pt x="96" y="124"/>
                    <a:pt x="97" y="124"/>
                  </a:cubicBezTo>
                  <a:cubicBezTo>
                    <a:pt x="98" y="124"/>
                    <a:pt x="99" y="124"/>
                    <a:pt x="100" y="124"/>
                  </a:cubicBezTo>
                  <a:cubicBezTo>
                    <a:pt x="100" y="124"/>
                    <a:pt x="101" y="124"/>
                    <a:pt x="102" y="124"/>
                  </a:cubicBezTo>
                  <a:cubicBezTo>
                    <a:pt x="104" y="124"/>
                    <a:pt x="107" y="125"/>
                    <a:pt x="108" y="127"/>
                  </a:cubicBezTo>
                  <a:cubicBezTo>
                    <a:pt x="108" y="128"/>
                    <a:pt x="108" y="128"/>
                    <a:pt x="107" y="129"/>
                  </a:cubicBezTo>
                  <a:cubicBezTo>
                    <a:pt x="107" y="130"/>
                    <a:pt x="105" y="130"/>
                    <a:pt x="102" y="130"/>
                  </a:cubicBezTo>
                  <a:cubicBezTo>
                    <a:pt x="98" y="130"/>
                    <a:pt x="93" y="130"/>
                    <a:pt x="90" y="132"/>
                  </a:cubicBezTo>
                  <a:cubicBezTo>
                    <a:pt x="86" y="136"/>
                    <a:pt x="83" y="138"/>
                    <a:pt x="80" y="138"/>
                  </a:cubicBezTo>
                  <a:cubicBezTo>
                    <a:pt x="79" y="138"/>
                    <a:pt x="78" y="137"/>
                    <a:pt x="77" y="136"/>
                  </a:cubicBezTo>
                  <a:cubicBezTo>
                    <a:pt x="76" y="135"/>
                    <a:pt x="74" y="134"/>
                    <a:pt x="71" y="134"/>
                  </a:cubicBezTo>
                  <a:cubicBezTo>
                    <a:pt x="68" y="134"/>
                    <a:pt x="65" y="135"/>
                    <a:pt x="62" y="135"/>
                  </a:cubicBezTo>
                  <a:cubicBezTo>
                    <a:pt x="61" y="135"/>
                    <a:pt x="60" y="135"/>
                    <a:pt x="59" y="135"/>
                  </a:cubicBezTo>
                  <a:cubicBezTo>
                    <a:pt x="57" y="136"/>
                    <a:pt x="57" y="135"/>
                    <a:pt x="56" y="135"/>
                  </a:cubicBezTo>
                  <a:cubicBezTo>
                    <a:pt x="55" y="133"/>
                    <a:pt x="56" y="131"/>
                    <a:pt x="57" y="128"/>
                  </a:cubicBezTo>
                  <a:cubicBezTo>
                    <a:pt x="58" y="127"/>
                    <a:pt x="58" y="126"/>
                    <a:pt x="58" y="125"/>
                  </a:cubicBezTo>
                  <a:cubicBezTo>
                    <a:pt x="58" y="124"/>
                    <a:pt x="58" y="124"/>
                    <a:pt x="58" y="124"/>
                  </a:cubicBezTo>
                  <a:cubicBezTo>
                    <a:pt x="57" y="123"/>
                    <a:pt x="55" y="122"/>
                    <a:pt x="53" y="122"/>
                  </a:cubicBezTo>
                  <a:cubicBezTo>
                    <a:pt x="49" y="122"/>
                    <a:pt x="45" y="124"/>
                    <a:pt x="41" y="126"/>
                  </a:cubicBezTo>
                  <a:cubicBezTo>
                    <a:pt x="41" y="126"/>
                    <a:pt x="41" y="126"/>
                    <a:pt x="41" y="126"/>
                  </a:cubicBezTo>
                  <a:cubicBezTo>
                    <a:pt x="33" y="130"/>
                    <a:pt x="33" y="130"/>
                    <a:pt x="33" y="132"/>
                  </a:cubicBezTo>
                  <a:cubicBezTo>
                    <a:pt x="33" y="132"/>
                    <a:pt x="33" y="133"/>
                    <a:pt x="33" y="134"/>
                  </a:cubicBezTo>
                  <a:cubicBezTo>
                    <a:pt x="33" y="136"/>
                    <a:pt x="32" y="136"/>
                    <a:pt x="31" y="136"/>
                  </a:cubicBezTo>
                  <a:cubicBezTo>
                    <a:pt x="30" y="136"/>
                    <a:pt x="29" y="136"/>
                    <a:pt x="29" y="136"/>
                  </a:cubicBezTo>
                  <a:cubicBezTo>
                    <a:pt x="27" y="135"/>
                    <a:pt x="26" y="135"/>
                    <a:pt x="24" y="135"/>
                  </a:cubicBezTo>
                  <a:cubicBezTo>
                    <a:pt x="23" y="135"/>
                    <a:pt x="22" y="135"/>
                    <a:pt x="20" y="136"/>
                  </a:cubicBezTo>
                  <a:cubicBezTo>
                    <a:pt x="18" y="138"/>
                    <a:pt x="15" y="139"/>
                    <a:pt x="12" y="140"/>
                  </a:cubicBezTo>
                  <a:cubicBezTo>
                    <a:pt x="7" y="143"/>
                    <a:pt x="2" y="145"/>
                    <a:pt x="1" y="147"/>
                  </a:cubicBezTo>
                  <a:cubicBezTo>
                    <a:pt x="1" y="148"/>
                    <a:pt x="1" y="148"/>
                    <a:pt x="1" y="148"/>
                  </a:cubicBezTo>
                  <a:cubicBezTo>
                    <a:pt x="2" y="151"/>
                    <a:pt x="14" y="153"/>
                    <a:pt x="20" y="155"/>
                  </a:cubicBezTo>
                  <a:cubicBezTo>
                    <a:pt x="21" y="155"/>
                    <a:pt x="21" y="155"/>
                    <a:pt x="21" y="155"/>
                  </a:cubicBezTo>
                  <a:cubicBezTo>
                    <a:pt x="22" y="155"/>
                    <a:pt x="23" y="155"/>
                    <a:pt x="23" y="156"/>
                  </a:cubicBezTo>
                  <a:cubicBezTo>
                    <a:pt x="24" y="157"/>
                    <a:pt x="22" y="158"/>
                    <a:pt x="21" y="159"/>
                  </a:cubicBezTo>
                  <a:cubicBezTo>
                    <a:pt x="20" y="160"/>
                    <a:pt x="18" y="161"/>
                    <a:pt x="18" y="161"/>
                  </a:cubicBezTo>
                  <a:cubicBezTo>
                    <a:pt x="18" y="162"/>
                    <a:pt x="18" y="162"/>
                    <a:pt x="19" y="162"/>
                  </a:cubicBezTo>
                  <a:cubicBezTo>
                    <a:pt x="21" y="163"/>
                    <a:pt x="22" y="164"/>
                    <a:pt x="23" y="166"/>
                  </a:cubicBezTo>
                  <a:cubicBezTo>
                    <a:pt x="24" y="168"/>
                    <a:pt x="26" y="170"/>
                    <a:pt x="30" y="173"/>
                  </a:cubicBezTo>
                  <a:cubicBezTo>
                    <a:pt x="32" y="174"/>
                    <a:pt x="36" y="174"/>
                    <a:pt x="40" y="174"/>
                  </a:cubicBezTo>
                  <a:cubicBezTo>
                    <a:pt x="45" y="174"/>
                    <a:pt x="50" y="174"/>
                    <a:pt x="55" y="173"/>
                  </a:cubicBezTo>
                  <a:cubicBezTo>
                    <a:pt x="57" y="173"/>
                    <a:pt x="59" y="173"/>
                    <a:pt x="61" y="173"/>
                  </a:cubicBezTo>
                  <a:cubicBezTo>
                    <a:pt x="63" y="173"/>
                    <a:pt x="64" y="173"/>
                    <a:pt x="66" y="174"/>
                  </a:cubicBezTo>
                  <a:cubicBezTo>
                    <a:pt x="68" y="175"/>
                    <a:pt x="69" y="176"/>
                    <a:pt x="71" y="176"/>
                  </a:cubicBezTo>
                  <a:cubicBezTo>
                    <a:pt x="72" y="176"/>
                    <a:pt x="73" y="175"/>
                    <a:pt x="74" y="174"/>
                  </a:cubicBezTo>
                  <a:cubicBezTo>
                    <a:pt x="77" y="171"/>
                    <a:pt x="86" y="163"/>
                    <a:pt x="94" y="163"/>
                  </a:cubicBezTo>
                  <a:cubicBezTo>
                    <a:pt x="96" y="163"/>
                    <a:pt x="98" y="164"/>
                    <a:pt x="100" y="165"/>
                  </a:cubicBezTo>
                  <a:cubicBezTo>
                    <a:pt x="102" y="167"/>
                    <a:pt x="102" y="168"/>
                    <a:pt x="102" y="169"/>
                  </a:cubicBezTo>
                  <a:cubicBezTo>
                    <a:pt x="102" y="171"/>
                    <a:pt x="100" y="172"/>
                    <a:pt x="98" y="172"/>
                  </a:cubicBezTo>
                  <a:cubicBezTo>
                    <a:pt x="97" y="173"/>
                    <a:pt x="96" y="174"/>
                    <a:pt x="95" y="174"/>
                  </a:cubicBezTo>
                  <a:cubicBezTo>
                    <a:pt x="95" y="175"/>
                    <a:pt x="95" y="175"/>
                    <a:pt x="96" y="175"/>
                  </a:cubicBezTo>
                  <a:cubicBezTo>
                    <a:pt x="99" y="178"/>
                    <a:pt x="102" y="184"/>
                    <a:pt x="101" y="189"/>
                  </a:cubicBezTo>
                  <a:cubicBezTo>
                    <a:pt x="101" y="192"/>
                    <a:pt x="100" y="194"/>
                    <a:pt x="97" y="195"/>
                  </a:cubicBezTo>
                  <a:cubicBezTo>
                    <a:pt x="95" y="197"/>
                    <a:pt x="92" y="198"/>
                    <a:pt x="89" y="198"/>
                  </a:cubicBezTo>
                  <a:cubicBezTo>
                    <a:pt x="86" y="198"/>
                    <a:pt x="84" y="198"/>
                    <a:pt x="82" y="197"/>
                  </a:cubicBezTo>
                  <a:cubicBezTo>
                    <a:pt x="81" y="197"/>
                    <a:pt x="80" y="197"/>
                    <a:pt x="79" y="197"/>
                  </a:cubicBezTo>
                  <a:cubicBezTo>
                    <a:pt x="78" y="197"/>
                    <a:pt x="78" y="198"/>
                    <a:pt x="77" y="200"/>
                  </a:cubicBezTo>
                  <a:cubicBezTo>
                    <a:pt x="76" y="203"/>
                    <a:pt x="75" y="206"/>
                    <a:pt x="72" y="209"/>
                  </a:cubicBezTo>
                  <a:cubicBezTo>
                    <a:pt x="71" y="210"/>
                    <a:pt x="69" y="210"/>
                    <a:pt x="68" y="210"/>
                  </a:cubicBezTo>
                  <a:cubicBezTo>
                    <a:pt x="66" y="210"/>
                    <a:pt x="64" y="209"/>
                    <a:pt x="62" y="207"/>
                  </a:cubicBezTo>
                  <a:cubicBezTo>
                    <a:pt x="59" y="205"/>
                    <a:pt x="56" y="204"/>
                    <a:pt x="53" y="204"/>
                  </a:cubicBezTo>
                  <a:cubicBezTo>
                    <a:pt x="52" y="204"/>
                    <a:pt x="50" y="204"/>
                    <a:pt x="49" y="205"/>
                  </a:cubicBezTo>
                  <a:cubicBezTo>
                    <a:pt x="47" y="208"/>
                    <a:pt x="48" y="213"/>
                    <a:pt x="48" y="216"/>
                  </a:cubicBezTo>
                  <a:cubicBezTo>
                    <a:pt x="48" y="217"/>
                    <a:pt x="48" y="217"/>
                    <a:pt x="48" y="218"/>
                  </a:cubicBezTo>
                  <a:cubicBezTo>
                    <a:pt x="48" y="220"/>
                    <a:pt x="46" y="221"/>
                    <a:pt x="43" y="221"/>
                  </a:cubicBezTo>
                  <a:cubicBezTo>
                    <a:pt x="40" y="221"/>
                    <a:pt x="35" y="222"/>
                    <a:pt x="33" y="229"/>
                  </a:cubicBezTo>
                  <a:cubicBezTo>
                    <a:pt x="32" y="235"/>
                    <a:pt x="28" y="235"/>
                    <a:pt x="26" y="236"/>
                  </a:cubicBezTo>
                  <a:cubicBezTo>
                    <a:pt x="25" y="236"/>
                    <a:pt x="24" y="236"/>
                    <a:pt x="24" y="236"/>
                  </a:cubicBezTo>
                  <a:cubicBezTo>
                    <a:pt x="23" y="237"/>
                    <a:pt x="24" y="238"/>
                    <a:pt x="26" y="241"/>
                  </a:cubicBezTo>
                  <a:cubicBezTo>
                    <a:pt x="31" y="248"/>
                    <a:pt x="32" y="248"/>
                    <a:pt x="34" y="248"/>
                  </a:cubicBezTo>
                  <a:cubicBezTo>
                    <a:pt x="35" y="248"/>
                    <a:pt x="37" y="248"/>
                    <a:pt x="39" y="250"/>
                  </a:cubicBezTo>
                  <a:cubicBezTo>
                    <a:pt x="43" y="252"/>
                    <a:pt x="41" y="256"/>
                    <a:pt x="39" y="259"/>
                  </a:cubicBezTo>
                  <a:cubicBezTo>
                    <a:pt x="38" y="261"/>
                    <a:pt x="37" y="262"/>
                    <a:pt x="37" y="263"/>
                  </a:cubicBezTo>
                  <a:cubicBezTo>
                    <a:pt x="37" y="263"/>
                    <a:pt x="38" y="263"/>
                    <a:pt x="38" y="264"/>
                  </a:cubicBezTo>
                  <a:cubicBezTo>
                    <a:pt x="43" y="264"/>
                    <a:pt x="48" y="270"/>
                    <a:pt x="52" y="275"/>
                  </a:cubicBezTo>
                  <a:cubicBezTo>
                    <a:pt x="54" y="277"/>
                    <a:pt x="55" y="279"/>
                    <a:pt x="57" y="281"/>
                  </a:cubicBezTo>
                  <a:cubicBezTo>
                    <a:pt x="58" y="282"/>
                    <a:pt x="59" y="282"/>
                    <a:pt x="60" y="282"/>
                  </a:cubicBezTo>
                  <a:cubicBezTo>
                    <a:pt x="62" y="282"/>
                    <a:pt x="64" y="281"/>
                    <a:pt x="66" y="280"/>
                  </a:cubicBezTo>
                  <a:cubicBezTo>
                    <a:pt x="68" y="279"/>
                    <a:pt x="71" y="278"/>
                    <a:pt x="74" y="278"/>
                  </a:cubicBezTo>
                  <a:cubicBezTo>
                    <a:pt x="77" y="278"/>
                    <a:pt x="77" y="275"/>
                    <a:pt x="78" y="273"/>
                  </a:cubicBezTo>
                  <a:cubicBezTo>
                    <a:pt x="78" y="272"/>
                    <a:pt x="79" y="271"/>
                    <a:pt x="80" y="271"/>
                  </a:cubicBezTo>
                  <a:cubicBezTo>
                    <a:pt x="80" y="271"/>
                    <a:pt x="81" y="271"/>
                    <a:pt x="81" y="272"/>
                  </a:cubicBezTo>
                  <a:cubicBezTo>
                    <a:pt x="84" y="275"/>
                    <a:pt x="89" y="282"/>
                    <a:pt x="88" y="286"/>
                  </a:cubicBezTo>
                  <a:cubicBezTo>
                    <a:pt x="88" y="288"/>
                    <a:pt x="88" y="289"/>
                    <a:pt x="87" y="289"/>
                  </a:cubicBezTo>
                  <a:cubicBezTo>
                    <a:pt x="85" y="291"/>
                    <a:pt x="85" y="295"/>
                    <a:pt x="86" y="298"/>
                  </a:cubicBezTo>
                  <a:cubicBezTo>
                    <a:pt x="86" y="300"/>
                    <a:pt x="86" y="302"/>
                    <a:pt x="86" y="303"/>
                  </a:cubicBezTo>
                  <a:cubicBezTo>
                    <a:pt x="86" y="304"/>
                    <a:pt x="86" y="304"/>
                    <a:pt x="86" y="304"/>
                  </a:cubicBezTo>
                  <a:cubicBezTo>
                    <a:pt x="87" y="305"/>
                    <a:pt x="88" y="305"/>
                    <a:pt x="91" y="305"/>
                  </a:cubicBezTo>
                  <a:cubicBezTo>
                    <a:pt x="95" y="305"/>
                    <a:pt x="100" y="304"/>
                    <a:pt x="101" y="301"/>
                  </a:cubicBezTo>
                  <a:cubicBezTo>
                    <a:pt x="101" y="299"/>
                    <a:pt x="105" y="297"/>
                    <a:pt x="109" y="297"/>
                  </a:cubicBezTo>
                  <a:cubicBezTo>
                    <a:pt x="114" y="297"/>
                    <a:pt x="119" y="299"/>
                    <a:pt x="122" y="303"/>
                  </a:cubicBezTo>
                  <a:cubicBezTo>
                    <a:pt x="125" y="306"/>
                    <a:pt x="128" y="309"/>
                    <a:pt x="129" y="309"/>
                  </a:cubicBezTo>
                  <a:cubicBezTo>
                    <a:pt x="130" y="309"/>
                    <a:pt x="130" y="307"/>
                    <a:pt x="130" y="306"/>
                  </a:cubicBezTo>
                  <a:cubicBezTo>
                    <a:pt x="130" y="301"/>
                    <a:pt x="133" y="296"/>
                    <a:pt x="135" y="296"/>
                  </a:cubicBezTo>
                  <a:cubicBezTo>
                    <a:pt x="136" y="296"/>
                    <a:pt x="137" y="297"/>
                    <a:pt x="137" y="298"/>
                  </a:cubicBezTo>
                  <a:cubicBezTo>
                    <a:pt x="137" y="302"/>
                    <a:pt x="140" y="302"/>
                    <a:pt x="142" y="302"/>
                  </a:cubicBezTo>
                  <a:cubicBezTo>
                    <a:pt x="145" y="302"/>
                    <a:pt x="148" y="301"/>
                    <a:pt x="152" y="300"/>
                  </a:cubicBezTo>
                  <a:cubicBezTo>
                    <a:pt x="155" y="298"/>
                    <a:pt x="157" y="298"/>
                    <a:pt x="157" y="298"/>
                  </a:cubicBezTo>
                  <a:cubicBezTo>
                    <a:pt x="158" y="298"/>
                    <a:pt x="158" y="298"/>
                    <a:pt x="159" y="298"/>
                  </a:cubicBezTo>
                  <a:cubicBezTo>
                    <a:pt x="159" y="300"/>
                    <a:pt x="158" y="302"/>
                    <a:pt x="154" y="306"/>
                  </a:cubicBezTo>
                  <a:cubicBezTo>
                    <a:pt x="153" y="307"/>
                    <a:pt x="153" y="307"/>
                    <a:pt x="153" y="307"/>
                  </a:cubicBezTo>
                  <a:cubicBezTo>
                    <a:pt x="149" y="312"/>
                    <a:pt x="150" y="318"/>
                    <a:pt x="150" y="323"/>
                  </a:cubicBezTo>
                  <a:cubicBezTo>
                    <a:pt x="150" y="327"/>
                    <a:pt x="150" y="330"/>
                    <a:pt x="148" y="331"/>
                  </a:cubicBezTo>
                  <a:cubicBezTo>
                    <a:pt x="146" y="331"/>
                    <a:pt x="144" y="334"/>
                    <a:pt x="141" y="337"/>
                  </a:cubicBezTo>
                  <a:cubicBezTo>
                    <a:pt x="138" y="341"/>
                    <a:pt x="135" y="346"/>
                    <a:pt x="130" y="346"/>
                  </a:cubicBezTo>
                  <a:cubicBezTo>
                    <a:pt x="122" y="347"/>
                    <a:pt x="108" y="362"/>
                    <a:pt x="106" y="365"/>
                  </a:cubicBezTo>
                  <a:cubicBezTo>
                    <a:pt x="105" y="366"/>
                    <a:pt x="104" y="366"/>
                    <a:pt x="103" y="366"/>
                  </a:cubicBezTo>
                  <a:cubicBezTo>
                    <a:pt x="102" y="366"/>
                    <a:pt x="100" y="366"/>
                    <a:pt x="98" y="365"/>
                  </a:cubicBezTo>
                  <a:cubicBezTo>
                    <a:pt x="95" y="365"/>
                    <a:pt x="92" y="364"/>
                    <a:pt x="89" y="364"/>
                  </a:cubicBezTo>
                  <a:cubicBezTo>
                    <a:pt x="86" y="364"/>
                    <a:pt x="84" y="365"/>
                    <a:pt x="83" y="367"/>
                  </a:cubicBezTo>
                  <a:cubicBezTo>
                    <a:pt x="82" y="371"/>
                    <a:pt x="79" y="374"/>
                    <a:pt x="76" y="377"/>
                  </a:cubicBezTo>
                  <a:cubicBezTo>
                    <a:pt x="74" y="379"/>
                    <a:pt x="72" y="381"/>
                    <a:pt x="72" y="382"/>
                  </a:cubicBezTo>
                  <a:cubicBezTo>
                    <a:pt x="72" y="382"/>
                    <a:pt x="72" y="382"/>
                    <a:pt x="72" y="383"/>
                  </a:cubicBezTo>
                  <a:cubicBezTo>
                    <a:pt x="73" y="383"/>
                    <a:pt x="73" y="383"/>
                    <a:pt x="73" y="383"/>
                  </a:cubicBezTo>
                  <a:cubicBezTo>
                    <a:pt x="77" y="383"/>
                    <a:pt x="88" y="377"/>
                    <a:pt x="89" y="374"/>
                  </a:cubicBezTo>
                  <a:cubicBezTo>
                    <a:pt x="89" y="372"/>
                    <a:pt x="90" y="370"/>
                    <a:pt x="91" y="370"/>
                  </a:cubicBezTo>
                  <a:cubicBezTo>
                    <a:pt x="92" y="370"/>
                    <a:pt x="93" y="371"/>
                    <a:pt x="95" y="373"/>
                  </a:cubicBezTo>
                  <a:cubicBezTo>
                    <a:pt x="95" y="374"/>
                    <a:pt x="96" y="374"/>
                    <a:pt x="97" y="374"/>
                  </a:cubicBezTo>
                  <a:cubicBezTo>
                    <a:pt x="100" y="374"/>
                    <a:pt x="104" y="371"/>
                    <a:pt x="106" y="369"/>
                  </a:cubicBezTo>
                  <a:cubicBezTo>
                    <a:pt x="108" y="368"/>
                    <a:pt x="109" y="367"/>
                    <a:pt x="112" y="367"/>
                  </a:cubicBezTo>
                  <a:cubicBezTo>
                    <a:pt x="114" y="367"/>
                    <a:pt x="115" y="367"/>
                    <a:pt x="116" y="368"/>
                  </a:cubicBezTo>
                  <a:cubicBezTo>
                    <a:pt x="117" y="368"/>
                    <a:pt x="117" y="368"/>
                    <a:pt x="117" y="368"/>
                  </a:cubicBezTo>
                  <a:cubicBezTo>
                    <a:pt x="118" y="368"/>
                    <a:pt x="119" y="367"/>
                    <a:pt x="120" y="366"/>
                  </a:cubicBezTo>
                  <a:cubicBezTo>
                    <a:pt x="122" y="365"/>
                    <a:pt x="125" y="363"/>
                    <a:pt x="130" y="363"/>
                  </a:cubicBezTo>
                  <a:cubicBezTo>
                    <a:pt x="136" y="361"/>
                    <a:pt x="137" y="360"/>
                    <a:pt x="137" y="357"/>
                  </a:cubicBezTo>
                  <a:cubicBezTo>
                    <a:pt x="138" y="356"/>
                    <a:pt x="138" y="355"/>
                    <a:pt x="138" y="354"/>
                  </a:cubicBezTo>
                  <a:cubicBezTo>
                    <a:pt x="140" y="349"/>
                    <a:pt x="161" y="340"/>
                    <a:pt x="165" y="339"/>
                  </a:cubicBezTo>
                  <a:cubicBezTo>
                    <a:pt x="167" y="338"/>
                    <a:pt x="167" y="337"/>
                    <a:pt x="167" y="335"/>
                  </a:cubicBezTo>
                  <a:cubicBezTo>
                    <a:pt x="168" y="333"/>
                    <a:pt x="168" y="331"/>
                    <a:pt x="171" y="331"/>
                  </a:cubicBezTo>
                  <a:cubicBezTo>
                    <a:pt x="175" y="331"/>
                    <a:pt x="182" y="325"/>
                    <a:pt x="187" y="321"/>
                  </a:cubicBezTo>
                  <a:cubicBezTo>
                    <a:pt x="190" y="318"/>
                    <a:pt x="192" y="318"/>
                    <a:pt x="194" y="318"/>
                  </a:cubicBezTo>
                  <a:cubicBezTo>
                    <a:pt x="195" y="317"/>
                    <a:pt x="196" y="317"/>
                    <a:pt x="198" y="317"/>
                  </a:cubicBezTo>
                  <a:cubicBezTo>
                    <a:pt x="200" y="316"/>
                    <a:pt x="200" y="314"/>
                    <a:pt x="200" y="312"/>
                  </a:cubicBezTo>
                  <a:cubicBezTo>
                    <a:pt x="200" y="309"/>
                    <a:pt x="201" y="306"/>
                    <a:pt x="203" y="306"/>
                  </a:cubicBezTo>
                  <a:cubicBezTo>
                    <a:pt x="207" y="305"/>
                    <a:pt x="210" y="302"/>
                    <a:pt x="210" y="299"/>
                  </a:cubicBezTo>
                  <a:cubicBezTo>
                    <a:pt x="210" y="298"/>
                    <a:pt x="207" y="297"/>
                    <a:pt x="204" y="296"/>
                  </a:cubicBezTo>
                  <a:cubicBezTo>
                    <a:pt x="201" y="295"/>
                    <a:pt x="199" y="295"/>
                    <a:pt x="199" y="294"/>
                  </a:cubicBezTo>
                  <a:cubicBezTo>
                    <a:pt x="198" y="293"/>
                    <a:pt x="199" y="292"/>
                    <a:pt x="199" y="291"/>
                  </a:cubicBezTo>
                  <a:cubicBezTo>
                    <a:pt x="201" y="288"/>
                    <a:pt x="208" y="283"/>
                    <a:pt x="211" y="283"/>
                  </a:cubicBezTo>
                  <a:cubicBezTo>
                    <a:pt x="211" y="283"/>
                    <a:pt x="211" y="283"/>
                    <a:pt x="211" y="283"/>
                  </a:cubicBezTo>
                  <a:cubicBezTo>
                    <a:pt x="211" y="283"/>
                    <a:pt x="211" y="283"/>
                    <a:pt x="211" y="283"/>
                  </a:cubicBezTo>
                  <a:cubicBezTo>
                    <a:pt x="215" y="283"/>
                    <a:pt x="220" y="279"/>
                    <a:pt x="220" y="274"/>
                  </a:cubicBezTo>
                  <a:cubicBezTo>
                    <a:pt x="220" y="271"/>
                    <a:pt x="223" y="269"/>
                    <a:pt x="225" y="267"/>
                  </a:cubicBezTo>
                  <a:cubicBezTo>
                    <a:pt x="227" y="266"/>
                    <a:pt x="229" y="265"/>
                    <a:pt x="230" y="263"/>
                  </a:cubicBezTo>
                  <a:cubicBezTo>
                    <a:pt x="232" y="262"/>
                    <a:pt x="232" y="260"/>
                    <a:pt x="233" y="258"/>
                  </a:cubicBezTo>
                  <a:cubicBezTo>
                    <a:pt x="234" y="256"/>
                    <a:pt x="235" y="255"/>
                    <a:pt x="238" y="254"/>
                  </a:cubicBezTo>
                  <a:cubicBezTo>
                    <a:pt x="240" y="254"/>
                    <a:pt x="242" y="252"/>
                    <a:pt x="245" y="250"/>
                  </a:cubicBezTo>
                  <a:cubicBezTo>
                    <a:pt x="247" y="248"/>
                    <a:pt x="248" y="247"/>
                    <a:pt x="250" y="246"/>
                  </a:cubicBezTo>
                  <a:cubicBezTo>
                    <a:pt x="253" y="244"/>
                    <a:pt x="253" y="245"/>
                    <a:pt x="253" y="246"/>
                  </a:cubicBezTo>
                  <a:cubicBezTo>
                    <a:pt x="254" y="247"/>
                    <a:pt x="255" y="249"/>
                    <a:pt x="259" y="249"/>
                  </a:cubicBezTo>
                  <a:cubicBezTo>
                    <a:pt x="263" y="249"/>
                    <a:pt x="265" y="252"/>
                    <a:pt x="265" y="254"/>
                  </a:cubicBezTo>
                  <a:cubicBezTo>
                    <a:pt x="265" y="255"/>
                    <a:pt x="264" y="256"/>
                    <a:pt x="262" y="256"/>
                  </a:cubicBezTo>
                  <a:cubicBezTo>
                    <a:pt x="261" y="256"/>
                    <a:pt x="260" y="256"/>
                    <a:pt x="259" y="256"/>
                  </a:cubicBezTo>
                  <a:cubicBezTo>
                    <a:pt x="256" y="255"/>
                    <a:pt x="255" y="254"/>
                    <a:pt x="253" y="254"/>
                  </a:cubicBezTo>
                  <a:cubicBezTo>
                    <a:pt x="250" y="254"/>
                    <a:pt x="248" y="255"/>
                    <a:pt x="245" y="259"/>
                  </a:cubicBezTo>
                  <a:cubicBezTo>
                    <a:pt x="242" y="261"/>
                    <a:pt x="241" y="263"/>
                    <a:pt x="241" y="265"/>
                  </a:cubicBezTo>
                  <a:cubicBezTo>
                    <a:pt x="241" y="267"/>
                    <a:pt x="241" y="269"/>
                    <a:pt x="239" y="272"/>
                  </a:cubicBezTo>
                  <a:cubicBezTo>
                    <a:pt x="236" y="275"/>
                    <a:pt x="235" y="278"/>
                    <a:pt x="236" y="280"/>
                  </a:cubicBezTo>
                  <a:cubicBezTo>
                    <a:pt x="236" y="281"/>
                    <a:pt x="237" y="281"/>
                    <a:pt x="239" y="282"/>
                  </a:cubicBezTo>
                  <a:cubicBezTo>
                    <a:pt x="241" y="282"/>
                    <a:pt x="242" y="282"/>
                    <a:pt x="242" y="283"/>
                  </a:cubicBezTo>
                  <a:cubicBezTo>
                    <a:pt x="243" y="285"/>
                    <a:pt x="238" y="288"/>
                    <a:pt x="234" y="289"/>
                  </a:cubicBezTo>
                  <a:cubicBezTo>
                    <a:pt x="233" y="289"/>
                    <a:pt x="232" y="290"/>
                    <a:pt x="232" y="291"/>
                  </a:cubicBezTo>
                  <a:cubicBezTo>
                    <a:pt x="232" y="291"/>
                    <a:pt x="235" y="293"/>
                    <a:pt x="240" y="293"/>
                  </a:cubicBezTo>
                  <a:cubicBezTo>
                    <a:pt x="244" y="293"/>
                    <a:pt x="250" y="289"/>
                    <a:pt x="257" y="285"/>
                  </a:cubicBezTo>
                  <a:cubicBezTo>
                    <a:pt x="261" y="282"/>
                    <a:pt x="265" y="279"/>
                    <a:pt x="268" y="277"/>
                  </a:cubicBezTo>
                  <a:cubicBezTo>
                    <a:pt x="272" y="275"/>
                    <a:pt x="275" y="275"/>
                    <a:pt x="278" y="275"/>
                  </a:cubicBezTo>
                  <a:cubicBezTo>
                    <a:pt x="281" y="275"/>
                    <a:pt x="284" y="275"/>
                    <a:pt x="286" y="276"/>
                  </a:cubicBezTo>
                  <a:cubicBezTo>
                    <a:pt x="287" y="276"/>
                    <a:pt x="289" y="276"/>
                    <a:pt x="290" y="276"/>
                  </a:cubicBezTo>
                  <a:cubicBezTo>
                    <a:pt x="290" y="276"/>
                    <a:pt x="290" y="276"/>
                    <a:pt x="290" y="276"/>
                  </a:cubicBezTo>
                  <a:cubicBezTo>
                    <a:pt x="290" y="275"/>
                    <a:pt x="290" y="274"/>
                    <a:pt x="289" y="274"/>
                  </a:cubicBezTo>
                  <a:cubicBezTo>
                    <a:pt x="289" y="272"/>
                    <a:pt x="288" y="271"/>
                    <a:pt x="289" y="270"/>
                  </a:cubicBezTo>
                  <a:cubicBezTo>
                    <a:pt x="289" y="269"/>
                    <a:pt x="289" y="269"/>
                    <a:pt x="290" y="269"/>
                  </a:cubicBezTo>
                  <a:cubicBezTo>
                    <a:pt x="290" y="268"/>
                    <a:pt x="290" y="268"/>
                    <a:pt x="290" y="268"/>
                  </a:cubicBezTo>
                  <a:cubicBezTo>
                    <a:pt x="290" y="268"/>
                    <a:pt x="290" y="267"/>
                    <a:pt x="289" y="267"/>
                  </a:cubicBezTo>
                  <a:cubicBezTo>
                    <a:pt x="287" y="266"/>
                    <a:pt x="284" y="264"/>
                    <a:pt x="283" y="261"/>
                  </a:cubicBezTo>
                  <a:cubicBezTo>
                    <a:pt x="282" y="259"/>
                    <a:pt x="282" y="258"/>
                    <a:pt x="283" y="257"/>
                  </a:cubicBezTo>
                  <a:cubicBezTo>
                    <a:pt x="283" y="256"/>
                    <a:pt x="284" y="256"/>
                    <a:pt x="285" y="256"/>
                  </a:cubicBezTo>
                  <a:cubicBezTo>
                    <a:pt x="286" y="255"/>
                    <a:pt x="287" y="255"/>
                    <a:pt x="288" y="253"/>
                  </a:cubicBezTo>
                  <a:cubicBezTo>
                    <a:pt x="289" y="251"/>
                    <a:pt x="290" y="250"/>
                    <a:pt x="291" y="250"/>
                  </a:cubicBezTo>
                  <a:cubicBezTo>
                    <a:pt x="293" y="250"/>
                    <a:pt x="295" y="251"/>
                    <a:pt x="297" y="252"/>
                  </a:cubicBezTo>
                  <a:cubicBezTo>
                    <a:pt x="297" y="253"/>
                    <a:pt x="298" y="253"/>
                    <a:pt x="299" y="253"/>
                  </a:cubicBezTo>
                  <a:cubicBezTo>
                    <a:pt x="300" y="253"/>
                    <a:pt x="300" y="253"/>
                    <a:pt x="301" y="253"/>
                  </a:cubicBezTo>
                  <a:cubicBezTo>
                    <a:pt x="302" y="253"/>
                    <a:pt x="302" y="253"/>
                    <a:pt x="302" y="253"/>
                  </a:cubicBezTo>
                  <a:cubicBezTo>
                    <a:pt x="304" y="253"/>
                    <a:pt x="306" y="253"/>
                    <a:pt x="308" y="256"/>
                  </a:cubicBezTo>
                  <a:cubicBezTo>
                    <a:pt x="308" y="258"/>
                    <a:pt x="309" y="259"/>
                    <a:pt x="310" y="259"/>
                  </a:cubicBezTo>
                  <a:cubicBezTo>
                    <a:pt x="311" y="259"/>
                    <a:pt x="311" y="258"/>
                    <a:pt x="312" y="258"/>
                  </a:cubicBezTo>
                  <a:cubicBezTo>
                    <a:pt x="313" y="258"/>
                    <a:pt x="314" y="257"/>
                    <a:pt x="315" y="257"/>
                  </a:cubicBezTo>
                  <a:cubicBezTo>
                    <a:pt x="316" y="257"/>
                    <a:pt x="318" y="258"/>
                    <a:pt x="319" y="259"/>
                  </a:cubicBezTo>
                  <a:cubicBezTo>
                    <a:pt x="320" y="260"/>
                    <a:pt x="321" y="261"/>
                    <a:pt x="321" y="262"/>
                  </a:cubicBezTo>
                  <a:cubicBezTo>
                    <a:pt x="320" y="263"/>
                    <a:pt x="319" y="263"/>
                    <a:pt x="316" y="264"/>
                  </a:cubicBezTo>
                  <a:cubicBezTo>
                    <a:pt x="315" y="264"/>
                    <a:pt x="313" y="264"/>
                    <a:pt x="312" y="264"/>
                  </a:cubicBezTo>
                  <a:cubicBezTo>
                    <a:pt x="310" y="265"/>
                    <a:pt x="309" y="266"/>
                    <a:pt x="309" y="268"/>
                  </a:cubicBezTo>
                  <a:cubicBezTo>
                    <a:pt x="310" y="269"/>
                    <a:pt x="310" y="270"/>
                    <a:pt x="311" y="270"/>
                  </a:cubicBezTo>
                  <a:cubicBezTo>
                    <a:pt x="312" y="270"/>
                    <a:pt x="313" y="269"/>
                    <a:pt x="313" y="269"/>
                  </a:cubicBezTo>
                  <a:cubicBezTo>
                    <a:pt x="316" y="266"/>
                    <a:pt x="319" y="265"/>
                    <a:pt x="321" y="265"/>
                  </a:cubicBezTo>
                  <a:cubicBezTo>
                    <a:pt x="323" y="265"/>
                    <a:pt x="324" y="265"/>
                    <a:pt x="326" y="267"/>
                  </a:cubicBezTo>
                  <a:cubicBezTo>
                    <a:pt x="327" y="268"/>
                    <a:pt x="328" y="268"/>
                    <a:pt x="329" y="268"/>
                  </a:cubicBezTo>
                  <a:cubicBezTo>
                    <a:pt x="330" y="268"/>
                    <a:pt x="332" y="267"/>
                    <a:pt x="334" y="265"/>
                  </a:cubicBezTo>
                  <a:cubicBezTo>
                    <a:pt x="336" y="263"/>
                    <a:pt x="337" y="263"/>
                    <a:pt x="337" y="266"/>
                  </a:cubicBezTo>
                  <a:cubicBezTo>
                    <a:pt x="338" y="266"/>
                    <a:pt x="338" y="268"/>
                    <a:pt x="338" y="269"/>
                  </a:cubicBezTo>
                  <a:cubicBezTo>
                    <a:pt x="338" y="271"/>
                    <a:pt x="344" y="272"/>
                    <a:pt x="352" y="273"/>
                  </a:cubicBezTo>
                  <a:cubicBezTo>
                    <a:pt x="354" y="273"/>
                    <a:pt x="354" y="273"/>
                    <a:pt x="354" y="273"/>
                  </a:cubicBezTo>
                  <a:cubicBezTo>
                    <a:pt x="356" y="274"/>
                    <a:pt x="359" y="274"/>
                    <a:pt x="362" y="274"/>
                  </a:cubicBezTo>
                  <a:cubicBezTo>
                    <a:pt x="369" y="274"/>
                    <a:pt x="377" y="273"/>
                    <a:pt x="382" y="273"/>
                  </a:cubicBezTo>
                  <a:cubicBezTo>
                    <a:pt x="383" y="272"/>
                    <a:pt x="384" y="272"/>
                    <a:pt x="385" y="272"/>
                  </a:cubicBezTo>
                  <a:cubicBezTo>
                    <a:pt x="387" y="272"/>
                    <a:pt x="388" y="273"/>
                    <a:pt x="389" y="275"/>
                  </a:cubicBezTo>
                  <a:cubicBezTo>
                    <a:pt x="391" y="277"/>
                    <a:pt x="393" y="280"/>
                    <a:pt x="398" y="281"/>
                  </a:cubicBezTo>
                  <a:cubicBezTo>
                    <a:pt x="399" y="281"/>
                    <a:pt x="400" y="281"/>
                    <a:pt x="400" y="281"/>
                  </a:cubicBezTo>
                  <a:cubicBezTo>
                    <a:pt x="404" y="281"/>
                    <a:pt x="407" y="279"/>
                    <a:pt x="409" y="277"/>
                  </a:cubicBezTo>
                  <a:cubicBezTo>
                    <a:pt x="411" y="275"/>
                    <a:pt x="412" y="274"/>
                    <a:pt x="414" y="274"/>
                  </a:cubicBezTo>
                  <a:cubicBezTo>
                    <a:pt x="414" y="274"/>
                    <a:pt x="415" y="275"/>
                    <a:pt x="416" y="275"/>
                  </a:cubicBezTo>
                  <a:cubicBezTo>
                    <a:pt x="418" y="277"/>
                    <a:pt x="419" y="278"/>
                    <a:pt x="419" y="279"/>
                  </a:cubicBezTo>
                  <a:cubicBezTo>
                    <a:pt x="419" y="280"/>
                    <a:pt x="417" y="282"/>
                    <a:pt x="416" y="283"/>
                  </a:cubicBezTo>
                  <a:cubicBezTo>
                    <a:pt x="415" y="284"/>
                    <a:pt x="414" y="284"/>
                    <a:pt x="413" y="285"/>
                  </a:cubicBezTo>
                  <a:cubicBezTo>
                    <a:pt x="413" y="286"/>
                    <a:pt x="413" y="286"/>
                    <a:pt x="413" y="286"/>
                  </a:cubicBezTo>
                  <a:cubicBezTo>
                    <a:pt x="413" y="287"/>
                    <a:pt x="415" y="288"/>
                    <a:pt x="417" y="288"/>
                  </a:cubicBezTo>
                  <a:cubicBezTo>
                    <a:pt x="418" y="289"/>
                    <a:pt x="419" y="289"/>
                    <a:pt x="420" y="289"/>
                  </a:cubicBezTo>
                  <a:cubicBezTo>
                    <a:pt x="421" y="290"/>
                    <a:pt x="422" y="290"/>
                    <a:pt x="423" y="291"/>
                  </a:cubicBezTo>
                  <a:cubicBezTo>
                    <a:pt x="428" y="292"/>
                    <a:pt x="434" y="294"/>
                    <a:pt x="437" y="298"/>
                  </a:cubicBezTo>
                  <a:cubicBezTo>
                    <a:pt x="438" y="299"/>
                    <a:pt x="439" y="300"/>
                    <a:pt x="440" y="301"/>
                  </a:cubicBezTo>
                  <a:cubicBezTo>
                    <a:pt x="443" y="304"/>
                    <a:pt x="446" y="308"/>
                    <a:pt x="454" y="312"/>
                  </a:cubicBezTo>
                  <a:cubicBezTo>
                    <a:pt x="456" y="313"/>
                    <a:pt x="458" y="313"/>
                    <a:pt x="458" y="312"/>
                  </a:cubicBezTo>
                  <a:cubicBezTo>
                    <a:pt x="459" y="311"/>
                    <a:pt x="459" y="309"/>
                    <a:pt x="459" y="308"/>
                  </a:cubicBezTo>
                  <a:cubicBezTo>
                    <a:pt x="459" y="306"/>
                    <a:pt x="458" y="304"/>
                    <a:pt x="459" y="304"/>
                  </a:cubicBezTo>
                  <a:cubicBezTo>
                    <a:pt x="460" y="303"/>
                    <a:pt x="461" y="303"/>
                    <a:pt x="463" y="305"/>
                  </a:cubicBezTo>
                  <a:cubicBezTo>
                    <a:pt x="467" y="307"/>
                    <a:pt x="468" y="307"/>
                    <a:pt x="469" y="308"/>
                  </a:cubicBezTo>
                  <a:cubicBezTo>
                    <a:pt x="470" y="308"/>
                    <a:pt x="471" y="308"/>
                    <a:pt x="475" y="311"/>
                  </a:cubicBezTo>
                  <a:cubicBezTo>
                    <a:pt x="476" y="312"/>
                    <a:pt x="477" y="313"/>
                    <a:pt x="477" y="313"/>
                  </a:cubicBezTo>
                  <a:cubicBezTo>
                    <a:pt x="478" y="313"/>
                    <a:pt x="478" y="312"/>
                    <a:pt x="478" y="312"/>
                  </a:cubicBezTo>
                  <a:cubicBezTo>
                    <a:pt x="479" y="311"/>
                    <a:pt x="476" y="303"/>
                    <a:pt x="475" y="299"/>
                  </a:cubicBezTo>
                  <a:cubicBezTo>
                    <a:pt x="474" y="295"/>
                    <a:pt x="474" y="294"/>
                    <a:pt x="475" y="294"/>
                  </a:cubicBezTo>
                  <a:cubicBezTo>
                    <a:pt x="475" y="293"/>
                    <a:pt x="475" y="293"/>
                    <a:pt x="475" y="293"/>
                  </a:cubicBezTo>
                  <a:cubicBezTo>
                    <a:pt x="477" y="293"/>
                    <a:pt x="482" y="300"/>
                    <a:pt x="482" y="300"/>
                  </a:cubicBezTo>
                  <a:cubicBezTo>
                    <a:pt x="485" y="305"/>
                    <a:pt x="485" y="314"/>
                    <a:pt x="483" y="319"/>
                  </a:cubicBezTo>
                  <a:cubicBezTo>
                    <a:pt x="482" y="321"/>
                    <a:pt x="481" y="322"/>
                    <a:pt x="478" y="322"/>
                  </a:cubicBezTo>
                  <a:cubicBezTo>
                    <a:pt x="476" y="322"/>
                    <a:pt x="473" y="321"/>
                    <a:pt x="472" y="319"/>
                  </a:cubicBezTo>
                  <a:cubicBezTo>
                    <a:pt x="471" y="318"/>
                    <a:pt x="471" y="318"/>
                    <a:pt x="471" y="317"/>
                  </a:cubicBezTo>
                  <a:cubicBezTo>
                    <a:pt x="471" y="316"/>
                    <a:pt x="471" y="316"/>
                    <a:pt x="471" y="316"/>
                  </a:cubicBezTo>
                  <a:cubicBezTo>
                    <a:pt x="471" y="316"/>
                    <a:pt x="470" y="316"/>
                    <a:pt x="469" y="316"/>
                  </a:cubicBezTo>
                  <a:cubicBezTo>
                    <a:pt x="466" y="316"/>
                    <a:pt x="462" y="317"/>
                    <a:pt x="462" y="320"/>
                  </a:cubicBezTo>
                  <a:cubicBezTo>
                    <a:pt x="462" y="324"/>
                    <a:pt x="469" y="332"/>
                    <a:pt x="474" y="333"/>
                  </a:cubicBezTo>
                  <a:cubicBezTo>
                    <a:pt x="477" y="334"/>
                    <a:pt x="477" y="337"/>
                    <a:pt x="477" y="339"/>
                  </a:cubicBezTo>
                  <a:cubicBezTo>
                    <a:pt x="477" y="342"/>
                    <a:pt x="477" y="343"/>
                    <a:pt x="478" y="343"/>
                  </a:cubicBezTo>
                  <a:cubicBezTo>
                    <a:pt x="481" y="344"/>
                    <a:pt x="482" y="347"/>
                    <a:pt x="483" y="349"/>
                  </a:cubicBezTo>
                  <a:cubicBezTo>
                    <a:pt x="483" y="350"/>
                    <a:pt x="484" y="352"/>
                    <a:pt x="484" y="352"/>
                  </a:cubicBezTo>
                  <a:cubicBezTo>
                    <a:pt x="485" y="352"/>
                    <a:pt x="485" y="352"/>
                    <a:pt x="485" y="352"/>
                  </a:cubicBezTo>
                  <a:cubicBezTo>
                    <a:pt x="485" y="351"/>
                    <a:pt x="485" y="351"/>
                    <a:pt x="486" y="350"/>
                  </a:cubicBezTo>
                  <a:cubicBezTo>
                    <a:pt x="486" y="347"/>
                    <a:pt x="485" y="340"/>
                    <a:pt x="483" y="337"/>
                  </a:cubicBezTo>
                  <a:cubicBezTo>
                    <a:pt x="481" y="334"/>
                    <a:pt x="481" y="330"/>
                    <a:pt x="482" y="328"/>
                  </a:cubicBezTo>
                  <a:cubicBezTo>
                    <a:pt x="483" y="326"/>
                    <a:pt x="484" y="326"/>
                    <a:pt x="486" y="326"/>
                  </a:cubicBezTo>
                  <a:cubicBezTo>
                    <a:pt x="489" y="327"/>
                    <a:pt x="488" y="330"/>
                    <a:pt x="488" y="332"/>
                  </a:cubicBezTo>
                  <a:cubicBezTo>
                    <a:pt x="488" y="334"/>
                    <a:pt x="487" y="336"/>
                    <a:pt x="488" y="337"/>
                  </a:cubicBezTo>
                  <a:cubicBezTo>
                    <a:pt x="489" y="337"/>
                    <a:pt x="489" y="337"/>
                    <a:pt x="489" y="337"/>
                  </a:cubicBezTo>
                  <a:cubicBezTo>
                    <a:pt x="490" y="337"/>
                    <a:pt x="491" y="336"/>
                    <a:pt x="492" y="335"/>
                  </a:cubicBezTo>
                  <a:cubicBezTo>
                    <a:pt x="493" y="334"/>
                    <a:pt x="494" y="333"/>
                    <a:pt x="496" y="332"/>
                  </a:cubicBezTo>
                  <a:cubicBezTo>
                    <a:pt x="498" y="330"/>
                    <a:pt x="498" y="328"/>
                    <a:pt x="497" y="325"/>
                  </a:cubicBezTo>
                  <a:cubicBezTo>
                    <a:pt x="496" y="322"/>
                    <a:pt x="495" y="320"/>
                    <a:pt x="496" y="318"/>
                  </a:cubicBezTo>
                  <a:cubicBezTo>
                    <a:pt x="496" y="317"/>
                    <a:pt x="497" y="317"/>
                    <a:pt x="497" y="317"/>
                  </a:cubicBezTo>
                  <a:cubicBezTo>
                    <a:pt x="500" y="317"/>
                    <a:pt x="504" y="323"/>
                    <a:pt x="505" y="328"/>
                  </a:cubicBezTo>
                  <a:cubicBezTo>
                    <a:pt x="507" y="332"/>
                    <a:pt x="504" y="334"/>
                    <a:pt x="503" y="336"/>
                  </a:cubicBezTo>
                  <a:cubicBezTo>
                    <a:pt x="501" y="336"/>
                    <a:pt x="501" y="337"/>
                    <a:pt x="501" y="338"/>
                  </a:cubicBezTo>
                  <a:cubicBezTo>
                    <a:pt x="501" y="341"/>
                    <a:pt x="498" y="341"/>
                    <a:pt x="496" y="341"/>
                  </a:cubicBezTo>
                  <a:cubicBezTo>
                    <a:pt x="494" y="342"/>
                    <a:pt x="493" y="342"/>
                    <a:pt x="492" y="342"/>
                  </a:cubicBezTo>
                  <a:cubicBezTo>
                    <a:pt x="491" y="344"/>
                    <a:pt x="491" y="351"/>
                    <a:pt x="492" y="355"/>
                  </a:cubicBezTo>
                  <a:cubicBezTo>
                    <a:pt x="493" y="356"/>
                    <a:pt x="493" y="357"/>
                    <a:pt x="494" y="357"/>
                  </a:cubicBezTo>
                  <a:cubicBezTo>
                    <a:pt x="494" y="357"/>
                    <a:pt x="494" y="357"/>
                    <a:pt x="494" y="357"/>
                  </a:cubicBezTo>
                  <a:cubicBezTo>
                    <a:pt x="494" y="357"/>
                    <a:pt x="495" y="355"/>
                    <a:pt x="496" y="353"/>
                  </a:cubicBezTo>
                  <a:cubicBezTo>
                    <a:pt x="497" y="351"/>
                    <a:pt x="497" y="350"/>
                    <a:pt x="498" y="350"/>
                  </a:cubicBezTo>
                  <a:cubicBezTo>
                    <a:pt x="499" y="350"/>
                    <a:pt x="500" y="351"/>
                    <a:pt x="500" y="352"/>
                  </a:cubicBezTo>
                  <a:cubicBezTo>
                    <a:pt x="500" y="353"/>
                    <a:pt x="501" y="353"/>
                    <a:pt x="501" y="353"/>
                  </a:cubicBezTo>
                  <a:cubicBezTo>
                    <a:pt x="501" y="353"/>
                    <a:pt x="503" y="352"/>
                    <a:pt x="504" y="351"/>
                  </a:cubicBezTo>
                  <a:cubicBezTo>
                    <a:pt x="505" y="350"/>
                    <a:pt x="506" y="348"/>
                    <a:pt x="508" y="348"/>
                  </a:cubicBezTo>
                  <a:cubicBezTo>
                    <a:pt x="508" y="348"/>
                    <a:pt x="509" y="349"/>
                    <a:pt x="509" y="350"/>
                  </a:cubicBezTo>
                  <a:cubicBezTo>
                    <a:pt x="511" y="354"/>
                    <a:pt x="517" y="359"/>
                    <a:pt x="520" y="359"/>
                  </a:cubicBezTo>
                  <a:cubicBezTo>
                    <a:pt x="521" y="359"/>
                    <a:pt x="521" y="359"/>
                    <a:pt x="521" y="359"/>
                  </a:cubicBezTo>
                  <a:cubicBezTo>
                    <a:pt x="521" y="359"/>
                    <a:pt x="522" y="359"/>
                    <a:pt x="521" y="358"/>
                  </a:cubicBezTo>
                  <a:cubicBezTo>
                    <a:pt x="521" y="356"/>
                    <a:pt x="518" y="353"/>
                    <a:pt x="515" y="353"/>
                  </a:cubicBezTo>
                  <a:cubicBezTo>
                    <a:pt x="513" y="353"/>
                    <a:pt x="512" y="351"/>
                    <a:pt x="512" y="349"/>
                  </a:cubicBezTo>
                  <a:cubicBezTo>
                    <a:pt x="512" y="347"/>
                    <a:pt x="513" y="344"/>
                    <a:pt x="515" y="344"/>
                  </a:cubicBezTo>
                  <a:cubicBezTo>
                    <a:pt x="518" y="344"/>
                    <a:pt x="520" y="346"/>
                    <a:pt x="521" y="348"/>
                  </a:cubicBezTo>
                  <a:cubicBezTo>
                    <a:pt x="524" y="351"/>
                    <a:pt x="528" y="356"/>
                    <a:pt x="527" y="359"/>
                  </a:cubicBezTo>
                  <a:cubicBezTo>
                    <a:pt x="527" y="362"/>
                    <a:pt x="526" y="363"/>
                    <a:pt x="524" y="364"/>
                  </a:cubicBezTo>
                  <a:cubicBezTo>
                    <a:pt x="523" y="365"/>
                    <a:pt x="521" y="365"/>
                    <a:pt x="520" y="367"/>
                  </a:cubicBezTo>
                  <a:cubicBezTo>
                    <a:pt x="519" y="368"/>
                    <a:pt x="518" y="368"/>
                    <a:pt x="518" y="368"/>
                  </a:cubicBezTo>
                  <a:cubicBezTo>
                    <a:pt x="516" y="368"/>
                    <a:pt x="514" y="366"/>
                    <a:pt x="512" y="364"/>
                  </a:cubicBezTo>
                  <a:cubicBezTo>
                    <a:pt x="510" y="363"/>
                    <a:pt x="509" y="361"/>
                    <a:pt x="507" y="361"/>
                  </a:cubicBezTo>
                  <a:cubicBezTo>
                    <a:pt x="507" y="361"/>
                    <a:pt x="507" y="361"/>
                    <a:pt x="507" y="361"/>
                  </a:cubicBezTo>
                  <a:cubicBezTo>
                    <a:pt x="506" y="361"/>
                    <a:pt x="506" y="361"/>
                    <a:pt x="506" y="362"/>
                  </a:cubicBezTo>
                  <a:cubicBezTo>
                    <a:pt x="505" y="363"/>
                    <a:pt x="507" y="366"/>
                    <a:pt x="508" y="369"/>
                  </a:cubicBezTo>
                  <a:cubicBezTo>
                    <a:pt x="508" y="370"/>
                    <a:pt x="509" y="371"/>
                    <a:pt x="509" y="372"/>
                  </a:cubicBezTo>
                  <a:cubicBezTo>
                    <a:pt x="510" y="374"/>
                    <a:pt x="509" y="376"/>
                    <a:pt x="508" y="378"/>
                  </a:cubicBezTo>
                  <a:cubicBezTo>
                    <a:pt x="507" y="381"/>
                    <a:pt x="506" y="384"/>
                    <a:pt x="509" y="386"/>
                  </a:cubicBezTo>
                  <a:cubicBezTo>
                    <a:pt x="510" y="386"/>
                    <a:pt x="511" y="387"/>
                    <a:pt x="512" y="387"/>
                  </a:cubicBezTo>
                  <a:cubicBezTo>
                    <a:pt x="513" y="387"/>
                    <a:pt x="513" y="385"/>
                    <a:pt x="513" y="384"/>
                  </a:cubicBezTo>
                  <a:cubicBezTo>
                    <a:pt x="513" y="383"/>
                    <a:pt x="513" y="382"/>
                    <a:pt x="513" y="381"/>
                  </a:cubicBezTo>
                  <a:cubicBezTo>
                    <a:pt x="514" y="380"/>
                    <a:pt x="514" y="380"/>
                    <a:pt x="515" y="380"/>
                  </a:cubicBezTo>
                  <a:cubicBezTo>
                    <a:pt x="517" y="380"/>
                    <a:pt x="520" y="382"/>
                    <a:pt x="522" y="384"/>
                  </a:cubicBezTo>
                  <a:cubicBezTo>
                    <a:pt x="523" y="384"/>
                    <a:pt x="523" y="384"/>
                    <a:pt x="523" y="384"/>
                  </a:cubicBezTo>
                  <a:cubicBezTo>
                    <a:pt x="524" y="384"/>
                    <a:pt x="525" y="380"/>
                    <a:pt x="525" y="376"/>
                  </a:cubicBezTo>
                  <a:cubicBezTo>
                    <a:pt x="525" y="375"/>
                    <a:pt x="525" y="374"/>
                    <a:pt x="527" y="374"/>
                  </a:cubicBezTo>
                  <a:cubicBezTo>
                    <a:pt x="529" y="374"/>
                    <a:pt x="531" y="376"/>
                    <a:pt x="533" y="378"/>
                  </a:cubicBezTo>
                  <a:cubicBezTo>
                    <a:pt x="534" y="379"/>
                    <a:pt x="534" y="379"/>
                    <a:pt x="534" y="379"/>
                  </a:cubicBezTo>
                  <a:cubicBezTo>
                    <a:pt x="535" y="378"/>
                    <a:pt x="535" y="378"/>
                    <a:pt x="535" y="378"/>
                  </a:cubicBezTo>
                  <a:cubicBezTo>
                    <a:pt x="536" y="376"/>
                    <a:pt x="537" y="374"/>
                    <a:pt x="539" y="374"/>
                  </a:cubicBezTo>
                  <a:cubicBezTo>
                    <a:pt x="541" y="375"/>
                    <a:pt x="542" y="376"/>
                    <a:pt x="542" y="377"/>
                  </a:cubicBezTo>
                  <a:cubicBezTo>
                    <a:pt x="542" y="379"/>
                    <a:pt x="542" y="380"/>
                    <a:pt x="542" y="382"/>
                  </a:cubicBezTo>
                  <a:cubicBezTo>
                    <a:pt x="541" y="383"/>
                    <a:pt x="541" y="384"/>
                    <a:pt x="541" y="385"/>
                  </a:cubicBezTo>
                  <a:cubicBezTo>
                    <a:pt x="541" y="386"/>
                    <a:pt x="541" y="386"/>
                    <a:pt x="542" y="386"/>
                  </a:cubicBezTo>
                  <a:cubicBezTo>
                    <a:pt x="542" y="386"/>
                    <a:pt x="543" y="386"/>
                    <a:pt x="544" y="385"/>
                  </a:cubicBezTo>
                  <a:cubicBezTo>
                    <a:pt x="545" y="385"/>
                    <a:pt x="545" y="384"/>
                    <a:pt x="546" y="38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5" name="Freeform 132"/>
            <p:cNvSpPr>
              <a:spLocks noEditPoints="1"/>
            </p:cNvSpPr>
            <p:nvPr/>
          </p:nvSpPr>
          <p:spPr>
            <a:xfrm>
              <a:off x="4551364" y="2644775"/>
              <a:ext cx="315913" cy="225425"/>
            </a:xfrm>
            <a:custGeom>
              <a:gdLst>
                <a:gd name="T0" fmla="*/ 29 w 186"/>
                <a:gd name="T1" fmla="*/ 116 h 133"/>
                <a:gd name="T2" fmla="*/ 33 w 186"/>
                <a:gd name="T3" fmla="*/ 101 h 133"/>
                <a:gd name="T4" fmla="*/ 29 w 186"/>
                <a:gd name="T5" fmla="*/ 90 h 133"/>
                <a:gd name="T6" fmla="*/ 27 w 186"/>
                <a:gd name="T7" fmla="*/ 75 h 133"/>
                <a:gd name="T8" fmla="*/ 35 w 186"/>
                <a:gd name="T9" fmla="*/ 63 h 133"/>
                <a:gd name="T10" fmla="*/ 44 w 186"/>
                <a:gd name="T11" fmla="*/ 41 h 133"/>
                <a:gd name="T12" fmla="*/ 36 w 186"/>
                <a:gd name="T13" fmla="*/ 33 h 133"/>
                <a:gd name="T14" fmla="*/ 26 w 186"/>
                <a:gd name="T15" fmla="*/ 34 h 133"/>
                <a:gd name="T16" fmla="*/ 15 w 186"/>
                <a:gd name="T17" fmla="*/ 30 h 133"/>
                <a:gd name="T18" fmla="*/ 7 w 186"/>
                <a:gd name="T19" fmla="*/ 33 h 133"/>
                <a:gd name="T20" fmla="*/ 15 w 186"/>
                <a:gd name="T21" fmla="*/ 4 h 133"/>
                <a:gd name="T22" fmla="*/ 38 w 186"/>
                <a:gd name="T23" fmla="*/ 5 h 133"/>
                <a:gd name="T24" fmla="*/ 86 w 186"/>
                <a:gd name="T25" fmla="*/ 5 h 133"/>
                <a:gd name="T26" fmla="*/ 111 w 186"/>
                <a:gd name="T27" fmla="*/ 8 h 133"/>
                <a:gd name="T28" fmla="*/ 120 w 186"/>
                <a:gd name="T29" fmla="*/ 12 h 133"/>
                <a:gd name="T30" fmla="*/ 144 w 186"/>
                <a:gd name="T31" fmla="*/ 18 h 133"/>
                <a:gd name="T32" fmla="*/ 169 w 186"/>
                <a:gd name="T33" fmla="*/ 23 h 133"/>
                <a:gd name="T34" fmla="*/ 184 w 186"/>
                <a:gd name="T35" fmla="*/ 24 h 133"/>
                <a:gd name="T36" fmla="*/ 162 w 186"/>
                <a:gd name="T37" fmla="*/ 45 h 133"/>
                <a:gd name="T38" fmla="*/ 136 w 186"/>
                <a:gd name="T39" fmla="*/ 83 h 133"/>
                <a:gd name="T40" fmla="*/ 126 w 186"/>
                <a:gd name="T41" fmla="*/ 101 h 133"/>
                <a:gd name="T42" fmla="*/ 99 w 186"/>
                <a:gd name="T43" fmla="*/ 122 h 133"/>
                <a:gd name="T44" fmla="*/ 71 w 186"/>
                <a:gd name="T45" fmla="*/ 126 h 133"/>
                <a:gd name="T46" fmla="*/ 59 w 186"/>
                <a:gd name="T47" fmla="*/ 128 h 133"/>
                <a:gd name="T48" fmla="*/ 33 w 186"/>
                <a:gd name="T49" fmla="*/ 115 h 133"/>
                <a:gd name="T50" fmla="*/ 57 w 186"/>
                <a:gd name="T51" fmla="*/ 130 h 133"/>
                <a:gd name="T52" fmla="*/ 67 w 186"/>
                <a:gd name="T53" fmla="*/ 127 h 133"/>
                <a:gd name="T54" fmla="*/ 98 w 186"/>
                <a:gd name="T55" fmla="*/ 121 h 133"/>
                <a:gd name="T56" fmla="*/ 125 w 186"/>
                <a:gd name="T57" fmla="*/ 99 h 133"/>
                <a:gd name="T58" fmla="*/ 136 w 186"/>
                <a:gd name="T59" fmla="*/ 66 h 133"/>
                <a:gd name="T60" fmla="*/ 171 w 186"/>
                <a:gd name="T61" fmla="*/ 40 h 133"/>
                <a:gd name="T62" fmla="*/ 176 w 186"/>
                <a:gd name="T63" fmla="*/ 25 h 133"/>
                <a:gd name="T64" fmla="*/ 146 w 186"/>
                <a:gd name="T65" fmla="*/ 17 h 133"/>
                <a:gd name="T66" fmla="*/ 126 w 186"/>
                <a:gd name="T67" fmla="*/ 16 h 133"/>
                <a:gd name="T68" fmla="*/ 101 w 186"/>
                <a:gd name="T69" fmla="*/ 8 h 133"/>
                <a:gd name="T70" fmla="*/ 62 w 186"/>
                <a:gd name="T71" fmla="*/ 6 h 133"/>
                <a:gd name="T72" fmla="*/ 26 w 186"/>
                <a:gd name="T73" fmla="*/ 3 h 133"/>
                <a:gd name="T74" fmla="*/ 2 w 186"/>
                <a:gd name="T75" fmla="*/ 12 h 133"/>
                <a:gd name="T76" fmla="*/ 15 w 186"/>
                <a:gd name="T77" fmla="*/ 29 h 133"/>
                <a:gd name="T78" fmla="*/ 26 w 186"/>
                <a:gd name="T79" fmla="*/ 33 h 133"/>
                <a:gd name="T80" fmla="*/ 36 w 186"/>
                <a:gd name="T81" fmla="*/ 32 h 133"/>
                <a:gd name="T82" fmla="*/ 44 w 186"/>
                <a:gd name="T83" fmla="*/ 42 h 133"/>
                <a:gd name="T84" fmla="*/ 36 w 186"/>
                <a:gd name="T85" fmla="*/ 64 h 133"/>
                <a:gd name="T86" fmla="*/ 28 w 186"/>
                <a:gd name="T87" fmla="*/ 75 h 133"/>
                <a:gd name="T88" fmla="*/ 30 w 186"/>
                <a:gd name="T89" fmla="*/ 90 h 133"/>
                <a:gd name="T90" fmla="*/ 33 w 186"/>
                <a:gd name="T91" fmla="*/ 102 h 133"/>
                <a:gd name="T92" fmla="*/ 180 w 186"/>
                <a:gd name="T93" fmla="*/ 79 h 133"/>
                <a:gd name="T94" fmla="*/ 182 w 186"/>
                <a:gd name="T95" fmla="*/ 68 h 133"/>
                <a:gd name="T96" fmla="*/ 182 w 186"/>
                <a:gd name="T97" fmla="*/ 69 h 133"/>
                <a:gd name="T98" fmla="*/ 180 w 186"/>
                <a:gd name="T99" fmla="*/ 78 h 1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33">
                  <a:moveTo>
                    <a:pt x="54" y="133"/>
                  </a:moveTo>
                  <a:cubicBezTo>
                    <a:pt x="49" y="133"/>
                    <a:pt x="46" y="129"/>
                    <a:pt x="43" y="124"/>
                  </a:cubicBezTo>
                  <a:cubicBezTo>
                    <a:pt x="41" y="121"/>
                    <a:pt x="39" y="118"/>
                    <a:pt x="37" y="117"/>
                  </a:cubicBezTo>
                  <a:cubicBezTo>
                    <a:pt x="35" y="116"/>
                    <a:pt x="33" y="115"/>
                    <a:pt x="29" y="116"/>
                  </a:cubicBezTo>
                  <a:cubicBezTo>
                    <a:pt x="29" y="116"/>
                    <a:pt x="29" y="116"/>
                    <a:pt x="29" y="116"/>
                  </a:cubicBezTo>
                  <a:cubicBezTo>
                    <a:pt x="29" y="116"/>
                    <a:pt x="29" y="116"/>
                    <a:pt x="29" y="116"/>
                  </a:cubicBezTo>
                  <a:cubicBezTo>
                    <a:pt x="27" y="114"/>
                    <a:pt x="27" y="112"/>
                    <a:pt x="27" y="111"/>
                  </a:cubicBezTo>
                  <a:cubicBezTo>
                    <a:pt x="27" y="108"/>
                    <a:pt x="27" y="103"/>
                    <a:pt x="33" y="101"/>
                  </a:cubicBezTo>
                  <a:cubicBezTo>
                    <a:pt x="34" y="101"/>
                    <a:pt x="35" y="101"/>
                    <a:pt x="35" y="100"/>
                  </a:cubicBezTo>
                  <a:cubicBezTo>
                    <a:pt x="35" y="99"/>
                    <a:pt x="32" y="97"/>
                    <a:pt x="31" y="96"/>
                  </a:cubicBezTo>
                  <a:cubicBezTo>
                    <a:pt x="30" y="96"/>
                    <a:pt x="30" y="95"/>
                    <a:pt x="29" y="95"/>
                  </a:cubicBezTo>
                  <a:cubicBezTo>
                    <a:pt x="28" y="94"/>
                    <a:pt x="29" y="92"/>
                    <a:pt x="29" y="90"/>
                  </a:cubicBezTo>
                  <a:cubicBezTo>
                    <a:pt x="30" y="88"/>
                    <a:pt x="32" y="86"/>
                    <a:pt x="34" y="86"/>
                  </a:cubicBezTo>
                  <a:cubicBezTo>
                    <a:pt x="34" y="86"/>
                    <a:pt x="34" y="86"/>
                    <a:pt x="34" y="86"/>
                  </a:cubicBezTo>
                  <a:cubicBezTo>
                    <a:pt x="34" y="86"/>
                    <a:pt x="34" y="84"/>
                    <a:pt x="29" y="79"/>
                  </a:cubicBezTo>
                  <a:cubicBezTo>
                    <a:pt x="27" y="78"/>
                    <a:pt x="27" y="76"/>
                    <a:pt x="27" y="75"/>
                  </a:cubicBezTo>
                  <a:cubicBezTo>
                    <a:pt x="28" y="73"/>
                    <a:pt x="31" y="73"/>
                    <a:pt x="33" y="73"/>
                  </a:cubicBezTo>
                  <a:cubicBezTo>
                    <a:pt x="34" y="73"/>
                    <a:pt x="34" y="72"/>
                    <a:pt x="34" y="72"/>
                  </a:cubicBezTo>
                  <a:cubicBezTo>
                    <a:pt x="34" y="72"/>
                    <a:pt x="34" y="71"/>
                    <a:pt x="34" y="70"/>
                  </a:cubicBezTo>
                  <a:cubicBezTo>
                    <a:pt x="34" y="68"/>
                    <a:pt x="33" y="65"/>
                    <a:pt x="35" y="63"/>
                  </a:cubicBezTo>
                  <a:cubicBezTo>
                    <a:pt x="38" y="61"/>
                    <a:pt x="36" y="57"/>
                    <a:pt x="35" y="54"/>
                  </a:cubicBezTo>
                  <a:cubicBezTo>
                    <a:pt x="35" y="52"/>
                    <a:pt x="34" y="51"/>
                    <a:pt x="34" y="50"/>
                  </a:cubicBezTo>
                  <a:cubicBezTo>
                    <a:pt x="34" y="47"/>
                    <a:pt x="36" y="46"/>
                    <a:pt x="38" y="45"/>
                  </a:cubicBezTo>
                  <a:cubicBezTo>
                    <a:pt x="40" y="44"/>
                    <a:pt x="42" y="43"/>
                    <a:pt x="44" y="41"/>
                  </a:cubicBezTo>
                  <a:cubicBezTo>
                    <a:pt x="45" y="40"/>
                    <a:pt x="45" y="39"/>
                    <a:pt x="45" y="39"/>
                  </a:cubicBezTo>
                  <a:cubicBezTo>
                    <a:pt x="45" y="39"/>
                    <a:pt x="44" y="38"/>
                    <a:pt x="43" y="38"/>
                  </a:cubicBezTo>
                  <a:cubicBezTo>
                    <a:pt x="42" y="38"/>
                    <a:pt x="40" y="37"/>
                    <a:pt x="40" y="35"/>
                  </a:cubicBezTo>
                  <a:cubicBezTo>
                    <a:pt x="40" y="34"/>
                    <a:pt x="38" y="33"/>
                    <a:pt x="36" y="33"/>
                  </a:cubicBezTo>
                  <a:cubicBezTo>
                    <a:pt x="34" y="33"/>
                    <a:pt x="33" y="33"/>
                    <a:pt x="32" y="34"/>
                  </a:cubicBezTo>
                  <a:cubicBezTo>
                    <a:pt x="30" y="35"/>
                    <a:pt x="30" y="36"/>
                    <a:pt x="29" y="36"/>
                  </a:cubicBezTo>
                  <a:cubicBezTo>
                    <a:pt x="28" y="36"/>
                    <a:pt x="28" y="35"/>
                    <a:pt x="28" y="35"/>
                  </a:cubicBezTo>
                  <a:cubicBezTo>
                    <a:pt x="27" y="35"/>
                    <a:pt x="27" y="34"/>
                    <a:pt x="26" y="34"/>
                  </a:cubicBezTo>
                  <a:cubicBezTo>
                    <a:pt x="25" y="34"/>
                    <a:pt x="24" y="34"/>
                    <a:pt x="24" y="34"/>
                  </a:cubicBezTo>
                  <a:cubicBezTo>
                    <a:pt x="23" y="34"/>
                    <a:pt x="22" y="35"/>
                    <a:pt x="21" y="35"/>
                  </a:cubicBezTo>
                  <a:cubicBezTo>
                    <a:pt x="20" y="35"/>
                    <a:pt x="16" y="35"/>
                    <a:pt x="16" y="32"/>
                  </a:cubicBezTo>
                  <a:cubicBezTo>
                    <a:pt x="16" y="30"/>
                    <a:pt x="16" y="30"/>
                    <a:pt x="15" y="30"/>
                  </a:cubicBezTo>
                  <a:cubicBezTo>
                    <a:pt x="14" y="30"/>
                    <a:pt x="13" y="30"/>
                    <a:pt x="12" y="32"/>
                  </a:cubicBezTo>
                  <a:cubicBezTo>
                    <a:pt x="11" y="33"/>
                    <a:pt x="10" y="33"/>
                    <a:pt x="8" y="33"/>
                  </a:cubicBezTo>
                  <a:cubicBezTo>
                    <a:pt x="7" y="33"/>
                    <a:pt x="7" y="33"/>
                    <a:pt x="7" y="33"/>
                  </a:cubicBezTo>
                  <a:cubicBezTo>
                    <a:pt x="7" y="33"/>
                    <a:pt x="7" y="33"/>
                    <a:pt x="7" y="33"/>
                  </a:cubicBezTo>
                  <a:cubicBezTo>
                    <a:pt x="8" y="28"/>
                    <a:pt x="8" y="22"/>
                    <a:pt x="5" y="19"/>
                  </a:cubicBezTo>
                  <a:cubicBezTo>
                    <a:pt x="1" y="16"/>
                    <a:pt x="0" y="14"/>
                    <a:pt x="1" y="11"/>
                  </a:cubicBezTo>
                  <a:cubicBezTo>
                    <a:pt x="1" y="9"/>
                    <a:pt x="4" y="8"/>
                    <a:pt x="8" y="8"/>
                  </a:cubicBezTo>
                  <a:cubicBezTo>
                    <a:pt x="13" y="7"/>
                    <a:pt x="14" y="5"/>
                    <a:pt x="15" y="4"/>
                  </a:cubicBezTo>
                  <a:cubicBezTo>
                    <a:pt x="16" y="2"/>
                    <a:pt x="17" y="0"/>
                    <a:pt x="20" y="0"/>
                  </a:cubicBezTo>
                  <a:cubicBezTo>
                    <a:pt x="23" y="0"/>
                    <a:pt x="25" y="1"/>
                    <a:pt x="26" y="2"/>
                  </a:cubicBezTo>
                  <a:cubicBezTo>
                    <a:pt x="28" y="3"/>
                    <a:pt x="31" y="5"/>
                    <a:pt x="36" y="5"/>
                  </a:cubicBezTo>
                  <a:cubicBezTo>
                    <a:pt x="36" y="5"/>
                    <a:pt x="37" y="5"/>
                    <a:pt x="38" y="5"/>
                  </a:cubicBezTo>
                  <a:cubicBezTo>
                    <a:pt x="40" y="4"/>
                    <a:pt x="42" y="4"/>
                    <a:pt x="44" y="4"/>
                  </a:cubicBezTo>
                  <a:cubicBezTo>
                    <a:pt x="50" y="4"/>
                    <a:pt x="56" y="5"/>
                    <a:pt x="62" y="5"/>
                  </a:cubicBezTo>
                  <a:cubicBezTo>
                    <a:pt x="68" y="5"/>
                    <a:pt x="74" y="5"/>
                    <a:pt x="79" y="5"/>
                  </a:cubicBezTo>
                  <a:cubicBezTo>
                    <a:pt x="82" y="5"/>
                    <a:pt x="84" y="5"/>
                    <a:pt x="86" y="5"/>
                  </a:cubicBezTo>
                  <a:cubicBezTo>
                    <a:pt x="87" y="5"/>
                    <a:pt x="88" y="5"/>
                    <a:pt x="88" y="5"/>
                  </a:cubicBezTo>
                  <a:cubicBezTo>
                    <a:pt x="93" y="5"/>
                    <a:pt x="97" y="6"/>
                    <a:pt x="102" y="7"/>
                  </a:cubicBezTo>
                  <a:cubicBezTo>
                    <a:pt x="105" y="7"/>
                    <a:pt x="108" y="8"/>
                    <a:pt x="110" y="8"/>
                  </a:cubicBezTo>
                  <a:cubicBezTo>
                    <a:pt x="111" y="8"/>
                    <a:pt x="111" y="8"/>
                    <a:pt x="111" y="8"/>
                  </a:cubicBezTo>
                  <a:cubicBezTo>
                    <a:pt x="111" y="8"/>
                    <a:pt x="111" y="8"/>
                    <a:pt x="111" y="8"/>
                  </a:cubicBezTo>
                  <a:cubicBezTo>
                    <a:pt x="111" y="8"/>
                    <a:pt x="111" y="8"/>
                    <a:pt x="111" y="8"/>
                  </a:cubicBezTo>
                  <a:cubicBezTo>
                    <a:pt x="112" y="8"/>
                    <a:pt x="114" y="9"/>
                    <a:pt x="115" y="9"/>
                  </a:cubicBezTo>
                  <a:cubicBezTo>
                    <a:pt x="117" y="10"/>
                    <a:pt x="119" y="11"/>
                    <a:pt x="120" y="12"/>
                  </a:cubicBezTo>
                  <a:cubicBezTo>
                    <a:pt x="121" y="13"/>
                    <a:pt x="123" y="14"/>
                    <a:pt x="126" y="15"/>
                  </a:cubicBezTo>
                  <a:cubicBezTo>
                    <a:pt x="129" y="16"/>
                    <a:pt x="132" y="17"/>
                    <a:pt x="134" y="19"/>
                  </a:cubicBezTo>
                  <a:cubicBezTo>
                    <a:pt x="135" y="20"/>
                    <a:pt x="138" y="20"/>
                    <a:pt x="140" y="20"/>
                  </a:cubicBezTo>
                  <a:cubicBezTo>
                    <a:pt x="142" y="20"/>
                    <a:pt x="144" y="20"/>
                    <a:pt x="144" y="18"/>
                  </a:cubicBezTo>
                  <a:cubicBezTo>
                    <a:pt x="144" y="17"/>
                    <a:pt x="145" y="16"/>
                    <a:pt x="146" y="16"/>
                  </a:cubicBezTo>
                  <a:cubicBezTo>
                    <a:pt x="148" y="16"/>
                    <a:pt x="151" y="18"/>
                    <a:pt x="152" y="19"/>
                  </a:cubicBezTo>
                  <a:cubicBezTo>
                    <a:pt x="154" y="21"/>
                    <a:pt x="160" y="22"/>
                    <a:pt x="164" y="23"/>
                  </a:cubicBezTo>
                  <a:cubicBezTo>
                    <a:pt x="166" y="23"/>
                    <a:pt x="168" y="23"/>
                    <a:pt x="169" y="23"/>
                  </a:cubicBezTo>
                  <a:cubicBezTo>
                    <a:pt x="171" y="24"/>
                    <a:pt x="174" y="24"/>
                    <a:pt x="176" y="24"/>
                  </a:cubicBezTo>
                  <a:cubicBezTo>
                    <a:pt x="177" y="24"/>
                    <a:pt x="178" y="24"/>
                    <a:pt x="179" y="24"/>
                  </a:cubicBezTo>
                  <a:cubicBezTo>
                    <a:pt x="181" y="24"/>
                    <a:pt x="182" y="24"/>
                    <a:pt x="184" y="24"/>
                  </a:cubicBezTo>
                  <a:cubicBezTo>
                    <a:pt x="184" y="24"/>
                    <a:pt x="184" y="24"/>
                    <a:pt x="184" y="24"/>
                  </a:cubicBezTo>
                  <a:cubicBezTo>
                    <a:pt x="184" y="24"/>
                    <a:pt x="184" y="24"/>
                    <a:pt x="184" y="24"/>
                  </a:cubicBezTo>
                  <a:cubicBezTo>
                    <a:pt x="186" y="31"/>
                    <a:pt x="184" y="35"/>
                    <a:pt x="178" y="37"/>
                  </a:cubicBezTo>
                  <a:cubicBezTo>
                    <a:pt x="176" y="38"/>
                    <a:pt x="174" y="39"/>
                    <a:pt x="172" y="41"/>
                  </a:cubicBezTo>
                  <a:cubicBezTo>
                    <a:pt x="169" y="43"/>
                    <a:pt x="167" y="45"/>
                    <a:pt x="162" y="45"/>
                  </a:cubicBezTo>
                  <a:cubicBezTo>
                    <a:pt x="153" y="46"/>
                    <a:pt x="149" y="48"/>
                    <a:pt x="149" y="52"/>
                  </a:cubicBezTo>
                  <a:cubicBezTo>
                    <a:pt x="149" y="55"/>
                    <a:pt x="147" y="56"/>
                    <a:pt x="145" y="58"/>
                  </a:cubicBezTo>
                  <a:cubicBezTo>
                    <a:pt x="143" y="60"/>
                    <a:pt x="140" y="62"/>
                    <a:pt x="137" y="66"/>
                  </a:cubicBezTo>
                  <a:cubicBezTo>
                    <a:pt x="133" y="73"/>
                    <a:pt x="135" y="79"/>
                    <a:pt x="136" y="83"/>
                  </a:cubicBezTo>
                  <a:cubicBezTo>
                    <a:pt x="137" y="85"/>
                    <a:pt x="137" y="87"/>
                    <a:pt x="137" y="88"/>
                  </a:cubicBezTo>
                  <a:cubicBezTo>
                    <a:pt x="137" y="89"/>
                    <a:pt x="134" y="91"/>
                    <a:pt x="132" y="93"/>
                  </a:cubicBezTo>
                  <a:cubicBezTo>
                    <a:pt x="129" y="95"/>
                    <a:pt x="126" y="97"/>
                    <a:pt x="126" y="99"/>
                  </a:cubicBezTo>
                  <a:cubicBezTo>
                    <a:pt x="126" y="99"/>
                    <a:pt x="126" y="100"/>
                    <a:pt x="126" y="101"/>
                  </a:cubicBezTo>
                  <a:cubicBezTo>
                    <a:pt x="126" y="104"/>
                    <a:pt x="126" y="109"/>
                    <a:pt x="120" y="109"/>
                  </a:cubicBezTo>
                  <a:cubicBezTo>
                    <a:pt x="115" y="110"/>
                    <a:pt x="111" y="113"/>
                    <a:pt x="109" y="117"/>
                  </a:cubicBezTo>
                  <a:cubicBezTo>
                    <a:pt x="108" y="120"/>
                    <a:pt x="104" y="122"/>
                    <a:pt x="99" y="122"/>
                  </a:cubicBezTo>
                  <a:cubicBezTo>
                    <a:pt x="99" y="122"/>
                    <a:pt x="99" y="122"/>
                    <a:pt x="99" y="122"/>
                  </a:cubicBezTo>
                  <a:cubicBezTo>
                    <a:pt x="99" y="122"/>
                    <a:pt x="99" y="122"/>
                    <a:pt x="98" y="122"/>
                  </a:cubicBezTo>
                  <a:cubicBezTo>
                    <a:pt x="95" y="122"/>
                    <a:pt x="92" y="122"/>
                    <a:pt x="89" y="123"/>
                  </a:cubicBezTo>
                  <a:cubicBezTo>
                    <a:pt x="86" y="123"/>
                    <a:pt x="83" y="123"/>
                    <a:pt x="80" y="123"/>
                  </a:cubicBezTo>
                  <a:cubicBezTo>
                    <a:pt x="75" y="123"/>
                    <a:pt x="73" y="125"/>
                    <a:pt x="71" y="126"/>
                  </a:cubicBezTo>
                  <a:cubicBezTo>
                    <a:pt x="69" y="127"/>
                    <a:pt x="68" y="128"/>
                    <a:pt x="67" y="128"/>
                  </a:cubicBezTo>
                  <a:cubicBezTo>
                    <a:pt x="65" y="128"/>
                    <a:pt x="64" y="128"/>
                    <a:pt x="63" y="128"/>
                  </a:cubicBezTo>
                  <a:cubicBezTo>
                    <a:pt x="62" y="128"/>
                    <a:pt x="62" y="128"/>
                    <a:pt x="61" y="128"/>
                  </a:cubicBezTo>
                  <a:cubicBezTo>
                    <a:pt x="60" y="128"/>
                    <a:pt x="59" y="128"/>
                    <a:pt x="59" y="128"/>
                  </a:cubicBezTo>
                  <a:cubicBezTo>
                    <a:pt x="58" y="129"/>
                    <a:pt x="58" y="130"/>
                    <a:pt x="58" y="130"/>
                  </a:cubicBezTo>
                  <a:cubicBezTo>
                    <a:pt x="57" y="132"/>
                    <a:pt x="57" y="133"/>
                    <a:pt x="55" y="133"/>
                  </a:cubicBezTo>
                  <a:cubicBezTo>
                    <a:pt x="54" y="133"/>
                    <a:pt x="54" y="133"/>
                    <a:pt x="54" y="133"/>
                  </a:cubicBezTo>
                  <a:close/>
                  <a:moveTo>
                    <a:pt x="33" y="115"/>
                  </a:moveTo>
                  <a:cubicBezTo>
                    <a:pt x="34" y="115"/>
                    <a:pt x="36" y="115"/>
                    <a:pt x="37" y="116"/>
                  </a:cubicBezTo>
                  <a:cubicBezTo>
                    <a:pt x="40" y="117"/>
                    <a:pt x="42" y="120"/>
                    <a:pt x="44" y="123"/>
                  </a:cubicBezTo>
                  <a:cubicBezTo>
                    <a:pt x="47" y="128"/>
                    <a:pt x="50" y="133"/>
                    <a:pt x="55" y="132"/>
                  </a:cubicBezTo>
                  <a:cubicBezTo>
                    <a:pt x="56" y="132"/>
                    <a:pt x="57" y="131"/>
                    <a:pt x="57" y="130"/>
                  </a:cubicBezTo>
                  <a:cubicBezTo>
                    <a:pt x="57" y="129"/>
                    <a:pt x="57" y="129"/>
                    <a:pt x="58" y="128"/>
                  </a:cubicBezTo>
                  <a:cubicBezTo>
                    <a:pt x="59" y="127"/>
                    <a:pt x="60" y="127"/>
                    <a:pt x="61" y="127"/>
                  </a:cubicBezTo>
                  <a:cubicBezTo>
                    <a:pt x="62" y="127"/>
                    <a:pt x="63" y="127"/>
                    <a:pt x="63" y="127"/>
                  </a:cubicBezTo>
                  <a:cubicBezTo>
                    <a:pt x="64" y="127"/>
                    <a:pt x="65" y="127"/>
                    <a:pt x="67" y="127"/>
                  </a:cubicBezTo>
                  <a:cubicBezTo>
                    <a:pt x="68" y="127"/>
                    <a:pt x="69" y="126"/>
                    <a:pt x="70" y="126"/>
                  </a:cubicBezTo>
                  <a:cubicBezTo>
                    <a:pt x="72" y="124"/>
                    <a:pt x="75" y="122"/>
                    <a:pt x="80" y="122"/>
                  </a:cubicBezTo>
                  <a:cubicBezTo>
                    <a:pt x="83" y="122"/>
                    <a:pt x="86" y="122"/>
                    <a:pt x="89" y="122"/>
                  </a:cubicBezTo>
                  <a:cubicBezTo>
                    <a:pt x="92" y="121"/>
                    <a:pt x="95" y="121"/>
                    <a:pt x="98" y="121"/>
                  </a:cubicBezTo>
                  <a:cubicBezTo>
                    <a:pt x="104" y="122"/>
                    <a:pt x="107" y="120"/>
                    <a:pt x="108" y="117"/>
                  </a:cubicBezTo>
                  <a:cubicBezTo>
                    <a:pt x="110" y="113"/>
                    <a:pt x="114" y="109"/>
                    <a:pt x="120" y="108"/>
                  </a:cubicBezTo>
                  <a:cubicBezTo>
                    <a:pt x="125" y="108"/>
                    <a:pt x="125" y="104"/>
                    <a:pt x="125" y="101"/>
                  </a:cubicBezTo>
                  <a:cubicBezTo>
                    <a:pt x="125" y="100"/>
                    <a:pt x="125" y="99"/>
                    <a:pt x="125" y="99"/>
                  </a:cubicBezTo>
                  <a:cubicBezTo>
                    <a:pt x="125" y="97"/>
                    <a:pt x="128" y="94"/>
                    <a:pt x="131" y="92"/>
                  </a:cubicBezTo>
                  <a:cubicBezTo>
                    <a:pt x="134" y="90"/>
                    <a:pt x="136" y="88"/>
                    <a:pt x="136" y="87"/>
                  </a:cubicBezTo>
                  <a:cubicBezTo>
                    <a:pt x="136" y="87"/>
                    <a:pt x="136" y="85"/>
                    <a:pt x="135" y="84"/>
                  </a:cubicBezTo>
                  <a:cubicBezTo>
                    <a:pt x="134" y="79"/>
                    <a:pt x="132" y="72"/>
                    <a:pt x="136" y="66"/>
                  </a:cubicBezTo>
                  <a:cubicBezTo>
                    <a:pt x="139" y="62"/>
                    <a:pt x="142" y="59"/>
                    <a:pt x="144" y="57"/>
                  </a:cubicBezTo>
                  <a:cubicBezTo>
                    <a:pt x="147" y="56"/>
                    <a:pt x="148" y="54"/>
                    <a:pt x="148" y="52"/>
                  </a:cubicBezTo>
                  <a:cubicBezTo>
                    <a:pt x="148" y="47"/>
                    <a:pt x="156" y="45"/>
                    <a:pt x="162" y="44"/>
                  </a:cubicBezTo>
                  <a:cubicBezTo>
                    <a:pt x="166" y="44"/>
                    <a:pt x="169" y="42"/>
                    <a:pt x="171" y="40"/>
                  </a:cubicBezTo>
                  <a:cubicBezTo>
                    <a:pt x="173" y="39"/>
                    <a:pt x="175" y="37"/>
                    <a:pt x="178" y="36"/>
                  </a:cubicBezTo>
                  <a:cubicBezTo>
                    <a:pt x="183" y="34"/>
                    <a:pt x="184" y="31"/>
                    <a:pt x="184" y="25"/>
                  </a:cubicBezTo>
                  <a:cubicBezTo>
                    <a:pt x="182" y="25"/>
                    <a:pt x="180" y="25"/>
                    <a:pt x="179" y="25"/>
                  </a:cubicBezTo>
                  <a:cubicBezTo>
                    <a:pt x="178" y="25"/>
                    <a:pt x="177" y="25"/>
                    <a:pt x="176" y="25"/>
                  </a:cubicBezTo>
                  <a:cubicBezTo>
                    <a:pt x="174" y="25"/>
                    <a:pt x="171" y="25"/>
                    <a:pt x="169" y="24"/>
                  </a:cubicBezTo>
                  <a:cubicBezTo>
                    <a:pt x="168" y="24"/>
                    <a:pt x="166" y="24"/>
                    <a:pt x="164" y="24"/>
                  </a:cubicBezTo>
                  <a:cubicBezTo>
                    <a:pt x="159" y="23"/>
                    <a:pt x="153" y="22"/>
                    <a:pt x="151" y="20"/>
                  </a:cubicBezTo>
                  <a:cubicBezTo>
                    <a:pt x="150" y="18"/>
                    <a:pt x="148" y="17"/>
                    <a:pt x="146" y="17"/>
                  </a:cubicBezTo>
                  <a:cubicBezTo>
                    <a:pt x="146" y="17"/>
                    <a:pt x="145" y="17"/>
                    <a:pt x="145" y="18"/>
                  </a:cubicBezTo>
                  <a:cubicBezTo>
                    <a:pt x="145" y="20"/>
                    <a:pt x="143" y="21"/>
                    <a:pt x="140" y="21"/>
                  </a:cubicBezTo>
                  <a:cubicBezTo>
                    <a:pt x="137" y="21"/>
                    <a:pt x="135" y="21"/>
                    <a:pt x="133" y="20"/>
                  </a:cubicBezTo>
                  <a:cubicBezTo>
                    <a:pt x="131" y="18"/>
                    <a:pt x="128" y="17"/>
                    <a:pt x="126" y="16"/>
                  </a:cubicBezTo>
                  <a:cubicBezTo>
                    <a:pt x="123" y="15"/>
                    <a:pt x="121" y="14"/>
                    <a:pt x="119" y="13"/>
                  </a:cubicBezTo>
                  <a:cubicBezTo>
                    <a:pt x="118" y="12"/>
                    <a:pt x="116" y="11"/>
                    <a:pt x="114" y="10"/>
                  </a:cubicBezTo>
                  <a:cubicBezTo>
                    <a:pt x="113" y="10"/>
                    <a:pt x="112" y="9"/>
                    <a:pt x="111" y="9"/>
                  </a:cubicBezTo>
                  <a:cubicBezTo>
                    <a:pt x="109" y="9"/>
                    <a:pt x="106" y="8"/>
                    <a:pt x="101" y="8"/>
                  </a:cubicBezTo>
                  <a:cubicBezTo>
                    <a:pt x="97" y="7"/>
                    <a:pt x="93" y="6"/>
                    <a:pt x="88" y="6"/>
                  </a:cubicBezTo>
                  <a:cubicBezTo>
                    <a:pt x="88" y="6"/>
                    <a:pt x="87" y="6"/>
                    <a:pt x="86" y="6"/>
                  </a:cubicBezTo>
                  <a:cubicBezTo>
                    <a:pt x="84" y="6"/>
                    <a:pt x="82" y="6"/>
                    <a:pt x="79" y="6"/>
                  </a:cubicBezTo>
                  <a:cubicBezTo>
                    <a:pt x="74" y="6"/>
                    <a:pt x="68" y="6"/>
                    <a:pt x="62" y="6"/>
                  </a:cubicBezTo>
                  <a:cubicBezTo>
                    <a:pt x="56" y="6"/>
                    <a:pt x="50" y="5"/>
                    <a:pt x="44" y="5"/>
                  </a:cubicBezTo>
                  <a:cubicBezTo>
                    <a:pt x="42" y="5"/>
                    <a:pt x="40" y="5"/>
                    <a:pt x="38" y="6"/>
                  </a:cubicBezTo>
                  <a:cubicBezTo>
                    <a:pt x="37" y="6"/>
                    <a:pt x="36" y="6"/>
                    <a:pt x="36" y="6"/>
                  </a:cubicBezTo>
                  <a:cubicBezTo>
                    <a:pt x="31" y="6"/>
                    <a:pt x="28" y="4"/>
                    <a:pt x="26" y="3"/>
                  </a:cubicBezTo>
                  <a:cubicBezTo>
                    <a:pt x="24" y="2"/>
                    <a:pt x="23" y="1"/>
                    <a:pt x="20" y="1"/>
                  </a:cubicBezTo>
                  <a:cubicBezTo>
                    <a:pt x="18" y="1"/>
                    <a:pt x="17" y="2"/>
                    <a:pt x="16" y="4"/>
                  </a:cubicBezTo>
                  <a:cubicBezTo>
                    <a:pt x="15" y="6"/>
                    <a:pt x="13" y="8"/>
                    <a:pt x="8" y="9"/>
                  </a:cubicBezTo>
                  <a:cubicBezTo>
                    <a:pt x="5" y="9"/>
                    <a:pt x="2" y="10"/>
                    <a:pt x="2" y="12"/>
                  </a:cubicBezTo>
                  <a:cubicBezTo>
                    <a:pt x="1" y="13"/>
                    <a:pt x="2" y="16"/>
                    <a:pt x="5" y="18"/>
                  </a:cubicBezTo>
                  <a:cubicBezTo>
                    <a:pt x="9" y="21"/>
                    <a:pt x="9" y="27"/>
                    <a:pt x="8" y="32"/>
                  </a:cubicBezTo>
                  <a:cubicBezTo>
                    <a:pt x="10" y="32"/>
                    <a:pt x="11" y="32"/>
                    <a:pt x="11" y="31"/>
                  </a:cubicBezTo>
                  <a:cubicBezTo>
                    <a:pt x="12" y="29"/>
                    <a:pt x="14" y="29"/>
                    <a:pt x="15" y="29"/>
                  </a:cubicBezTo>
                  <a:cubicBezTo>
                    <a:pt x="16" y="29"/>
                    <a:pt x="17" y="30"/>
                    <a:pt x="17" y="32"/>
                  </a:cubicBezTo>
                  <a:cubicBezTo>
                    <a:pt x="17" y="33"/>
                    <a:pt x="18" y="34"/>
                    <a:pt x="21" y="34"/>
                  </a:cubicBezTo>
                  <a:cubicBezTo>
                    <a:pt x="22" y="34"/>
                    <a:pt x="23" y="33"/>
                    <a:pt x="24" y="33"/>
                  </a:cubicBezTo>
                  <a:cubicBezTo>
                    <a:pt x="24" y="33"/>
                    <a:pt x="25" y="33"/>
                    <a:pt x="26" y="33"/>
                  </a:cubicBezTo>
                  <a:cubicBezTo>
                    <a:pt x="27" y="33"/>
                    <a:pt x="28" y="34"/>
                    <a:pt x="28" y="34"/>
                  </a:cubicBezTo>
                  <a:cubicBezTo>
                    <a:pt x="29" y="34"/>
                    <a:pt x="29" y="35"/>
                    <a:pt x="29" y="35"/>
                  </a:cubicBezTo>
                  <a:cubicBezTo>
                    <a:pt x="29" y="35"/>
                    <a:pt x="30" y="34"/>
                    <a:pt x="31" y="33"/>
                  </a:cubicBezTo>
                  <a:cubicBezTo>
                    <a:pt x="33" y="32"/>
                    <a:pt x="34" y="32"/>
                    <a:pt x="36" y="32"/>
                  </a:cubicBezTo>
                  <a:cubicBezTo>
                    <a:pt x="39" y="32"/>
                    <a:pt x="41" y="33"/>
                    <a:pt x="41" y="35"/>
                  </a:cubicBezTo>
                  <a:cubicBezTo>
                    <a:pt x="41" y="36"/>
                    <a:pt x="42" y="37"/>
                    <a:pt x="43" y="37"/>
                  </a:cubicBezTo>
                  <a:cubicBezTo>
                    <a:pt x="44" y="38"/>
                    <a:pt x="45" y="38"/>
                    <a:pt x="46" y="39"/>
                  </a:cubicBezTo>
                  <a:cubicBezTo>
                    <a:pt x="46" y="40"/>
                    <a:pt x="45" y="40"/>
                    <a:pt x="44" y="42"/>
                  </a:cubicBezTo>
                  <a:cubicBezTo>
                    <a:pt x="43" y="43"/>
                    <a:pt x="41" y="44"/>
                    <a:pt x="39" y="46"/>
                  </a:cubicBezTo>
                  <a:cubicBezTo>
                    <a:pt x="37" y="47"/>
                    <a:pt x="35" y="48"/>
                    <a:pt x="35" y="50"/>
                  </a:cubicBezTo>
                  <a:cubicBezTo>
                    <a:pt x="35" y="50"/>
                    <a:pt x="36" y="52"/>
                    <a:pt x="36" y="53"/>
                  </a:cubicBezTo>
                  <a:cubicBezTo>
                    <a:pt x="37" y="57"/>
                    <a:pt x="39" y="61"/>
                    <a:pt x="36" y="64"/>
                  </a:cubicBezTo>
                  <a:cubicBezTo>
                    <a:pt x="34" y="65"/>
                    <a:pt x="35" y="68"/>
                    <a:pt x="35" y="70"/>
                  </a:cubicBezTo>
                  <a:cubicBezTo>
                    <a:pt x="35" y="71"/>
                    <a:pt x="35" y="72"/>
                    <a:pt x="35" y="73"/>
                  </a:cubicBezTo>
                  <a:cubicBezTo>
                    <a:pt x="34" y="73"/>
                    <a:pt x="34" y="74"/>
                    <a:pt x="33" y="74"/>
                  </a:cubicBezTo>
                  <a:cubicBezTo>
                    <a:pt x="31" y="74"/>
                    <a:pt x="29" y="74"/>
                    <a:pt x="28" y="75"/>
                  </a:cubicBezTo>
                  <a:cubicBezTo>
                    <a:pt x="28" y="76"/>
                    <a:pt x="29" y="78"/>
                    <a:pt x="30" y="78"/>
                  </a:cubicBezTo>
                  <a:cubicBezTo>
                    <a:pt x="34" y="83"/>
                    <a:pt x="36" y="85"/>
                    <a:pt x="35" y="86"/>
                  </a:cubicBezTo>
                  <a:cubicBezTo>
                    <a:pt x="35" y="87"/>
                    <a:pt x="34" y="87"/>
                    <a:pt x="34" y="87"/>
                  </a:cubicBezTo>
                  <a:cubicBezTo>
                    <a:pt x="32" y="87"/>
                    <a:pt x="31" y="89"/>
                    <a:pt x="30" y="90"/>
                  </a:cubicBezTo>
                  <a:cubicBezTo>
                    <a:pt x="30" y="92"/>
                    <a:pt x="30" y="94"/>
                    <a:pt x="30" y="94"/>
                  </a:cubicBezTo>
                  <a:cubicBezTo>
                    <a:pt x="31" y="95"/>
                    <a:pt x="31" y="95"/>
                    <a:pt x="31" y="95"/>
                  </a:cubicBezTo>
                  <a:cubicBezTo>
                    <a:pt x="34" y="97"/>
                    <a:pt x="36" y="99"/>
                    <a:pt x="36" y="101"/>
                  </a:cubicBezTo>
                  <a:cubicBezTo>
                    <a:pt x="35" y="102"/>
                    <a:pt x="35" y="102"/>
                    <a:pt x="33" y="102"/>
                  </a:cubicBezTo>
                  <a:cubicBezTo>
                    <a:pt x="28" y="103"/>
                    <a:pt x="28" y="108"/>
                    <a:pt x="28" y="111"/>
                  </a:cubicBezTo>
                  <a:cubicBezTo>
                    <a:pt x="28" y="112"/>
                    <a:pt x="28" y="113"/>
                    <a:pt x="30" y="115"/>
                  </a:cubicBezTo>
                  <a:cubicBezTo>
                    <a:pt x="31" y="115"/>
                    <a:pt x="32" y="115"/>
                    <a:pt x="33" y="115"/>
                  </a:cubicBezTo>
                  <a:close/>
                  <a:moveTo>
                    <a:pt x="180" y="79"/>
                  </a:moveTo>
                  <a:cubicBezTo>
                    <a:pt x="180" y="79"/>
                    <a:pt x="180" y="79"/>
                    <a:pt x="180" y="79"/>
                  </a:cubicBezTo>
                  <a:cubicBezTo>
                    <a:pt x="177" y="79"/>
                    <a:pt x="175" y="78"/>
                    <a:pt x="172" y="76"/>
                  </a:cubicBezTo>
                  <a:cubicBezTo>
                    <a:pt x="172" y="76"/>
                    <a:pt x="171" y="75"/>
                    <a:pt x="172" y="74"/>
                  </a:cubicBezTo>
                  <a:cubicBezTo>
                    <a:pt x="172" y="72"/>
                    <a:pt x="178" y="68"/>
                    <a:pt x="182" y="68"/>
                  </a:cubicBezTo>
                  <a:cubicBezTo>
                    <a:pt x="184" y="68"/>
                    <a:pt x="185" y="69"/>
                    <a:pt x="186" y="71"/>
                  </a:cubicBezTo>
                  <a:cubicBezTo>
                    <a:pt x="186" y="74"/>
                    <a:pt x="186" y="75"/>
                    <a:pt x="185" y="77"/>
                  </a:cubicBezTo>
                  <a:cubicBezTo>
                    <a:pt x="183" y="78"/>
                    <a:pt x="182" y="79"/>
                    <a:pt x="180" y="79"/>
                  </a:cubicBezTo>
                  <a:close/>
                  <a:moveTo>
                    <a:pt x="182" y="69"/>
                  </a:moveTo>
                  <a:cubicBezTo>
                    <a:pt x="178" y="69"/>
                    <a:pt x="173" y="73"/>
                    <a:pt x="173" y="75"/>
                  </a:cubicBezTo>
                  <a:cubicBezTo>
                    <a:pt x="173" y="75"/>
                    <a:pt x="173" y="75"/>
                    <a:pt x="173" y="75"/>
                  </a:cubicBezTo>
                  <a:cubicBezTo>
                    <a:pt x="175" y="77"/>
                    <a:pt x="178" y="78"/>
                    <a:pt x="180" y="78"/>
                  </a:cubicBezTo>
                  <a:cubicBezTo>
                    <a:pt x="180" y="78"/>
                    <a:pt x="180" y="78"/>
                    <a:pt x="180" y="78"/>
                  </a:cubicBezTo>
                  <a:cubicBezTo>
                    <a:pt x="182" y="78"/>
                    <a:pt x="183" y="77"/>
                    <a:pt x="184" y="76"/>
                  </a:cubicBezTo>
                  <a:cubicBezTo>
                    <a:pt x="185" y="75"/>
                    <a:pt x="185" y="73"/>
                    <a:pt x="185" y="71"/>
                  </a:cubicBezTo>
                  <a:cubicBezTo>
                    <a:pt x="185" y="70"/>
                    <a:pt x="184" y="69"/>
                    <a:pt x="182" y="6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6" name="Freeform 133"/>
            <p:cNvSpPr>
              <a:spLocks noEditPoints="1"/>
            </p:cNvSpPr>
            <p:nvPr/>
          </p:nvSpPr>
          <p:spPr>
            <a:xfrm>
              <a:off x="5100639" y="2547938"/>
              <a:ext cx="85725" cy="47625"/>
            </a:xfrm>
            <a:custGeom>
              <a:gdLst>
                <a:gd name="T0" fmla="*/ 12 w 50"/>
                <a:gd name="T1" fmla="*/ 28 h 28"/>
                <a:gd name="T2" fmla="*/ 12 w 50"/>
                <a:gd name="T3" fmla="*/ 27 h 28"/>
                <a:gd name="T4" fmla="*/ 9 w 50"/>
                <a:gd name="T5" fmla="*/ 23 h 28"/>
                <a:gd name="T6" fmla="*/ 1 w 50"/>
                <a:gd name="T7" fmla="*/ 24 h 28"/>
                <a:gd name="T8" fmla="*/ 0 w 50"/>
                <a:gd name="T9" fmla="*/ 25 h 28"/>
                <a:gd name="T10" fmla="*/ 0 w 50"/>
                <a:gd name="T11" fmla="*/ 24 h 28"/>
                <a:gd name="T12" fmla="*/ 1 w 50"/>
                <a:gd name="T13" fmla="*/ 5 h 28"/>
                <a:gd name="T14" fmla="*/ 1 w 50"/>
                <a:gd name="T15" fmla="*/ 4 h 28"/>
                <a:gd name="T16" fmla="*/ 1 w 50"/>
                <a:gd name="T17" fmla="*/ 4 h 28"/>
                <a:gd name="T18" fmla="*/ 7 w 50"/>
                <a:gd name="T19" fmla="*/ 5 h 28"/>
                <a:gd name="T20" fmla="*/ 17 w 50"/>
                <a:gd name="T21" fmla="*/ 6 h 28"/>
                <a:gd name="T22" fmla="*/ 23 w 50"/>
                <a:gd name="T23" fmla="*/ 8 h 28"/>
                <a:gd name="T24" fmla="*/ 27 w 50"/>
                <a:gd name="T25" fmla="*/ 6 h 28"/>
                <a:gd name="T26" fmla="*/ 36 w 50"/>
                <a:gd name="T27" fmla="*/ 3 h 28"/>
                <a:gd name="T28" fmla="*/ 44 w 50"/>
                <a:gd name="T29" fmla="*/ 1 h 28"/>
                <a:gd name="T30" fmla="*/ 46 w 50"/>
                <a:gd name="T31" fmla="*/ 0 h 28"/>
                <a:gd name="T32" fmla="*/ 50 w 50"/>
                <a:gd name="T33" fmla="*/ 6 h 28"/>
                <a:gd name="T34" fmla="*/ 50 w 50"/>
                <a:gd name="T35" fmla="*/ 6 h 28"/>
                <a:gd name="T36" fmla="*/ 50 w 50"/>
                <a:gd name="T37" fmla="*/ 6 h 28"/>
                <a:gd name="T38" fmla="*/ 40 w 50"/>
                <a:gd name="T39" fmla="*/ 12 h 28"/>
                <a:gd name="T40" fmla="*/ 39 w 50"/>
                <a:gd name="T41" fmla="*/ 16 h 28"/>
                <a:gd name="T42" fmla="*/ 37 w 50"/>
                <a:gd name="T43" fmla="*/ 19 h 28"/>
                <a:gd name="T44" fmla="*/ 32 w 50"/>
                <a:gd name="T45" fmla="*/ 26 h 28"/>
                <a:gd name="T46" fmla="*/ 30 w 50"/>
                <a:gd name="T47" fmla="*/ 27 h 28"/>
                <a:gd name="T48" fmla="*/ 27 w 50"/>
                <a:gd name="T49" fmla="*/ 26 h 28"/>
                <a:gd name="T50" fmla="*/ 23 w 50"/>
                <a:gd name="T51" fmla="*/ 26 h 28"/>
                <a:gd name="T52" fmla="*/ 12 w 50"/>
                <a:gd name="T53" fmla="*/ 28 h 28"/>
                <a:gd name="T54" fmla="*/ 7 w 50"/>
                <a:gd name="T55" fmla="*/ 22 h 28"/>
                <a:gd name="T56" fmla="*/ 10 w 50"/>
                <a:gd name="T57" fmla="*/ 22 h 28"/>
                <a:gd name="T58" fmla="*/ 13 w 50"/>
                <a:gd name="T59" fmla="*/ 27 h 28"/>
                <a:gd name="T60" fmla="*/ 22 w 50"/>
                <a:gd name="T61" fmla="*/ 25 h 28"/>
                <a:gd name="T62" fmla="*/ 27 w 50"/>
                <a:gd name="T63" fmla="*/ 25 h 28"/>
                <a:gd name="T64" fmla="*/ 30 w 50"/>
                <a:gd name="T65" fmla="*/ 26 h 28"/>
                <a:gd name="T66" fmla="*/ 31 w 50"/>
                <a:gd name="T67" fmla="*/ 25 h 28"/>
                <a:gd name="T68" fmla="*/ 37 w 50"/>
                <a:gd name="T69" fmla="*/ 18 h 28"/>
                <a:gd name="T70" fmla="*/ 38 w 50"/>
                <a:gd name="T71" fmla="*/ 15 h 28"/>
                <a:gd name="T72" fmla="*/ 40 w 50"/>
                <a:gd name="T73" fmla="*/ 11 h 28"/>
                <a:gd name="T74" fmla="*/ 49 w 50"/>
                <a:gd name="T75" fmla="*/ 6 h 28"/>
                <a:gd name="T76" fmla="*/ 46 w 50"/>
                <a:gd name="T77" fmla="*/ 1 h 28"/>
                <a:gd name="T78" fmla="*/ 44 w 50"/>
                <a:gd name="T79" fmla="*/ 1 h 28"/>
                <a:gd name="T80" fmla="*/ 36 w 50"/>
                <a:gd name="T81" fmla="*/ 4 h 28"/>
                <a:gd name="T82" fmla="*/ 27 w 50"/>
                <a:gd name="T83" fmla="*/ 7 h 28"/>
                <a:gd name="T84" fmla="*/ 23 w 50"/>
                <a:gd name="T85" fmla="*/ 9 h 28"/>
                <a:gd name="T86" fmla="*/ 17 w 50"/>
                <a:gd name="T87" fmla="*/ 7 h 28"/>
                <a:gd name="T88" fmla="*/ 7 w 50"/>
                <a:gd name="T89" fmla="*/ 6 h 28"/>
                <a:gd name="T90" fmla="*/ 2 w 50"/>
                <a:gd name="T91" fmla="*/ 5 h 28"/>
                <a:gd name="T92" fmla="*/ 1 w 50"/>
                <a:gd name="T93" fmla="*/ 23 h 28"/>
                <a:gd name="T94" fmla="*/ 7 w 50"/>
                <a:gd name="T95" fmla="*/ 22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28">
                  <a:moveTo>
                    <a:pt x="12" y="28"/>
                  </a:moveTo>
                  <a:cubicBezTo>
                    <a:pt x="12" y="27"/>
                    <a:pt x="12" y="27"/>
                    <a:pt x="12" y="27"/>
                  </a:cubicBezTo>
                  <a:cubicBezTo>
                    <a:pt x="11" y="25"/>
                    <a:pt x="11" y="24"/>
                    <a:pt x="9" y="23"/>
                  </a:cubicBezTo>
                  <a:cubicBezTo>
                    <a:pt x="8" y="23"/>
                    <a:pt x="4" y="23"/>
                    <a:pt x="1" y="24"/>
                  </a:cubicBezTo>
                  <a:cubicBezTo>
                    <a:pt x="0" y="25"/>
                    <a:pt x="0" y="25"/>
                    <a:pt x="0" y="25"/>
                  </a:cubicBezTo>
                  <a:cubicBezTo>
                    <a:pt x="0" y="24"/>
                    <a:pt x="0" y="24"/>
                    <a:pt x="0" y="24"/>
                  </a:cubicBezTo>
                  <a:cubicBezTo>
                    <a:pt x="0" y="17"/>
                    <a:pt x="0" y="9"/>
                    <a:pt x="1" y="5"/>
                  </a:cubicBezTo>
                  <a:cubicBezTo>
                    <a:pt x="1" y="4"/>
                    <a:pt x="1" y="4"/>
                    <a:pt x="1" y="4"/>
                  </a:cubicBezTo>
                  <a:cubicBezTo>
                    <a:pt x="1" y="4"/>
                    <a:pt x="1" y="4"/>
                    <a:pt x="1" y="4"/>
                  </a:cubicBezTo>
                  <a:cubicBezTo>
                    <a:pt x="3" y="4"/>
                    <a:pt x="5" y="5"/>
                    <a:pt x="7" y="5"/>
                  </a:cubicBezTo>
                  <a:cubicBezTo>
                    <a:pt x="10" y="5"/>
                    <a:pt x="14" y="6"/>
                    <a:pt x="17" y="6"/>
                  </a:cubicBezTo>
                  <a:cubicBezTo>
                    <a:pt x="20" y="7"/>
                    <a:pt x="22" y="8"/>
                    <a:pt x="23" y="8"/>
                  </a:cubicBezTo>
                  <a:cubicBezTo>
                    <a:pt x="24" y="8"/>
                    <a:pt x="25" y="7"/>
                    <a:pt x="27" y="6"/>
                  </a:cubicBezTo>
                  <a:cubicBezTo>
                    <a:pt x="29" y="5"/>
                    <a:pt x="32" y="3"/>
                    <a:pt x="36" y="3"/>
                  </a:cubicBezTo>
                  <a:cubicBezTo>
                    <a:pt x="39" y="3"/>
                    <a:pt x="42" y="2"/>
                    <a:pt x="44" y="1"/>
                  </a:cubicBezTo>
                  <a:cubicBezTo>
                    <a:pt x="45" y="0"/>
                    <a:pt x="45" y="0"/>
                    <a:pt x="46" y="0"/>
                  </a:cubicBezTo>
                  <a:cubicBezTo>
                    <a:pt x="47" y="0"/>
                    <a:pt x="49" y="4"/>
                    <a:pt x="50" y="6"/>
                  </a:cubicBezTo>
                  <a:cubicBezTo>
                    <a:pt x="50" y="6"/>
                    <a:pt x="50" y="6"/>
                    <a:pt x="50" y="6"/>
                  </a:cubicBezTo>
                  <a:cubicBezTo>
                    <a:pt x="50" y="6"/>
                    <a:pt x="50" y="6"/>
                    <a:pt x="50" y="6"/>
                  </a:cubicBezTo>
                  <a:cubicBezTo>
                    <a:pt x="49" y="7"/>
                    <a:pt x="43" y="12"/>
                    <a:pt x="40" y="12"/>
                  </a:cubicBezTo>
                  <a:cubicBezTo>
                    <a:pt x="39" y="12"/>
                    <a:pt x="39" y="14"/>
                    <a:pt x="39" y="16"/>
                  </a:cubicBezTo>
                  <a:cubicBezTo>
                    <a:pt x="39" y="17"/>
                    <a:pt x="38" y="19"/>
                    <a:pt x="37" y="19"/>
                  </a:cubicBezTo>
                  <a:cubicBezTo>
                    <a:pt x="35" y="19"/>
                    <a:pt x="33" y="23"/>
                    <a:pt x="32" y="26"/>
                  </a:cubicBezTo>
                  <a:cubicBezTo>
                    <a:pt x="32" y="26"/>
                    <a:pt x="31" y="27"/>
                    <a:pt x="30" y="27"/>
                  </a:cubicBezTo>
                  <a:cubicBezTo>
                    <a:pt x="29" y="27"/>
                    <a:pt x="28" y="26"/>
                    <a:pt x="27" y="26"/>
                  </a:cubicBezTo>
                  <a:cubicBezTo>
                    <a:pt x="25" y="26"/>
                    <a:pt x="24" y="25"/>
                    <a:pt x="23" y="26"/>
                  </a:cubicBezTo>
                  <a:cubicBezTo>
                    <a:pt x="21" y="26"/>
                    <a:pt x="16" y="27"/>
                    <a:pt x="12" y="28"/>
                  </a:cubicBezTo>
                  <a:close/>
                  <a:moveTo>
                    <a:pt x="7" y="22"/>
                  </a:moveTo>
                  <a:cubicBezTo>
                    <a:pt x="8" y="22"/>
                    <a:pt x="9" y="22"/>
                    <a:pt x="10" y="22"/>
                  </a:cubicBezTo>
                  <a:cubicBezTo>
                    <a:pt x="12" y="23"/>
                    <a:pt x="12" y="25"/>
                    <a:pt x="13" y="27"/>
                  </a:cubicBezTo>
                  <a:cubicBezTo>
                    <a:pt x="16" y="26"/>
                    <a:pt x="21" y="25"/>
                    <a:pt x="22" y="25"/>
                  </a:cubicBezTo>
                  <a:cubicBezTo>
                    <a:pt x="24" y="24"/>
                    <a:pt x="26" y="25"/>
                    <a:pt x="27" y="25"/>
                  </a:cubicBezTo>
                  <a:cubicBezTo>
                    <a:pt x="29" y="25"/>
                    <a:pt x="30" y="26"/>
                    <a:pt x="30" y="26"/>
                  </a:cubicBezTo>
                  <a:cubicBezTo>
                    <a:pt x="31" y="26"/>
                    <a:pt x="31" y="25"/>
                    <a:pt x="31" y="25"/>
                  </a:cubicBezTo>
                  <a:cubicBezTo>
                    <a:pt x="31" y="24"/>
                    <a:pt x="33" y="18"/>
                    <a:pt x="37" y="18"/>
                  </a:cubicBezTo>
                  <a:cubicBezTo>
                    <a:pt x="37" y="18"/>
                    <a:pt x="38" y="17"/>
                    <a:pt x="38" y="15"/>
                  </a:cubicBezTo>
                  <a:cubicBezTo>
                    <a:pt x="38" y="14"/>
                    <a:pt x="38" y="12"/>
                    <a:pt x="40" y="11"/>
                  </a:cubicBezTo>
                  <a:cubicBezTo>
                    <a:pt x="42" y="11"/>
                    <a:pt x="47" y="7"/>
                    <a:pt x="49" y="6"/>
                  </a:cubicBezTo>
                  <a:cubicBezTo>
                    <a:pt x="47" y="3"/>
                    <a:pt x="46" y="1"/>
                    <a:pt x="46" y="1"/>
                  </a:cubicBezTo>
                  <a:cubicBezTo>
                    <a:pt x="45" y="1"/>
                    <a:pt x="45" y="1"/>
                    <a:pt x="44" y="1"/>
                  </a:cubicBezTo>
                  <a:cubicBezTo>
                    <a:pt x="42" y="2"/>
                    <a:pt x="40" y="4"/>
                    <a:pt x="36" y="4"/>
                  </a:cubicBezTo>
                  <a:cubicBezTo>
                    <a:pt x="32" y="4"/>
                    <a:pt x="29" y="6"/>
                    <a:pt x="27" y="7"/>
                  </a:cubicBezTo>
                  <a:cubicBezTo>
                    <a:pt x="26" y="8"/>
                    <a:pt x="24" y="9"/>
                    <a:pt x="23" y="9"/>
                  </a:cubicBezTo>
                  <a:cubicBezTo>
                    <a:pt x="22" y="9"/>
                    <a:pt x="20" y="8"/>
                    <a:pt x="17" y="7"/>
                  </a:cubicBezTo>
                  <a:cubicBezTo>
                    <a:pt x="14" y="7"/>
                    <a:pt x="10" y="6"/>
                    <a:pt x="7" y="6"/>
                  </a:cubicBezTo>
                  <a:cubicBezTo>
                    <a:pt x="5" y="6"/>
                    <a:pt x="3" y="5"/>
                    <a:pt x="2" y="5"/>
                  </a:cubicBezTo>
                  <a:cubicBezTo>
                    <a:pt x="1" y="9"/>
                    <a:pt x="1" y="16"/>
                    <a:pt x="1" y="23"/>
                  </a:cubicBezTo>
                  <a:cubicBezTo>
                    <a:pt x="3" y="22"/>
                    <a:pt x="6" y="22"/>
                    <a:pt x="7"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7" name="Freeform 134"/>
            <p:cNvSpPr>
              <a:spLocks noEditPoints="1"/>
            </p:cNvSpPr>
            <p:nvPr/>
          </p:nvSpPr>
          <p:spPr>
            <a:xfrm>
              <a:off x="5270501" y="2703513"/>
              <a:ext cx="160338" cy="196850"/>
            </a:xfrm>
            <a:custGeom>
              <a:gdLst>
                <a:gd name="T0" fmla="*/ 55 w 94"/>
                <a:gd name="T1" fmla="*/ 112 h 116"/>
                <a:gd name="T2" fmla="*/ 57 w 94"/>
                <a:gd name="T3" fmla="*/ 106 h 116"/>
                <a:gd name="T4" fmla="*/ 80 w 94"/>
                <a:gd name="T5" fmla="*/ 108 h 116"/>
                <a:gd name="T6" fmla="*/ 89 w 94"/>
                <a:gd name="T7" fmla="*/ 109 h 116"/>
                <a:gd name="T8" fmla="*/ 48 w 94"/>
                <a:gd name="T9" fmla="*/ 109 h 116"/>
                <a:gd name="T10" fmla="*/ 70 w 94"/>
                <a:gd name="T11" fmla="*/ 115 h 116"/>
                <a:gd name="T12" fmla="*/ 86 w 94"/>
                <a:gd name="T13" fmla="*/ 110 h 116"/>
                <a:gd name="T14" fmla="*/ 71 w 94"/>
                <a:gd name="T15" fmla="*/ 109 h 116"/>
                <a:gd name="T16" fmla="*/ 40 w 94"/>
                <a:gd name="T17" fmla="*/ 90 h 116"/>
                <a:gd name="T18" fmla="*/ 21 w 94"/>
                <a:gd name="T19" fmla="*/ 80 h 116"/>
                <a:gd name="T20" fmla="*/ 17 w 94"/>
                <a:gd name="T21" fmla="*/ 60 h 116"/>
                <a:gd name="T22" fmla="*/ 32 w 94"/>
                <a:gd name="T23" fmla="*/ 59 h 116"/>
                <a:gd name="T24" fmla="*/ 10 w 94"/>
                <a:gd name="T25" fmla="*/ 55 h 116"/>
                <a:gd name="T26" fmla="*/ 1 w 94"/>
                <a:gd name="T27" fmla="*/ 39 h 116"/>
                <a:gd name="T28" fmla="*/ 5 w 94"/>
                <a:gd name="T29" fmla="*/ 30 h 116"/>
                <a:gd name="T30" fmla="*/ 17 w 94"/>
                <a:gd name="T31" fmla="*/ 15 h 116"/>
                <a:gd name="T32" fmla="*/ 30 w 94"/>
                <a:gd name="T33" fmla="*/ 11 h 116"/>
                <a:gd name="T34" fmla="*/ 44 w 94"/>
                <a:gd name="T35" fmla="*/ 4 h 116"/>
                <a:gd name="T36" fmla="*/ 64 w 94"/>
                <a:gd name="T37" fmla="*/ 4 h 116"/>
                <a:gd name="T38" fmla="*/ 85 w 94"/>
                <a:gd name="T39" fmla="*/ 2 h 116"/>
                <a:gd name="T40" fmla="*/ 94 w 94"/>
                <a:gd name="T41" fmla="*/ 6 h 116"/>
                <a:gd name="T42" fmla="*/ 86 w 94"/>
                <a:gd name="T43" fmla="*/ 18 h 116"/>
                <a:gd name="T44" fmla="*/ 68 w 94"/>
                <a:gd name="T45" fmla="*/ 17 h 116"/>
                <a:gd name="T46" fmla="*/ 59 w 94"/>
                <a:gd name="T47" fmla="*/ 15 h 116"/>
                <a:gd name="T48" fmla="*/ 47 w 94"/>
                <a:gd name="T49" fmla="*/ 28 h 116"/>
                <a:gd name="T50" fmla="*/ 34 w 94"/>
                <a:gd name="T51" fmla="*/ 29 h 116"/>
                <a:gd name="T52" fmla="*/ 40 w 94"/>
                <a:gd name="T53" fmla="*/ 50 h 116"/>
                <a:gd name="T54" fmla="*/ 51 w 94"/>
                <a:gd name="T55" fmla="*/ 52 h 116"/>
                <a:gd name="T56" fmla="*/ 56 w 94"/>
                <a:gd name="T57" fmla="*/ 66 h 116"/>
                <a:gd name="T58" fmla="*/ 41 w 94"/>
                <a:gd name="T59" fmla="*/ 67 h 116"/>
                <a:gd name="T60" fmla="*/ 50 w 94"/>
                <a:gd name="T61" fmla="*/ 71 h 116"/>
                <a:gd name="T62" fmla="*/ 40 w 94"/>
                <a:gd name="T63" fmla="*/ 75 h 116"/>
                <a:gd name="T64" fmla="*/ 40 w 94"/>
                <a:gd name="T65" fmla="*/ 90 h 116"/>
                <a:gd name="T66" fmla="*/ 40 w 94"/>
                <a:gd name="T67" fmla="*/ 81 h 116"/>
                <a:gd name="T68" fmla="*/ 48 w 94"/>
                <a:gd name="T69" fmla="*/ 74 h 116"/>
                <a:gd name="T70" fmla="*/ 40 w 94"/>
                <a:gd name="T71" fmla="*/ 68 h 116"/>
                <a:gd name="T72" fmla="*/ 51 w 94"/>
                <a:gd name="T73" fmla="*/ 67 h 116"/>
                <a:gd name="T74" fmla="*/ 53 w 94"/>
                <a:gd name="T75" fmla="*/ 53 h 116"/>
                <a:gd name="T76" fmla="*/ 41 w 94"/>
                <a:gd name="T77" fmla="*/ 53 h 116"/>
                <a:gd name="T78" fmla="*/ 38 w 94"/>
                <a:gd name="T79" fmla="*/ 35 h 116"/>
                <a:gd name="T80" fmla="*/ 42 w 94"/>
                <a:gd name="T81" fmla="*/ 25 h 116"/>
                <a:gd name="T82" fmla="*/ 56 w 94"/>
                <a:gd name="T83" fmla="*/ 15 h 116"/>
                <a:gd name="T84" fmla="*/ 67 w 94"/>
                <a:gd name="T85" fmla="*/ 17 h 116"/>
                <a:gd name="T86" fmla="*/ 88 w 94"/>
                <a:gd name="T87" fmla="*/ 13 h 116"/>
                <a:gd name="T88" fmla="*/ 92 w 94"/>
                <a:gd name="T89" fmla="*/ 1 h 116"/>
                <a:gd name="T90" fmla="*/ 79 w 94"/>
                <a:gd name="T91" fmla="*/ 8 h 116"/>
                <a:gd name="T92" fmla="*/ 44 w 94"/>
                <a:gd name="T93" fmla="*/ 5 h 116"/>
                <a:gd name="T94" fmla="*/ 24 w 94"/>
                <a:gd name="T95" fmla="*/ 16 h 116"/>
                <a:gd name="T96" fmla="*/ 9 w 94"/>
                <a:gd name="T97" fmla="*/ 25 h 116"/>
                <a:gd name="T98" fmla="*/ 1 w 94"/>
                <a:gd name="T99" fmla="*/ 38 h 116"/>
                <a:gd name="T100" fmla="*/ 15 w 94"/>
                <a:gd name="T101" fmla="*/ 56 h 116"/>
                <a:gd name="T102" fmla="*/ 31 w 94"/>
                <a:gd name="T103" fmla="*/ 61 h 116"/>
                <a:gd name="T104" fmla="*/ 16 w 94"/>
                <a:gd name="T105" fmla="*/ 63 h 116"/>
                <a:gd name="T106" fmla="*/ 27 w 94"/>
                <a:gd name="T107" fmla="*/ 83 h 1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16">
                  <a:moveTo>
                    <a:pt x="70" y="116"/>
                  </a:moveTo>
                  <a:cubicBezTo>
                    <a:pt x="70" y="116"/>
                    <a:pt x="70" y="116"/>
                    <a:pt x="70" y="116"/>
                  </a:cubicBezTo>
                  <a:cubicBezTo>
                    <a:pt x="69" y="116"/>
                    <a:pt x="69" y="116"/>
                    <a:pt x="69" y="116"/>
                  </a:cubicBezTo>
                  <a:cubicBezTo>
                    <a:pt x="64" y="116"/>
                    <a:pt x="59" y="114"/>
                    <a:pt x="55" y="112"/>
                  </a:cubicBezTo>
                  <a:cubicBezTo>
                    <a:pt x="52" y="112"/>
                    <a:pt x="50" y="111"/>
                    <a:pt x="48" y="110"/>
                  </a:cubicBezTo>
                  <a:cubicBezTo>
                    <a:pt x="47" y="110"/>
                    <a:pt x="47" y="109"/>
                    <a:pt x="47" y="109"/>
                  </a:cubicBezTo>
                  <a:cubicBezTo>
                    <a:pt x="47" y="107"/>
                    <a:pt x="50" y="105"/>
                    <a:pt x="54" y="105"/>
                  </a:cubicBezTo>
                  <a:cubicBezTo>
                    <a:pt x="55" y="105"/>
                    <a:pt x="56" y="105"/>
                    <a:pt x="57" y="106"/>
                  </a:cubicBezTo>
                  <a:cubicBezTo>
                    <a:pt x="59" y="108"/>
                    <a:pt x="63" y="108"/>
                    <a:pt x="67" y="108"/>
                  </a:cubicBezTo>
                  <a:cubicBezTo>
                    <a:pt x="68" y="108"/>
                    <a:pt x="70" y="108"/>
                    <a:pt x="71" y="108"/>
                  </a:cubicBezTo>
                  <a:cubicBezTo>
                    <a:pt x="72" y="108"/>
                    <a:pt x="73" y="108"/>
                    <a:pt x="75" y="108"/>
                  </a:cubicBezTo>
                  <a:cubicBezTo>
                    <a:pt x="77" y="108"/>
                    <a:pt x="79" y="108"/>
                    <a:pt x="80" y="108"/>
                  </a:cubicBezTo>
                  <a:cubicBezTo>
                    <a:pt x="81" y="109"/>
                    <a:pt x="81" y="109"/>
                    <a:pt x="82" y="109"/>
                  </a:cubicBezTo>
                  <a:cubicBezTo>
                    <a:pt x="84" y="109"/>
                    <a:pt x="85" y="109"/>
                    <a:pt x="86" y="109"/>
                  </a:cubicBezTo>
                  <a:cubicBezTo>
                    <a:pt x="86" y="108"/>
                    <a:pt x="87" y="108"/>
                    <a:pt x="88" y="108"/>
                  </a:cubicBezTo>
                  <a:cubicBezTo>
                    <a:pt x="89" y="108"/>
                    <a:pt x="89" y="109"/>
                    <a:pt x="89" y="109"/>
                  </a:cubicBezTo>
                  <a:cubicBezTo>
                    <a:pt x="89" y="110"/>
                    <a:pt x="89" y="110"/>
                    <a:pt x="89" y="111"/>
                  </a:cubicBezTo>
                  <a:cubicBezTo>
                    <a:pt x="87" y="113"/>
                    <a:pt x="77" y="116"/>
                    <a:pt x="70" y="116"/>
                  </a:cubicBezTo>
                  <a:close/>
                  <a:moveTo>
                    <a:pt x="54" y="106"/>
                  </a:moveTo>
                  <a:cubicBezTo>
                    <a:pt x="51" y="106"/>
                    <a:pt x="48" y="108"/>
                    <a:pt x="48" y="109"/>
                  </a:cubicBezTo>
                  <a:cubicBezTo>
                    <a:pt x="48" y="109"/>
                    <a:pt x="48" y="109"/>
                    <a:pt x="48" y="109"/>
                  </a:cubicBezTo>
                  <a:cubicBezTo>
                    <a:pt x="50" y="110"/>
                    <a:pt x="52" y="111"/>
                    <a:pt x="55" y="112"/>
                  </a:cubicBezTo>
                  <a:cubicBezTo>
                    <a:pt x="59" y="113"/>
                    <a:pt x="64" y="115"/>
                    <a:pt x="69" y="115"/>
                  </a:cubicBezTo>
                  <a:cubicBezTo>
                    <a:pt x="70" y="115"/>
                    <a:pt x="70" y="115"/>
                    <a:pt x="70" y="115"/>
                  </a:cubicBezTo>
                  <a:cubicBezTo>
                    <a:pt x="77" y="115"/>
                    <a:pt x="86" y="112"/>
                    <a:pt x="88" y="110"/>
                  </a:cubicBezTo>
                  <a:cubicBezTo>
                    <a:pt x="88" y="110"/>
                    <a:pt x="88" y="110"/>
                    <a:pt x="88" y="110"/>
                  </a:cubicBezTo>
                  <a:cubicBezTo>
                    <a:pt x="88" y="109"/>
                    <a:pt x="88" y="109"/>
                    <a:pt x="88" y="109"/>
                  </a:cubicBezTo>
                  <a:cubicBezTo>
                    <a:pt x="87" y="109"/>
                    <a:pt x="87" y="109"/>
                    <a:pt x="86" y="110"/>
                  </a:cubicBezTo>
                  <a:cubicBezTo>
                    <a:pt x="85" y="110"/>
                    <a:pt x="84" y="110"/>
                    <a:pt x="82" y="110"/>
                  </a:cubicBezTo>
                  <a:cubicBezTo>
                    <a:pt x="81" y="110"/>
                    <a:pt x="80" y="110"/>
                    <a:pt x="80" y="109"/>
                  </a:cubicBezTo>
                  <a:cubicBezTo>
                    <a:pt x="79" y="109"/>
                    <a:pt x="76" y="109"/>
                    <a:pt x="75" y="109"/>
                  </a:cubicBezTo>
                  <a:cubicBezTo>
                    <a:pt x="73" y="109"/>
                    <a:pt x="72" y="109"/>
                    <a:pt x="71" y="109"/>
                  </a:cubicBezTo>
                  <a:cubicBezTo>
                    <a:pt x="70" y="109"/>
                    <a:pt x="68" y="109"/>
                    <a:pt x="67" y="109"/>
                  </a:cubicBezTo>
                  <a:cubicBezTo>
                    <a:pt x="63" y="109"/>
                    <a:pt x="58" y="109"/>
                    <a:pt x="56" y="107"/>
                  </a:cubicBezTo>
                  <a:cubicBezTo>
                    <a:pt x="56" y="106"/>
                    <a:pt x="55" y="106"/>
                    <a:pt x="54" y="106"/>
                  </a:cubicBezTo>
                  <a:close/>
                  <a:moveTo>
                    <a:pt x="40" y="90"/>
                  </a:moveTo>
                  <a:cubicBezTo>
                    <a:pt x="39" y="90"/>
                    <a:pt x="37" y="89"/>
                    <a:pt x="35" y="87"/>
                  </a:cubicBezTo>
                  <a:cubicBezTo>
                    <a:pt x="33" y="85"/>
                    <a:pt x="30" y="84"/>
                    <a:pt x="28" y="84"/>
                  </a:cubicBezTo>
                  <a:cubicBezTo>
                    <a:pt x="27" y="84"/>
                    <a:pt x="27" y="84"/>
                    <a:pt x="27" y="84"/>
                  </a:cubicBezTo>
                  <a:cubicBezTo>
                    <a:pt x="25" y="84"/>
                    <a:pt x="23" y="82"/>
                    <a:pt x="21" y="80"/>
                  </a:cubicBezTo>
                  <a:cubicBezTo>
                    <a:pt x="20" y="78"/>
                    <a:pt x="19" y="75"/>
                    <a:pt x="20" y="73"/>
                  </a:cubicBezTo>
                  <a:cubicBezTo>
                    <a:pt x="20" y="71"/>
                    <a:pt x="19" y="70"/>
                    <a:pt x="17" y="68"/>
                  </a:cubicBezTo>
                  <a:cubicBezTo>
                    <a:pt x="16" y="66"/>
                    <a:pt x="15" y="65"/>
                    <a:pt x="15" y="63"/>
                  </a:cubicBezTo>
                  <a:cubicBezTo>
                    <a:pt x="15" y="62"/>
                    <a:pt x="16" y="61"/>
                    <a:pt x="17" y="60"/>
                  </a:cubicBezTo>
                  <a:cubicBezTo>
                    <a:pt x="18" y="59"/>
                    <a:pt x="20" y="59"/>
                    <a:pt x="23" y="59"/>
                  </a:cubicBezTo>
                  <a:cubicBezTo>
                    <a:pt x="25" y="59"/>
                    <a:pt x="27" y="59"/>
                    <a:pt x="29" y="59"/>
                  </a:cubicBezTo>
                  <a:cubicBezTo>
                    <a:pt x="30" y="59"/>
                    <a:pt x="31" y="60"/>
                    <a:pt x="31" y="60"/>
                  </a:cubicBezTo>
                  <a:cubicBezTo>
                    <a:pt x="32" y="60"/>
                    <a:pt x="32" y="59"/>
                    <a:pt x="32" y="59"/>
                  </a:cubicBezTo>
                  <a:cubicBezTo>
                    <a:pt x="32" y="58"/>
                    <a:pt x="27" y="54"/>
                    <a:pt x="23" y="54"/>
                  </a:cubicBezTo>
                  <a:cubicBezTo>
                    <a:pt x="22" y="54"/>
                    <a:pt x="21" y="54"/>
                    <a:pt x="20" y="55"/>
                  </a:cubicBezTo>
                  <a:cubicBezTo>
                    <a:pt x="19" y="56"/>
                    <a:pt x="17" y="57"/>
                    <a:pt x="15" y="57"/>
                  </a:cubicBezTo>
                  <a:cubicBezTo>
                    <a:pt x="13" y="57"/>
                    <a:pt x="11" y="56"/>
                    <a:pt x="10" y="55"/>
                  </a:cubicBezTo>
                  <a:cubicBezTo>
                    <a:pt x="9" y="54"/>
                    <a:pt x="9" y="53"/>
                    <a:pt x="9" y="51"/>
                  </a:cubicBezTo>
                  <a:cubicBezTo>
                    <a:pt x="9" y="46"/>
                    <a:pt x="6" y="41"/>
                    <a:pt x="1" y="39"/>
                  </a:cubicBezTo>
                  <a:cubicBezTo>
                    <a:pt x="1" y="39"/>
                    <a:pt x="1" y="39"/>
                    <a:pt x="1" y="39"/>
                  </a:cubicBezTo>
                  <a:cubicBezTo>
                    <a:pt x="1" y="39"/>
                    <a:pt x="1" y="39"/>
                    <a:pt x="1" y="39"/>
                  </a:cubicBezTo>
                  <a:cubicBezTo>
                    <a:pt x="0" y="39"/>
                    <a:pt x="0" y="39"/>
                    <a:pt x="0" y="39"/>
                  </a:cubicBezTo>
                  <a:cubicBezTo>
                    <a:pt x="0" y="38"/>
                    <a:pt x="0" y="38"/>
                    <a:pt x="0" y="38"/>
                  </a:cubicBezTo>
                  <a:cubicBezTo>
                    <a:pt x="1" y="38"/>
                    <a:pt x="1" y="37"/>
                    <a:pt x="1" y="37"/>
                  </a:cubicBezTo>
                  <a:cubicBezTo>
                    <a:pt x="2" y="33"/>
                    <a:pt x="3" y="30"/>
                    <a:pt x="5" y="30"/>
                  </a:cubicBezTo>
                  <a:cubicBezTo>
                    <a:pt x="6" y="30"/>
                    <a:pt x="7" y="29"/>
                    <a:pt x="7" y="28"/>
                  </a:cubicBezTo>
                  <a:cubicBezTo>
                    <a:pt x="7" y="27"/>
                    <a:pt x="7" y="26"/>
                    <a:pt x="8" y="25"/>
                  </a:cubicBezTo>
                  <a:cubicBezTo>
                    <a:pt x="10" y="22"/>
                    <a:pt x="13" y="18"/>
                    <a:pt x="13" y="17"/>
                  </a:cubicBezTo>
                  <a:cubicBezTo>
                    <a:pt x="13" y="15"/>
                    <a:pt x="15" y="15"/>
                    <a:pt x="17" y="15"/>
                  </a:cubicBezTo>
                  <a:cubicBezTo>
                    <a:pt x="19" y="15"/>
                    <a:pt x="19" y="15"/>
                    <a:pt x="19" y="15"/>
                  </a:cubicBezTo>
                  <a:cubicBezTo>
                    <a:pt x="21" y="15"/>
                    <a:pt x="22" y="15"/>
                    <a:pt x="24" y="15"/>
                  </a:cubicBezTo>
                  <a:cubicBezTo>
                    <a:pt x="25" y="14"/>
                    <a:pt x="27" y="13"/>
                    <a:pt x="28" y="12"/>
                  </a:cubicBezTo>
                  <a:cubicBezTo>
                    <a:pt x="28" y="11"/>
                    <a:pt x="29" y="11"/>
                    <a:pt x="30" y="11"/>
                  </a:cubicBezTo>
                  <a:cubicBezTo>
                    <a:pt x="30" y="11"/>
                    <a:pt x="30" y="11"/>
                    <a:pt x="31" y="11"/>
                  </a:cubicBezTo>
                  <a:cubicBezTo>
                    <a:pt x="31" y="11"/>
                    <a:pt x="31" y="11"/>
                    <a:pt x="31" y="11"/>
                  </a:cubicBezTo>
                  <a:cubicBezTo>
                    <a:pt x="34" y="11"/>
                    <a:pt x="43" y="6"/>
                    <a:pt x="44" y="5"/>
                  </a:cubicBezTo>
                  <a:cubicBezTo>
                    <a:pt x="44" y="4"/>
                    <a:pt x="44" y="4"/>
                    <a:pt x="44" y="4"/>
                  </a:cubicBezTo>
                  <a:cubicBezTo>
                    <a:pt x="44" y="4"/>
                    <a:pt x="44" y="4"/>
                    <a:pt x="44" y="4"/>
                  </a:cubicBezTo>
                  <a:cubicBezTo>
                    <a:pt x="44" y="4"/>
                    <a:pt x="44" y="4"/>
                    <a:pt x="44" y="4"/>
                  </a:cubicBezTo>
                  <a:cubicBezTo>
                    <a:pt x="47" y="4"/>
                    <a:pt x="52" y="3"/>
                    <a:pt x="56" y="3"/>
                  </a:cubicBezTo>
                  <a:cubicBezTo>
                    <a:pt x="60" y="3"/>
                    <a:pt x="63" y="4"/>
                    <a:pt x="64" y="4"/>
                  </a:cubicBezTo>
                  <a:cubicBezTo>
                    <a:pt x="67" y="6"/>
                    <a:pt x="79" y="7"/>
                    <a:pt x="79" y="7"/>
                  </a:cubicBezTo>
                  <a:cubicBezTo>
                    <a:pt x="82" y="7"/>
                    <a:pt x="84" y="6"/>
                    <a:pt x="84" y="5"/>
                  </a:cubicBezTo>
                  <a:cubicBezTo>
                    <a:pt x="85" y="5"/>
                    <a:pt x="85" y="4"/>
                    <a:pt x="84" y="4"/>
                  </a:cubicBezTo>
                  <a:cubicBezTo>
                    <a:pt x="84" y="3"/>
                    <a:pt x="84" y="3"/>
                    <a:pt x="85" y="2"/>
                  </a:cubicBezTo>
                  <a:cubicBezTo>
                    <a:pt x="86" y="0"/>
                    <a:pt x="91" y="0"/>
                    <a:pt x="92" y="0"/>
                  </a:cubicBezTo>
                  <a:cubicBezTo>
                    <a:pt x="92" y="0"/>
                    <a:pt x="92" y="0"/>
                    <a:pt x="92" y="0"/>
                  </a:cubicBezTo>
                  <a:cubicBezTo>
                    <a:pt x="93" y="1"/>
                    <a:pt x="93" y="1"/>
                    <a:pt x="93" y="1"/>
                  </a:cubicBezTo>
                  <a:cubicBezTo>
                    <a:pt x="93" y="3"/>
                    <a:pt x="94" y="4"/>
                    <a:pt x="94" y="6"/>
                  </a:cubicBezTo>
                  <a:cubicBezTo>
                    <a:pt x="94" y="8"/>
                    <a:pt x="92" y="10"/>
                    <a:pt x="91" y="11"/>
                  </a:cubicBezTo>
                  <a:cubicBezTo>
                    <a:pt x="90" y="11"/>
                    <a:pt x="89" y="12"/>
                    <a:pt x="89" y="13"/>
                  </a:cubicBezTo>
                  <a:cubicBezTo>
                    <a:pt x="89" y="14"/>
                    <a:pt x="88" y="16"/>
                    <a:pt x="87" y="17"/>
                  </a:cubicBezTo>
                  <a:cubicBezTo>
                    <a:pt x="86" y="18"/>
                    <a:pt x="86" y="18"/>
                    <a:pt x="86" y="18"/>
                  </a:cubicBezTo>
                  <a:cubicBezTo>
                    <a:pt x="86" y="18"/>
                    <a:pt x="86" y="18"/>
                    <a:pt x="86" y="18"/>
                  </a:cubicBezTo>
                  <a:cubicBezTo>
                    <a:pt x="85" y="18"/>
                    <a:pt x="85" y="18"/>
                    <a:pt x="85" y="18"/>
                  </a:cubicBezTo>
                  <a:cubicBezTo>
                    <a:pt x="82" y="16"/>
                    <a:pt x="79" y="14"/>
                    <a:pt x="76" y="14"/>
                  </a:cubicBezTo>
                  <a:cubicBezTo>
                    <a:pt x="72" y="14"/>
                    <a:pt x="70" y="16"/>
                    <a:pt x="68" y="17"/>
                  </a:cubicBezTo>
                  <a:cubicBezTo>
                    <a:pt x="67" y="18"/>
                    <a:pt x="66" y="19"/>
                    <a:pt x="65" y="19"/>
                  </a:cubicBezTo>
                  <a:cubicBezTo>
                    <a:pt x="65" y="19"/>
                    <a:pt x="65" y="19"/>
                    <a:pt x="65" y="19"/>
                  </a:cubicBezTo>
                  <a:cubicBezTo>
                    <a:pt x="64" y="19"/>
                    <a:pt x="63" y="18"/>
                    <a:pt x="63" y="17"/>
                  </a:cubicBezTo>
                  <a:cubicBezTo>
                    <a:pt x="62" y="16"/>
                    <a:pt x="61" y="15"/>
                    <a:pt x="59" y="15"/>
                  </a:cubicBezTo>
                  <a:cubicBezTo>
                    <a:pt x="58" y="15"/>
                    <a:pt x="57" y="16"/>
                    <a:pt x="56" y="16"/>
                  </a:cubicBezTo>
                  <a:cubicBezTo>
                    <a:pt x="53" y="17"/>
                    <a:pt x="53" y="20"/>
                    <a:pt x="54" y="22"/>
                  </a:cubicBezTo>
                  <a:cubicBezTo>
                    <a:pt x="55" y="24"/>
                    <a:pt x="55" y="26"/>
                    <a:pt x="53" y="27"/>
                  </a:cubicBezTo>
                  <a:cubicBezTo>
                    <a:pt x="51" y="28"/>
                    <a:pt x="49" y="28"/>
                    <a:pt x="47" y="28"/>
                  </a:cubicBezTo>
                  <a:cubicBezTo>
                    <a:pt x="44" y="28"/>
                    <a:pt x="42" y="27"/>
                    <a:pt x="41" y="25"/>
                  </a:cubicBezTo>
                  <a:cubicBezTo>
                    <a:pt x="40" y="24"/>
                    <a:pt x="39" y="24"/>
                    <a:pt x="38" y="24"/>
                  </a:cubicBezTo>
                  <a:cubicBezTo>
                    <a:pt x="36" y="24"/>
                    <a:pt x="34" y="24"/>
                    <a:pt x="34" y="26"/>
                  </a:cubicBezTo>
                  <a:cubicBezTo>
                    <a:pt x="33" y="26"/>
                    <a:pt x="34" y="28"/>
                    <a:pt x="34" y="29"/>
                  </a:cubicBezTo>
                  <a:cubicBezTo>
                    <a:pt x="36" y="31"/>
                    <a:pt x="37" y="32"/>
                    <a:pt x="39" y="34"/>
                  </a:cubicBezTo>
                  <a:cubicBezTo>
                    <a:pt x="43" y="38"/>
                    <a:pt x="46" y="42"/>
                    <a:pt x="46" y="45"/>
                  </a:cubicBezTo>
                  <a:cubicBezTo>
                    <a:pt x="46" y="48"/>
                    <a:pt x="44" y="49"/>
                    <a:pt x="42" y="49"/>
                  </a:cubicBezTo>
                  <a:cubicBezTo>
                    <a:pt x="41" y="50"/>
                    <a:pt x="40" y="50"/>
                    <a:pt x="40" y="50"/>
                  </a:cubicBezTo>
                  <a:cubicBezTo>
                    <a:pt x="40" y="51"/>
                    <a:pt x="40" y="51"/>
                    <a:pt x="41" y="53"/>
                  </a:cubicBezTo>
                  <a:cubicBezTo>
                    <a:pt x="43" y="54"/>
                    <a:pt x="43" y="55"/>
                    <a:pt x="44" y="55"/>
                  </a:cubicBezTo>
                  <a:cubicBezTo>
                    <a:pt x="45" y="55"/>
                    <a:pt x="45" y="54"/>
                    <a:pt x="46" y="54"/>
                  </a:cubicBezTo>
                  <a:cubicBezTo>
                    <a:pt x="47" y="53"/>
                    <a:pt x="48" y="52"/>
                    <a:pt x="51" y="52"/>
                  </a:cubicBezTo>
                  <a:cubicBezTo>
                    <a:pt x="51" y="52"/>
                    <a:pt x="52" y="52"/>
                    <a:pt x="53" y="52"/>
                  </a:cubicBezTo>
                  <a:cubicBezTo>
                    <a:pt x="58" y="54"/>
                    <a:pt x="60" y="58"/>
                    <a:pt x="60" y="61"/>
                  </a:cubicBezTo>
                  <a:cubicBezTo>
                    <a:pt x="60" y="63"/>
                    <a:pt x="59" y="65"/>
                    <a:pt x="58" y="65"/>
                  </a:cubicBezTo>
                  <a:cubicBezTo>
                    <a:pt x="57" y="65"/>
                    <a:pt x="57" y="66"/>
                    <a:pt x="56" y="66"/>
                  </a:cubicBezTo>
                  <a:cubicBezTo>
                    <a:pt x="55" y="67"/>
                    <a:pt x="53" y="68"/>
                    <a:pt x="51" y="68"/>
                  </a:cubicBezTo>
                  <a:cubicBezTo>
                    <a:pt x="50" y="68"/>
                    <a:pt x="49" y="67"/>
                    <a:pt x="47" y="66"/>
                  </a:cubicBezTo>
                  <a:cubicBezTo>
                    <a:pt x="46" y="66"/>
                    <a:pt x="45" y="65"/>
                    <a:pt x="44" y="65"/>
                  </a:cubicBezTo>
                  <a:cubicBezTo>
                    <a:pt x="43" y="65"/>
                    <a:pt x="41" y="66"/>
                    <a:pt x="41" y="67"/>
                  </a:cubicBezTo>
                  <a:cubicBezTo>
                    <a:pt x="41" y="68"/>
                    <a:pt x="41" y="68"/>
                    <a:pt x="41" y="68"/>
                  </a:cubicBezTo>
                  <a:cubicBezTo>
                    <a:pt x="41" y="68"/>
                    <a:pt x="41" y="68"/>
                    <a:pt x="42" y="68"/>
                  </a:cubicBezTo>
                  <a:cubicBezTo>
                    <a:pt x="42" y="68"/>
                    <a:pt x="42" y="68"/>
                    <a:pt x="42" y="68"/>
                  </a:cubicBezTo>
                  <a:cubicBezTo>
                    <a:pt x="45" y="68"/>
                    <a:pt x="49" y="69"/>
                    <a:pt x="50" y="71"/>
                  </a:cubicBezTo>
                  <a:cubicBezTo>
                    <a:pt x="50" y="72"/>
                    <a:pt x="50" y="73"/>
                    <a:pt x="49" y="75"/>
                  </a:cubicBezTo>
                  <a:cubicBezTo>
                    <a:pt x="48" y="76"/>
                    <a:pt x="47" y="76"/>
                    <a:pt x="46" y="76"/>
                  </a:cubicBezTo>
                  <a:cubicBezTo>
                    <a:pt x="44" y="76"/>
                    <a:pt x="43" y="76"/>
                    <a:pt x="42" y="75"/>
                  </a:cubicBezTo>
                  <a:cubicBezTo>
                    <a:pt x="41" y="75"/>
                    <a:pt x="40" y="75"/>
                    <a:pt x="40" y="75"/>
                  </a:cubicBezTo>
                  <a:cubicBezTo>
                    <a:pt x="39" y="75"/>
                    <a:pt x="39" y="75"/>
                    <a:pt x="39" y="75"/>
                  </a:cubicBezTo>
                  <a:cubicBezTo>
                    <a:pt x="39" y="76"/>
                    <a:pt x="40" y="78"/>
                    <a:pt x="41" y="80"/>
                  </a:cubicBezTo>
                  <a:cubicBezTo>
                    <a:pt x="42" y="84"/>
                    <a:pt x="44" y="89"/>
                    <a:pt x="41" y="90"/>
                  </a:cubicBezTo>
                  <a:cubicBezTo>
                    <a:pt x="41" y="90"/>
                    <a:pt x="41" y="90"/>
                    <a:pt x="40" y="90"/>
                  </a:cubicBezTo>
                  <a:close/>
                  <a:moveTo>
                    <a:pt x="28" y="83"/>
                  </a:moveTo>
                  <a:cubicBezTo>
                    <a:pt x="31" y="83"/>
                    <a:pt x="33" y="85"/>
                    <a:pt x="36" y="86"/>
                  </a:cubicBezTo>
                  <a:cubicBezTo>
                    <a:pt x="38" y="88"/>
                    <a:pt x="40" y="90"/>
                    <a:pt x="41" y="89"/>
                  </a:cubicBezTo>
                  <a:cubicBezTo>
                    <a:pt x="42" y="88"/>
                    <a:pt x="41" y="84"/>
                    <a:pt x="40" y="81"/>
                  </a:cubicBezTo>
                  <a:cubicBezTo>
                    <a:pt x="38" y="77"/>
                    <a:pt x="38" y="75"/>
                    <a:pt x="38" y="75"/>
                  </a:cubicBezTo>
                  <a:cubicBezTo>
                    <a:pt x="39" y="74"/>
                    <a:pt x="40" y="74"/>
                    <a:pt x="42" y="74"/>
                  </a:cubicBezTo>
                  <a:cubicBezTo>
                    <a:pt x="43" y="75"/>
                    <a:pt x="45" y="75"/>
                    <a:pt x="46" y="75"/>
                  </a:cubicBezTo>
                  <a:cubicBezTo>
                    <a:pt x="47" y="75"/>
                    <a:pt x="48" y="75"/>
                    <a:pt x="48" y="74"/>
                  </a:cubicBezTo>
                  <a:cubicBezTo>
                    <a:pt x="49" y="73"/>
                    <a:pt x="49" y="72"/>
                    <a:pt x="49" y="72"/>
                  </a:cubicBezTo>
                  <a:cubicBezTo>
                    <a:pt x="48" y="70"/>
                    <a:pt x="45" y="69"/>
                    <a:pt x="42" y="69"/>
                  </a:cubicBezTo>
                  <a:cubicBezTo>
                    <a:pt x="42" y="69"/>
                    <a:pt x="42" y="69"/>
                    <a:pt x="42" y="69"/>
                  </a:cubicBezTo>
                  <a:cubicBezTo>
                    <a:pt x="41" y="69"/>
                    <a:pt x="40" y="69"/>
                    <a:pt x="40" y="68"/>
                  </a:cubicBezTo>
                  <a:cubicBezTo>
                    <a:pt x="40" y="68"/>
                    <a:pt x="40" y="67"/>
                    <a:pt x="40" y="66"/>
                  </a:cubicBezTo>
                  <a:cubicBezTo>
                    <a:pt x="41" y="65"/>
                    <a:pt x="42" y="64"/>
                    <a:pt x="44" y="64"/>
                  </a:cubicBezTo>
                  <a:cubicBezTo>
                    <a:pt x="45" y="64"/>
                    <a:pt x="46" y="65"/>
                    <a:pt x="48" y="65"/>
                  </a:cubicBezTo>
                  <a:cubicBezTo>
                    <a:pt x="49" y="66"/>
                    <a:pt x="50" y="67"/>
                    <a:pt x="51" y="67"/>
                  </a:cubicBezTo>
                  <a:cubicBezTo>
                    <a:pt x="53" y="67"/>
                    <a:pt x="54" y="66"/>
                    <a:pt x="55" y="65"/>
                  </a:cubicBezTo>
                  <a:cubicBezTo>
                    <a:pt x="56" y="65"/>
                    <a:pt x="57" y="64"/>
                    <a:pt x="58" y="64"/>
                  </a:cubicBezTo>
                  <a:cubicBezTo>
                    <a:pt x="58" y="64"/>
                    <a:pt x="59" y="63"/>
                    <a:pt x="59" y="61"/>
                  </a:cubicBezTo>
                  <a:cubicBezTo>
                    <a:pt x="59" y="58"/>
                    <a:pt x="58" y="54"/>
                    <a:pt x="53" y="53"/>
                  </a:cubicBezTo>
                  <a:cubicBezTo>
                    <a:pt x="52" y="53"/>
                    <a:pt x="51" y="53"/>
                    <a:pt x="51" y="53"/>
                  </a:cubicBezTo>
                  <a:cubicBezTo>
                    <a:pt x="49" y="53"/>
                    <a:pt x="47" y="54"/>
                    <a:pt x="46" y="54"/>
                  </a:cubicBezTo>
                  <a:cubicBezTo>
                    <a:pt x="46" y="55"/>
                    <a:pt x="45" y="56"/>
                    <a:pt x="44" y="56"/>
                  </a:cubicBezTo>
                  <a:cubicBezTo>
                    <a:pt x="43" y="56"/>
                    <a:pt x="42" y="55"/>
                    <a:pt x="41" y="53"/>
                  </a:cubicBezTo>
                  <a:cubicBezTo>
                    <a:pt x="39" y="52"/>
                    <a:pt x="39" y="51"/>
                    <a:pt x="39" y="50"/>
                  </a:cubicBezTo>
                  <a:cubicBezTo>
                    <a:pt x="39" y="49"/>
                    <a:pt x="41" y="49"/>
                    <a:pt x="42" y="48"/>
                  </a:cubicBezTo>
                  <a:cubicBezTo>
                    <a:pt x="44" y="48"/>
                    <a:pt x="45" y="47"/>
                    <a:pt x="45" y="45"/>
                  </a:cubicBezTo>
                  <a:cubicBezTo>
                    <a:pt x="45" y="43"/>
                    <a:pt x="42" y="39"/>
                    <a:pt x="38" y="35"/>
                  </a:cubicBezTo>
                  <a:cubicBezTo>
                    <a:pt x="37" y="33"/>
                    <a:pt x="35" y="31"/>
                    <a:pt x="34" y="29"/>
                  </a:cubicBezTo>
                  <a:cubicBezTo>
                    <a:pt x="32" y="27"/>
                    <a:pt x="32" y="26"/>
                    <a:pt x="33" y="25"/>
                  </a:cubicBezTo>
                  <a:cubicBezTo>
                    <a:pt x="34" y="24"/>
                    <a:pt x="36" y="23"/>
                    <a:pt x="38" y="23"/>
                  </a:cubicBezTo>
                  <a:cubicBezTo>
                    <a:pt x="40" y="23"/>
                    <a:pt x="41" y="23"/>
                    <a:pt x="42" y="25"/>
                  </a:cubicBezTo>
                  <a:cubicBezTo>
                    <a:pt x="43" y="27"/>
                    <a:pt x="46" y="27"/>
                    <a:pt x="47" y="27"/>
                  </a:cubicBezTo>
                  <a:cubicBezTo>
                    <a:pt x="49" y="27"/>
                    <a:pt x="51" y="27"/>
                    <a:pt x="53" y="26"/>
                  </a:cubicBezTo>
                  <a:cubicBezTo>
                    <a:pt x="54" y="26"/>
                    <a:pt x="54" y="25"/>
                    <a:pt x="53" y="23"/>
                  </a:cubicBezTo>
                  <a:cubicBezTo>
                    <a:pt x="52" y="20"/>
                    <a:pt x="51" y="17"/>
                    <a:pt x="56" y="15"/>
                  </a:cubicBezTo>
                  <a:cubicBezTo>
                    <a:pt x="57" y="15"/>
                    <a:pt x="58" y="14"/>
                    <a:pt x="59" y="14"/>
                  </a:cubicBezTo>
                  <a:cubicBezTo>
                    <a:pt x="62" y="14"/>
                    <a:pt x="63" y="16"/>
                    <a:pt x="64" y="17"/>
                  </a:cubicBezTo>
                  <a:cubicBezTo>
                    <a:pt x="64" y="17"/>
                    <a:pt x="64" y="18"/>
                    <a:pt x="65" y="18"/>
                  </a:cubicBezTo>
                  <a:cubicBezTo>
                    <a:pt x="65" y="18"/>
                    <a:pt x="66" y="18"/>
                    <a:pt x="67" y="17"/>
                  </a:cubicBezTo>
                  <a:cubicBezTo>
                    <a:pt x="69" y="15"/>
                    <a:pt x="71" y="13"/>
                    <a:pt x="76" y="13"/>
                  </a:cubicBezTo>
                  <a:cubicBezTo>
                    <a:pt x="79" y="13"/>
                    <a:pt x="82" y="15"/>
                    <a:pt x="85" y="17"/>
                  </a:cubicBezTo>
                  <a:cubicBezTo>
                    <a:pt x="86" y="17"/>
                    <a:pt x="86" y="17"/>
                    <a:pt x="86" y="16"/>
                  </a:cubicBezTo>
                  <a:cubicBezTo>
                    <a:pt x="87" y="15"/>
                    <a:pt x="88" y="14"/>
                    <a:pt x="88" y="13"/>
                  </a:cubicBezTo>
                  <a:cubicBezTo>
                    <a:pt x="88" y="12"/>
                    <a:pt x="89" y="11"/>
                    <a:pt x="90" y="10"/>
                  </a:cubicBezTo>
                  <a:cubicBezTo>
                    <a:pt x="91" y="9"/>
                    <a:pt x="93" y="8"/>
                    <a:pt x="93" y="6"/>
                  </a:cubicBezTo>
                  <a:cubicBezTo>
                    <a:pt x="93" y="5"/>
                    <a:pt x="92" y="3"/>
                    <a:pt x="92" y="1"/>
                  </a:cubicBezTo>
                  <a:cubicBezTo>
                    <a:pt x="92" y="1"/>
                    <a:pt x="92" y="1"/>
                    <a:pt x="92" y="1"/>
                  </a:cubicBezTo>
                  <a:cubicBezTo>
                    <a:pt x="89" y="1"/>
                    <a:pt x="86" y="2"/>
                    <a:pt x="85" y="3"/>
                  </a:cubicBezTo>
                  <a:cubicBezTo>
                    <a:pt x="85" y="3"/>
                    <a:pt x="85" y="3"/>
                    <a:pt x="85" y="3"/>
                  </a:cubicBezTo>
                  <a:cubicBezTo>
                    <a:pt x="86" y="4"/>
                    <a:pt x="86" y="5"/>
                    <a:pt x="85" y="6"/>
                  </a:cubicBezTo>
                  <a:cubicBezTo>
                    <a:pt x="84" y="7"/>
                    <a:pt x="82" y="8"/>
                    <a:pt x="79" y="8"/>
                  </a:cubicBezTo>
                  <a:cubicBezTo>
                    <a:pt x="79" y="8"/>
                    <a:pt x="67" y="7"/>
                    <a:pt x="64" y="5"/>
                  </a:cubicBezTo>
                  <a:cubicBezTo>
                    <a:pt x="63" y="5"/>
                    <a:pt x="61" y="4"/>
                    <a:pt x="56" y="4"/>
                  </a:cubicBezTo>
                  <a:cubicBezTo>
                    <a:pt x="52" y="4"/>
                    <a:pt x="47" y="5"/>
                    <a:pt x="45" y="5"/>
                  </a:cubicBezTo>
                  <a:cubicBezTo>
                    <a:pt x="45" y="5"/>
                    <a:pt x="45" y="5"/>
                    <a:pt x="44" y="5"/>
                  </a:cubicBezTo>
                  <a:cubicBezTo>
                    <a:pt x="43" y="7"/>
                    <a:pt x="34" y="12"/>
                    <a:pt x="31" y="12"/>
                  </a:cubicBezTo>
                  <a:cubicBezTo>
                    <a:pt x="31" y="12"/>
                    <a:pt x="31" y="12"/>
                    <a:pt x="30" y="12"/>
                  </a:cubicBezTo>
                  <a:cubicBezTo>
                    <a:pt x="30" y="11"/>
                    <a:pt x="29" y="12"/>
                    <a:pt x="28" y="13"/>
                  </a:cubicBezTo>
                  <a:cubicBezTo>
                    <a:pt x="27" y="14"/>
                    <a:pt x="26" y="15"/>
                    <a:pt x="24" y="16"/>
                  </a:cubicBezTo>
                  <a:cubicBezTo>
                    <a:pt x="22" y="16"/>
                    <a:pt x="21" y="16"/>
                    <a:pt x="19" y="16"/>
                  </a:cubicBezTo>
                  <a:cubicBezTo>
                    <a:pt x="17" y="16"/>
                    <a:pt x="17" y="16"/>
                    <a:pt x="17" y="16"/>
                  </a:cubicBezTo>
                  <a:cubicBezTo>
                    <a:pt x="17" y="16"/>
                    <a:pt x="14" y="16"/>
                    <a:pt x="14" y="17"/>
                  </a:cubicBezTo>
                  <a:cubicBezTo>
                    <a:pt x="14" y="19"/>
                    <a:pt x="11" y="23"/>
                    <a:pt x="9" y="25"/>
                  </a:cubicBezTo>
                  <a:cubicBezTo>
                    <a:pt x="8" y="26"/>
                    <a:pt x="8" y="27"/>
                    <a:pt x="8" y="28"/>
                  </a:cubicBezTo>
                  <a:cubicBezTo>
                    <a:pt x="8" y="29"/>
                    <a:pt x="7" y="31"/>
                    <a:pt x="5" y="31"/>
                  </a:cubicBezTo>
                  <a:cubicBezTo>
                    <a:pt x="4" y="31"/>
                    <a:pt x="3" y="34"/>
                    <a:pt x="2" y="37"/>
                  </a:cubicBezTo>
                  <a:cubicBezTo>
                    <a:pt x="2" y="37"/>
                    <a:pt x="2" y="38"/>
                    <a:pt x="1" y="38"/>
                  </a:cubicBezTo>
                  <a:cubicBezTo>
                    <a:pt x="2" y="38"/>
                    <a:pt x="2" y="38"/>
                    <a:pt x="2" y="38"/>
                  </a:cubicBezTo>
                  <a:cubicBezTo>
                    <a:pt x="7" y="40"/>
                    <a:pt x="10" y="46"/>
                    <a:pt x="10" y="51"/>
                  </a:cubicBezTo>
                  <a:cubicBezTo>
                    <a:pt x="10" y="52"/>
                    <a:pt x="10" y="54"/>
                    <a:pt x="11" y="54"/>
                  </a:cubicBezTo>
                  <a:cubicBezTo>
                    <a:pt x="12" y="56"/>
                    <a:pt x="13" y="56"/>
                    <a:pt x="15" y="56"/>
                  </a:cubicBezTo>
                  <a:cubicBezTo>
                    <a:pt x="17" y="56"/>
                    <a:pt x="18" y="55"/>
                    <a:pt x="19" y="54"/>
                  </a:cubicBezTo>
                  <a:cubicBezTo>
                    <a:pt x="20" y="53"/>
                    <a:pt x="21" y="53"/>
                    <a:pt x="23" y="53"/>
                  </a:cubicBezTo>
                  <a:cubicBezTo>
                    <a:pt x="27" y="53"/>
                    <a:pt x="33" y="57"/>
                    <a:pt x="33" y="59"/>
                  </a:cubicBezTo>
                  <a:cubicBezTo>
                    <a:pt x="33" y="60"/>
                    <a:pt x="33" y="61"/>
                    <a:pt x="31" y="61"/>
                  </a:cubicBezTo>
                  <a:cubicBezTo>
                    <a:pt x="31" y="61"/>
                    <a:pt x="30" y="60"/>
                    <a:pt x="28" y="60"/>
                  </a:cubicBezTo>
                  <a:cubicBezTo>
                    <a:pt x="27" y="60"/>
                    <a:pt x="25" y="60"/>
                    <a:pt x="23" y="60"/>
                  </a:cubicBezTo>
                  <a:cubicBezTo>
                    <a:pt x="21" y="60"/>
                    <a:pt x="19" y="60"/>
                    <a:pt x="17" y="61"/>
                  </a:cubicBezTo>
                  <a:cubicBezTo>
                    <a:pt x="17" y="62"/>
                    <a:pt x="16" y="62"/>
                    <a:pt x="16" y="63"/>
                  </a:cubicBezTo>
                  <a:cubicBezTo>
                    <a:pt x="16" y="64"/>
                    <a:pt x="17" y="66"/>
                    <a:pt x="18" y="67"/>
                  </a:cubicBezTo>
                  <a:cubicBezTo>
                    <a:pt x="20" y="69"/>
                    <a:pt x="21" y="71"/>
                    <a:pt x="21" y="73"/>
                  </a:cubicBezTo>
                  <a:cubicBezTo>
                    <a:pt x="20" y="75"/>
                    <a:pt x="21" y="78"/>
                    <a:pt x="22" y="80"/>
                  </a:cubicBezTo>
                  <a:cubicBezTo>
                    <a:pt x="24" y="81"/>
                    <a:pt x="26" y="83"/>
                    <a:pt x="27" y="83"/>
                  </a:cubicBezTo>
                  <a:lnTo>
                    <a:pt x="28" y="8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8" name="Freeform 135"/>
            <p:cNvSpPr>
              <a:spLocks noEditPoints="1"/>
            </p:cNvSpPr>
            <p:nvPr/>
          </p:nvSpPr>
          <p:spPr>
            <a:xfrm>
              <a:off x="5565776" y="2874963"/>
              <a:ext cx="60325" cy="34925"/>
            </a:xfrm>
            <a:custGeom>
              <a:gdLst>
                <a:gd name="T0" fmla="*/ 10 w 35"/>
                <a:gd name="T1" fmla="*/ 20 h 20"/>
                <a:gd name="T2" fmla="*/ 10 w 35"/>
                <a:gd name="T3" fmla="*/ 20 h 20"/>
                <a:gd name="T4" fmla="*/ 4 w 35"/>
                <a:gd name="T5" fmla="*/ 19 h 20"/>
                <a:gd name="T6" fmla="*/ 1 w 35"/>
                <a:gd name="T7" fmla="*/ 13 h 20"/>
                <a:gd name="T8" fmla="*/ 11 w 35"/>
                <a:gd name="T9" fmla="*/ 8 h 20"/>
                <a:gd name="T10" fmla="*/ 31 w 35"/>
                <a:gd name="T11" fmla="*/ 1 h 20"/>
                <a:gd name="T12" fmla="*/ 34 w 35"/>
                <a:gd name="T13" fmla="*/ 0 h 20"/>
                <a:gd name="T14" fmla="*/ 35 w 35"/>
                <a:gd name="T15" fmla="*/ 1 h 20"/>
                <a:gd name="T16" fmla="*/ 32 w 35"/>
                <a:gd name="T17" fmla="*/ 5 h 20"/>
                <a:gd name="T18" fmla="*/ 24 w 35"/>
                <a:gd name="T19" fmla="*/ 14 h 20"/>
                <a:gd name="T20" fmla="*/ 24 w 35"/>
                <a:gd name="T21" fmla="*/ 15 h 20"/>
                <a:gd name="T22" fmla="*/ 10 w 35"/>
                <a:gd name="T23" fmla="*/ 20 h 20"/>
                <a:gd name="T24" fmla="*/ 34 w 35"/>
                <a:gd name="T25" fmla="*/ 1 h 20"/>
                <a:gd name="T26" fmla="*/ 32 w 35"/>
                <a:gd name="T27" fmla="*/ 2 h 20"/>
                <a:gd name="T28" fmla="*/ 11 w 35"/>
                <a:gd name="T29" fmla="*/ 9 h 20"/>
                <a:gd name="T30" fmla="*/ 2 w 35"/>
                <a:gd name="T31" fmla="*/ 13 h 20"/>
                <a:gd name="T32" fmla="*/ 4 w 35"/>
                <a:gd name="T33" fmla="*/ 18 h 20"/>
                <a:gd name="T34" fmla="*/ 10 w 35"/>
                <a:gd name="T35" fmla="*/ 19 h 20"/>
                <a:gd name="T36" fmla="*/ 23 w 35"/>
                <a:gd name="T37" fmla="*/ 15 h 20"/>
                <a:gd name="T38" fmla="*/ 23 w 35"/>
                <a:gd name="T39" fmla="*/ 14 h 20"/>
                <a:gd name="T40" fmla="*/ 31 w 35"/>
                <a:gd name="T41" fmla="*/ 4 h 20"/>
                <a:gd name="T42" fmla="*/ 34 w 35"/>
                <a:gd name="T43" fmla="*/ 2 h 20"/>
                <a:gd name="T44" fmla="*/ 34 w 35"/>
                <a:gd name="T45" fmla="*/ 1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0">
                  <a:moveTo>
                    <a:pt x="10" y="20"/>
                  </a:moveTo>
                  <a:cubicBezTo>
                    <a:pt x="10" y="20"/>
                    <a:pt x="10" y="20"/>
                    <a:pt x="10" y="20"/>
                  </a:cubicBezTo>
                  <a:cubicBezTo>
                    <a:pt x="8" y="20"/>
                    <a:pt x="6" y="20"/>
                    <a:pt x="4" y="19"/>
                  </a:cubicBezTo>
                  <a:cubicBezTo>
                    <a:pt x="1" y="17"/>
                    <a:pt x="0" y="15"/>
                    <a:pt x="1" y="13"/>
                  </a:cubicBezTo>
                  <a:cubicBezTo>
                    <a:pt x="1" y="10"/>
                    <a:pt x="5" y="8"/>
                    <a:pt x="11" y="8"/>
                  </a:cubicBezTo>
                  <a:cubicBezTo>
                    <a:pt x="20" y="7"/>
                    <a:pt x="28" y="4"/>
                    <a:pt x="31" y="1"/>
                  </a:cubicBezTo>
                  <a:cubicBezTo>
                    <a:pt x="32" y="0"/>
                    <a:pt x="33" y="0"/>
                    <a:pt x="34" y="0"/>
                  </a:cubicBezTo>
                  <a:cubicBezTo>
                    <a:pt x="35" y="1"/>
                    <a:pt x="35" y="1"/>
                    <a:pt x="35" y="1"/>
                  </a:cubicBezTo>
                  <a:cubicBezTo>
                    <a:pt x="35" y="2"/>
                    <a:pt x="35" y="4"/>
                    <a:pt x="32" y="5"/>
                  </a:cubicBezTo>
                  <a:cubicBezTo>
                    <a:pt x="27" y="7"/>
                    <a:pt x="24" y="12"/>
                    <a:pt x="24" y="14"/>
                  </a:cubicBezTo>
                  <a:cubicBezTo>
                    <a:pt x="24" y="15"/>
                    <a:pt x="24" y="15"/>
                    <a:pt x="24" y="15"/>
                  </a:cubicBezTo>
                  <a:cubicBezTo>
                    <a:pt x="22" y="17"/>
                    <a:pt x="16" y="20"/>
                    <a:pt x="10" y="20"/>
                  </a:cubicBezTo>
                  <a:close/>
                  <a:moveTo>
                    <a:pt x="34" y="1"/>
                  </a:moveTo>
                  <a:cubicBezTo>
                    <a:pt x="33" y="1"/>
                    <a:pt x="32" y="2"/>
                    <a:pt x="32" y="2"/>
                  </a:cubicBezTo>
                  <a:cubicBezTo>
                    <a:pt x="28" y="5"/>
                    <a:pt x="21" y="8"/>
                    <a:pt x="11" y="9"/>
                  </a:cubicBezTo>
                  <a:cubicBezTo>
                    <a:pt x="5" y="9"/>
                    <a:pt x="2" y="11"/>
                    <a:pt x="2" y="13"/>
                  </a:cubicBezTo>
                  <a:cubicBezTo>
                    <a:pt x="1" y="15"/>
                    <a:pt x="2" y="17"/>
                    <a:pt x="4" y="18"/>
                  </a:cubicBezTo>
                  <a:cubicBezTo>
                    <a:pt x="6" y="19"/>
                    <a:pt x="8" y="19"/>
                    <a:pt x="10" y="19"/>
                  </a:cubicBezTo>
                  <a:cubicBezTo>
                    <a:pt x="16" y="19"/>
                    <a:pt x="21" y="17"/>
                    <a:pt x="23" y="15"/>
                  </a:cubicBezTo>
                  <a:cubicBezTo>
                    <a:pt x="23" y="14"/>
                    <a:pt x="23" y="14"/>
                    <a:pt x="23" y="14"/>
                  </a:cubicBezTo>
                  <a:cubicBezTo>
                    <a:pt x="23" y="11"/>
                    <a:pt x="26" y="6"/>
                    <a:pt x="31" y="4"/>
                  </a:cubicBezTo>
                  <a:cubicBezTo>
                    <a:pt x="34" y="3"/>
                    <a:pt x="34" y="2"/>
                    <a:pt x="34" y="2"/>
                  </a:cubicBezTo>
                  <a:cubicBezTo>
                    <a:pt x="34" y="1"/>
                    <a:pt x="34" y="1"/>
                    <a:pt x="34"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09" name="Freeform 136"/>
            <p:cNvSpPr>
              <a:spLocks noEditPoints="1"/>
            </p:cNvSpPr>
            <p:nvPr/>
          </p:nvSpPr>
          <p:spPr>
            <a:xfrm>
              <a:off x="4183064" y="1844675"/>
              <a:ext cx="263525" cy="130175"/>
            </a:xfrm>
            <a:custGeom>
              <a:gdLst>
                <a:gd name="T0" fmla="*/ 59 w 155"/>
                <a:gd name="T1" fmla="*/ 70 h 76"/>
                <a:gd name="T2" fmla="*/ 29 w 155"/>
                <a:gd name="T3" fmla="*/ 66 h 76"/>
                <a:gd name="T4" fmla="*/ 36 w 155"/>
                <a:gd name="T5" fmla="*/ 55 h 76"/>
                <a:gd name="T6" fmla="*/ 31 w 155"/>
                <a:gd name="T7" fmla="*/ 48 h 76"/>
                <a:gd name="T8" fmla="*/ 23 w 155"/>
                <a:gd name="T9" fmla="*/ 42 h 76"/>
                <a:gd name="T10" fmla="*/ 5 w 155"/>
                <a:gd name="T11" fmla="*/ 40 h 76"/>
                <a:gd name="T12" fmla="*/ 30 w 155"/>
                <a:gd name="T13" fmla="*/ 36 h 76"/>
                <a:gd name="T14" fmla="*/ 32 w 155"/>
                <a:gd name="T15" fmla="*/ 28 h 76"/>
                <a:gd name="T16" fmla="*/ 9 w 155"/>
                <a:gd name="T17" fmla="*/ 28 h 76"/>
                <a:gd name="T18" fmla="*/ 7 w 155"/>
                <a:gd name="T19" fmla="*/ 13 h 76"/>
                <a:gd name="T20" fmla="*/ 23 w 155"/>
                <a:gd name="T21" fmla="*/ 11 h 76"/>
                <a:gd name="T22" fmla="*/ 44 w 155"/>
                <a:gd name="T23" fmla="*/ 15 h 76"/>
                <a:gd name="T24" fmla="*/ 46 w 155"/>
                <a:gd name="T25" fmla="*/ 28 h 76"/>
                <a:gd name="T26" fmla="*/ 57 w 155"/>
                <a:gd name="T27" fmla="*/ 17 h 76"/>
                <a:gd name="T28" fmla="*/ 69 w 155"/>
                <a:gd name="T29" fmla="*/ 17 h 76"/>
                <a:gd name="T30" fmla="*/ 77 w 155"/>
                <a:gd name="T31" fmla="*/ 7 h 76"/>
                <a:gd name="T32" fmla="*/ 87 w 155"/>
                <a:gd name="T33" fmla="*/ 11 h 76"/>
                <a:gd name="T34" fmla="*/ 100 w 155"/>
                <a:gd name="T35" fmla="*/ 12 h 76"/>
                <a:gd name="T36" fmla="*/ 109 w 155"/>
                <a:gd name="T37" fmla="*/ 9 h 76"/>
                <a:gd name="T38" fmla="*/ 113 w 155"/>
                <a:gd name="T39" fmla="*/ 0 h 76"/>
                <a:gd name="T40" fmla="*/ 134 w 155"/>
                <a:gd name="T41" fmla="*/ 5 h 76"/>
                <a:gd name="T42" fmla="*/ 139 w 155"/>
                <a:gd name="T43" fmla="*/ 16 h 76"/>
                <a:gd name="T44" fmla="*/ 154 w 155"/>
                <a:gd name="T45" fmla="*/ 35 h 76"/>
                <a:gd name="T46" fmla="*/ 112 w 155"/>
                <a:gd name="T47" fmla="*/ 63 h 76"/>
                <a:gd name="T48" fmla="*/ 44 w 155"/>
                <a:gd name="T49" fmla="*/ 63 h 76"/>
                <a:gd name="T50" fmla="*/ 93 w 155"/>
                <a:gd name="T51" fmla="*/ 68 h 76"/>
                <a:gd name="T52" fmla="*/ 139 w 155"/>
                <a:gd name="T53" fmla="*/ 48 h 76"/>
                <a:gd name="T54" fmla="*/ 152 w 155"/>
                <a:gd name="T55" fmla="*/ 27 h 76"/>
                <a:gd name="T56" fmla="*/ 137 w 155"/>
                <a:gd name="T57" fmla="*/ 10 h 76"/>
                <a:gd name="T58" fmla="*/ 127 w 155"/>
                <a:gd name="T59" fmla="*/ 7 h 76"/>
                <a:gd name="T60" fmla="*/ 111 w 155"/>
                <a:gd name="T61" fmla="*/ 6 h 76"/>
                <a:gd name="T62" fmla="*/ 103 w 155"/>
                <a:gd name="T63" fmla="*/ 9 h 76"/>
                <a:gd name="T64" fmla="*/ 92 w 155"/>
                <a:gd name="T65" fmla="*/ 9 h 76"/>
                <a:gd name="T66" fmla="*/ 87 w 155"/>
                <a:gd name="T67" fmla="*/ 13 h 76"/>
                <a:gd name="T68" fmla="*/ 71 w 155"/>
                <a:gd name="T69" fmla="*/ 15 h 76"/>
                <a:gd name="T70" fmla="*/ 61 w 155"/>
                <a:gd name="T71" fmla="*/ 10 h 76"/>
                <a:gd name="T72" fmla="*/ 56 w 155"/>
                <a:gd name="T73" fmla="*/ 24 h 76"/>
                <a:gd name="T74" fmla="*/ 41 w 155"/>
                <a:gd name="T75" fmla="*/ 22 h 76"/>
                <a:gd name="T76" fmla="*/ 18 w 155"/>
                <a:gd name="T77" fmla="*/ 3 h 76"/>
                <a:gd name="T78" fmla="*/ 17 w 155"/>
                <a:gd name="T79" fmla="*/ 10 h 76"/>
                <a:gd name="T80" fmla="*/ 1 w 155"/>
                <a:gd name="T81" fmla="*/ 23 h 76"/>
                <a:gd name="T82" fmla="*/ 25 w 155"/>
                <a:gd name="T83" fmla="*/ 23 h 76"/>
                <a:gd name="T84" fmla="*/ 29 w 155"/>
                <a:gd name="T85" fmla="*/ 32 h 76"/>
                <a:gd name="T86" fmla="*/ 19 w 155"/>
                <a:gd name="T87" fmla="*/ 38 h 76"/>
                <a:gd name="T88" fmla="*/ 16 w 155"/>
                <a:gd name="T89" fmla="*/ 42 h 76"/>
                <a:gd name="T90" fmla="*/ 29 w 155"/>
                <a:gd name="T91" fmla="*/ 48 h 76"/>
                <a:gd name="T92" fmla="*/ 36 w 155"/>
                <a:gd name="T93" fmla="*/ 52 h 76"/>
                <a:gd name="T94" fmla="*/ 24 w 155"/>
                <a:gd name="T95" fmla="*/ 64 h 76"/>
                <a:gd name="T96" fmla="*/ 44 w 155"/>
                <a:gd name="T97" fmla="*/ 63 h 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76">
                  <a:moveTo>
                    <a:pt x="75" y="76"/>
                  </a:moveTo>
                  <a:cubicBezTo>
                    <a:pt x="75" y="76"/>
                    <a:pt x="75" y="76"/>
                    <a:pt x="75" y="76"/>
                  </a:cubicBezTo>
                  <a:cubicBezTo>
                    <a:pt x="73" y="76"/>
                    <a:pt x="70" y="75"/>
                    <a:pt x="68" y="74"/>
                  </a:cubicBezTo>
                  <a:cubicBezTo>
                    <a:pt x="65" y="73"/>
                    <a:pt x="62" y="71"/>
                    <a:pt x="59" y="70"/>
                  </a:cubicBezTo>
                  <a:cubicBezTo>
                    <a:pt x="54" y="67"/>
                    <a:pt x="48" y="64"/>
                    <a:pt x="44" y="64"/>
                  </a:cubicBezTo>
                  <a:cubicBezTo>
                    <a:pt x="43" y="64"/>
                    <a:pt x="43" y="64"/>
                    <a:pt x="42" y="64"/>
                  </a:cubicBezTo>
                  <a:cubicBezTo>
                    <a:pt x="41" y="64"/>
                    <a:pt x="40" y="64"/>
                    <a:pt x="39" y="65"/>
                  </a:cubicBezTo>
                  <a:cubicBezTo>
                    <a:pt x="35" y="66"/>
                    <a:pt x="32" y="66"/>
                    <a:pt x="29" y="66"/>
                  </a:cubicBezTo>
                  <a:cubicBezTo>
                    <a:pt x="26" y="66"/>
                    <a:pt x="24" y="66"/>
                    <a:pt x="23" y="64"/>
                  </a:cubicBezTo>
                  <a:cubicBezTo>
                    <a:pt x="22" y="63"/>
                    <a:pt x="22" y="62"/>
                    <a:pt x="22" y="62"/>
                  </a:cubicBezTo>
                  <a:cubicBezTo>
                    <a:pt x="22" y="60"/>
                    <a:pt x="25" y="59"/>
                    <a:pt x="31" y="59"/>
                  </a:cubicBezTo>
                  <a:cubicBezTo>
                    <a:pt x="35" y="59"/>
                    <a:pt x="36" y="57"/>
                    <a:pt x="36" y="55"/>
                  </a:cubicBezTo>
                  <a:cubicBezTo>
                    <a:pt x="37" y="54"/>
                    <a:pt x="36" y="53"/>
                    <a:pt x="35" y="53"/>
                  </a:cubicBezTo>
                  <a:cubicBezTo>
                    <a:pt x="34" y="53"/>
                    <a:pt x="34" y="51"/>
                    <a:pt x="34" y="50"/>
                  </a:cubicBezTo>
                  <a:cubicBezTo>
                    <a:pt x="34" y="48"/>
                    <a:pt x="34" y="48"/>
                    <a:pt x="33" y="48"/>
                  </a:cubicBezTo>
                  <a:cubicBezTo>
                    <a:pt x="33" y="48"/>
                    <a:pt x="32" y="48"/>
                    <a:pt x="31" y="48"/>
                  </a:cubicBezTo>
                  <a:cubicBezTo>
                    <a:pt x="31" y="49"/>
                    <a:pt x="30" y="49"/>
                    <a:pt x="29" y="49"/>
                  </a:cubicBezTo>
                  <a:cubicBezTo>
                    <a:pt x="26" y="49"/>
                    <a:pt x="26" y="45"/>
                    <a:pt x="26" y="43"/>
                  </a:cubicBezTo>
                  <a:cubicBezTo>
                    <a:pt x="26" y="42"/>
                    <a:pt x="26" y="42"/>
                    <a:pt x="26" y="42"/>
                  </a:cubicBezTo>
                  <a:cubicBezTo>
                    <a:pt x="26" y="42"/>
                    <a:pt x="25" y="42"/>
                    <a:pt x="23" y="42"/>
                  </a:cubicBezTo>
                  <a:cubicBezTo>
                    <a:pt x="22" y="42"/>
                    <a:pt x="19" y="42"/>
                    <a:pt x="16" y="43"/>
                  </a:cubicBezTo>
                  <a:cubicBezTo>
                    <a:pt x="13" y="43"/>
                    <a:pt x="11" y="43"/>
                    <a:pt x="8" y="43"/>
                  </a:cubicBezTo>
                  <a:cubicBezTo>
                    <a:pt x="6" y="43"/>
                    <a:pt x="5" y="43"/>
                    <a:pt x="5" y="42"/>
                  </a:cubicBezTo>
                  <a:cubicBezTo>
                    <a:pt x="4" y="42"/>
                    <a:pt x="4" y="41"/>
                    <a:pt x="5" y="40"/>
                  </a:cubicBezTo>
                  <a:cubicBezTo>
                    <a:pt x="6" y="38"/>
                    <a:pt x="13" y="37"/>
                    <a:pt x="19" y="37"/>
                  </a:cubicBezTo>
                  <a:cubicBezTo>
                    <a:pt x="20" y="37"/>
                    <a:pt x="21" y="37"/>
                    <a:pt x="22" y="37"/>
                  </a:cubicBezTo>
                  <a:cubicBezTo>
                    <a:pt x="23" y="37"/>
                    <a:pt x="24" y="37"/>
                    <a:pt x="24" y="37"/>
                  </a:cubicBezTo>
                  <a:cubicBezTo>
                    <a:pt x="28" y="37"/>
                    <a:pt x="30" y="36"/>
                    <a:pt x="30" y="36"/>
                  </a:cubicBezTo>
                  <a:cubicBezTo>
                    <a:pt x="30" y="35"/>
                    <a:pt x="30" y="34"/>
                    <a:pt x="29" y="34"/>
                  </a:cubicBezTo>
                  <a:cubicBezTo>
                    <a:pt x="28" y="33"/>
                    <a:pt x="28" y="33"/>
                    <a:pt x="28" y="32"/>
                  </a:cubicBezTo>
                  <a:cubicBezTo>
                    <a:pt x="28" y="31"/>
                    <a:pt x="29" y="30"/>
                    <a:pt x="30" y="30"/>
                  </a:cubicBezTo>
                  <a:cubicBezTo>
                    <a:pt x="31" y="29"/>
                    <a:pt x="32" y="28"/>
                    <a:pt x="32" y="28"/>
                  </a:cubicBezTo>
                  <a:cubicBezTo>
                    <a:pt x="32" y="27"/>
                    <a:pt x="32" y="27"/>
                    <a:pt x="32" y="27"/>
                  </a:cubicBezTo>
                  <a:cubicBezTo>
                    <a:pt x="30" y="25"/>
                    <a:pt x="28" y="24"/>
                    <a:pt x="25" y="24"/>
                  </a:cubicBezTo>
                  <a:cubicBezTo>
                    <a:pt x="22" y="24"/>
                    <a:pt x="18" y="25"/>
                    <a:pt x="14" y="27"/>
                  </a:cubicBezTo>
                  <a:cubicBezTo>
                    <a:pt x="13" y="27"/>
                    <a:pt x="11" y="28"/>
                    <a:pt x="9" y="28"/>
                  </a:cubicBezTo>
                  <a:cubicBezTo>
                    <a:pt x="5" y="28"/>
                    <a:pt x="2" y="27"/>
                    <a:pt x="1" y="25"/>
                  </a:cubicBezTo>
                  <a:cubicBezTo>
                    <a:pt x="0" y="24"/>
                    <a:pt x="0" y="23"/>
                    <a:pt x="0" y="23"/>
                  </a:cubicBezTo>
                  <a:cubicBezTo>
                    <a:pt x="0" y="21"/>
                    <a:pt x="2" y="19"/>
                    <a:pt x="3" y="18"/>
                  </a:cubicBezTo>
                  <a:cubicBezTo>
                    <a:pt x="5" y="16"/>
                    <a:pt x="6" y="15"/>
                    <a:pt x="7" y="13"/>
                  </a:cubicBezTo>
                  <a:cubicBezTo>
                    <a:pt x="9" y="10"/>
                    <a:pt x="12" y="8"/>
                    <a:pt x="14" y="8"/>
                  </a:cubicBezTo>
                  <a:cubicBezTo>
                    <a:pt x="16" y="8"/>
                    <a:pt x="17" y="8"/>
                    <a:pt x="17" y="9"/>
                  </a:cubicBezTo>
                  <a:cubicBezTo>
                    <a:pt x="19" y="11"/>
                    <a:pt x="21" y="12"/>
                    <a:pt x="23" y="12"/>
                  </a:cubicBezTo>
                  <a:cubicBezTo>
                    <a:pt x="23" y="11"/>
                    <a:pt x="23" y="11"/>
                    <a:pt x="23" y="11"/>
                  </a:cubicBezTo>
                  <a:cubicBezTo>
                    <a:pt x="23" y="11"/>
                    <a:pt x="23" y="11"/>
                    <a:pt x="22" y="10"/>
                  </a:cubicBezTo>
                  <a:cubicBezTo>
                    <a:pt x="19" y="8"/>
                    <a:pt x="16" y="5"/>
                    <a:pt x="17" y="3"/>
                  </a:cubicBezTo>
                  <a:cubicBezTo>
                    <a:pt x="17" y="2"/>
                    <a:pt x="18" y="1"/>
                    <a:pt x="20" y="1"/>
                  </a:cubicBezTo>
                  <a:cubicBezTo>
                    <a:pt x="26" y="1"/>
                    <a:pt x="42" y="10"/>
                    <a:pt x="44" y="15"/>
                  </a:cubicBezTo>
                  <a:cubicBezTo>
                    <a:pt x="44" y="15"/>
                    <a:pt x="44" y="16"/>
                    <a:pt x="43" y="17"/>
                  </a:cubicBezTo>
                  <a:cubicBezTo>
                    <a:pt x="41" y="18"/>
                    <a:pt x="41" y="20"/>
                    <a:pt x="42" y="22"/>
                  </a:cubicBezTo>
                  <a:cubicBezTo>
                    <a:pt x="42" y="25"/>
                    <a:pt x="44" y="28"/>
                    <a:pt x="46" y="28"/>
                  </a:cubicBezTo>
                  <a:cubicBezTo>
                    <a:pt x="46" y="28"/>
                    <a:pt x="46" y="28"/>
                    <a:pt x="46" y="28"/>
                  </a:cubicBezTo>
                  <a:cubicBezTo>
                    <a:pt x="48" y="25"/>
                    <a:pt x="51" y="23"/>
                    <a:pt x="54" y="23"/>
                  </a:cubicBezTo>
                  <a:cubicBezTo>
                    <a:pt x="55" y="23"/>
                    <a:pt x="55" y="23"/>
                    <a:pt x="56" y="23"/>
                  </a:cubicBezTo>
                  <a:cubicBezTo>
                    <a:pt x="57" y="24"/>
                    <a:pt x="58" y="24"/>
                    <a:pt x="58" y="23"/>
                  </a:cubicBezTo>
                  <a:cubicBezTo>
                    <a:pt x="59" y="22"/>
                    <a:pt x="59" y="19"/>
                    <a:pt x="57" y="17"/>
                  </a:cubicBezTo>
                  <a:cubicBezTo>
                    <a:pt x="56" y="16"/>
                    <a:pt x="57" y="13"/>
                    <a:pt x="58" y="11"/>
                  </a:cubicBezTo>
                  <a:cubicBezTo>
                    <a:pt x="58" y="10"/>
                    <a:pt x="60" y="9"/>
                    <a:pt x="61" y="9"/>
                  </a:cubicBezTo>
                  <a:cubicBezTo>
                    <a:pt x="62" y="9"/>
                    <a:pt x="63" y="10"/>
                    <a:pt x="65" y="12"/>
                  </a:cubicBezTo>
                  <a:cubicBezTo>
                    <a:pt x="67" y="16"/>
                    <a:pt x="69" y="17"/>
                    <a:pt x="69" y="17"/>
                  </a:cubicBezTo>
                  <a:cubicBezTo>
                    <a:pt x="69" y="17"/>
                    <a:pt x="69" y="17"/>
                    <a:pt x="70" y="17"/>
                  </a:cubicBezTo>
                  <a:cubicBezTo>
                    <a:pt x="70" y="16"/>
                    <a:pt x="70" y="16"/>
                    <a:pt x="70" y="16"/>
                  </a:cubicBezTo>
                  <a:cubicBezTo>
                    <a:pt x="70" y="14"/>
                    <a:pt x="70" y="12"/>
                    <a:pt x="72" y="10"/>
                  </a:cubicBezTo>
                  <a:cubicBezTo>
                    <a:pt x="73" y="9"/>
                    <a:pt x="75" y="7"/>
                    <a:pt x="77" y="7"/>
                  </a:cubicBezTo>
                  <a:cubicBezTo>
                    <a:pt x="78" y="7"/>
                    <a:pt x="79" y="8"/>
                    <a:pt x="80" y="8"/>
                  </a:cubicBezTo>
                  <a:cubicBezTo>
                    <a:pt x="81" y="9"/>
                    <a:pt x="82" y="9"/>
                    <a:pt x="82" y="10"/>
                  </a:cubicBezTo>
                  <a:cubicBezTo>
                    <a:pt x="84" y="11"/>
                    <a:pt x="86" y="12"/>
                    <a:pt x="87" y="12"/>
                  </a:cubicBezTo>
                  <a:cubicBezTo>
                    <a:pt x="87" y="12"/>
                    <a:pt x="87" y="12"/>
                    <a:pt x="87" y="11"/>
                  </a:cubicBezTo>
                  <a:cubicBezTo>
                    <a:pt x="87" y="11"/>
                    <a:pt x="87" y="10"/>
                    <a:pt x="88" y="10"/>
                  </a:cubicBezTo>
                  <a:cubicBezTo>
                    <a:pt x="89" y="9"/>
                    <a:pt x="90" y="8"/>
                    <a:pt x="92" y="8"/>
                  </a:cubicBezTo>
                  <a:cubicBezTo>
                    <a:pt x="94" y="8"/>
                    <a:pt x="95" y="9"/>
                    <a:pt x="96" y="10"/>
                  </a:cubicBezTo>
                  <a:cubicBezTo>
                    <a:pt x="97" y="11"/>
                    <a:pt x="98" y="12"/>
                    <a:pt x="100" y="12"/>
                  </a:cubicBezTo>
                  <a:cubicBezTo>
                    <a:pt x="101" y="12"/>
                    <a:pt x="101" y="11"/>
                    <a:pt x="101" y="10"/>
                  </a:cubicBezTo>
                  <a:cubicBezTo>
                    <a:pt x="101" y="9"/>
                    <a:pt x="101" y="8"/>
                    <a:pt x="103" y="8"/>
                  </a:cubicBezTo>
                  <a:cubicBezTo>
                    <a:pt x="104" y="8"/>
                    <a:pt x="105" y="9"/>
                    <a:pt x="106" y="9"/>
                  </a:cubicBezTo>
                  <a:cubicBezTo>
                    <a:pt x="107" y="9"/>
                    <a:pt x="108" y="9"/>
                    <a:pt x="109" y="9"/>
                  </a:cubicBezTo>
                  <a:cubicBezTo>
                    <a:pt x="110" y="9"/>
                    <a:pt x="110" y="9"/>
                    <a:pt x="110" y="9"/>
                  </a:cubicBezTo>
                  <a:cubicBezTo>
                    <a:pt x="110" y="8"/>
                    <a:pt x="110" y="7"/>
                    <a:pt x="110" y="6"/>
                  </a:cubicBezTo>
                  <a:cubicBezTo>
                    <a:pt x="110" y="4"/>
                    <a:pt x="109" y="1"/>
                    <a:pt x="112" y="0"/>
                  </a:cubicBezTo>
                  <a:cubicBezTo>
                    <a:pt x="112" y="0"/>
                    <a:pt x="112" y="0"/>
                    <a:pt x="113" y="0"/>
                  </a:cubicBezTo>
                  <a:cubicBezTo>
                    <a:pt x="115" y="0"/>
                    <a:pt x="117" y="1"/>
                    <a:pt x="120" y="3"/>
                  </a:cubicBezTo>
                  <a:cubicBezTo>
                    <a:pt x="122" y="5"/>
                    <a:pt x="124" y="7"/>
                    <a:pt x="126" y="7"/>
                  </a:cubicBezTo>
                  <a:cubicBezTo>
                    <a:pt x="127" y="6"/>
                    <a:pt x="127" y="6"/>
                    <a:pt x="127" y="6"/>
                  </a:cubicBezTo>
                  <a:cubicBezTo>
                    <a:pt x="129" y="6"/>
                    <a:pt x="132" y="5"/>
                    <a:pt x="134" y="5"/>
                  </a:cubicBezTo>
                  <a:cubicBezTo>
                    <a:pt x="135" y="5"/>
                    <a:pt x="136" y="5"/>
                    <a:pt x="136" y="5"/>
                  </a:cubicBezTo>
                  <a:cubicBezTo>
                    <a:pt x="136" y="6"/>
                    <a:pt x="136" y="6"/>
                    <a:pt x="136" y="6"/>
                  </a:cubicBezTo>
                  <a:cubicBezTo>
                    <a:pt x="136" y="7"/>
                    <a:pt x="137" y="8"/>
                    <a:pt x="137" y="10"/>
                  </a:cubicBezTo>
                  <a:cubicBezTo>
                    <a:pt x="138" y="11"/>
                    <a:pt x="140" y="14"/>
                    <a:pt x="139" y="16"/>
                  </a:cubicBezTo>
                  <a:cubicBezTo>
                    <a:pt x="139" y="17"/>
                    <a:pt x="139" y="18"/>
                    <a:pt x="140" y="19"/>
                  </a:cubicBezTo>
                  <a:cubicBezTo>
                    <a:pt x="141" y="21"/>
                    <a:pt x="144" y="22"/>
                    <a:pt x="146" y="22"/>
                  </a:cubicBezTo>
                  <a:cubicBezTo>
                    <a:pt x="149" y="22"/>
                    <a:pt x="151" y="24"/>
                    <a:pt x="153" y="27"/>
                  </a:cubicBezTo>
                  <a:cubicBezTo>
                    <a:pt x="155" y="29"/>
                    <a:pt x="155" y="33"/>
                    <a:pt x="154" y="35"/>
                  </a:cubicBezTo>
                  <a:cubicBezTo>
                    <a:pt x="152" y="39"/>
                    <a:pt x="146" y="46"/>
                    <a:pt x="143" y="46"/>
                  </a:cubicBezTo>
                  <a:cubicBezTo>
                    <a:pt x="142" y="46"/>
                    <a:pt x="141" y="47"/>
                    <a:pt x="140" y="49"/>
                  </a:cubicBezTo>
                  <a:cubicBezTo>
                    <a:pt x="138" y="51"/>
                    <a:pt x="136" y="55"/>
                    <a:pt x="131" y="55"/>
                  </a:cubicBezTo>
                  <a:cubicBezTo>
                    <a:pt x="123" y="55"/>
                    <a:pt x="117" y="59"/>
                    <a:pt x="112" y="63"/>
                  </a:cubicBezTo>
                  <a:cubicBezTo>
                    <a:pt x="110" y="64"/>
                    <a:pt x="106" y="64"/>
                    <a:pt x="103" y="65"/>
                  </a:cubicBezTo>
                  <a:cubicBezTo>
                    <a:pt x="99" y="65"/>
                    <a:pt x="95" y="66"/>
                    <a:pt x="94" y="68"/>
                  </a:cubicBezTo>
                  <a:cubicBezTo>
                    <a:pt x="92" y="72"/>
                    <a:pt x="83" y="76"/>
                    <a:pt x="75" y="76"/>
                  </a:cubicBezTo>
                  <a:close/>
                  <a:moveTo>
                    <a:pt x="44" y="63"/>
                  </a:moveTo>
                  <a:cubicBezTo>
                    <a:pt x="49" y="63"/>
                    <a:pt x="54" y="66"/>
                    <a:pt x="60" y="69"/>
                  </a:cubicBezTo>
                  <a:cubicBezTo>
                    <a:pt x="63" y="71"/>
                    <a:pt x="66" y="72"/>
                    <a:pt x="68" y="73"/>
                  </a:cubicBezTo>
                  <a:cubicBezTo>
                    <a:pt x="70" y="74"/>
                    <a:pt x="73" y="75"/>
                    <a:pt x="75" y="75"/>
                  </a:cubicBezTo>
                  <a:cubicBezTo>
                    <a:pt x="83" y="75"/>
                    <a:pt x="92" y="71"/>
                    <a:pt x="93" y="68"/>
                  </a:cubicBezTo>
                  <a:cubicBezTo>
                    <a:pt x="94" y="65"/>
                    <a:pt x="98" y="65"/>
                    <a:pt x="103" y="64"/>
                  </a:cubicBezTo>
                  <a:cubicBezTo>
                    <a:pt x="106" y="63"/>
                    <a:pt x="109" y="63"/>
                    <a:pt x="111" y="62"/>
                  </a:cubicBezTo>
                  <a:cubicBezTo>
                    <a:pt x="116" y="58"/>
                    <a:pt x="123" y="55"/>
                    <a:pt x="131" y="54"/>
                  </a:cubicBezTo>
                  <a:cubicBezTo>
                    <a:pt x="136" y="54"/>
                    <a:pt x="138" y="51"/>
                    <a:pt x="139" y="48"/>
                  </a:cubicBezTo>
                  <a:cubicBezTo>
                    <a:pt x="140" y="46"/>
                    <a:pt x="141" y="45"/>
                    <a:pt x="143" y="45"/>
                  </a:cubicBezTo>
                  <a:cubicBezTo>
                    <a:pt x="143" y="45"/>
                    <a:pt x="143" y="45"/>
                    <a:pt x="143" y="45"/>
                  </a:cubicBezTo>
                  <a:cubicBezTo>
                    <a:pt x="146" y="45"/>
                    <a:pt x="151" y="39"/>
                    <a:pt x="153" y="34"/>
                  </a:cubicBezTo>
                  <a:cubicBezTo>
                    <a:pt x="154" y="32"/>
                    <a:pt x="154" y="30"/>
                    <a:pt x="152" y="27"/>
                  </a:cubicBezTo>
                  <a:cubicBezTo>
                    <a:pt x="151" y="25"/>
                    <a:pt x="148" y="23"/>
                    <a:pt x="146" y="23"/>
                  </a:cubicBezTo>
                  <a:cubicBezTo>
                    <a:pt x="143" y="23"/>
                    <a:pt x="140" y="22"/>
                    <a:pt x="139" y="19"/>
                  </a:cubicBezTo>
                  <a:cubicBezTo>
                    <a:pt x="138" y="18"/>
                    <a:pt x="137" y="17"/>
                    <a:pt x="138" y="15"/>
                  </a:cubicBezTo>
                  <a:cubicBezTo>
                    <a:pt x="138" y="14"/>
                    <a:pt x="137" y="12"/>
                    <a:pt x="137" y="10"/>
                  </a:cubicBezTo>
                  <a:cubicBezTo>
                    <a:pt x="136" y="9"/>
                    <a:pt x="135" y="7"/>
                    <a:pt x="135" y="6"/>
                  </a:cubicBezTo>
                  <a:cubicBezTo>
                    <a:pt x="135" y="6"/>
                    <a:pt x="135" y="6"/>
                    <a:pt x="135" y="6"/>
                  </a:cubicBezTo>
                  <a:cubicBezTo>
                    <a:pt x="135" y="6"/>
                    <a:pt x="135" y="6"/>
                    <a:pt x="134" y="6"/>
                  </a:cubicBezTo>
                  <a:cubicBezTo>
                    <a:pt x="132" y="6"/>
                    <a:pt x="129" y="7"/>
                    <a:pt x="127" y="7"/>
                  </a:cubicBezTo>
                  <a:cubicBezTo>
                    <a:pt x="126" y="8"/>
                    <a:pt x="126" y="8"/>
                    <a:pt x="126" y="8"/>
                  </a:cubicBezTo>
                  <a:cubicBezTo>
                    <a:pt x="124" y="8"/>
                    <a:pt x="122" y="6"/>
                    <a:pt x="119" y="4"/>
                  </a:cubicBezTo>
                  <a:cubicBezTo>
                    <a:pt x="116" y="2"/>
                    <a:pt x="114" y="0"/>
                    <a:pt x="112" y="1"/>
                  </a:cubicBezTo>
                  <a:cubicBezTo>
                    <a:pt x="110" y="2"/>
                    <a:pt x="111" y="4"/>
                    <a:pt x="111" y="6"/>
                  </a:cubicBezTo>
                  <a:cubicBezTo>
                    <a:pt x="111" y="7"/>
                    <a:pt x="111" y="8"/>
                    <a:pt x="111" y="9"/>
                  </a:cubicBezTo>
                  <a:cubicBezTo>
                    <a:pt x="111" y="10"/>
                    <a:pt x="110" y="10"/>
                    <a:pt x="109" y="10"/>
                  </a:cubicBezTo>
                  <a:cubicBezTo>
                    <a:pt x="108" y="10"/>
                    <a:pt x="107" y="10"/>
                    <a:pt x="106" y="10"/>
                  </a:cubicBezTo>
                  <a:cubicBezTo>
                    <a:pt x="105" y="10"/>
                    <a:pt x="104" y="9"/>
                    <a:pt x="103" y="9"/>
                  </a:cubicBezTo>
                  <a:cubicBezTo>
                    <a:pt x="102" y="9"/>
                    <a:pt x="102" y="10"/>
                    <a:pt x="102" y="10"/>
                  </a:cubicBezTo>
                  <a:cubicBezTo>
                    <a:pt x="102" y="12"/>
                    <a:pt x="101" y="13"/>
                    <a:pt x="100" y="13"/>
                  </a:cubicBezTo>
                  <a:cubicBezTo>
                    <a:pt x="98" y="13"/>
                    <a:pt x="97" y="12"/>
                    <a:pt x="95" y="10"/>
                  </a:cubicBezTo>
                  <a:cubicBezTo>
                    <a:pt x="94" y="9"/>
                    <a:pt x="93" y="9"/>
                    <a:pt x="92" y="9"/>
                  </a:cubicBezTo>
                  <a:cubicBezTo>
                    <a:pt x="91" y="9"/>
                    <a:pt x="89" y="9"/>
                    <a:pt x="88" y="10"/>
                  </a:cubicBezTo>
                  <a:cubicBezTo>
                    <a:pt x="88" y="11"/>
                    <a:pt x="88" y="11"/>
                    <a:pt x="88" y="11"/>
                  </a:cubicBezTo>
                  <a:cubicBezTo>
                    <a:pt x="88" y="12"/>
                    <a:pt x="88" y="12"/>
                    <a:pt x="88" y="13"/>
                  </a:cubicBezTo>
                  <a:cubicBezTo>
                    <a:pt x="87" y="13"/>
                    <a:pt x="87" y="13"/>
                    <a:pt x="87" y="13"/>
                  </a:cubicBezTo>
                  <a:cubicBezTo>
                    <a:pt x="86" y="13"/>
                    <a:pt x="84" y="12"/>
                    <a:pt x="82" y="10"/>
                  </a:cubicBezTo>
                  <a:cubicBezTo>
                    <a:pt x="81" y="10"/>
                    <a:pt x="80" y="10"/>
                    <a:pt x="80" y="9"/>
                  </a:cubicBezTo>
                  <a:cubicBezTo>
                    <a:pt x="77" y="8"/>
                    <a:pt x="75" y="9"/>
                    <a:pt x="73" y="11"/>
                  </a:cubicBezTo>
                  <a:cubicBezTo>
                    <a:pt x="71" y="12"/>
                    <a:pt x="71" y="14"/>
                    <a:pt x="71" y="15"/>
                  </a:cubicBezTo>
                  <a:cubicBezTo>
                    <a:pt x="71" y="16"/>
                    <a:pt x="71" y="17"/>
                    <a:pt x="70" y="18"/>
                  </a:cubicBezTo>
                  <a:cubicBezTo>
                    <a:pt x="70" y="18"/>
                    <a:pt x="70" y="18"/>
                    <a:pt x="69" y="18"/>
                  </a:cubicBezTo>
                  <a:cubicBezTo>
                    <a:pt x="68" y="18"/>
                    <a:pt x="65" y="15"/>
                    <a:pt x="64" y="13"/>
                  </a:cubicBezTo>
                  <a:cubicBezTo>
                    <a:pt x="63" y="11"/>
                    <a:pt x="62" y="10"/>
                    <a:pt x="61" y="10"/>
                  </a:cubicBezTo>
                  <a:cubicBezTo>
                    <a:pt x="60" y="10"/>
                    <a:pt x="59" y="11"/>
                    <a:pt x="59" y="12"/>
                  </a:cubicBezTo>
                  <a:cubicBezTo>
                    <a:pt x="58" y="13"/>
                    <a:pt x="57" y="15"/>
                    <a:pt x="58" y="17"/>
                  </a:cubicBezTo>
                  <a:cubicBezTo>
                    <a:pt x="60" y="19"/>
                    <a:pt x="60" y="22"/>
                    <a:pt x="59" y="23"/>
                  </a:cubicBezTo>
                  <a:cubicBezTo>
                    <a:pt x="58" y="25"/>
                    <a:pt x="57" y="25"/>
                    <a:pt x="56" y="24"/>
                  </a:cubicBezTo>
                  <a:cubicBezTo>
                    <a:pt x="55" y="24"/>
                    <a:pt x="54" y="24"/>
                    <a:pt x="54" y="24"/>
                  </a:cubicBezTo>
                  <a:cubicBezTo>
                    <a:pt x="51" y="24"/>
                    <a:pt x="48" y="26"/>
                    <a:pt x="47" y="28"/>
                  </a:cubicBezTo>
                  <a:cubicBezTo>
                    <a:pt x="46" y="29"/>
                    <a:pt x="46" y="29"/>
                    <a:pt x="46" y="29"/>
                  </a:cubicBezTo>
                  <a:cubicBezTo>
                    <a:pt x="44" y="29"/>
                    <a:pt x="41" y="25"/>
                    <a:pt x="41" y="22"/>
                  </a:cubicBezTo>
                  <a:cubicBezTo>
                    <a:pt x="40" y="19"/>
                    <a:pt x="40" y="17"/>
                    <a:pt x="42" y="16"/>
                  </a:cubicBezTo>
                  <a:cubicBezTo>
                    <a:pt x="43" y="16"/>
                    <a:pt x="43" y="15"/>
                    <a:pt x="43" y="15"/>
                  </a:cubicBezTo>
                  <a:cubicBezTo>
                    <a:pt x="42" y="11"/>
                    <a:pt x="26" y="2"/>
                    <a:pt x="20" y="2"/>
                  </a:cubicBezTo>
                  <a:cubicBezTo>
                    <a:pt x="19" y="2"/>
                    <a:pt x="18" y="2"/>
                    <a:pt x="18" y="3"/>
                  </a:cubicBezTo>
                  <a:cubicBezTo>
                    <a:pt x="17" y="4"/>
                    <a:pt x="19" y="7"/>
                    <a:pt x="23" y="9"/>
                  </a:cubicBezTo>
                  <a:cubicBezTo>
                    <a:pt x="24" y="10"/>
                    <a:pt x="24" y="11"/>
                    <a:pt x="24" y="12"/>
                  </a:cubicBezTo>
                  <a:cubicBezTo>
                    <a:pt x="24" y="12"/>
                    <a:pt x="24" y="13"/>
                    <a:pt x="23" y="13"/>
                  </a:cubicBezTo>
                  <a:cubicBezTo>
                    <a:pt x="21" y="13"/>
                    <a:pt x="18" y="12"/>
                    <a:pt x="17" y="10"/>
                  </a:cubicBezTo>
                  <a:cubicBezTo>
                    <a:pt x="16" y="9"/>
                    <a:pt x="15" y="9"/>
                    <a:pt x="14" y="9"/>
                  </a:cubicBezTo>
                  <a:cubicBezTo>
                    <a:pt x="12" y="9"/>
                    <a:pt x="10" y="10"/>
                    <a:pt x="8" y="13"/>
                  </a:cubicBezTo>
                  <a:cubicBezTo>
                    <a:pt x="7" y="15"/>
                    <a:pt x="5" y="17"/>
                    <a:pt x="4" y="18"/>
                  </a:cubicBezTo>
                  <a:cubicBezTo>
                    <a:pt x="2" y="20"/>
                    <a:pt x="1" y="21"/>
                    <a:pt x="1" y="23"/>
                  </a:cubicBezTo>
                  <a:cubicBezTo>
                    <a:pt x="1" y="24"/>
                    <a:pt x="1" y="24"/>
                    <a:pt x="1" y="24"/>
                  </a:cubicBezTo>
                  <a:cubicBezTo>
                    <a:pt x="2" y="25"/>
                    <a:pt x="5" y="27"/>
                    <a:pt x="9" y="27"/>
                  </a:cubicBezTo>
                  <a:cubicBezTo>
                    <a:pt x="11" y="27"/>
                    <a:pt x="12" y="26"/>
                    <a:pt x="14" y="26"/>
                  </a:cubicBezTo>
                  <a:cubicBezTo>
                    <a:pt x="18" y="24"/>
                    <a:pt x="21" y="23"/>
                    <a:pt x="25" y="23"/>
                  </a:cubicBezTo>
                  <a:cubicBezTo>
                    <a:pt x="28" y="23"/>
                    <a:pt x="31" y="24"/>
                    <a:pt x="32" y="26"/>
                  </a:cubicBezTo>
                  <a:cubicBezTo>
                    <a:pt x="33" y="26"/>
                    <a:pt x="33" y="27"/>
                    <a:pt x="33" y="28"/>
                  </a:cubicBezTo>
                  <a:cubicBezTo>
                    <a:pt x="33" y="29"/>
                    <a:pt x="32" y="30"/>
                    <a:pt x="31" y="30"/>
                  </a:cubicBezTo>
                  <a:cubicBezTo>
                    <a:pt x="30" y="31"/>
                    <a:pt x="29" y="32"/>
                    <a:pt x="29" y="32"/>
                  </a:cubicBezTo>
                  <a:cubicBezTo>
                    <a:pt x="29" y="33"/>
                    <a:pt x="29" y="33"/>
                    <a:pt x="29" y="33"/>
                  </a:cubicBezTo>
                  <a:cubicBezTo>
                    <a:pt x="31" y="34"/>
                    <a:pt x="31" y="35"/>
                    <a:pt x="31" y="36"/>
                  </a:cubicBezTo>
                  <a:cubicBezTo>
                    <a:pt x="30" y="38"/>
                    <a:pt x="27" y="38"/>
                    <a:pt x="22" y="38"/>
                  </a:cubicBezTo>
                  <a:cubicBezTo>
                    <a:pt x="21" y="38"/>
                    <a:pt x="20" y="38"/>
                    <a:pt x="19" y="38"/>
                  </a:cubicBezTo>
                  <a:cubicBezTo>
                    <a:pt x="13" y="38"/>
                    <a:pt x="7" y="39"/>
                    <a:pt x="6" y="41"/>
                  </a:cubicBezTo>
                  <a:cubicBezTo>
                    <a:pt x="5" y="41"/>
                    <a:pt x="5" y="41"/>
                    <a:pt x="5" y="42"/>
                  </a:cubicBezTo>
                  <a:cubicBezTo>
                    <a:pt x="6" y="42"/>
                    <a:pt x="6" y="42"/>
                    <a:pt x="8" y="42"/>
                  </a:cubicBezTo>
                  <a:cubicBezTo>
                    <a:pt x="11" y="42"/>
                    <a:pt x="13" y="42"/>
                    <a:pt x="16" y="42"/>
                  </a:cubicBezTo>
                  <a:cubicBezTo>
                    <a:pt x="19" y="41"/>
                    <a:pt x="22" y="41"/>
                    <a:pt x="23" y="41"/>
                  </a:cubicBezTo>
                  <a:cubicBezTo>
                    <a:pt x="25" y="41"/>
                    <a:pt x="27" y="41"/>
                    <a:pt x="27" y="42"/>
                  </a:cubicBezTo>
                  <a:cubicBezTo>
                    <a:pt x="27" y="43"/>
                    <a:pt x="27" y="43"/>
                    <a:pt x="27" y="43"/>
                  </a:cubicBezTo>
                  <a:cubicBezTo>
                    <a:pt x="27" y="46"/>
                    <a:pt x="27" y="48"/>
                    <a:pt x="29" y="48"/>
                  </a:cubicBezTo>
                  <a:cubicBezTo>
                    <a:pt x="30" y="48"/>
                    <a:pt x="30" y="48"/>
                    <a:pt x="31" y="47"/>
                  </a:cubicBezTo>
                  <a:cubicBezTo>
                    <a:pt x="32" y="47"/>
                    <a:pt x="33" y="47"/>
                    <a:pt x="33" y="47"/>
                  </a:cubicBezTo>
                  <a:cubicBezTo>
                    <a:pt x="35" y="47"/>
                    <a:pt x="35" y="48"/>
                    <a:pt x="35" y="50"/>
                  </a:cubicBezTo>
                  <a:cubicBezTo>
                    <a:pt x="35" y="51"/>
                    <a:pt x="35" y="52"/>
                    <a:pt x="36" y="52"/>
                  </a:cubicBezTo>
                  <a:cubicBezTo>
                    <a:pt x="37" y="53"/>
                    <a:pt x="38" y="54"/>
                    <a:pt x="37" y="55"/>
                  </a:cubicBezTo>
                  <a:cubicBezTo>
                    <a:pt x="37" y="57"/>
                    <a:pt x="35" y="60"/>
                    <a:pt x="31" y="60"/>
                  </a:cubicBezTo>
                  <a:cubicBezTo>
                    <a:pt x="24" y="60"/>
                    <a:pt x="23" y="61"/>
                    <a:pt x="23" y="62"/>
                  </a:cubicBezTo>
                  <a:cubicBezTo>
                    <a:pt x="23" y="62"/>
                    <a:pt x="23" y="63"/>
                    <a:pt x="24" y="64"/>
                  </a:cubicBezTo>
                  <a:cubicBezTo>
                    <a:pt x="25" y="65"/>
                    <a:pt x="26" y="65"/>
                    <a:pt x="29" y="65"/>
                  </a:cubicBezTo>
                  <a:cubicBezTo>
                    <a:pt x="32" y="65"/>
                    <a:pt x="35" y="65"/>
                    <a:pt x="39" y="64"/>
                  </a:cubicBezTo>
                  <a:cubicBezTo>
                    <a:pt x="40" y="63"/>
                    <a:pt x="41" y="63"/>
                    <a:pt x="42" y="63"/>
                  </a:cubicBezTo>
                  <a:cubicBezTo>
                    <a:pt x="42" y="63"/>
                    <a:pt x="43" y="63"/>
                    <a:pt x="44" y="6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0" name="Freeform 137"/>
            <p:cNvSpPr>
              <a:spLocks noEditPoints="1"/>
            </p:cNvSpPr>
            <p:nvPr/>
          </p:nvSpPr>
          <p:spPr>
            <a:xfrm>
              <a:off x="4524376" y="2276475"/>
              <a:ext cx="112713" cy="123825"/>
            </a:xfrm>
            <a:custGeom>
              <a:gdLst>
                <a:gd name="T0" fmla="*/ 1 w 66"/>
                <a:gd name="T1" fmla="*/ 65 h 73"/>
                <a:gd name="T2" fmla="*/ 5 w 66"/>
                <a:gd name="T3" fmla="*/ 57 h 73"/>
                <a:gd name="T4" fmla="*/ 14 w 66"/>
                <a:gd name="T5" fmla="*/ 45 h 73"/>
                <a:gd name="T6" fmla="*/ 14 w 66"/>
                <a:gd name="T7" fmla="*/ 39 h 73"/>
                <a:gd name="T8" fmla="*/ 6 w 66"/>
                <a:gd name="T9" fmla="*/ 33 h 73"/>
                <a:gd name="T10" fmla="*/ 6 w 66"/>
                <a:gd name="T11" fmla="*/ 22 h 73"/>
                <a:gd name="T12" fmla="*/ 6 w 66"/>
                <a:gd name="T13" fmla="*/ 17 h 73"/>
                <a:gd name="T14" fmla="*/ 14 w 66"/>
                <a:gd name="T15" fmla="*/ 17 h 73"/>
                <a:gd name="T16" fmla="*/ 21 w 66"/>
                <a:gd name="T17" fmla="*/ 17 h 73"/>
                <a:gd name="T18" fmla="*/ 33 w 66"/>
                <a:gd name="T19" fmla="*/ 12 h 73"/>
                <a:gd name="T20" fmla="*/ 26 w 66"/>
                <a:gd name="T21" fmla="*/ 5 h 73"/>
                <a:gd name="T22" fmla="*/ 41 w 66"/>
                <a:gd name="T23" fmla="*/ 1 h 73"/>
                <a:gd name="T24" fmla="*/ 44 w 66"/>
                <a:gd name="T25" fmla="*/ 1 h 73"/>
                <a:gd name="T26" fmla="*/ 39 w 66"/>
                <a:gd name="T27" fmla="*/ 11 h 73"/>
                <a:gd name="T28" fmla="*/ 36 w 66"/>
                <a:gd name="T29" fmla="*/ 18 h 73"/>
                <a:gd name="T30" fmla="*/ 44 w 66"/>
                <a:gd name="T31" fmla="*/ 22 h 73"/>
                <a:gd name="T32" fmla="*/ 49 w 66"/>
                <a:gd name="T33" fmla="*/ 14 h 73"/>
                <a:gd name="T34" fmla="*/ 59 w 66"/>
                <a:gd name="T35" fmla="*/ 22 h 73"/>
                <a:gd name="T36" fmla="*/ 59 w 66"/>
                <a:gd name="T37" fmla="*/ 23 h 73"/>
                <a:gd name="T38" fmla="*/ 59 w 66"/>
                <a:gd name="T39" fmla="*/ 59 h 73"/>
                <a:gd name="T40" fmla="*/ 54 w 66"/>
                <a:gd name="T41" fmla="*/ 60 h 73"/>
                <a:gd name="T42" fmla="*/ 48 w 66"/>
                <a:gd name="T43" fmla="*/ 59 h 73"/>
                <a:gd name="T44" fmla="*/ 15 w 66"/>
                <a:gd name="T45" fmla="*/ 73 h 73"/>
                <a:gd name="T46" fmla="*/ 6 w 66"/>
                <a:gd name="T47" fmla="*/ 18 h 73"/>
                <a:gd name="T48" fmla="*/ 7 w 66"/>
                <a:gd name="T49" fmla="*/ 22 h 73"/>
                <a:gd name="T50" fmla="*/ 7 w 66"/>
                <a:gd name="T51" fmla="*/ 32 h 73"/>
                <a:gd name="T52" fmla="*/ 15 w 66"/>
                <a:gd name="T53" fmla="*/ 39 h 73"/>
                <a:gd name="T54" fmla="*/ 15 w 66"/>
                <a:gd name="T55" fmla="*/ 46 h 73"/>
                <a:gd name="T56" fmla="*/ 6 w 66"/>
                <a:gd name="T57" fmla="*/ 58 h 73"/>
                <a:gd name="T58" fmla="*/ 2 w 66"/>
                <a:gd name="T59" fmla="*/ 65 h 73"/>
                <a:gd name="T60" fmla="*/ 40 w 66"/>
                <a:gd name="T61" fmla="*/ 62 h 73"/>
                <a:gd name="T62" fmla="*/ 51 w 66"/>
                <a:gd name="T63" fmla="*/ 59 h 73"/>
                <a:gd name="T64" fmla="*/ 54 w 66"/>
                <a:gd name="T65" fmla="*/ 59 h 73"/>
                <a:gd name="T66" fmla="*/ 58 w 66"/>
                <a:gd name="T67" fmla="*/ 25 h 73"/>
                <a:gd name="T68" fmla="*/ 53 w 66"/>
                <a:gd name="T69" fmla="*/ 18 h 73"/>
                <a:gd name="T70" fmla="*/ 45 w 66"/>
                <a:gd name="T71" fmla="*/ 21 h 73"/>
                <a:gd name="T72" fmla="*/ 39 w 66"/>
                <a:gd name="T73" fmla="*/ 21 h 73"/>
                <a:gd name="T74" fmla="*/ 34 w 66"/>
                <a:gd name="T75" fmla="*/ 18 h 73"/>
                <a:gd name="T76" fmla="*/ 42 w 66"/>
                <a:gd name="T77" fmla="*/ 2 h 73"/>
                <a:gd name="T78" fmla="*/ 34 w 66"/>
                <a:gd name="T79" fmla="*/ 1 h 73"/>
                <a:gd name="T80" fmla="*/ 31 w 66"/>
                <a:gd name="T81" fmla="*/ 9 h 73"/>
                <a:gd name="T82" fmla="*/ 29 w 66"/>
                <a:gd name="T83" fmla="*/ 15 h 73"/>
                <a:gd name="T84" fmla="*/ 18 w 66"/>
                <a:gd name="T85" fmla="*/ 19 h 73"/>
                <a:gd name="T86" fmla="*/ 9 w 66"/>
                <a:gd name="T87" fmla="*/ 18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3">
                  <a:moveTo>
                    <a:pt x="15" y="73"/>
                  </a:moveTo>
                  <a:cubicBezTo>
                    <a:pt x="10" y="73"/>
                    <a:pt x="4" y="69"/>
                    <a:pt x="1" y="65"/>
                  </a:cubicBezTo>
                  <a:cubicBezTo>
                    <a:pt x="0" y="63"/>
                    <a:pt x="0" y="62"/>
                    <a:pt x="1" y="61"/>
                  </a:cubicBezTo>
                  <a:cubicBezTo>
                    <a:pt x="1" y="59"/>
                    <a:pt x="3" y="58"/>
                    <a:pt x="5" y="57"/>
                  </a:cubicBezTo>
                  <a:cubicBezTo>
                    <a:pt x="8" y="56"/>
                    <a:pt x="10" y="54"/>
                    <a:pt x="10" y="51"/>
                  </a:cubicBezTo>
                  <a:cubicBezTo>
                    <a:pt x="10" y="49"/>
                    <a:pt x="12" y="47"/>
                    <a:pt x="14" y="45"/>
                  </a:cubicBezTo>
                  <a:cubicBezTo>
                    <a:pt x="15" y="44"/>
                    <a:pt x="16" y="43"/>
                    <a:pt x="16" y="42"/>
                  </a:cubicBezTo>
                  <a:cubicBezTo>
                    <a:pt x="16" y="41"/>
                    <a:pt x="16" y="40"/>
                    <a:pt x="14" y="39"/>
                  </a:cubicBezTo>
                  <a:cubicBezTo>
                    <a:pt x="13" y="38"/>
                    <a:pt x="11" y="37"/>
                    <a:pt x="10" y="36"/>
                  </a:cubicBezTo>
                  <a:cubicBezTo>
                    <a:pt x="8" y="35"/>
                    <a:pt x="6" y="34"/>
                    <a:pt x="6" y="33"/>
                  </a:cubicBezTo>
                  <a:cubicBezTo>
                    <a:pt x="6" y="32"/>
                    <a:pt x="6" y="30"/>
                    <a:pt x="8" y="28"/>
                  </a:cubicBezTo>
                  <a:cubicBezTo>
                    <a:pt x="9" y="26"/>
                    <a:pt x="8" y="24"/>
                    <a:pt x="6" y="22"/>
                  </a:cubicBezTo>
                  <a:cubicBezTo>
                    <a:pt x="5" y="21"/>
                    <a:pt x="4" y="20"/>
                    <a:pt x="4" y="19"/>
                  </a:cubicBezTo>
                  <a:cubicBezTo>
                    <a:pt x="4" y="18"/>
                    <a:pt x="5" y="18"/>
                    <a:pt x="6" y="17"/>
                  </a:cubicBezTo>
                  <a:cubicBezTo>
                    <a:pt x="7" y="17"/>
                    <a:pt x="8" y="17"/>
                    <a:pt x="9" y="17"/>
                  </a:cubicBezTo>
                  <a:cubicBezTo>
                    <a:pt x="11" y="17"/>
                    <a:pt x="12" y="17"/>
                    <a:pt x="14" y="17"/>
                  </a:cubicBezTo>
                  <a:cubicBezTo>
                    <a:pt x="15" y="18"/>
                    <a:pt x="17" y="18"/>
                    <a:pt x="18" y="18"/>
                  </a:cubicBezTo>
                  <a:cubicBezTo>
                    <a:pt x="19" y="18"/>
                    <a:pt x="20" y="18"/>
                    <a:pt x="21" y="17"/>
                  </a:cubicBezTo>
                  <a:cubicBezTo>
                    <a:pt x="24" y="16"/>
                    <a:pt x="26" y="15"/>
                    <a:pt x="29" y="14"/>
                  </a:cubicBezTo>
                  <a:cubicBezTo>
                    <a:pt x="31" y="14"/>
                    <a:pt x="33" y="13"/>
                    <a:pt x="33" y="12"/>
                  </a:cubicBezTo>
                  <a:cubicBezTo>
                    <a:pt x="33" y="10"/>
                    <a:pt x="32" y="10"/>
                    <a:pt x="30" y="10"/>
                  </a:cubicBezTo>
                  <a:cubicBezTo>
                    <a:pt x="28" y="9"/>
                    <a:pt x="26" y="8"/>
                    <a:pt x="26" y="5"/>
                  </a:cubicBezTo>
                  <a:cubicBezTo>
                    <a:pt x="26" y="1"/>
                    <a:pt x="29" y="0"/>
                    <a:pt x="34" y="0"/>
                  </a:cubicBezTo>
                  <a:cubicBezTo>
                    <a:pt x="36" y="0"/>
                    <a:pt x="39" y="0"/>
                    <a:pt x="41" y="1"/>
                  </a:cubicBezTo>
                  <a:cubicBezTo>
                    <a:pt x="42" y="1"/>
                    <a:pt x="42" y="1"/>
                    <a:pt x="43" y="1"/>
                  </a:cubicBezTo>
                  <a:cubicBezTo>
                    <a:pt x="44" y="1"/>
                    <a:pt x="44" y="1"/>
                    <a:pt x="44" y="1"/>
                  </a:cubicBezTo>
                  <a:cubicBezTo>
                    <a:pt x="44" y="2"/>
                    <a:pt x="44" y="2"/>
                    <a:pt x="44" y="2"/>
                  </a:cubicBezTo>
                  <a:cubicBezTo>
                    <a:pt x="43" y="6"/>
                    <a:pt x="41" y="9"/>
                    <a:pt x="39" y="11"/>
                  </a:cubicBezTo>
                  <a:cubicBezTo>
                    <a:pt x="38" y="12"/>
                    <a:pt x="35" y="16"/>
                    <a:pt x="35" y="18"/>
                  </a:cubicBezTo>
                  <a:cubicBezTo>
                    <a:pt x="35" y="18"/>
                    <a:pt x="35" y="18"/>
                    <a:pt x="36" y="18"/>
                  </a:cubicBezTo>
                  <a:cubicBezTo>
                    <a:pt x="37" y="18"/>
                    <a:pt x="39" y="19"/>
                    <a:pt x="40" y="20"/>
                  </a:cubicBezTo>
                  <a:cubicBezTo>
                    <a:pt x="41" y="21"/>
                    <a:pt x="43" y="22"/>
                    <a:pt x="44" y="22"/>
                  </a:cubicBezTo>
                  <a:cubicBezTo>
                    <a:pt x="44" y="21"/>
                    <a:pt x="44" y="21"/>
                    <a:pt x="44" y="21"/>
                  </a:cubicBezTo>
                  <a:cubicBezTo>
                    <a:pt x="45" y="19"/>
                    <a:pt x="46" y="14"/>
                    <a:pt x="49" y="14"/>
                  </a:cubicBezTo>
                  <a:cubicBezTo>
                    <a:pt x="50" y="14"/>
                    <a:pt x="52" y="16"/>
                    <a:pt x="54" y="18"/>
                  </a:cubicBezTo>
                  <a:cubicBezTo>
                    <a:pt x="55" y="19"/>
                    <a:pt x="56" y="21"/>
                    <a:pt x="59" y="22"/>
                  </a:cubicBezTo>
                  <a:cubicBezTo>
                    <a:pt x="59" y="22"/>
                    <a:pt x="59" y="22"/>
                    <a:pt x="59" y="22"/>
                  </a:cubicBezTo>
                  <a:cubicBezTo>
                    <a:pt x="59" y="23"/>
                    <a:pt x="59" y="23"/>
                    <a:pt x="59" y="23"/>
                  </a:cubicBezTo>
                  <a:cubicBezTo>
                    <a:pt x="59" y="23"/>
                    <a:pt x="58" y="24"/>
                    <a:pt x="59" y="24"/>
                  </a:cubicBezTo>
                  <a:cubicBezTo>
                    <a:pt x="61" y="29"/>
                    <a:pt x="66" y="55"/>
                    <a:pt x="59" y="59"/>
                  </a:cubicBezTo>
                  <a:cubicBezTo>
                    <a:pt x="57" y="60"/>
                    <a:pt x="56" y="60"/>
                    <a:pt x="54" y="60"/>
                  </a:cubicBezTo>
                  <a:cubicBezTo>
                    <a:pt x="54" y="60"/>
                    <a:pt x="54" y="60"/>
                    <a:pt x="54" y="60"/>
                  </a:cubicBezTo>
                  <a:cubicBezTo>
                    <a:pt x="53" y="60"/>
                    <a:pt x="52" y="60"/>
                    <a:pt x="51" y="60"/>
                  </a:cubicBezTo>
                  <a:cubicBezTo>
                    <a:pt x="50" y="59"/>
                    <a:pt x="49" y="59"/>
                    <a:pt x="48" y="59"/>
                  </a:cubicBezTo>
                  <a:cubicBezTo>
                    <a:pt x="46" y="59"/>
                    <a:pt x="44" y="60"/>
                    <a:pt x="41" y="62"/>
                  </a:cubicBezTo>
                  <a:cubicBezTo>
                    <a:pt x="34" y="69"/>
                    <a:pt x="21" y="73"/>
                    <a:pt x="15" y="73"/>
                  </a:cubicBezTo>
                  <a:close/>
                  <a:moveTo>
                    <a:pt x="9" y="18"/>
                  </a:moveTo>
                  <a:cubicBezTo>
                    <a:pt x="8" y="18"/>
                    <a:pt x="7" y="18"/>
                    <a:pt x="6" y="18"/>
                  </a:cubicBezTo>
                  <a:cubicBezTo>
                    <a:pt x="6" y="19"/>
                    <a:pt x="5" y="19"/>
                    <a:pt x="5" y="19"/>
                  </a:cubicBezTo>
                  <a:cubicBezTo>
                    <a:pt x="5" y="20"/>
                    <a:pt x="6" y="21"/>
                    <a:pt x="7" y="22"/>
                  </a:cubicBezTo>
                  <a:cubicBezTo>
                    <a:pt x="8" y="23"/>
                    <a:pt x="11" y="26"/>
                    <a:pt x="8" y="29"/>
                  </a:cubicBezTo>
                  <a:cubicBezTo>
                    <a:pt x="7" y="31"/>
                    <a:pt x="7" y="32"/>
                    <a:pt x="7" y="32"/>
                  </a:cubicBezTo>
                  <a:cubicBezTo>
                    <a:pt x="7" y="33"/>
                    <a:pt x="8" y="34"/>
                    <a:pt x="10" y="35"/>
                  </a:cubicBezTo>
                  <a:cubicBezTo>
                    <a:pt x="12" y="36"/>
                    <a:pt x="13" y="37"/>
                    <a:pt x="15" y="39"/>
                  </a:cubicBezTo>
                  <a:cubicBezTo>
                    <a:pt x="16" y="40"/>
                    <a:pt x="17" y="41"/>
                    <a:pt x="17" y="42"/>
                  </a:cubicBezTo>
                  <a:cubicBezTo>
                    <a:pt x="17" y="44"/>
                    <a:pt x="16" y="45"/>
                    <a:pt x="15" y="46"/>
                  </a:cubicBezTo>
                  <a:cubicBezTo>
                    <a:pt x="13" y="48"/>
                    <a:pt x="11" y="49"/>
                    <a:pt x="11" y="51"/>
                  </a:cubicBezTo>
                  <a:cubicBezTo>
                    <a:pt x="11" y="55"/>
                    <a:pt x="8" y="56"/>
                    <a:pt x="6" y="58"/>
                  </a:cubicBezTo>
                  <a:cubicBezTo>
                    <a:pt x="4" y="59"/>
                    <a:pt x="2" y="60"/>
                    <a:pt x="1" y="61"/>
                  </a:cubicBezTo>
                  <a:cubicBezTo>
                    <a:pt x="1" y="62"/>
                    <a:pt x="1" y="63"/>
                    <a:pt x="2" y="65"/>
                  </a:cubicBezTo>
                  <a:cubicBezTo>
                    <a:pt x="5" y="68"/>
                    <a:pt x="10" y="72"/>
                    <a:pt x="15" y="72"/>
                  </a:cubicBezTo>
                  <a:cubicBezTo>
                    <a:pt x="21" y="72"/>
                    <a:pt x="33" y="68"/>
                    <a:pt x="40" y="62"/>
                  </a:cubicBezTo>
                  <a:cubicBezTo>
                    <a:pt x="43" y="59"/>
                    <a:pt x="45" y="58"/>
                    <a:pt x="48" y="58"/>
                  </a:cubicBezTo>
                  <a:cubicBezTo>
                    <a:pt x="49" y="58"/>
                    <a:pt x="50" y="58"/>
                    <a:pt x="51" y="59"/>
                  </a:cubicBezTo>
                  <a:cubicBezTo>
                    <a:pt x="52" y="59"/>
                    <a:pt x="53" y="59"/>
                    <a:pt x="54" y="59"/>
                  </a:cubicBezTo>
                  <a:cubicBezTo>
                    <a:pt x="54" y="59"/>
                    <a:pt x="54" y="59"/>
                    <a:pt x="54" y="59"/>
                  </a:cubicBezTo>
                  <a:cubicBezTo>
                    <a:pt x="56" y="59"/>
                    <a:pt x="57" y="59"/>
                    <a:pt x="58" y="58"/>
                  </a:cubicBezTo>
                  <a:cubicBezTo>
                    <a:pt x="64" y="55"/>
                    <a:pt x="61" y="30"/>
                    <a:pt x="58" y="25"/>
                  </a:cubicBezTo>
                  <a:cubicBezTo>
                    <a:pt x="58" y="24"/>
                    <a:pt x="57" y="23"/>
                    <a:pt x="58" y="23"/>
                  </a:cubicBezTo>
                  <a:cubicBezTo>
                    <a:pt x="56" y="21"/>
                    <a:pt x="54" y="20"/>
                    <a:pt x="53" y="18"/>
                  </a:cubicBezTo>
                  <a:cubicBezTo>
                    <a:pt x="51" y="16"/>
                    <a:pt x="50" y="15"/>
                    <a:pt x="49" y="15"/>
                  </a:cubicBezTo>
                  <a:cubicBezTo>
                    <a:pt x="46" y="15"/>
                    <a:pt x="46" y="20"/>
                    <a:pt x="45" y="21"/>
                  </a:cubicBezTo>
                  <a:cubicBezTo>
                    <a:pt x="45" y="22"/>
                    <a:pt x="44" y="23"/>
                    <a:pt x="44" y="23"/>
                  </a:cubicBezTo>
                  <a:cubicBezTo>
                    <a:pt x="42" y="23"/>
                    <a:pt x="41" y="22"/>
                    <a:pt x="39" y="21"/>
                  </a:cubicBezTo>
                  <a:cubicBezTo>
                    <a:pt x="38" y="20"/>
                    <a:pt x="37" y="19"/>
                    <a:pt x="36" y="19"/>
                  </a:cubicBezTo>
                  <a:cubicBezTo>
                    <a:pt x="35" y="19"/>
                    <a:pt x="34" y="18"/>
                    <a:pt x="34" y="18"/>
                  </a:cubicBezTo>
                  <a:cubicBezTo>
                    <a:pt x="34" y="15"/>
                    <a:pt x="37" y="11"/>
                    <a:pt x="39" y="10"/>
                  </a:cubicBezTo>
                  <a:cubicBezTo>
                    <a:pt x="40" y="9"/>
                    <a:pt x="42" y="6"/>
                    <a:pt x="42" y="2"/>
                  </a:cubicBezTo>
                  <a:cubicBezTo>
                    <a:pt x="41" y="2"/>
                    <a:pt x="41" y="2"/>
                    <a:pt x="41" y="2"/>
                  </a:cubicBezTo>
                  <a:cubicBezTo>
                    <a:pt x="39" y="1"/>
                    <a:pt x="36" y="1"/>
                    <a:pt x="34" y="1"/>
                  </a:cubicBezTo>
                  <a:cubicBezTo>
                    <a:pt x="31" y="1"/>
                    <a:pt x="27" y="1"/>
                    <a:pt x="27" y="5"/>
                  </a:cubicBezTo>
                  <a:cubicBezTo>
                    <a:pt x="27" y="7"/>
                    <a:pt x="29" y="8"/>
                    <a:pt x="31" y="9"/>
                  </a:cubicBezTo>
                  <a:cubicBezTo>
                    <a:pt x="32" y="9"/>
                    <a:pt x="34" y="10"/>
                    <a:pt x="34" y="12"/>
                  </a:cubicBezTo>
                  <a:cubicBezTo>
                    <a:pt x="34" y="14"/>
                    <a:pt x="32" y="15"/>
                    <a:pt x="29" y="15"/>
                  </a:cubicBezTo>
                  <a:cubicBezTo>
                    <a:pt x="27" y="16"/>
                    <a:pt x="24" y="17"/>
                    <a:pt x="22" y="18"/>
                  </a:cubicBezTo>
                  <a:cubicBezTo>
                    <a:pt x="21" y="19"/>
                    <a:pt x="20" y="19"/>
                    <a:pt x="18" y="19"/>
                  </a:cubicBezTo>
                  <a:cubicBezTo>
                    <a:pt x="17" y="19"/>
                    <a:pt x="15" y="19"/>
                    <a:pt x="14" y="18"/>
                  </a:cubicBezTo>
                  <a:cubicBezTo>
                    <a:pt x="12" y="18"/>
                    <a:pt x="11" y="18"/>
                    <a:pt x="9" y="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1" name="Freeform 138"/>
            <p:cNvSpPr>
              <a:spLocks noEditPoints="1"/>
            </p:cNvSpPr>
            <p:nvPr/>
          </p:nvSpPr>
          <p:spPr>
            <a:xfrm>
              <a:off x="4981576" y="2184400"/>
              <a:ext cx="117475" cy="111125"/>
            </a:xfrm>
            <a:custGeom>
              <a:gdLst>
                <a:gd name="T0" fmla="*/ 54 w 70"/>
                <a:gd name="T1" fmla="*/ 65 h 65"/>
                <a:gd name="T2" fmla="*/ 52 w 70"/>
                <a:gd name="T3" fmla="*/ 58 h 65"/>
                <a:gd name="T4" fmla="*/ 47 w 70"/>
                <a:gd name="T5" fmla="*/ 46 h 65"/>
                <a:gd name="T6" fmla="*/ 55 w 70"/>
                <a:gd name="T7" fmla="*/ 38 h 65"/>
                <a:gd name="T8" fmla="*/ 59 w 70"/>
                <a:gd name="T9" fmla="*/ 35 h 65"/>
                <a:gd name="T10" fmla="*/ 65 w 70"/>
                <a:gd name="T11" fmla="*/ 38 h 65"/>
                <a:gd name="T12" fmla="*/ 67 w 70"/>
                <a:gd name="T13" fmla="*/ 45 h 65"/>
                <a:gd name="T14" fmla="*/ 55 w 70"/>
                <a:gd name="T15" fmla="*/ 65 h 65"/>
                <a:gd name="T16" fmla="*/ 54 w 70"/>
                <a:gd name="T17" fmla="*/ 64 h 65"/>
                <a:gd name="T18" fmla="*/ 61 w 70"/>
                <a:gd name="T19" fmla="*/ 60 h 65"/>
                <a:gd name="T20" fmla="*/ 68 w 70"/>
                <a:gd name="T21" fmla="*/ 37 h 65"/>
                <a:gd name="T22" fmla="*/ 63 w 70"/>
                <a:gd name="T23" fmla="*/ 41 h 65"/>
                <a:gd name="T24" fmla="*/ 59 w 70"/>
                <a:gd name="T25" fmla="*/ 36 h 65"/>
                <a:gd name="T26" fmla="*/ 55 w 70"/>
                <a:gd name="T27" fmla="*/ 39 h 65"/>
                <a:gd name="T28" fmla="*/ 48 w 70"/>
                <a:gd name="T29" fmla="*/ 46 h 65"/>
                <a:gd name="T30" fmla="*/ 50 w 70"/>
                <a:gd name="T31" fmla="*/ 59 h 65"/>
                <a:gd name="T32" fmla="*/ 24 w 70"/>
                <a:gd name="T33" fmla="*/ 62 h 65"/>
                <a:gd name="T34" fmla="*/ 10 w 70"/>
                <a:gd name="T35" fmla="*/ 60 h 65"/>
                <a:gd name="T36" fmla="*/ 2 w 70"/>
                <a:gd name="T37" fmla="*/ 41 h 65"/>
                <a:gd name="T38" fmla="*/ 4 w 70"/>
                <a:gd name="T39" fmla="*/ 20 h 65"/>
                <a:gd name="T40" fmla="*/ 17 w 70"/>
                <a:gd name="T41" fmla="*/ 18 h 65"/>
                <a:gd name="T42" fmla="*/ 17 w 70"/>
                <a:gd name="T43" fmla="*/ 11 h 65"/>
                <a:gd name="T44" fmla="*/ 34 w 70"/>
                <a:gd name="T45" fmla="*/ 0 h 65"/>
                <a:gd name="T46" fmla="*/ 36 w 70"/>
                <a:gd name="T47" fmla="*/ 14 h 65"/>
                <a:gd name="T48" fmla="*/ 43 w 70"/>
                <a:gd name="T49" fmla="*/ 31 h 65"/>
                <a:gd name="T50" fmla="*/ 31 w 70"/>
                <a:gd name="T51" fmla="*/ 40 h 65"/>
                <a:gd name="T52" fmla="*/ 36 w 70"/>
                <a:gd name="T53" fmla="*/ 45 h 65"/>
                <a:gd name="T54" fmla="*/ 37 w 70"/>
                <a:gd name="T55" fmla="*/ 57 h 65"/>
                <a:gd name="T56" fmla="*/ 24 w 70"/>
                <a:gd name="T57" fmla="*/ 53 h 65"/>
                <a:gd name="T58" fmla="*/ 30 w 70"/>
                <a:gd name="T59" fmla="*/ 61 h 65"/>
                <a:gd name="T60" fmla="*/ 11 w 70"/>
                <a:gd name="T61" fmla="*/ 59 h 65"/>
                <a:gd name="T62" fmla="*/ 26 w 70"/>
                <a:gd name="T63" fmla="*/ 58 h 65"/>
                <a:gd name="T64" fmla="*/ 31 w 70"/>
                <a:gd name="T65" fmla="*/ 54 h 65"/>
                <a:gd name="T66" fmla="*/ 39 w 70"/>
                <a:gd name="T67" fmla="*/ 46 h 65"/>
                <a:gd name="T68" fmla="*/ 29 w 70"/>
                <a:gd name="T69" fmla="*/ 45 h 65"/>
                <a:gd name="T70" fmla="*/ 38 w 70"/>
                <a:gd name="T71" fmla="*/ 32 h 65"/>
                <a:gd name="T72" fmla="*/ 33 w 70"/>
                <a:gd name="T73" fmla="*/ 19 h 65"/>
                <a:gd name="T74" fmla="*/ 36 w 70"/>
                <a:gd name="T75" fmla="*/ 1 h 65"/>
                <a:gd name="T76" fmla="*/ 20 w 70"/>
                <a:gd name="T77" fmla="*/ 11 h 65"/>
                <a:gd name="T78" fmla="*/ 19 w 70"/>
                <a:gd name="T79" fmla="*/ 18 h 65"/>
                <a:gd name="T80" fmla="*/ 10 w 70"/>
                <a:gd name="T81" fmla="*/ 14 h 65"/>
                <a:gd name="T82" fmla="*/ 3 w 70"/>
                <a:gd name="T83" fmla="*/ 40 h 65"/>
                <a:gd name="T84" fmla="*/ 9 w 70"/>
                <a:gd name="T85" fmla="*/ 53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 h="65">
                  <a:moveTo>
                    <a:pt x="55" y="65"/>
                  </a:moveTo>
                  <a:cubicBezTo>
                    <a:pt x="55" y="65"/>
                    <a:pt x="55" y="65"/>
                    <a:pt x="55" y="65"/>
                  </a:cubicBezTo>
                  <a:cubicBezTo>
                    <a:pt x="54" y="65"/>
                    <a:pt x="54" y="65"/>
                    <a:pt x="54" y="65"/>
                  </a:cubicBezTo>
                  <a:cubicBezTo>
                    <a:pt x="50" y="64"/>
                    <a:pt x="48" y="61"/>
                    <a:pt x="48" y="59"/>
                  </a:cubicBezTo>
                  <a:cubicBezTo>
                    <a:pt x="48" y="58"/>
                    <a:pt x="49" y="57"/>
                    <a:pt x="50" y="58"/>
                  </a:cubicBezTo>
                  <a:cubicBezTo>
                    <a:pt x="51" y="58"/>
                    <a:pt x="51" y="58"/>
                    <a:pt x="52" y="58"/>
                  </a:cubicBezTo>
                  <a:cubicBezTo>
                    <a:pt x="54" y="58"/>
                    <a:pt x="55" y="57"/>
                    <a:pt x="55" y="56"/>
                  </a:cubicBezTo>
                  <a:cubicBezTo>
                    <a:pt x="55" y="55"/>
                    <a:pt x="55" y="55"/>
                    <a:pt x="54" y="55"/>
                  </a:cubicBezTo>
                  <a:cubicBezTo>
                    <a:pt x="52" y="53"/>
                    <a:pt x="48" y="50"/>
                    <a:pt x="47" y="46"/>
                  </a:cubicBezTo>
                  <a:cubicBezTo>
                    <a:pt x="47" y="44"/>
                    <a:pt x="47" y="42"/>
                    <a:pt x="48" y="41"/>
                  </a:cubicBezTo>
                  <a:cubicBezTo>
                    <a:pt x="50" y="39"/>
                    <a:pt x="51" y="38"/>
                    <a:pt x="53" y="38"/>
                  </a:cubicBezTo>
                  <a:cubicBezTo>
                    <a:pt x="54" y="38"/>
                    <a:pt x="55" y="38"/>
                    <a:pt x="55" y="38"/>
                  </a:cubicBezTo>
                  <a:cubicBezTo>
                    <a:pt x="56" y="38"/>
                    <a:pt x="56" y="38"/>
                    <a:pt x="57" y="38"/>
                  </a:cubicBezTo>
                  <a:cubicBezTo>
                    <a:pt x="57" y="38"/>
                    <a:pt x="58" y="38"/>
                    <a:pt x="58" y="37"/>
                  </a:cubicBezTo>
                  <a:cubicBezTo>
                    <a:pt x="58" y="36"/>
                    <a:pt x="58" y="35"/>
                    <a:pt x="59" y="35"/>
                  </a:cubicBezTo>
                  <a:cubicBezTo>
                    <a:pt x="60" y="35"/>
                    <a:pt x="60" y="36"/>
                    <a:pt x="61" y="37"/>
                  </a:cubicBezTo>
                  <a:cubicBezTo>
                    <a:pt x="62" y="38"/>
                    <a:pt x="63" y="40"/>
                    <a:pt x="63" y="40"/>
                  </a:cubicBezTo>
                  <a:cubicBezTo>
                    <a:pt x="64" y="40"/>
                    <a:pt x="64" y="39"/>
                    <a:pt x="65" y="38"/>
                  </a:cubicBezTo>
                  <a:cubicBezTo>
                    <a:pt x="66" y="37"/>
                    <a:pt x="67" y="36"/>
                    <a:pt x="68" y="36"/>
                  </a:cubicBezTo>
                  <a:cubicBezTo>
                    <a:pt x="68" y="36"/>
                    <a:pt x="68" y="36"/>
                    <a:pt x="68" y="36"/>
                  </a:cubicBezTo>
                  <a:cubicBezTo>
                    <a:pt x="70" y="37"/>
                    <a:pt x="69" y="40"/>
                    <a:pt x="67" y="45"/>
                  </a:cubicBezTo>
                  <a:cubicBezTo>
                    <a:pt x="66" y="48"/>
                    <a:pt x="65" y="51"/>
                    <a:pt x="65" y="52"/>
                  </a:cubicBezTo>
                  <a:cubicBezTo>
                    <a:pt x="66" y="54"/>
                    <a:pt x="64" y="58"/>
                    <a:pt x="62" y="61"/>
                  </a:cubicBezTo>
                  <a:cubicBezTo>
                    <a:pt x="60" y="62"/>
                    <a:pt x="58" y="65"/>
                    <a:pt x="55" y="65"/>
                  </a:cubicBezTo>
                  <a:close/>
                  <a:moveTo>
                    <a:pt x="50" y="58"/>
                  </a:moveTo>
                  <a:cubicBezTo>
                    <a:pt x="49" y="58"/>
                    <a:pt x="49" y="59"/>
                    <a:pt x="49" y="59"/>
                  </a:cubicBezTo>
                  <a:cubicBezTo>
                    <a:pt x="49" y="60"/>
                    <a:pt x="51" y="63"/>
                    <a:pt x="54" y="64"/>
                  </a:cubicBezTo>
                  <a:cubicBezTo>
                    <a:pt x="55" y="64"/>
                    <a:pt x="55" y="64"/>
                    <a:pt x="55" y="64"/>
                  </a:cubicBezTo>
                  <a:cubicBezTo>
                    <a:pt x="55" y="64"/>
                    <a:pt x="55" y="64"/>
                    <a:pt x="55" y="64"/>
                  </a:cubicBezTo>
                  <a:cubicBezTo>
                    <a:pt x="57" y="64"/>
                    <a:pt x="60" y="61"/>
                    <a:pt x="61" y="60"/>
                  </a:cubicBezTo>
                  <a:cubicBezTo>
                    <a:pt x="63" y="57"/>
                    <a:pt x="65" y="54"/>
                    <a:pt x="64" y="53"/>
                  </a:cubicBezTo>
                  <a:cubicBezTo>
                    <a:pt x="64" y="51"/>
                    <a:pt x="65" y="48"/>
                    <a:pt x="66" y="45"/>
                  </a:cubicBezTo>
                  <a:cubicBezTo>
                    <a:pt x="67" y="42"/>
                    <a:pt x="69" y="38"/>
                    <a:pt x="68" y="37"/>
                  </a:cubicBezTo>
                  <a:cubicBezTo>
                    <a:pt x="68" y="37"/>
                    <a:pt x="68" y="37"/>
                    <a:pt x="68" y="37"/>
                  </a:cubicBezTo>
                  <a:cubicBezTo>
                    <a:pt x="67" y="37"/>
                    <a:pt x="66" y="38"/>
                    <a:pt x="66" y="39"/>
                  </a:cubicBezTo>
                  <a:cubicBezTo>
                    <a:pt x="65" y="39"/>
                    <a:pt x="64" y="40"/>
                    <a:pt x="63" y="41"/>
                  </a:cubicBezTo>
                  <a:cubicBezTo>
                    <a:pt x="63" y="41"/>
                    <a:pt x="63" y="41"/>
                    <a:pt x="63" y="41"/>
                  </a:cubicBezTo>
                  <a:cubicBezTo>
                    <a:pt x="62" y="41"/>
                    <a:pt x="61" y="39"/>
                    <a:pt x="60" y="38"/>
                  </a:cubicBezTo>
                  <a:cubicBezTo>
                    <a:pt x="60" y="37"/>
                    <a:pt x="59" y="36"/>
                    <a:pt x="59" y="36"/>
                  </a:cubicBezTo>
                  <a:cubicBezTo>
                    <a:pt x="59" y="36"/>
                    <a:pt x="59" y="36"/>
                    <a:pt x="59" y="37"/>
                  </a:cubicBezTo>
                  <a:cubicBezTo>
                    <a:pt x="59" y="38"/>
                    <a:pt x="58" y="39"/>
                    <a:pt x="57" y="39"/>
                  </a:cubicBezTo>
                  <a:cubicBezTo>
                    <a:pt x="56" y="39"/>
                    <a:pt x="56" y="39"/>
                    <a:pt x="55" y="39"/>
                  </a:cubicBezTo>
                  <a:cubicBezTo>
                    <a:pt x="55" y="39"/>
                    <a:pt x="54" y="39"/>
                    <a:pt x="53" y="39"/>
                  </a:cubicBezTo>
                  <a:cubicBezTo>
                    <a:pt x="52" y="39"/>
                    <a:pt x="51" y="39"/>
                    <a:pt x="49" y="41"/>
                  </a:cubicBezTo>
                  <a:cubicBezTo>
                    <a:pt x="48" y="43"/>
                    <a:pt x="48" y="44"/>
                    <a:pt x="48" y="46"/>
                  </a:cubicBezTo>
                  <a:cubicBezTo>
                    <a:pt x="49" y="50"/>
                    <a:pt x="53" y="53"/>
                    <a:pt x="55" y="54"/>
                  </a:cubicBezTo>
                  <a:cubicBezTo>
                    <a:pt x="56" y="55"/>
                    <a:pt x="56" y="56"/>
                    <a:pt x="56" y="56"/>
                  </a:cubicBezTo>
                  <a:cubicBezTo>
                    <a:pt x="56" y="58"/>
                    <a:pt x="53" y="59"/>
                    <a:pt x="50" y="59"/>
                  </a:cubicBezTo>
                  <a:cubicBezTo>
                    <a:pt x="50" y="58"/>
                    <a:pt x="50" y="58"/>
                    <a:pt x="50" y="58"/>
                  </a:cubicBezTo>
                  <a:close/>
                  <a:moveTo>
                    <a:pt x="25" y="62"/>
                  </a:moveTo>
                  <a:cubicBezTo>
                    <a:pt x="24" y="62"/>
                    <a:pt x="24" y="62"/>
                    <a:pt x="24" y="62"/>
                  </a:cubicBezTo>
                  <a:cubicBezTo>
                    <a:pt x="21" y="61"/>
                    <a:pt x="17" y="60"/>
                    <a:pt x="10" y="60"/>
                  </a:cubicBezTo>
                  <a:cubicBezTo>
                    <a:pt x="10" y="60"/>
                    <a:pt x="10" y="60"/>
                    <a:pt x="10" y="60"/>
                  </a:cubicBezTo>
                  <a:cubicBezTo>
                    <a:pt x="10" y="60"/>
                    <a:pt x="10" y="60"/>
                    <a:pt x="10" y="60"/>
                  </a:cubicBezTo>
                  <a:cubicBezTo>
                    <a:pt x="8" y="58"/>
                    <a:pt x="7" y="55"/>
                    <a:pt x="8" y="53"/>
                  </a:cubicBezTo>
                  <a:cubicBezTo>
                    <a:pt x="8" y="51"/>
                    <a:pt x="7" y="49"/>
                    <a:pt x="5" y="47"/>
                  </a:cubicBezTo>
                  <a:cubicBezTo>
                    <a:pt x="4" y="45"/>
                    <a:pt x="3" y="43"/>
                    <a:pt x="2" y="41"/>
                  </a:cubicBezTo>
                  <a:cubicBezTo>
                    <a:pt x="2" y="40"/>
                    <a:pt x="2" y="40"/>
                    <a:pt x="2" y="40"/>
                  </a:cubicBezTo>
                  <a:cubicBezTo>
                    <a:pt x="1" y="35"/>
                    <a:pt x="0" y="27"/>
                    <a:pt x="2" y="24"/>
                  </a:cubicBezTo>
                  <a:cubicBezTo>
                    <a:pt x="3" y="23"/>
                    <a:pt x="3" y="21"/>
                    <a:pt x="4" y="20"/>
                  </a:cubicBezTo>
                  <a:cubicBezTo>
                    <a:pt x="5" y="16"/>
                    <a:pt x="6" y="13"/>
                    <a:pt x="10" y="13"/>
                  </a:cubicBezTo>
                  <a:cubicBezTo>
                    <a:pt x="12" y="13"/>
                    <a:pt x="14" y="15"/>
                    <a:pt x="15" y="16"/>
                  </a:cubicBezTo>
                  <a:cubicBezTo>
                    <a:pt x="16" y="17"/>
                    <a:pt x="16" y="18"/>
                    <a:pt x="17" y="18"/>
                  </a:cubicBezTo>
                  <a:cubicBezTo>
                    <a:pt x="17" y="18"/>
                    <a:pt x="18" y="18"/>
                    <a:pt x="18" y="17"/>
                  </a:cubicBezTo>
                  <a:cubicBezTo>
                    <a:pt x="19" y="16"/>
                    <a:pt x="19" y="15"/>
                    <a:pt x="18" y="14"/>
                  </a:cubicBezTo>
                  <a:cubicBezTo>
                    <a:pt x="17" y="13"/>
                    <a:pt x="16" y="12"/>
                    <a:pt x="17" y="11"/>
                  </a:cubicBezTo>
                  <a:cubicBezTo>
                    <a:pt x="18" y="10"/>
                    <a:pt x="19" y="10"/>
                    <a:pt x="20" y="10"/>
                  </a:cubicBezTo>
                  <a:cubicBezTo>
                    <a:pt x="23" y="10"/>
                    <a:pt x="25" y="10"/>
                    <a:pt x="26" y="7"/>
                  </a:cubicBezTo>
                  <a:cubicBezTo>
                    <a:pt x="26" y="2"/>
                    <a:pt x="31" y="0"/>
                    <a:pt x="34" y="0"/>
                  </a:cubicBezTo>
                  <a:cubicBezTo>
                    <a:pt x="36" y="0"/>
                    <a:pt x="37" y="0"/>
                    <a:pt x="37" y="1"/>
                  </a:cubicBezTo>
                  <a:cubicBezTo>
                    <a:pt x="38" y="2"/>
                    <a:pt x="38" y="5"/>
                    <a:pt x="38" y="6"/>
                  </a:cubicBezTo>
                  <a:cubicBezTo>
                    <a:pt x="38" y="9"/>
                    <a:pt x="37" y="12"/>
                    <a:pt x="36" y="14"/>
                  </a:cubicBezTo>
                  <a:cubicBezTo>
                    <a:pt x="35" y="15"/>
                    <a:pt x="34" y="17"/>
                    <a:pt x="34" y="19"/>
                  </a:cubicBezTo>
                  <a:cubicBezTo>
                    <a:pt x="34" y="21"/>
                    <a:pt x="35" y="23"/>
                    <a:pt x="36" y="23"/>
                  </a:cubicBezTo>
                  <a:cubicBezTo>
                    <a:pt x="38" y="24"/>
                    <a:pt x="44" y="27"/>
                    <a:pt x="43" y="31"/>
                  </a:cubicBezTo>
                  <a:cubicBezTo>
                    <a:pt x="42" y="32"/>
                    <a:pt x="40" y="33"/>
                    <a:pt x="38" y="33"/>
                  </a:cubicBezTo>
                  <a:cubicBezTo>
                    <a:pt x="36" y="34"/>
                    <a:pt x="34" y="34"/>
                    <a:pt x="34" y="36"/>
                  </a:cubicBezTo>
                  <a:cubicBezTo>
                    <a:pt x="33" y="37"/>
                    <a:pt x="32" y="38"/>
                    <a:pt x="31" y="40"/>
                  </a:cubicBezTo>
                  <a:cubicBezTo>
                    <a:pt x="30" y="42"/>
                    <a:pt x="29" y="43"/>
                    <a:pt x="30" y="44"/>
                  </a:cubicBezTo>
                  <a:cubicBezTo>
                    <a:pt x="31" y="45"/>
                    <a:pt x="31" y="46"/>
                    <a:pt x="32" y="46"/>
                  </a:cubicBezTo>
                  <a:cubicBezTo>
                    <a:pt x="33" y="46"/>
                    <a:pt x="34" y="46"/>
                    <a:pt x="36" y="45"/>
                  </a:cubicBezTo>
                  <a:cubicBezTo>
                    <a:pt x="37" y="44"/>
                    <a:pt x="38" y="44"/>
                    <a:pt x="39" y="46"/>
                  </a:cubicBezTo>
                  <a:cubicBezTo>
                    <a:pt x="41" y="48"/>
                    <a:pt x="42" y="53"/>
                    <a:pt x="42" y="54"/>
                  </a:cubicBezTo>
                  <a:cubicBezTo>
                    <a:pt x="41" y="56"/>
                    <a:pt x="40" y="57"/>
                    <a:pt x="37" y="57"/>
                  </a:cubicBezTo>
                  <a:cubicBezTo>
                    <a:pt x="35" y="57"/>
                    <a:pt x="32" y="56"/>
                    <a:pt x="30" y="55"/>
                  </a:cubicBezTo>
                  <a:cubicBezTo>
                    <a:pt x="28" y="53"/>
                    <a:pt x="26" y="52"/>
                    <a:pt x="25" y="52"/>
                  </a:cubicBezTo>
                  <a:cubicBezTo>
                    <a:pt x="24" y="52"/>
                    <a:pt x="24" y="52"/>
                    <a:pt x="24" y="53"/>
                  </a:cubicBezTo>
                  <a:cubicBezTo>
                    <a:pt x="24" y="54"/>
                    <a:pt x="25" y="56"/>
                    <a:pt x="26" y="57"/>
                  </a:cubicBezTo>
                  <a:cubicBezTo>
                    <a:pt x="28" y="58"/>
                    <a:pt x="29" y="59"/>
                    <a:pt x="29" y="61"/>
                  </a:cubicBezTo>
                  <a:cubicBezTo>
                    <a:pt x="30" y="61"/>
                    <a:pt x="30" y="61"/>
                    <a:pt x="30" y="61"/>
                  </a:cubicBezTo>
                  <a:cubicBezTo>
                    <a:pt x="29" y="61"/>
                    <a:pt x="29" y="61"/>
                    <a:pt x="29" y="61"/>
                  </a:cubicBezTo>
                  <a:cubicBezTo>
                    <a:pt x="28" y="62"/>
                    <a:pt x="26" y="62"/>
                    <a:pt x="25" y="62"/>
                  </a:cubicBezTo>
                  <a:close/>
                  <a:moveTo>
                    <a:pt x="11" y="59"/>
                  </a:moveTo>
                  <a:cubicBezTo>
                    <a:pt x="17" y="59"/>
                    <a:pt x="22" y="60"/>
                    <a:pt x="24" y="61"/>
                  </a:cubicBezTo>
                  <a:cubicBezTo>
                    <a:pt x="25" y="61"/>
                    <a:pt x="26" y="61"/>
                    <a:pt x="28" y="61"/>
                  </a:cubicBezTo>
                  <a:cubicBezTo>
                    <a:pt x="27" y="60"/>
                    <a:pt x="27" y="59"/>
                    <a:pt x="26" y="58"/>
                  </a:cubicBezTo>
                  <a:cubicBezTo>
                    <a:pt x="24" y="56"/>
                    <a:pt x="23" y="55"/>
                    <a:pt x="23" y="53"/>
                  </a:cubicBezTo>
                  <a:cubicBezTo>
                    <a:pt x="23" y="52"/>
                    <a:pt x="24" y="51"/>
                    <a:pt x="25" y="51"/>
                  </a:cubicBezTo>
                  <a:cubicBezTo>
                    <a:pt x="27" y="51"/>
                    <a:pt x="29" y="53"/>
                    <a:pt x="31" y="54"/>
                  </a:cubicBezTo>
                  <a:cubicBezTo>
                    <a:pt x="32" y="55"/>
                    <a:pt x="35" y="56"/>
                    <a:pt x="37" y="56"/>
                  </a:cubicBezTo>
                  <a:cubicBezTo>
                    <a:pt x="38" y="56"/>
                    <a:pt x="40" y="56"/>
                    <a:pt x="41" y="54"/>
                  </a:cubicBezTo>
                  <a:cubicBezTo>
                    <a:pt x="41" y="53"/>
                    <a:pt x="40" y="48"/>
                    <a:pt x="39" y="46"/>
                  </a:cubicBezTo>
                  <a:cubicBezTo>
                    <a:pt x="38" y="45"/>
                    <a:pt x="37" y="45"/>
                    <a:pt x="36" y="46"/>
                  </a:cubicBezTo>
                  <a:cubicBezTo>
                    <a:pt x="34" y="47"/>
                    <a:pt x="33" y="47"/>
                    <a:pt x="32" y="47"/>
                  </a:cubicBezTo>
                  <a:cubicBezTo>
                    <a:pt x="31" y="47"/>
                    <a:pt x="30" y="46"/>
                    <a:pt x="29" y="45"/>
                  </a:cubicBezTo>
                  <a:cubicBezTo>
                    <a:pt x="28" y="43"/>
                    <a:pt x="29" y="41"/>
                    <a:pt x="31" y="39"/>
                  </a:cubicBezTo>
                  <a:cubicBezTo>
                    <a:pt x="32" y="38"/>
                    <a:pt x="32" y="37"/>
                    <a:pt x="33" y="35"/>
                  </a:cubicBezTo>
                  <a:cubicBezTo>
                    <a:pt x="34" y="33"/>
                    <a:pt x="36" y="33"/>
                    <a:pt x="38" y="32"/>
                  </a:cubicBezTo>
                  <a:cubicBezTo>
                    <a:pt x="40" y="32"/>
                    <a:pt x="42" y="31"/>
                    <a:pt x="42" y="30"/>
                  </a:cubicBezTo>
                  <a:cubicBezTo>
                    <a:pt x="43" y="29"/>
                    <a:pt x="42" y="27"/>
                    <a:pt x="35" y="24"/>
                  </a:cubicBezTo>
                  <a:cubicBezTo>
                    <a:pt x="34" y="23"/>
                    <a:pt x="33" y="21"/>
                    <a:pt x="33" y="19"/>
                  </a:cubicBezTo>
                  <a:cubicBezTo>
                    <a:pt x="33" y="17"/>
                    <a:pt x="33" y="14"/>
                    <a:pt x="35" y="13"/>
                  </a:cubicBezTo>
                  <a:cubicBezTo>
                    <a:pt x="36" y="12"/>
                    <a:pt x="37" y="9"/>
                    <a:pt x="37" y="6"/>
                  </a:cubicBezTo>
                  <a:cubicBezTo>
                    <a:pt x="38" y="4"/>
                    <a:pt x="37" y="2"/>
                    <a:pt x="36" y="1"/>
                  </a:cubicBezTo>
                  <a:cubicBezTo>
                    <a:pt x="36" y="1"/>
                    <a:pt x="35" y="1"/>
                    <a:pt x="34" y="1"/>
                  </a:cubicBezTo>
                  <a:cubicBezTo>
                    <a:pt x="31" y="1"/>
                    <a:pt x="27" y="3"/>
                    <a:pt x="27" y="7"/>
                  </a:cubicBezTo>
                  <a:cubicBezTo>
                    <a:pt x="26" y="11"/>
                    <a:pt x="23" y="11"/>
                    <a:pt x="20" y="11"/>
                  </a:cubicBezTo>
                  <a:cubicBezTo>
                    <a:pt x="19" y="11"/>
                    <a:pt x="18" y="11"/>
                    <a:pt x="18" y="12"/>
                  </a:cubicBezTo>
                  <a:cubicBezTo>
                    <a:pt x="18" y="12"/>
                    <a:pt x="18" y="12"/>
                    <a:pt x="18" y="13"/>
                  </a:cubicBezTo>
                  <a:cubicBezTo>
                    <a:pt x="19" y="15"/>
                    <a:pt x="21" y="16"/>
                    <a:pt x="19" y="18"/>
                  </a:cubicBezTo>
                  <a:cubicBezTo>
                    <a:pt x="18" y="19"/>
                    <a:pt x="18" y="19"/>
                    <a:pt x="17" y="19"/>
                  </a:cubicBezTo>
                  <a:cubicBezTo>
                    <a:pt x="16" y="19"/>
                    <a:pt x="15" y="18"/>
                    <a:pt x="14" y="17"/>
                  </a:cubicBezTo>
                  <a:cubicBezTo>
                    <a:pt x="13" y="16"/>
                    <a:pt x="12" y="14"/>
                    <a:pt x="10" y="14"/>
                  </a:cubicBezTo>
                  <a:cubicBezTo>
                    <a:pt x="7" y="14"/>
                    <a:pt x="6" y="17"/>
                    <a:pt x="5" y="20"/>
                  </a:cubicBezTo>
                  <a:cubicBezTo>
                    <a:pt x="4" y="21"/>
                    <a:pt x="4" y="23"/>
                    <a:pt x="3" y="24"/>
                  </a:cubicBezTo>
                  <a:cubicBezTo>
                    <a:pt x="1" y="28"/>
                    <a:pt x="2" y="35"/>
                    <a:pt x="3" y="40"/>
                  </a:cubicBezTo>
                  <a:cubicBezTo>
                    <a:pt x="3" y="41"/>
                    <a:pt x="3" y="41"/>
                    <a:pt x="3" y="41"/>
                  </a:cubicBezTo>
                  <a:cubicBezTo>
                    <a:pt x="3" y="43"/>
                    <a:pt x="5" y="45"/>
                    <a:pt x="6" y="46"/>
                  </a:cubicBezTo>
                  <a:cubicBezTo>
                    <a:pt x="8" y="49"/>
                    <a:pt x="10" y="51"/>
                    <a:pt x="9" y="53"/>
                  </a:cubicBezTo>
                  <a:cubicBezTo>
                    <a:pt x="8" y="55"/>
                    <a:pt x="9" y="57"/>
                    <a:pt x="11" y="5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2" name="Freeform 139"/>
            <p:cNvSpPr>
              <a:spLocks noEditPoints="1"/>
            </p:cNvSpPr>
            <p:nvPr/>
          </p:nvSpPr>
          <p:spPr>
            <a:xfrm>
              <a:off x="5060951" y="1735138"/>
              <a:ext cx="309563" cy="534988"/>
            </a:xfrm>
            <a:custGeom>
              <a:gdLst>
                <a:gd name="T0" fmla="*/ 25 w 183"/>
                <a:gd name="T1" fmla="*/ 299 h 315"/>
                <a:gd name="T2" fmla="*/ 10 w 183"/>
                <a:gd name="T3" fmla="*/ 262 h 315"/>
                <a:gd name="T4" fmla="*/ 1 w 183"/>
                <a:gd name="T5" fmla="*/ 238 h 315"/>
                <a:gd name="T6" fmla="*/ 11 w 183"/>
                <a:gd name="T7" fmla="*/ 218 h 315"/>
                <a:gd name="T8" fmla="*/ 17 w 183"/>
                <a:gd name="T9" fmla="*/ 195 h 315"/>
                <a:gd name="T10" fmla="*/ 15 w 183"/>
                <a:gd name="T11" fmla="*/ 176 h 315"/>
                <a:gd name="T12" fmla="*/ 17 w 183"/>
                <a:gd name="T13" fmla="*/ 133 h 315"/>
                <a:gd name="T14" fmla="*/ 42 w 183"/>
                <a:gd name="T15" fmla="*/ 116 h 315"/>
                <a:gd name="T16" fmla="*/ 47 w 183"/>
                <a:gd name="T17" fmla="*/ 88 h 315"/>
                <a:gd name="T18" fmla="*/ 61 w 183"/>
                <a:gd name="T19" fmla="*/ 67 h 315"/>
                <a:gd name="T20" fmla="*/ 74 w 183"/>
                <a:gd name="T21" fmla="*/ 40 h 315"/>
                <a:gd name="T22" fmla="*/ 99 w 183"/>
                <a:gd name="T23" fmla="*/ 12 h 315"/>
                <a:gd name="T24" fmla="*/ 118 w 183"/>
                <a:gd name="T25" fmla="*/ 15 h 315"/>
                <a:gd name="T26" fmla="*/ 144 w 183"/>
                <a:gd name="T27" fmla="*/ 6 h 315"/>
                <a:gd name="T28" fmla="*/ 175 w 183"/>
                <a:gd name="T29" fmla="*/ 39 h 315"/>
                <a:gd name="T30" fmla="*/ 177 w 183"/>
                <a:gd name="T31" fmla="*/ 66 h 315"/>
                <a:gd name="T32" fmla="*/ 175 w 183"/>
                <a:gd name="T33" fmla="*/ 80 h 315"/>
                <a:gd name="T34" fmla="*/ 158 w 183"/>
                <a:gd name="T35" fmla="*/ 83 h 315"/>
                <a:gd name="T36" fmla="*/ 146 w 183"/>
                <a:gd name="T37" fmla="*/ 115 h 315"/>
                <a:gd name="T38" fmla="*/ 100 w 183"/>
                <a:gd name="T39" fmla="*/ 151 h 315"/>
                <a:gd name="T40" fmla="*/ 86 w 183"/>
                <a:gd name="T41" fmla="*/ 175 h 315"/>
                <a:gd name="T42" fmla="*/ 96 w 183"/>
                <a:gd name="T43" fmla="*/ 202 h 315"/>
                <a:gd name="T44" fmla="*/ 88 w 183"/>
                <a:gd name="T45" fmla="*/ 242 h 315"/>
                <a:gd name="T46" fmla="*/ 75 w 183"/>
                <a:gd name="T47" fmla="*/ 282 h 315"/>
                <a:gd name="T48" fmla="*/ 74 w 183"/>
                <a:gd name="T49" fmla="*/ 294 h 315"/>
                <a:gd name="T50" fmla="*/ 60 w 183"/>
                <a:gd name="T51" fmla="*/ 299 h 315"/>
                <a:gd name="T52" fmla="*/ 44 w 183"/>
                <a:gd name="T53" fmla="*/ 306 h 315"/>
                <a:gd name="T54" fmla="*/ 1 w 183"/>
                <a:gd name="T55" fmla="*/ 239 h 315"/>
                <a:gd name="T56" fmla="*/ 16 w 183"/>
                <a:gd name="T57" fmla="*/ 276 h 315"/>
                <a:gd name="T58" fmla="*/ 27 w 183"/>
                <a:gd name="T59" fmla="*/ 305 h 315"/>
                <a:gd name="T60" fmla="*/ 43 w 183"/>
                <a:gd name="T61" fmla="*/ 311 h 315"/>
                <a:gd name="T62" fmla="*/ 54 w 183"/>
                <a:gd name="T63" fmla="*/ 296 h 315"/>
                <a:gd name="T64" fmla="*/ 73 w 183"/>
                <a:gd name="T65" fmla="*/ 292 h 315"/>
                <a:gd name="T66" fmla="*/ 74 w 183"/>
                <a:gd name="T67" fmla="*/ 282 h 315"/>
                <a:gd name="T68" fmla="*/ 100 w 183"/>
                <a:gd name="T69" fmla="*/ 232 h 315"/>
                <a:gd name="T70" fmla="*/ 89 w 183"/>
                <a:gd name="T71" fmla="*/ 201 h 315"/>
                <a:gd name="T72" fmla="*/ 88 w 183"/>
                <a:gd name="T73" fmla="*/ 169 h 315"/>
                <a:gd name="T74" fmla="*/ 104 w 183"/>
                <a:gd name="T75" fmla="*/ 145 h 315"/>
                <a:gd name="T76" fmla="*/ 144 w 183"/>
                <a:gd name="T77" fmla="*/ 109 h 315"/>
                <a:gd name="T78" fmla="*/ 159 w 183"/>
                <a:gd name="T79" fmla="*/ 81 h 315"/>
                <a:gd name="T80" fmla="*/ 182 w 183"/>
                <a:gd name="T81" fmla="*/ 79 h 315"/>
                <a:gd name="T82" fmla="*/ 178 w 183"/>
                <a:gd name="T83" fmla="*/ 53 h 315"/>
                <a:gd name="T84" fmla="*/ 159 w 183"/>
                <a:gd name="T85" fmla="*/ 16 h 315"/>
                <a:gd name="T86" fmla="*/ 128 w 183"/>
                <a:gd name="T87" fmla="*/ 12 h 315"/>
                <a:gd name="T88" fmla="*/ 109 w 183"/>
                <a:gd name="T89" fmla="*/ 14 h 315"/>
                <a:gd name="T90" fmla="*/ 88 w 183"/>
                <a:gd name="T91" fmla="*/ 27 h 315"/>
                <a:gd name="T92" fmla="*/ 66 w 183"/>
                <a:gd name="T93" fmla="*/ 60 h 315"/>
                <a:gd name="T94" fmla="*/ 49 w 183"/>
                <a:gd name="T95" fmla="*/ 75 h 315"/>
                <a:gd name="T96" fmla="*/ 41 w 183"/>
                <a:gd name="T97" fmla="*/ 114 h 315"/>
                <a:gd name="T98" fmla="*/ 33 w 183"/>
                <a:gd name="T99" fmla="*/ 124 h 315"/>
                <a:gd name="T100" fmla="*/ 16 w 183"/>
                <a:gd name="T101" fmla="*/ 152 h 315"/>
                <a:gd name="T102" fmla="*/ 25 w 183"/>
                <a:gd name="T103" fmla="*/ 186 h 315"/>
                <a:gd name="T104" fmla="*/ 21 w 183"/>
                <a:gd name="T105" fmla="*/ 215 h 315"/>
                <a:gd name="T106" fmla="*/ 9 w 183"/>
                <a:gd name="T107" fmla="*/ 230 h 315"/>
                <a:gd name="T108" fmla="*/ 98 w 183"/>
                <a:gd name="T109" fmla="*/ 281 h 315"/>
                <a:gd name="T110" fmla="*/ 110 w 183"/>
                <a:gd name="T111" fmla="*/ 264 h 3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3" h="315">
                  <a:moveTo>
                    <a:pt x="29" y="315"/>
                  </a:moveTo>
                  <a:cubicBezTo>
                    <a:pt x="28" y="315"/>
                    <a:pt x="27" y="314"/>
                    <a:pt x="27" y="313"/>
                  </a:cubicBezTo>
                  <a:cubicBezTo>
                    <a:pt x="26" y="311"/>
                    <a:pt x="26" y="308"/>
                    <a:pt x="26" y="305"/>
                  </a:cubicBezTo>
                  <a:cubicBezTo>
                    <a:pt x="26" y="303"/>
                    <a:pt x="27" y="302"/>
                    <a:pt x="26" y="301"/>
                  </a:cubicBezTo>
                  <a:cubicBezTo>
                    <a:pt x="26" y="300"/>
                    <a:pt x="26" y="299"/>
                    <a:pt x="25" y="299"/>
                  </a:cubicBezTo>
                  <a:cubicBezTo>
                    <a:pt x="23" y="298"/>
                    <a:pt x="21" y="297"/>
                    <a:pt x="22" y="294"/>
                  </a:cubicBezTo>
                  <a:cubicBezTo>
                    <a:pt x="24" y="289"/>
                    <a:pt x="24" y="287"/>
                    <a:pt x="20" y="283"/>
                  </a:cubicBezTo>
                  <a:cubicBezTo>
                    <a:pt x="17" y="281"/>
                    <a:pt x="16" y="279"/>
                    <a:pt x="15" y="277"/>
                  </a:cubicBezTo>
                  <a:cubicBezTo>
                    <a:pt x="15" y="275"/>
                    <a:pt x="14" y="273"/>
                    <a:pt x="12" y="270"/>
                  </a:cubicBezTo>
                  <a:cubicBezTo>
                    <a:pt x="10" y="268"/>
                    <a:pt x="10" y="265"/>
                    <a:pt x="10" y="262"/>
                  </a:cubicBezTo>
                  <a:cubicBezTo>
                    <a:pt x="10" y="259"/>
                    <a:pt x="9" y="257"/>
                    <a:pt x="7" y="255"/>
                  </a:cubicBezTo>
                  <a:cubicBezTo>
                    <a:pt x="3" y="252"/>
                    <a:pt x="0" y="246"/>
                    <a:pt x="0" y="240"/>
                  </a:cubicBezTo>
                  <a:cubicBezTo>
                    <a:pt x="0" y="239"/>
                    <a:pt x="0" y="239"/>
                    <a:pt x="0" y="239"/>
                  </a:cubicBezTo>
                  <a:cubicBezTo>
                    <a:pt x="0" y="238"/>
                    <a:pt x="0" y="238"/>
                    <a:pt x="0" y="238"/>
                  </a:cubicBezTo>
                  <a:cubicBezTo>
                    <a:pt x="1" y="238"/>
                    <a:pt x="1" y="238"/>
                    <a:pt x="1" y="238"/>
                  </a:cubicBezTo>
                  <a:cubicBezTo>
                    <a:pt x="3" y="238"/>
                    <a:pt x="5" y="238"/>
                    <a:pt x="6" y="239"/>
                  </a:cubicBezTo>
                  <a:cubicBezTo>
                    <a:pt x="6" y="239"/>
                    <a:pt x="6" y="239"/>
                    <a:pt x="6" y="239"/>
                  </a:cubicBezTo>
                  <a:cubicBezTo>
                    <a:pt x="8" y="239"/>
                    <a:pt x="8" y="234"/>
                    <a:pt x="8" y="230"/>
                  </a:cubicBezTo>
                  <a:cubicBezTo>
                    <a:pt x="8" y="229"/>
                    <a:pt x="9" y="227"/>
                    <a:pt x="9" y="225"/>
                  </a:cubicBezTo>
                  <a:cubicBezTo>
                    <a:pt x="10" y="223"/>
                    <a:pt x="11" y="220"/>
                    <a:pt x="11" y="218"/>
                  </a:cubicBezTo>
                  <a:cubicBezTo>
                    <a:pt x="10" y="218"/>
                    <a:pt x="11" y="217"/>
                    <a:pt x="11" y="217"/>
                  </a:cubicBezTo>
                  <a:cubicBezTo>
                    <a:pt x="12" y="216"/>
                    <a:pt x="14" y="216"/>
                    <a:pt x="16" y="216"/>
                  </a:cubicBezTo>
                  <a:cubicBezTo>
                    <a:pt x="18" y="216"/>
                    <a:pt x="20" y="215"/>
                    <a:pt x="20" y="214"/>
                  </a:cubicBezTo>
                  <a:cubicBezTo>
                    <a:pt x="22" y="212"/>
                    <a:pt x="22" y="202"/>
                    <a:pt x="20" y="201"/>
                  </a:cubicBezTo>
                  <a:cubicBezTo>
                    <a:pt x="18" y="200"/>
                    <a:pt x="17" y="197"/>
                    <a:pt x="17" y="195"/>
                  </a:cubicBezTo>
                  <a:cubicBezTo>
                    <a:pt x="17" y="194"/>
                    <a:pt x="18" y="193"/>
                    <a:pt x="19" y="193"/>
                  </a:cubicBezTo>
                  <a:cubicBezTo>
                    <a:pt x="21" y="193"/>
                    <a:pt x="22" y="193"/>
                    <a:pt x="23" y="192"/>
                  </a:cubicBezTo>
                  <a:cubicBezTo>
                    <a:pt x="24" y="190"/>
                    <a:pt x="25" y="189"/>
                    <a:pt x="24" y="186"/>
                  </a:cubicBezTo>
                  <a:cubicBezTo>
                    <a:pt x="24" y="184"/>
                    <a:pt x="22" y="183"/>
                    <a:pt x="20" y="182"/>
                  </a:cubicBezTo>
                  <a:cubicBezTo>
                    <a:pt x="17" y="180"/>
                    <a:pt x="15" y="179"/>
                    <a:pt x="15" y="176"/>
                  </a:cubicBezTo>
                  <a:cubicBezTo>
                    <a:pt x="14" y="174"/>
                    <a:pt x="15" y="172"/>
                    <a:pt x="16" y="170"/>
                  </a:cubicBezTo>
                  <a:cubicBezTo>
                    <a:pt x="17" y="168"/>
                    <a:pt x="17" y="166"/>
                    <a:pt x="15" y="162"/>
                  </a:cubicBezTo>
                  <a:cubicBezTo>
                    <a:pt x="13" y="158"/>
                    <a:pt x="14" y="155"/>
                    <a:pt x="15" y="152"/>
                  </a:cubicBezTo>
                  <a:cubicBezTo>
                    <a:pt x="15" y="150"/>
                    <a:pt x="16" y="149"/>
                    <a:pt x="15" y="148"/>
                  </a:cubicBezTo>
                  <a:cubicBezTo>
                    <a:pt x="14" y="144"/>
                    <a:pt x="13" y="140"/>
                    <a:pt x="17" y="133"/>
                  </a:cubicBezTo>
                  <a:cubicBezTo>
                    <a:pt x="21" y="126"/>
                    <a:pt x="29" y="122"/>
                    <a:pt x="32" y="123"/>
                  </a:cubicBezTo>
                  <a:cubicBezTo>
                    <a:pt x="32" y="123"/>
                    <a:pt x="33" y="123"/>
                    <a:pt x="34" y="123"/>
                  </a:cubicBezTo>
                  <a:cubicBezTo>
                    <a:pt x="35" y="124"/>
                    <a:pt x="37" y="124"/>
                    <a:pt x="38" y="124"/>
                  </a:cubicBezTo>
                  <a:cubicBezTo>
                    <a:pt x="39" y="124"/>
                    <a:pt x="40" y="124"/>
                    <a:pt x="41" y="122"/>
                  </a:cubicBezTo>
                  <a:cubicBezTo>
                    <a:pt x="42" y="120"/>
                    <a:pt x="43" y="117"/>
                    <a:pt x="42" y="116"/>
                  </a:cubicBezTo>
                  <a:cubicBezTo>
                    <a:pt x="42" y="115"/>
                    <a:pt x="42" y="115"/>
                    <a:pt x="41" y="115"/>
                  </a:cubicBezTo>
                  <a:cubicBezTo>
                    <a:pt x="41" y="115"/>
                    <a:pt x="41" y="115"/>
                    <a:pt x="41" y="115"/>
                  </a:cubicBezTo>
                  <a:cubicBezTo>
                    <a:pt x="39" y="114"/>
                    <a:pt x="37" y="113"/>
                    <a:pt x="36" y="111"/>
                  </a:cubicBezTo>
                  <a:cubicBezTo>
                    <a:pt x="36" y="110"/>
                    <a:pt x="36" y="108"/>
                    <a:pt x="38" y="107"/>
                  </a:cubicBezTo>
                  <a:cubicBezTo>
                    <a:pt x="42" y="100"/>
                    <a:pt x="47" y="94"/>
                    <a:pt x="47" y="88"/>
                  </a:cubicBezTo>
                  <a:cubicBezTo>
                    <a:pt x="47" y="86"/>
                    <a:pt x="47" y="83"/>
                    <a:pt x="47" y="81"/>
                  </a:cubicBezTo>
                  <a:cubicBezTo>
                    <a:pt x="47" y="78"/>
                    <a:pt x="47" y="76"/>
                    <a:pt x="48" y="75"/>
                  </a:cubicBezTo>
                  <a:cubicBezTo>
                    <a:pt x="49" y="74"/>
                    <a:pt x="51" y="74"/>
                    <a:pt x="53" y="73"/>
                  </a:cubicBezTo>
                  <a:cubicBezTo>
                    <a:pt x="55" y="73"/>
                    <a:pt x="57" y="73"/>
                    <a:pt x="59" y="72"/>
                  </a:cubicBezTo>
                  <a:cubicBezTo>
                    <a:pt x="61" y="70"/>
                    <a:pt x="61" y="69"/>
                    <a:pt x="61" y="67"/>
                  </a:cubicBezTo>
                  <a:cubicBezTo>
                    <a:pt x="61" y="66"/>
                    <a:pt x="61" y="65"/>
                    <a:pt x="62" y="64"/>
                  </a:cubicBezTo>
                  <a:cubicBezTo>
                    <a:pt x="63" y="63"/>
                    <a:pt x="64" y="61"/>
                    <a:pt x="65" y="59"/>
                  </a:cubicBezTo>
                  <a:cubicBezTo>
                    <a:pt x="66" y="57"/>
                    <a:pt x="68" y="54"/>
                    <a:pt x="69" y="53"/>
                  </a:cubicBezTo>
                  <a:cubicBezTo>
                    <a:pt x="73" y="50"/>
                    <a:pt x="74" y="48"/>
                    <a:pt x="73" y="46"/>
                  </a:cubicBezTo>
                  <a:cubicBezTo>
                    <a:pt x="72" y="44"/>
                    <a:pt x="73" y="42"/>
                    <a:pt x="74" y="40"/>
                  </a:cubicBezTo>
                  <a:cubicBezTo>
                    <a:pt x="75" y="39"/>
                    <a:pt x="77" y="37"/>
                    <a:pt x="77" y="35"/>
                  </a:cubicBezTo>
                  <a:cubicBezTo>
                    <a:pt x="77" y="30"/>
                    <a:pt x="84" y="26"/>
                    <a:pt x="88" y="26"/>
                  </a:cubicBezTo>
                  <a:cubicBezTo>
                    <a:pt x="92" y="26"/>
                    <a:pt x="99" y="26"/>
                    <a:pt x="99" y="23"/>
                  </a:cubicBezTo>
                  <a:cubicBezTo>
                    <a:pt x="99" y="22"/>
                    <a:pt x="99" y="20"/>
                    <a:pt x="99" y="19"/>
                  </a:cubicBezTo>
                  <a:cubicBezTo>
                    <a:pt x="98" y="16"/>
                    <a:pt x="98" y="13"/>
                    <a:pt x="99" y="12"/>
                  </a:cubicBezTo>
                  <a:cubicBezTo>
                    <a:pt x="100" y="11"/>
                    <a:pt x="101" y="11"/>
                    <a:pt x="103" y="12"/>
                  </a:cubicBezTo>
                  <a:cubicBezTo>
                    <a:pt x="105" y="13"/>
                    <a:pt x="107" y="13"/>
                    <a:pt x="109" y="13"/>
                  </a:cubicBezTo>
                  <a:cubicBezTo>
                    <a:pt x="110" y="13"/>
                    <a:pt x="110" y="13"/>
                    <a:pt x="111" y="13"/>
                  </a:cubicBezTo>
                  <a:cubicBezTo>
                    <a:pt x="112" y="13"/>
                    <a:pt x="112" y="13"/>
                    <a:pt x="113" y="13"/>
                  </a:cubicBezTo>
                  <a:cubicBezTo>
                    <a:pt x="115" y="13"/>
                    <a:pt x="117" y="13"/>
                    <a:pt x="118" y="15"/>
                  </a:cubicBezTo>
                  <a:cubicBezTo>
                    <a:pt x="120" y="16"/>
                    <a:pt x="122" y="17"/>
                    <a:pt x="123" y="17"/>
                  </a:cubicBezTo>
                  <a:cubicBezTo>
                    <a:pt x="126" y="17"/>
                    <a:pt x="127" y="15"/>
                    <a:pt x="127" y="12"/>
                  </a:cubicBezTo>
                  <a:cubicBezTo>
                    <a:pt x="127" y="8"/>
                    <a:pt x="129" y="0"/>
                    <a:pt x="134" y="0"/>
                  </a:cubicBezTo>
                  <a:cubicBezTo>
                    <a:pt x="134" y="0"/>
                    <a:pt x="135" y="0"/>
                    <a:pt x="136" y="1"/>
                  </a:cubicBezTo>
                  <a:cubicBezTo>
                    <a:pt x="139" y="2"/>
                    <a:pt x="141" y="4"/>
                    <a:pt x="144" y="6"/>
                  </a:cubicBezTo>
                  <a:cubicBezTo>
                    <a:pt x="146" y="9"/>
                    <a:pt x="149" y="11"/>
                    <a:pt x="154" y="13"/>
                  </a:cubicBezTo>
                  <a:cubicBezTo>
                    <a:pt x="155" y="14"/>
                    <a:pt x="157" y="15"/>
                    <a:pt x="159" y="15"/>
                  </a:cubicBezTo>
                  <a:cubicBezTo>
                    <a:pt x="167" y="19"/>
                    <a:pt x="175" y="22"/>
                    <a:pt x="175" y="26"/>
                  </a:cubicBezTo>
                  <a:cubicBezTo>
                    <a:pt x="175" y="27"/>
                    <a:pt x="174" y="28"/>
                    <a:pt x="174" y="29"/>
                  </a:cubicBezTo>
                  <a:cubicBezTo>
                    <a:pt x="173" y="33"/>
                    <a:pt x="173" y="38"/>
                    <a:pt x="175" y="39"/>
                  </a:cubicBezTo>
                  <a:cubicBezTo>
                    <a:pt x="177" y="41"/>
                    <a:pt x="177" y="43"/>
                    <a:pt x="177" y="46"/>
                  </a:cubicBezTo>
                  <a:cubicBezTo>
                    <a:pt x="177" y="49"/>
                    <a:pt x="177" y="52"/>
                    <a:pt x="178" y="52"/>
                  </a:cubicBezTo>
                  <a:cubicBezTo>
                    <a:pt x="181" y="54"/>
                    <a:pt x="182" y="58"/>
                    <a:pt x="181" y="62"/>
                  </a:cubicBezTo>
                  <a:cubicBezTo>
                    <a:pt x="180" y="64"/>
                    <a:pt x="179" y="66"/>
                    <a:pt x="178" y="66"/>
                  </a:cubicBezTo>
                  <a:cubicBezTo>
                    <a:pt x="177" y="66"/>
                    <a:pt x="177" y="66"/>
                    <a:pt x="177" y="66"/>
                  </a:cubicBezTo>
                  <a:cubicBezTo>
                    <a:pt x="176" y="67"/>
                    <a:pt x="179" y="71"/>
                    <a:pt x="181" y="73"/>
                  </a:cubicBezTo>
                  <a:cubicBezTo>
                    <a:pt x="182" y="74"/>
                    <a:pt x="183" y="76"/>
                    <a:pt x="183" y="80"/>
                  </a:cubicBezTo>
                  <a:cubicBezTo>
                    <a:pt x="183" y="81"/>
                    <a:pt x="183" y="81"/>
                    <a:pt x="183" y="81"/>
                  </a:cubicBezTo>
                  <a:cubicBezTo>
                    <a:pt x="182" y="81"/>
                    <a:pt x="182" y="81"/>
                    <a:pt x="182" y="81"/>
                  </a:cubicBezTo>
                  <a:cubicBezTo>
                    <a:pt x="180" y="80"/>
                    <a:pt x="177" y="80"/>
                    <a:pt x="175" y="80"/>
                  </a:cubicBezTo>
                  <a:cubicBezTo>
                    <a:pt x="173" y="81"/>
                    <a:pt x="172" y="81"/>
                    <a:pt x="171" y="81"/>
                  </a:cubicBezTo>
                  <a:cubicBezTo>
                    <a:pt x="169" y="81"/>
                    <a:pt x="168" y="80"/>
                    <a:pt x="166" y="80"/>
                  </a:cubicBezTo>
                  <a:cubicBezTo>
                    <a:pt x="165" y="80"/>
                    <a:pt x="164" y="80"/>
                    <a:pt x="163" y="80"/>
                  </a:cubicBezTo>
                  <a:cubicBezTo>
                    <a:pt x="162" y="80"/>
                    <a:pt x="161" y="81"/>
                    <a:pt x="160" y="82"/>
                  </a:cubicBezTo>
                  <a:cubicBezTo>
                    <a:pt x="159" y="82"/>
                    <a:pt x="159" y="83"/>
                    <a:pt x="158" y="83"/>
                  </a:cubicBezTo>
                  <a:cubicBezTo>
                    <a:pt x="156" y="86"/>
                    <a:pt x="154" y="88"/>
                    <a:pt x="150" y="89"/>
                  </a:cubicBezTo>
                  <a:cubicBezTo>
                    <a:pt x="148" y="90"/>
                    <a:pt x="148" y="91"/>
                    <a:pt x="148" y="93"/>
                  </a:cubicBezTo>
                  <a:cubicBezTo>
                    <a:pt x="148" y="95"/>
                    <a:pt x="148" y="98"/>
                    <a:pt x="145" y="101"/>
                  </a:cubicBezTo>
                  <a:cubicBezTo>
                    <a:pt x="141" y="103"/>
                    <a:pt x="143" y="106"/>
                    <a:pt x="145" y="109"/>
                  </a:cubicBezTo>
                  <a:cubicBezTo>
                    <a:pt x="146" y="111"/>
                    <a:pt x="147" y="113"/>
                    <a:pt x="146" y="115"/>
                  </a:cubicBezTo>
                  <a:cubicBezTo>
                    <a:pt x="144" y="120"/>
                    <a:pt x="131" y="128"/>
                    <a:pt x="124" y="132"/>
                  </a:cubicBezTo>
                  <a:cubicBezTo>
                    <a:pt x="120" y="134"/>
                    <a:pt x="118" y="135"/>
                    <a:pt x="116" y="136"/>
                  </a:cubicBezTo>
                  <a:cubicBezTo>
                    <a:pt x="114" y="138"/>
                    <a:pt x="113" y="139"/>
                    <a:pt x="110" y="140"/>
                  </a:cubicBezTo>
                  <a:cubicBezTo>
                    <a:pt x="107" y="141"/>
                    <a:pt x="106" y="143"/>
                    <a:pt x="105" y="146"/>
                  </a:cubicBezTo>
                  <a:cubicBezTo>
                    <a:pt x="104" y="148"/>
                    <a:pt x="103" y="151"/>
                    <a:pt x="100" y="151"/>
                  </a:cubicBezTo>
                  <a:cubicBezTo>
                    <a:pt x="97" y="152"/>
                    <a:pt x="96" y="153"/>
                    <a:pt x="96" y="155"/>
                  </a:cubicBezTo>
                  <a:cubicBezTo>
                    <a:pt x="95" y="156"/>
                    <a:pt x="95" y="157"/>
                    <a:pt x="93" y="158"/>
                  </a:cubicBezTo>
                  <a:cubicBezTo>
                    <a:pt x="89" y="159"/>
                    <a:pt x="89" y="164"/>
                    <a:pt x="89" y="168"/>
                  </a:cubicBezTo>
                  <a:cubicBezTo>
                    <a:pt x="89" y="169"/>
                    <a:pt x="89" y="169"/>
                    <a:pt x="89" y="169"/>
                  </a:cubicBezTo>
                  <a:cubicBezTo>
                    <a:pt x="89" y="171"/>
                    <a:pt x="88" y="173"/>
                    <a:pt x="86" y="175"/>
                  </a:cubicBezTo>
                  <a:cubicBezTo>
                    <a:pt x="85" y="178"/>
                    <a:pt x="83" y="180"/>
                    <a:pt x="84" y="183"/>
                  </a:cubicBezTo>
                  <a:cubicBezTo>
                    <a:pt x="85" y="188"/>
                    <a:pt x="86" y="197"/>
                    <a:pt x="86" y="199"/>
                  </a:cubicBezTo>
                  <a:cubicBezTo>
                    <a:pt x="86" y="200"/>
                    <a:pt x="86" y="200"/>
                    <a:pt x="86" y="200"/>
                  </a:cubicBezTo>
                  <a:cubicBezTo>
                    <a:pt x="86" y="200"/>
                    <a:pt x="88" y="200"/>
                    <a:pt x="89" y="200"/>
                  </a:cubicBezTo>
                  <a:cubicBezTo>
                    <a:pt x="91" y="200"/>
                    <a:pt x="94" y="200"/>
                    <a:pt x="96" y="202"/>
                  </a:cubicBezTo>
                  <a:cubicBezTo>
                    <a:pt x="99" y="203"/>
                    <a:pt x="110" y="214"/>
                    <a:pt x="110" y="217"/>
                  </a:cubicBezTo>
                  <a:cubicBezTo>
                    <a:pt x="110" y="219"/>
                    <a:pt x="108" y="221"/>
                    <a:pt x="105" y="223"/>
                  </a:cubicBezTo>
                  <a:cubicBezTo>
                    <a:pt x="103" y="225"/>
                    <a:pt x="100" y="227"/>
                    <a:pt x="101" y="229"/>
                  </a:cubicBezTo>
                  <a:cubicBezTo>
                    <a:pt x="101" y="230"/>
                    <a:pt x="101" y="231"/>
                    <a:pt x="100" y="232"/>
                  </a:cubicBezTo>
                  <a:cubicBezTo>
                    <a:pt x="98" y="236"/>
                    <a:pt x="93" y="241"/>
                    <a:pt x="88" y="242"/>
                  </a:cubicBezTo>
                  <a:cubicBezTo>
                    <a:pt x="82" y="243"/>
                    <a:pt x="81" y="247"/>
                    <a:pt x="80" y="250"/>
                  </a:cubicBezTo>
                  <a:cubicBezTo>
                    <a:pt x="80" y="251"/>
                    <a:pt x="79" y="254"/>
                    <a:pt x="79" y="256"/>
                  </a:cubicBezTo>
                  <a:cubicBezTo>
                    <a:pt x="79" y="261"/>
                    <a:pt x="79" y="268"/>
                    <a:pt x="77" y="271"/>
                  </a:cubicBezTo>
                  <a:cubicBezTo>
                    <a:pt x="75" y="275"/>
                    <a:pt x="74" y="281"/>
                    <a:pt x="75" y="282"/>
                  </a:cubicBezTo>
                  <a:cubicBezTo>
                    <a:pt x="75" y="282"/>
                    <a:pt x="75" y="282"/>
                    <a:pt x="75" y="282"/>
                  </a:cubicBezTo>
                  <a:cubicBezTo>
                    <a:pt x="75" y="282"/>
                    <a:pt x="76" y="282"/>
                    <a:pt x="77" y="281"/>
                  </a:cubicBezTo>
                  <a:cubicBezTo>
                    <a:pt x="81" y="276"/>
                    <a:pt x="82" y="276"/>
                    <a:pt x="83" y="276"/>
                  </a:cubicBezTo>
                  <a:cubicBezTo>
                    <a:pt x="83" y="276"/>
                    <a:pt x="83" y="276"/>
                    <a:pt x="83" y="276"/>
                  </a:cubicBezTo>
                  <a:cubicBezTo>
                    <a:pt x="84" y="276"/>
                    <a:pt x="84" y="277"/>
                    <a:pt x="83" y="280"/>
                  </a:cubicBezTo>
                  <a:cubicBezTo>
                    <a:pt x="81" y="284"/>
                    <a:pt x="77" y="294"/>
                    <a:pt x="74" y="294"/>
                  </a:cubicBezTo>
                  <a:cubicBezTo>
                    <a:pt x="74" y="294"/>
                    <a:pt x="74" y="294"/>
                    <a:pt x="74" y="294"/>
                  </a:cubicBezTo>
                  <a:cubicBezTo>
                    <a:pt x="73" y="294"/>
                    <a:pt x="73" y="293"/>
                    <a:pt x="72" y="292"/>
                  </a:cubicBezTo>
                  <a:cubicBezTo>
                    <a:pt x="72" y="291"/>
                    <a:pt x="71" y="290"/>
                    <a:pt x="70" y="290"/>
                  </a:cubicBezTo>
                  <a:cubicBezTo>
                    <a:pt x="70" y="290"/>
                    <a:pt x="70" y="290"/>
                    <a:pt x="69" y="292"/>
                  </a:cubicBezTo>
                  <a:cubicBezTo>
                    <a:pt x="68" y="298"/>
                    <a:pt x="65" y="301"/>
                    <a:pt x="60" y="299"/>
                  </a:cubicBezTo>
                  <a:cubicBezTo>
                    <a:pt x="58" y="298"/>
                    <a:pt x="56" y="297"/>
                    <a:pt x="54" y="297"/>
                  </a:cubicBezTo>
                  <a:cubicBezTo>
                    <a:pt x="52" y="297"/>
                    <a:pt x="49" y="298"/>
                    <a:pt x="49" y="300"/>
                  </a:cubicBezTo>
                  <a:cubicBezTo>
                    <a:pt x="49" y="301"/>
                    <a:pt x="47" y="301"/>
                    <a:pt x="47" y="302"/>
                  </a:cubicBezTo>
                  <a:cubicBezTo>
                    <a:pt x="45" y="302"/>
                    <a:pt x="45" y="302"/>
                    <a:pt x="44" y="304"/>
                  </a:cubicBezTo>
                  <a:cubicBezTo>
                    <a:pt x="44" y="305"/>
                    <a:pt x="44" y="306"/>
                    <a:pt x="44" y="306"/>
                  </a:cubicBezTo>
                  <a:cubicBezTo>
                    <a:pt x="45" y="308"/>
                    <a:pt x="45" y="310"/>
                    <a:pt x="43" y="312"/>
                  </a:cubicBezTo>
                  <a:cubicBezTo>
                    <a:pt x="42" y="313"/>
                    <a:pt x="41" y="313"/>
                    <a:pt x="39" y="313"/>
                  </a:cubicBezTo>
                  <a:cubicBezTo>
                    <a:pt x="36" y="313"/>
                    <a:pt x="34" y="314"/>
                    <a:pt x="32" y="314"/>
                  </a:cubicBezTo>
                  <a:cubicBezTo>
                    <a:pt x="31" y="315"/>
                    <a:pt x="30" y="315"/>
                    <a:pt x="29" y="315"/>
                  </a:cubicBezTo>
                  <a:close/>
                  <a:moveTo>
                    <a:pt x="1" y="239"/>
                  </a:moveTo>
                  <a:cubicBezTo>
                    <a:pt x="1" y="240"/>
                    <a:pt x="1" y="240"/>
                    <a:pt x="1" y="240"/>
                  </a:cubicBezTo>
                  <a:cubicBezTo>
                    <a:pt x="1" y="246"/>
                    <a:pt x="3" y="251"/>
                    <a:pt x="8" y="254"/>
                  </a:cubicBezTo>
                  <a:cubicBezTo>
                    <a:pt x="10" y="257"/>
                    <a:pt x="11" y="259"/>
                    <a:pt x="11" y="262"/>
                  </a:cubicBezTo>
                  <a:cubicBezTo>
                    <a:pt x="11" y="265"/>
                    <a:pt x="11" y="267"/>
                    <a:pt x="13" y="270"/>
                  </a:cubicBezTo>
                  <a:cubicBezTo>
                    <a:pt x="15" y="272"/>
                    <a:pt x="16" y="274"/>
                    <a:pt x="16" y="276"/>
                  </a:cubicBezTo>
                  <a:cubicBezTo>
                    <a:pt x="17" y="279"/>
                    <a:pt x="18" y="281"/>
                    <a:pt x="20" y="283"/>
                  </a:cubicBezTo>
                  <a:cubicBezTo>
                    <a:pt x="25" y="287"/>
                    <a:pt x="25" y="289"/>
                    <a:pt x="23" y="294"/>
                  </a:cubicBezTo>
                  <a:cubicBezTo>
                    <a:pt x="22" y="297"/>
                    <a:pt x="24" y="297"/>
                    <a:pt x="25" y="298"/>
                  </a:cubicBezTo>
                  <a:cubicBezTo>
                    <a:pt x="26" y="298"/>
                    <a:pt x="27" y="299"/>
                    <a:pt x="27" y="301"/>
                  </a:cubicBezTo>
                  <a:cubicBezTo>
                    <a:pt x="28" y="302"/>
                    <a:pt x="27" y="303"/>
                    <a:pt x="27" y="305"/>
                  </a:cubicBezTo>
                  <a:cubicBezTo>
                    <a:pt x="27" y="308"/>
                    <a:pt x="27" y="311"/>
                    <a:pt x="28" y="313"/>
                  </a:cubicBezTo>
                  <a:cubicBezTo>
                    <a:pt x="28" y="314"/>
                    <a:pt x="29" y="314"/>
                    <a:pt x="29" y="314"/>
                  </a:cubicBezTo>
                  <a:cubicBezTo>
                    <a:pt x="30" y="314"/>
                    <a:pt x="31" y="314"/>
                    <a:pt x="32" y="313"/>
                  </a:cubicBezTo>
                  <a:cubicBezTo>
                    <a:pt x="34" y="313"/>
                    <a:pt x="36" y="312"/>
                    <a:pt x="39" y="312"/>
                  </a:cubicBezTo>
                  <a:cubicBezTo>
                    <a:pt x="41" y="312"/>
                    <a:pt x="42" y="312"/>
                    <a:pt x="43" y="311"/>
                  </a:cubicBezTo>
                  <a:cubicBezTo>
                    <a:pt x="44" y="310"/>
                    <a:pt x="44" y="308"/>
                    <a:pt x="43" y="306"/>
                  </a:cubicBezTo>
                  <a:cubicBezTo>
                    <a:pt x="43" y="306"/>
                    <a:pt x="43" y="305"/>
                    <a:pt x="43" y="304"/>
                  </a:cubicBezTo>
                  <a:cubicBezTo>
                    <a:pt x="44" y="301"/>
                    <a:pt x="45" y="301"/>
                    <a:pt x="46" y="301"/>
                  </a:cubicBezTo>
                  <a:cubicBezTo>
                    <a:pt x="47" y="300"/>
                    <a:pt x="48" y="300"/>
                    <a:pt x="48" y="299"/>
                  </a:cubicBezTo>
                  <a:cubicBezTo>
                    <a:pt x="49" y="298"/>
                    <a:pt x="51" y="296"/>
                    <a:pt x="54" y="296"/>
                  </a:cubicBezTo>
                  <a:cubicBezTo>
                    <a:pt x="56" y="296"/>
                    <a:pt x="59" y="297"/>
                    <a:pt x="61" y="298"/>
                  </a:cubicBezTo>
                  <a:cubicBezTo>
                    <a:pt x="62" y="298"/>
                    <a:pt x="62" y="298"/>
                    <a:pt x="63" y="298"/>
                  </a:cubicBezTo>
                  <a:cubicBezTo>
                    <a:pt x="67" y="298"/>
                    <a:pt x="68" y="294"/>
                    <a:pt x="68" y="292"/>
                  </a:cubicBezTo>
                  <a:cubicBezTo>
                    <a:pt x="69" y="290"/>
                    <a:pt x="69" y="289"/>
                    <a:pt x="70" y="289"/>
                  </a:cubicBezTo>
                  <a:cubicBezTo>
                    <a:pt x="71" y="289"/>
                    <a:pt x="72" y="290"/>
                    <a:pt x="73" y="292"/>
                  </a:cubicBezTo>
                  <a:cubicBezTo>
                    <a:pt x="74" y="293"/>
                    <a:pt x="74" y="293"/>
                    <a:pt x="74" y="293"/>
                  </a:cubicBezTo>
                  <a:cubicBezTo>
                    <a:pt x="75" y="293"/>
                    <a:pt x="79" y="287"/>
                    <a:pt x="82" y="280"/>
                  </a:cubicBezTo>
                  <a:cubicBezTo>
                    <a:pt x="83" y="277"/>
                    <a:pt x="83" y="277"/>
                    <a:pt x="83" y="277"/>
                  </a:cubicBezTo>
                  <a:cubicBezTo>
                    <a:pt x="82" y="277"/>
                    <a:pt x="81" y="277"/>
                    <a:pt x="77" y="281"/>
                  </a:cubicBezTo>
                  <a:cubicBezTo>
                    <a:pt x="76" y="283"/>
                    <a:pt x="75" y="283"/>
                    <a:pt x="74" y="282"/>
                  </a:cubicBezTo>
                  <a:cubicBezTo>
                    <a:pt x="73" y="281"/>
                    <a:pt x="75" y="273"/>
                    <a:pt x="76" y="271"/>
                  </a:cubicBezTo>
                  <a:cubicBezTo>
                    <a:pt x="78" y="268"/>
                    <a:pt x="78" y="261"/>
                    <a:pt x="78" y="256"/>
                  </a:cubicBezTo>
                  <a:cubicBezTo>
                    <a:pt x="78" y="253"/>
                    <a:pt x="79" y="251"/>
                    <a:pt x="79" y="250"/>
                  </a:cubicBezTo>
                  <a:cubicBezTo>
                    <a:pt x="79" y="247"/>
                    <a:pt x="80" y="242"/>
                    <a:pt x="87" y="241"/>
                  </a:cubicBezTo>
                  <a:cubicBezTo>
                    <a:pt x="92" y="240"/>
                    <a:pt x="98" y="235"/>
                    <a:pt x="100" y="232"/>
                  </a:cubicBezTo>
                  <a:cubicBezTo>
                    <a:pt x="100" y="231"/>
                    <a:pt x="100" y="230"/>
                    <a:pt x="100" y="229"/>
                  </a:cubicBezTo>
                  <a:cubicBezTo>
                    <a:pt x="99" y="227"/>
                    <a:pt x="102" y="225"/>
                    <a:pt x="105" y="222"/>
                  </a:cubicBezTo>
                  <a:cubicBezTo>
                    <a:pt x="106" y="220"/>
                    <a:pt x="109" y="218"/>
                    <a:pt x="109" y="217"/>
                  </a:cubicBezTo>
                  <a:cubicBezTo>
                    <a:pt x="109" y="214"/>
                    <a:pt x="99" y="205"/>
                    <a:pt x="95" y="202"/>
                  </a:cubicBezTo>
                  <a:cubicBezTo>
                    <a:pt x="94" y="201"/>
                    <a:pt x="91" y="201"/>
                    <a:pt x="89" y="201"/>
                  </a:cubicBezTo>
                  <a:cubicBezTo>
                    <a:pt x="87" y="201"/>
                    <a:pt x="85" y="201"/>
                    <a:pt x="85" y="200"/>
                  </a:cubicBezTo>
                  <a:cubicBezTo>
                    <a:pt x="85" y="200"/>
                    <a:pt x="84" y="200"/>
                    <a:pt x="85" y="199"/>
                  </a:cubicBezTo>
                  <a:cubicBezTo>
                    <a:pt x="85" y="197"/>
                    <a:pt x="84" y="191"/>
                    <a:pt x="83" y="183"/>
                  </a:cubicBezTo>
                  <a:cubicBezTo>
                    <a:pt x="82" y="180"/>
                    <a:pt x="84" y="177"/>
                    <a:pt x="86" y="175"/>
                  </a:cubicBezTo>
                  <a:cubicBezTo>
                    <a:pt x="87" y="173"/>
                    <a:pt x="88" y="171"/>
                    <a:pt x="88" y="169"/>
                  </a:cubicBezTo>
                  <a:cubicBezTo>
                    <a:pt x="88" y="168"/>
                    <a:pt x="88" y="168"/>
                    <a:pt x="88" y="168"/>
                  </a:cubicBezTo>
                  <a:cubicBezTo>
                    <a:pt x="88" y="164"/>
                    <a:pt x="88" y="159"/>
                    <a:pt x="92" y="157"/>
                  </a:cubicBezTo>
                  <a:cubicBezTo>
                    <a:pt x="94" y="156"/>
                    <a:pt x="94" y="155"/>
                    <a:pt x="95" y="154"/>
                  </a:cubicBezTo>
                  <a:cubicBezTo>
                    <a:pt x="96" y="153"/>
                    <a:pt x="96" y="151"/>
                    <a:pt x="99" y="150"/>
                  </a:cubicBezTo>
                  <a:cubicBezTo>
                    <a:pt x="102" y="150"/>
                    <a:pt x="103" y="148"/>
                    <a:pt x="104" y="145"/>
                  </a:cubicBezTo>
                  <a:cubicBezTo>
                    <a:pt x="105" y="143"/>
                    <a:pt x="106" y="140"/>
                    <a:pt x="109" y="139"/>
                  </a:cubicBezTo>
                  <a:cubicBezTo>
                    <a:pt x="112" y="138"/>
                    <a:pt x="114" y="137"/>
                    <a:pt x="116" y="135"/>
                  </a:cubicBezTo>
                  <a:cubicBezTo>
                    <a:pt x="117" y="134"/>
                    <a:pt x="119" y="133"/>
                    <a:pt x="123" y="131"/>
                  </a:cubicBezTo>
                  <a:cubicBezTo>
                    <a:pt x="131" y="127"/>
                    <a:pt x="143" y="119"/>
                    <a:pt x="145" y="114"/>
                  </a:cubicBezTo>
                  <a:cubicBezTo>
                    <a:pt x="146" y="113"/>
                    <a:pt x="145" y="111"/>
                    <a:pt x="144" y="109"/>
                  </a:cubicBezTo>
                  <a:cubicBezTo>
                    <a:pt x="142" y="106"/>
                    <a:pt x="140" y="103"/>
                    <a:pt x="144" y="100"/>
                  </a:cubicBezTo>
                  <a:cubicBezTo>
                    <a:pt x="147" y="98"/>
                    <a:pt x="147" y="95"/>
                    <a:pt x="147" y="93"/>
                  </a:cubicBezTo>
                  <a:cubicBezTo>
                    <a:pt x="147" y="91"/>
                    <a:pt x="147" y="89"/>
                    <a:pt x="150" y="88"/>
                  </a:cubicBezTo>
                  <a:cubicBezTo>
                    <a:pt x="153" y="87"/>
                    <a:pt x="155" y="85"/>
                    <a:pt x="158" y="82"/>
                  </a:cubicBezTo>
                  <a:cubicBezTo>
                    <a:pt x="158" y="82"/>
                    <a:pt x="158" y="81"/>
                    <a:pt x="159" y="81"/>
                  </a:cubicBezTo>
                  <a:cubicBezTo>
                    <a:pt x="160" y="80"/>
                    <a:pt x="161" y="79"/>
                    <a:pt x="163" y="79"/>
                  </a:cubicBezTo>
                  <a:cubicBezTo>
                    <a:pt x="164" y="79"/>
                    <a:pt x="165" y="79"/>
                    <a:pt x="166" y="79"/>
                  </a:cubicBezTo>
                  <a:cubicBezTo>
                    <a:pt x="168" y="79"/>
                    <a:pt x="169" y="80"/>
                    <a:pt x="171" y="80"/>
                  </a:cubicBezTo>
                  <a:cubicBezTo>
                    <a:pt x="172" y="80"/>
                    <a:pt x="173" y="80"/>
                    <a:pt x="174" y="79"/>
                  </a:cubicBezTo>
                  <a:cubicBezTo>
                    <a:pt x="177" y="79"/>
                    <a:pt x="179" y="79"/>
                    <a:pt x="182" y="79"/>
                  </a:cubicBezTo>
                  <a:cubicBezTo>
                    <a:pt x="181" y="76"/>
                    <a:pt x="181" y="74"/>
                    <a:pt x="180" y="73"/>
                  </a:cubicBezTo>
                  <a:cubicBezTo>
                    <a:pt x="179" y="72"/>
                    <a:pt x="175" y="68"/>
                    <a:pt x="176" y="66"/>
                  </a:cubicBezTo>
                  <a:cubicBezTo>
                    <a:pt x="176" y="65"/>
                    <a:pt x="176" y="65"/>
                    <a:pt x="178" y="65"/>
                  </a:cubicBezTo>
                  <a:cubicBezTo>
                    <a:pt x="179" y="65"/>
                    <a:pt x="180" y="64"/>
                    <a:pt x="180" y="62"/>
                  </a:cubicBezTo>
                  <a:cubicBezTo>
                    <a:pt x="181" y="58"/>
                    <a:pt x="180" y="54"/>
                    <a:pt x="178" y="53"/>
                  </a:cubicBezTo>
                  <a:cubicBezTo>
                    <a:pt x="176" y="52"/>
                    <a:pt x="176" y="49"/>
                    <a:pt x="176" y="46"/>
                  </a:cubicBezTo>
                  <a:cubicBezTo>
                    <a:pt x="176" y="43"/>
                    <a:pt x="176" y="41"/>
                    <a:pt x="175" y="40"/>
                  </a:cubicBezTo>
                  <a:cubicBezTo>
                    <a:pt x="171" y="38"/>
                    <a:pt x="172" y="33"/>
                    <a:pt x="173" y="29"/>
                  </a:cubicBezTo>
                  <a:cubicBezTo>
                    <a:pt x="173" y="28"/>
                    <a:pt x="174" y="27"/>
                    <a:pt x="174" y="26"/>
                  </a:cubicBezTo>
                  <a:cubicBezTo>
                    <a:pt x="174" y="23"/>
                    <a:pt x="166" y="19"/>
                    <a:pt x="159" y="16"/>
                  </a:cubicBezTo>
                  <a:cubicBezTo>
                    <a:pt x="157" y="16"/>
                    <a:pt x="155" y="15"/>
                    <a:pt x="153" y="14"/>
                  </a:cubicBezTo>
                  <a:cubicBezTo>
                    <a:pt x="149" y="12"/>
                    <a:pt x="146" y="9"/>
                    <a:pt x="143" y="7"/>
                  </a:cubicBezTo>
                  <a:cubicBezTo>
                    <a:pt x="141" y="5"/>
                    <a:pt x="139" y="3"/>
                    <a:pt x="136" y="2"/>
                  </a:cubicBezTo>
                  <a:cubicBezTo>
                    <a:pt x="135" y="1"/>
                    <a:pt x="134" y="1"/>
                    <a:pt x="134" y="1"/>
                  </a:cubicBezTo>
                  <a:cubicBezTo>
                    <a:pt x="130" y="1"/>
                    <a:pt x="128" y="8"/>
                    <a:pt x="128" y="12"/>
                  </a:cubicBezTo>
                  <a:cubicBezTo>
                    <a:pt x="128" y="15"/>
                    <a:pt x="126" y="18"/>
                    <a:pt x="123" y="18"/>
                  </a:cubicBezTo>
                  <a:cubicBezTo>
                    <a:pt x="122" y="18"/>
                    <a:pt x="120" y="17"/>
                    <a:pt x="118" y="15"/>
                  </a:cubicBezTo>
                  <a:cubicBezTo>
                    <a:pt x="116" y="14"/>
                    <a:pt x="115" y="14"/>
                    <a:pt x="113" y="14"/>
                  </a:cubicBezTo>
                  <a:cubicBezTo>
                    <a:pt x="112" y="14"/>
                    <a:pt x="112" y="14"/>
                    <a:pt x="111" y="14"/>
                  </a:cubicBezTo>
                  <a:cubicBezTo>
                    <a:pt x="110" y="14"/>
                    <a:pt x="110" y="14"/>
                    <a:pt x="109" y="14"/>
                  </a:cubicBezTo>
                  <a:cubicBezTo>
                    <a:pt x="107" y="14"/>
                    <a:pt x="105" y="14"/>
                    <a:pt x="103" y="13"/>
                  </a:cubicBezTo>
                  <a:cubicBezTo>
                    <a:pt x="101" y="12"/>
                    <a:pt x="100" y="12"/>
                    <a:pt x="100" y="13"/>
                  </a:cubicBezTo>
                  <a:cubicBezTo>
                    <a:pt x="99" y="14"/>
                    <a:pt x="99" y="17"/>
                    <a:pt x="100" y="19"/>
                  </a:cubicBezTo>
                  <a:cubicBezTo>
                    <a:pt x="100" y="20"/>
                    <a:pt x="100" y="22"/>
                    <a:pt x="100" y="23"/>
                  </a:cubicBezTo>
                  <a:cubicBezTo>
                    <a:pt x="100" y="27"/>
                    <a:pt x="93" y="27"/>
                    <a:pt x="88" y="27"/>
                  </a:cubicBezTo>
                  <a:cubicBezTo>
                    <a:pt x="85" y="27"/>
                    <a:pt x="78" y="30"/>
                    <a:pt x="78" y="35"/>
                  </a:cubicBezTo>
                  <a:cubicBezTo>
                    <a:pt x="78" y="37"/>
                    <a:pt x="76" y="39"/>
                    <a:pt x="75" y="41"/>
                  </a:cubicBezTo>
                  <a:cubicBezTo>
                    <a:pt x="74" y="43"/>
                    <a:pt x="73" y="44"/>
                    <a:pt x="74" y="45"/>
                  </a:cubicBezTo>
                  <a:cubicBezTo>
                    <a:pt x="76" y="49"/>
                    <a:pt x="72" y="52"/>
                    <a:pt x="70" y="53"/>
                  </a:cubicBezTo>
                  <a:cubicBezTo>
                    <a:pt x="69" y="54"/>
                    <a:pt x="67" y="57"/>
                    <a:pt x="66" y="60"/>
                  </a:cubicBezTo>
                  <a:cubicBezTo>
                    <a:pt x="65" y="62"/>
                    <a:pt x="63" y="63"/>
                    <a:pt x="63" y="64"/>
                  </a:cubicBezTo>
                  <a:cubicBezTo>
                    <a:pt x="62" y="65"/>
                    <a:pt x="62" y="66"/>
                    <a:pt x="62" y="67"/>
                  </a:cubicBezTo>
                  <a:cubicBezTo>
                    <a:pt x="62" y="69"/>
                    <a:pt x="62" y="71"/>
                    <a:pt x="60" y="73"/>
                  </a:cubicBezTo>
                  <a:cubicBezTo>
                    <a:pt x="57" y="74"/>
                    <a:pt x="55" y="74"/>
                    <a:pt x="53" y="74"/>
                  </a:cubicBezTo>
                  <a:cubicBezTo>
                    <a:pt x="51" y="75"/>
                    <a:pt x="50" y="75"/>
                    <a:pt x="49" y="75"/>
                  </a:cubicBezTo>
                  <a:cubicBezTo>
                    <a:pt x="48" y="76"/>
                    <a:pt x="48" y="78"/>
                    <a:pt x="48" y="81"/>
                  </a:cubicBezTo>
                  <a:cubicBezTo>
                    <a:pt x="48" y="83"/>
                    <a:pt x="48" y="86"/>
                    <a:pt x="48" y="88"/>
                  </a:cubicBezTo>
                  <a:cubicBezTo>
                    <a:pt x="47" y="94"/>
                    <a:pt x="43" y="101"/>
                    <a:pt x="38" y="107"/>
                  </a:cubicBezTo>
                  <a:cubicBezTo>
                    <a:pt x="37" y="109"/>
                    <a:pt x="37" y="110"/>
                    <a:pt x="37" y="111"/>
                  </a:cubicBezTo>
                  <a:cubicBezTo>
                    <a:pt x="38" y="113"/>
                    <a:pt x="40" y="113"/>
                    <a:pt x="41" y="114"/>
                  </a:cubicBezTo>
                  <a:cubicBezTo>
                    <a:pt x="42" y="114"/>
                    <a:pt x="42" y="114"/>
                    <a:pt x="42" y="114"/>
                  </a:cubicBezTo>
                  <a:cubicBezTo>
                    <a:pt x="43" y="115"/>
                    <a:pt x="43" y="115"/>
                    <a:pt x="43" y="115"/>
                  </a:cubicBezTo>
                  <a:cubicBezTo>
                    <a:pt x="44" y="117"/>
                    <a:pt x="43" y="120"/>
                    <a:pt x="42" y="123"/>
                  </a:cubicBezTo>
                  <a:cubicBezTo>
                    <a:pt x="41" y="125"/>
                    <a:pt x="40" y="125"/>
                    <a:pt x="38" y="125"/>
                  </a:cubicBezTo>
                  <a:cubicBezTo>
                    <a:pt x="36" y="125"/>
                    <a:pt x="35" y="125"/>
                    <a:pt x="33" y="124"/>
                  </a:cubicBezTo>
                  <a:cubicBezTo>
                    <a:pt x="32" y="124"/>
                    <a:pt x="32" y="124"/>
                    <a:pt x="32" y="124"/>
                  </a:cubicBezTo>
                  <a:cubicBezTo>
                    <a:pt x="31" y="124"/>
                    <a:pt x="31" y="124"/>
                    <a:pt x="31" y="124"/>
                  </a:cubicBezTo>
                  <a:cubicBezTo>
                    <a:pt x="28" y="124"/>
                    <a:pt x="21" y="127"/>
                    <a:pt x="18" y="133"/>
                  </a:cubicBezTo>
                  <a:cubicBezTo>
                    <a:pt x="14" y="140"/>
                    <a:pt x="15" y="144"/>
                    <a:pt x="16" y="147"/>
                  </a:cubicBezTo>
                  <a:cubicBezTo>
                    <a:pt x="17" y="149"/>
                    <a:pt x="17" y="151"/>
                    <a:pt x="16" y="152"/>
                  </a:cubicBezTo>
                  <a:cubicBezTo>
                    <a:pt x="15" y="155"/>
                    <a:pt x="14" y="158"/>
                    <a:pt x="16" y="162"/>
                  </a:cubicBezTo>
                  <a:cubicBezTo>
                    <a:pt x="18" y="166"/>
                    <a:pt x="18" y="169"/>
                    <a:pt x="17" y="171"/>
                  </a:cubicBezTo>
                  <a:cubicBezTo>
                    <a:pt x="16" y="172"/>
                    <a:pt x="15" y="174"/>
                    <a:pt x="16" y="176"/>
                  </a:cubicBezTo>
                  <a:cubicBezTo>
                    <a:pt x="16" y="178"/>
                    <a:pt x="18" y="180"/>
                    <a:pt x="20" y="181"/>
                  </a:cubicBezTo>
                  <a:cubicBezTo>
                    <a:pt x="23" y="182"/>
                    <a:pt x="25" y="183"/>
                    <a:pt x="25" y="186"/>
                  </a:cubicBezTo>
                  <a:cubicBezTo>
                    <a:pt x="26" y="189"/>
                    <a:pt x="25" y="191"/>
                    <a:pt x="24" y="192"/>
                  </a:cubicBezTo>
                  <a:cubicBezTo>
                    <a:pt x="23" y="194"/>
                    <a:pt x="21" y="194"/>
                    <a:pt x="19" y="194"/>
                  </a:cubicBezTo>
                  <a:cubicBezTo>
                    <a:pt x="18" y="195"/>
                    <a:pt x="18" y="195"/>
                    <a:pt x="18" y="195"/>
                  </a:cubicBezTo>
                  <a:cubicBezTo>
                    <a:pt x="18" y="197"/>
                    <a:pt x="19" y="200"/>
                    <a:pt x="20" y="200"/>
                  </a:cubicBezTo>
                  <a:cubicBezTo>
                    <a:pt x="23" y="202"/>
                    <a:pt x="23" y="212"/>
                    <a:pt x="21" y="215"/>
                  </a:cubicBezTo>
                  <a:cubicBezTo>
                    <a:pt x="20" y="216"/>
                    <a:pt x="18" y="217"/>
                    <a:pt x="16" y="217"/>
                  </a:cubicBezTo>
                  <a:cubicBezTo>
                    <a:pt x="14" y="217"/>
                    <a:pt x="12" y="217"/>
                    <a:pt x="12" y="217"/>
                  </a:cubicBezTo>
                  <a:cubicBezTo>
                    <a:pt x="12" y="217"/>
                    <a:pt x="11" y="218"/>
                    <a:pt x="12" y="218"/>
                  </a:cubicBezTo>
                  <a:cubicBezTo>
                    <a:pt x="12" y="220"/>
                    <a:pt x="11" y="223"/>
                    <a:pt x="10" y="226"/>
                  </a:cubicBezTo>
                  <a:cubicBezTo>
                    <a:pt x="10" y="227"/>
                    <a:pt x="9" y="229"/>
                    <a:pt x="9" y="230"/>
                  </a:cubicBezTo>
                  <a:cubicBezTo>
                    <a:pt x="9" y="230"/>
                    <a:pt x="9" y="240"/>
                    <a:pt x="6" y="240"/>
                  </a:cubicBezTo>
                  <a:cubicBezTo>
                    <a:pt x="6" y="240"/>
                    <a:pt x="6" y="240"/>
                    <a:pt x="5" y="240"/>
                  </a:cubicBezTo>
                  <a:cubicBezTo>
                    <a:pt x="4" y="239"/>
                    <a:pt x="3" y="239"/>
                    <a:pt x="1" y="239"/>
                  </a:cubicBezTo>
                  <a:close/>
                  <a:moveTo>
                    <a:pt x="98" y="282"/>
                  </a:moveTo>
                  <a:cubicBezTo>
                    <a:pt x="98" y="281"/>
                    <a:pt x="98" y="281"/>
                    <a:pt x="98" y="281"/>
                  </a:cubicBezTo>
                  <a:cubicBezTo>
                    <a:pt x="99" y="281"/>
                    <a:pt x="101" y="278"/>
                    <a:pt x="104" y="274"/>
                  </a:cubicBezTo>
                  <a:cubicBezTo>
                    <a:pt x="108" y="270"/>
                    <a:pt x="109" y="266"/>
                    <a:pt x="109" y="264"/>
                  </a:cubicBezTo>
                  <a:cubicBezTo>
                    <a:pt x="109" y="263"/>
                    <a:pt x="109" y="263"/>
                    <a:pt x="108" y="263"/>
                  </a:cubicBezTo>
                  <a:cubicBezTo>
                    <a:pt x="108" y="262"/>
                    <a:pt x="108" y="262"/>
                    <a:pt x="108" y="262"/>
                  </a:cubicBezTo>
                  <a:cubicBezTo>
                    <a:pt x="109" y="262"/>
                    <a:pt x="110" y="263"/>
                    <a:pt x="110" y="264"/>
                  </a:cubicBezTo>
                  <a:cubicBezTo>
                    <a:pt x="110" y="268"/>
                    <a:pt x="106" y="273"/>
                    <a:pt x="105" y="275"/>
                  </a:cubicBezTo>
                  <a:cubicBezTo>
                    <a:pt x="105" y="276"/>
                    <a:pt x="100" y="282"/>
                    <a:pt x="98" y="28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3" name="Freeform 140"/>
            <p:cNvSpPr>
              <a:spLocks noEditPoints="1"/>
            </p:cNvSpPr>
            <p:nvPr/>
          </p:nvSpPr>
          <p:spPr>
            <a:xfrm>
              <a:off x="5316539" y="2112963"/>
              <a:ext cx="152400" cy="76200"/>
            </a:xfrm>
            <a:custGeom>
              <a:gdLst>
                <a:gd name="T0" fmla="*/ 79 w 90"/>
                <a:gd name="T1" fmla="*/ 45 h 45"/>
                <a:gd name="T2" fmla="*/ 65 w 90"/>
                <a:gd name="T3" fmla="*/ 44 h 45"/>
                <a:gd name="T4" fmla="*/ 51 w 90"/>
                <a:gd name="T5" fmla="*/ 36 h 45"/>
                <a:gd name="T6" fmla="*/ 47 w 90"/>
                <a:gd name="T7" fmla="*/ 35 h 45"/>
                <a:gd name="T8" fmla="*/ 34 w 90"/>
                <a:gd name="T9" fmla="*/ 35 h 45"/>
                <a:gd name="T10" fmla="*/ 35 w 90"/>
                <a:gd name="T11" fmla="*/ 34 h 45"/>
                <a:gd name="T12" fmla="*/ 37 w 90"/>
                <a:gd name="T13" fmla="*/ 30 h 45"/>
                <a:gd name="T14" fmla="*/ 23 w 90"/>
                <a:gd name="T15" fmla="*/ 24 h 45"/>
                <a:gd name="T16" fmla="*/ 20 w 90"/>
                <a:gd name="T17" fmla="*/ 15 h 45"/>
                <a:gd name="T18" fmla="*/ 23 w 90"/>
                <a:gd name="T19" fmla="*/ 9 h 45"/>
                <a:gd name="T20" fmla="*/ 47 w 90"/>
                <a:gd name="T21" fmla="*/ 2 h 45"/>
                <a:gd name="T22" fmla="*/ 59 w 90"/>
                <a:gd name="T23" fmla="*/ 0 h 45"/>
                <a:gd name="T24" fmla="*/ 81 w 90"/>
                <a:gd name="T25" fmla="*/ 3 h 45"/>
                <a:gd name="T26" fmla="*/ 87 w 90"/>
                <a:gd name="T27" fmla="*/ 2 h 45"/>
                <a:gd name="T28" fmla="*/ 88 w 90"/>
                <a:gd name="T29" fmla="*/ 2 h 45"/>
                <a:gd name="T30" fmla="*/ 85 w 90"/>
                <a:gd name="T31" fmla="*/ 12 h 45"/>
                <a:gd name="T32" fmla="*/ 80 w 90"/>
                <a:gd name="T33" fmla="*/ 19 h 45"/>
                <a:gd name="T34" fmla="*/ 81 w 90"/>
                <a:gd name="T35" fmla="*/ 27 h 45"/>
                <a:gd name="T36" fmla="*/ 84 w 90"/>
                <a:gd name="T37" fmla="*/ 35 h 45"/>
                <a:gd name="T38" fmla="*/ 82 w 90"/>
                <a:gd name="T39" fmla="*/ 39 h 45"/>
                <a:gd name="T40" fmla="*/ 80 w 90"/>
                <a:gd name="T41" fmla="*/ 44 h 45"/>
                <a:gd name="T42" fmla="*/ 67 w 90"/>
                <a:gd name="T43" fmla="*/ 43 h 45"/>
                <a:gd name="T44" fmla="*/ 79 w 90"/>
                <a:gd name="T45" fmla="*/ 40 h 45"/>
                <a:gd name="T46" fmla="*/ 84 w 90"/>
                <a:gd name="T47" fmla="*/ 37 h 45"/>
                <a:gd name="T48" fmla="*/ 83 w 90"/>
                <a:gd name="T49" fmla="*/ 35 h 45"/>
                <a:gd name="T50" fmla="*/ 79 w 90"/>
                <a:gd name="T51" fmla="*/ 24 h 45"/>
                <a:gd name="T52" fmla="*/ 81 w 90"/>
                <a:gd name="T53" fmla="*/ 16 h 45"/>
                <a:gd name="T54" fmla="*/ 86 w 90"/>
                <a:gd name="T55" fmla="*/ 8 h 45"/>
                <a:gd name="T56" fmla="*/ 84 w 90"/>
                <a:gd name="T57" fmla="*/ 4 h 45"/>
                <a:gd name="T58" fmla="*/ 71 w 90"/>
                <a:gd name="T59" fmla="*/ 3 h 45"/>
                <a:gd name="T60" fmla="*/ 57 w 90"/>
                <a:gd name="T61" fmla="*/ 1 h 45"/>
                <a:gd name="T62" fmla="*/ 30 w 90"/>
                <a:gd name="T63" fmla="*/ 7 h 45"/>
                <a:gd name="T64" fmla="*/ 20 w 90"/>
                <a:gd name="T65" fmla="*/ 13 h 45"/>
                <a:gd name="T66" fmla="*/ 23 w 90"/>
                <a:gd name="T67" fmla="*/ 19 h 45"/>
                <a:gd name="T68" fmla="*/ 32 w 90"/>
                <a:gd name="T69" fmla="*/ 28 h 45"/>
                <a:gd name="T70" fmla="*/ 37 w 90"/>
                <a:gd name="T71" fmla="*/ 30 h 45"/>
                <a:gd name="T72" fmla="*/ 47 w 90"/>
                <a:gd name="T73" fmla="*/ 34 h 45"/>
                <a:gd name="T74" fmla="*/ 52 w 90"/>
                <a:gd name="T75" fmla="*/ 35 h 45"/>
                <a:gd name="T76" fmla="*/ 65 w 90"/>
                <a:gd name="T77" fmla="*/ 43 h 45"/>
                <a:gd name="T78" fmla="*/ 2 w 90"/>
                <a:gd name="T79" fmla="*/ 35 h 45"/>
                <a:gd name="T80" fmla="*/ 8 w 90"/>
                <a:gd name="T81" fmla="*/ 22 h 45"/>
                <a:gd name="T82" fmla="*/ 18 w 90"/>
                <a:gd name="T83" fmla="*/ 25 h 45"/>
                <a:gd name="T84" fmla="*/ 13 w 90"/>
                <a:gd name="T85" fmla="*/ 22 h 45"/>
                <a:gd name="T86" fmla="*/ 1 w 90"/>
                <a:gd name="T87" fmla="*/ 33 h 45"/>
                <a:gd name="T88" fmla="*/ 2 w 90"/>
                <a:gd name="T89" fmla="*/ 35 h 45"/>
                <a:gd name="T90" fmla="*/ 17 w 90"/>
                <a:gd name="T91" fmla="*/ 25 h 45"/>
                <a:gd name="T92" fmla="*/ 13 w 90"/>
                <a:gd name="T93" fmla="*/ 22 h 45"/>
                <a:gd name="T94" fmla="*/ 10 w 90"/>
                <a:gd name="T95" fmla="*/ 19 h 45"/>
                <a:gd name="T96" fmla="*/ 4 w 90"/>
                <a:gd name="T97" fmla="*/ 16 h 45"/>
                <a:gd name="T98" fmla="*/ 15 w 90"/>
                <a:gd name="T99" fmla="*/ 15 h 45"/>
                <a:gd name="T100" fmla="*/ 10 w 90"/>
                <a:gd name="T101" fmla="*/ 19 h 45"/>
                <a:gd name="T102" fmla="*/ 5 w 90"/>
                <a:gd name="T103" fmla="*/ 16 h 45"/>
                <a:gd name="T104" fmla="*/ 10 w 90"/>
                <a:gd name="T105" fmla="*/ 18 h 45"/>
                <a:gd name="T106" fmla="*/ 14 w 90"/>
                <a:gd name="T107" fmla="*/ 15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45">
                  <a:moveTo>
                    <a:pt x="80" y="45"/>
                  </a:moveTo>
                  <a:cubicBezTo>
                    <a:pt x="79" y="45"/>
                    <a:pt x="79" y="45"/>
                    <a:pt x="79" y="45"/>
                  </a:cubicBezTo>
                  <a:cubicBezTo>
                    <a:pt x="74" y="44"/>
                    <a:pt x="69" y="44"/>
                    <a:pt x="67" y="44"/>
                  </a:cubicBezTo>
                  <a:cubicBezTo>
                    <a:pt x="66" y="44"/>
                    <a:pt x="66" y="44"/>
                    <a:pt x="65" y="44"/>
                  </a:cubicBezTo>
                  <a:cubicBezTo>
                    <a:pt x="65" y="44"/>
                    <a:pt x="65" y="44"/>
                    <a:pt x="65" y="44"/>
                  </a:cubicBezTo>
                  <a:cubicBezTo>
                    <a:pt x="62" y="44"/>
                    <a:pt x="56" y="39"/>
                    <a:pt x="51" y="36"/>
                  </a:cubicBezTo>
                  <a:cubicBezTo>
                    <a:pt x="50" y="35"/>
                    <a:pt x="50" y="35"/>
                    <a:pt x="50" y="35"/>
                  </a:cubicBezTo>
                  <a:cubicBezTo>
                    <a:pt x="50" y="35"/>
                    <a:pt x="50" y="35"/>
                    <a:pt x="47" y="35"/>
                  </a:cubicBezTo>
                  <a:cubicBezTo>
                    <a:pt x="43" y="35"/>
                    <a:pt x="38" y="35"/>
                    <a:pt x="35" y="35"/>
                  </a:cubicBezTo>
                  <a:cubicBezTo>
                    <a:pt x="34" y="35"/>
                    <a:pt x="34" y="35"/>
                    <a:pt x="34" y="35"/>
                  </a:cubicBezTo>
                  <a:cubicBezTo>
                    <a:pt x="35" y="35"/>
                    <a:pt x="35" y="35"/>
                    <a:pt x="35" y="35"/>
                  </a:cubicBezTo>
                  <a:cubicBezTo>
                    <a:pt x="35" y="34"/>
                    <a:pt x="35" y="34"/>
                    <a:pt x="35" y="34"/>
                  </a:cubicBezTo>
                  <a:cubicBezTo>
                    <a:pt x="35" y="34"/>
                    <a:pt x="35" y="34"/>
                    <a:pt x="35" y="34"/>
                  </a:cubicBezTo>
                  <a:cubicBezTo>
                    <a:pt x="36" y="33"/>
                    <a:pt x="37" y="31"/>
                    <a:pt x="37" y="30"/>
                  </a:cubicBezTo>
                  <a:cubicBezTo>
                    <a:pt x="36" y="29"/>
                    <a:pt x="34" y="29"/>
                    <a:pt x="32" y="29"/>
                  </a:cubicBezTo>
                  <a:cubicBezTo>
                    <a:pt x="28" y="30"/>
                    <a:pt x="26" y="28"/>
                    <a:pt x="23" y="24"/>
                  </a:cubicBezTo>
                  <a:cubicBezTo>
                    <a:pt x="22" y="22"/>
                    <a:pt x="22" y="21"/>
                    <a:pt x="22" y="19"/>
                  </a:cubicBezTo>
                  <a:cubicBezTo>
                    <a:pt x="22" y="18"/>
                    <a:pt x="22" y="17"/>
                    <a:pt x="20" y="15"/>
                  </a:cubicBezTo>
                  <a:cubicBezTo>
                    <a:pt x="19" y="14"/>
                    <a:pt x="19" y="14"/>
                    <a:pt x="19" y="13"/>
                  </a:cubicBezTo>
                  <a:cubicBezTo>
                    <a:pt x="19" y="11"/>
                    <a:pt x="21" y="10"/>
                    <a:pt x="23" y="9"/>
                  </a:cubicBezTo>
                  <a:cubicBezTo>
                    <a:pt x="25" y="8"/>
                    <a:pt x="28" y="7"/>
                    <a:pt x="29" y="6"/>
                  </a:cubicBezTo>
                  <a:cubicBezTo>
                    <a:pt x="32" y="3"/>
                    <a:pt x="40" y="2"/>
                    <a:pt x="47" y="2"/>
                  </a:cubicBezTo>
                  <a:cubicBezTo>
                    <a:pt x="51" y="1"/>
                    <a:pt x="54" y="1"/>
                    <a:pt x="56" y="0"/>
                  </a:cubicBezTo>
                  <a:cubicBezTo>
                    <a:pt x="57" y="0"/>
                    <a:pt x="58" y="0"/>
                    <a:pt x="59" y="0"/>
                  </a:cubicBezTo>
                  <a:cubicBezTo>
                    <a:pt x="63" y="0"/>
                    <a:pt x="67" y="1"/>
                    <a:pt x="71" y="2"/>
                  </a:cubicBezTo>
                  <a:cubicBezTo>
                    <a:pt x="75" y="3"/>
                    <a:pt x="78" y="3"/>
                    <a:pt x="81" y="3"/>
                  </a:cubicBezTo>
                  <a:cubicBezTo>
                    <a:pt x="82" y="3"/>
                    <a:pt x="83" y="3"/>
                    <a:pt x="84" y="3"/>
                  </a:cubicBezTo>
                  <a:cubicBezTo>
                    <a:pt x="85" y="3"/>
                    <a:pt x="86" y="2"/>
                    <a:pt x="87" y="2"/>
                  </a:cubicBezTo>
                  <a:cubicBezTo>
                    <a:pt x="87" y="1"/>
                    <a:pt x="87" y="1"/>
                    <a:pt x="87" y="1"/>
                  </a:cubicBezTo>
                  <a:cubicBezTo>
                    <a:pt x="88" y="2"/>
                    <a:pt x="88" y="2"/>
                    <a:pt x="88" y="2"/>
                  </a:cubicBezTo>
                  <a:cubicBezTo>
                    <a:pt x="90" y="6"/>
                    <a:pt x="89" y="7"/>
                    <a:pt x="87" y="9"/>
                  </a:cubicBezTo>
                  <a:cubicBezTo>
                    <a:pt x="86" y="10"/>
                    <a:pt x="85" y="11"/>
                    <a:pt x="85" y="12"/>
                  </a:cubicBezTo>
                  <a:cubicBezTo>
                    <a:pt x="84" y="14"/>
                    <a:pt x="82" y="15"/>
                    <a:pt x="82" y="16"/>
                  </a:cubicBezTo>
                  <a:cubicBezTo>
                    <a:pt x="81" y="17"/>
                    <a:pt x="80" y="18"/>
                    <a:pt x="80" y="19"/>
                  </a:cubicBezTo>
                  <a:cubicBezTo>
                    <a:pt x="80" y="21"/>
                    <a:pt x="80" y="22"/>
                    <a:pt x="80" y="23"/>
                  </a:cubicBezTo>
                  <a:cubicBezTo>
                    <a:pt x="80" y="25"/>
                    <a:pt x="81" y="26"/>
                    <a:pt x="81" y="27"/>
                  </a:cubicBezTo>
                  <a:cubicBezTo>
                    <a:pt x="81" y="31"/>
                    <a:pt x="82" y="32"/>
                    <a:pt x="83" y="34"/>
                  </a:cubicBezTo>
                  <a:cubicBezTo>
                    <a:pt x="84" y="35"/>
                    <a:pt x="84" y="35"/>
                    <a:pt x="84" y="35"/>
                  </a:cubicBezTo>
                  <a:cubicBezTo>
                    <a:pt x="85" y="36"/>
                    <a:pt x="85" y="37"/>
                    <a:pt x="85" y="37"/>
                  </a:cubicBezTo>
                  <a:cubicBezTo>
                    <a:pt x="84" y="38"/>
                    <a:pt x="83" y="39"/>
                    <a:pt x="82" y="39"/>
                  </a:cubicBezTo>
                  <a:cubicBezTo>
                    <a:pt x="81" y="40"/>
                    <a:pt x="81" y="40"/>
                    <a:pt x="80" y="41"/>
                  </a:cubicBezTo>
                  <a:cubicBezTo>
                    <a:pt x="79" y="41"/>
                    <a:pt x="79" y="43"/>
                    <a:pt x="80" y="44"/>
                  </a:cubicBezTo>
                  <a:lnTo>
                    <a:pt x="80" y="45"/>
                  </a:lnTo>
                  <a:close/>
                  <a:moveTo>
                    <a:pt x="67" y="43"/>
                  </a:moveTo>
                  <a:cubicBezTo>
                    <a:pt x="70" y="43"/>
                    <a:pt x="75" y="43"/>
                    <a:pt x="78" y="44"/>
                  </a:cubicBezTo>
                  <a:cubicBezTo>
                    <a:pt x="78" y="42"/>
                    <a:pt x="78" y="41"/>
                    <a:pt x="79" y="40"/>
                  </a:cubicBezTo>
                  <a:cubicBezTo>
                    <a:pt x="80" y="39"/>
                    <a:pt x="81" y="39"/>
                    <a:pt x="82" y="39"/>
                  </a:cubicBezTo>
                  <a:cubicBezTo>
                    <a:pt x="83" y="38"/>
                    <a:pt x="83" y="38"/>
                    <a:pt x="84" y="37"/>
                  </a:cubicBezTo>
                  <a:cubicBezTo>
                    <a:pt x="84" y="37"/>
                    <a:pt x="84" y="36"/>
                    <a:pt x="83" y="36"/>
                  </a:cubicBezTo>
                  <a:cubicBezTo>
                    <a:pt x="83" y="35"/>
                    <a:pt x="83" y="35"/>
                    <a:pt x="83" y="35"/>
                  </a:cubicBezTo>
                  <a:cubicBezTo>
                    <a:pt x="81" y="32"/>
                    <a:pt x="80" y="31"/>
                    <a:pt x="80" y="28"/>
                  </a:cubicBezTo>
                  <a:cubicBezTo>
                    <a:pt x="80" y="26"/>
                    <a:pt x="79" y="25"/>
                    <a:pt x="79" y="24"/>
                  </a:cubicBezTo>
                  <a:cubicBezTo>
                    <a:pt x="79" y="22"/>
                    <a:pt x="79" y="21"/>
                    <a:pt x="79" y="19"/>
                  </a:cubicBezTo>
                  <a:cubicBezTo>
                    <a:pt x="79" y="18"/>
                    <a:pt x="80" y="17"/>
                    <a:pt x="81" y="16"/>
                  </a:cubicBezTo>
                  <a:cubicBezTo>
                    <a:pt x="82" y="15"/>
                    <a:pt x="83" y="14"/>
                    <a:pt x="84" y="12"/>
                  </a:cubicBezTo>
                  <a:cubicBezTo>
                    <a:pt x="84" y="10"/>
                    <a:pt x="85" y="9"/>
                    <a:pt x="86" y="8"/>
                  </a:cubicBezTo>
                  <a:cubicBezTo>
                    <a:pt x="88" y="7"/>
                    <a:pt x="89" y="6"/>
                    <a:pt x="87" y="3"/>
                  </a:cubicBezTo>
                  <a:cubicBezTo>
                    <a:pt x="86" y="3"/>
                    <a:pt x="85" y="4"/>
                    <a:pt x="84" y="4"/>
                  </a:cubicBezTo>
                  <a:cubicBezTo>
                    <a:pt x="83" y="4"/>
                    <a:pt x="82" y="4"/>
                    <a:pt x="81" y="4"/>
                  </a:cubicBezTo>
                  <a:cubicBezTo>
                    <a:pt x="78" y="4"/>
                    <a:pt x="75" y="4"/>
                    <a:pt x="71" y="3"/>
                  </a:cubicBezTo>
                  <a:cubicBezTo>
                    <a:pt x="67" y="2"/>
                    <a:pt x="63" y="1"/>
                    <a:pt x="59" y="1"/>
                  </a:cubicBezTo>
                  <a:cubicBezTo>
                    <a:pt x="58" y="1"/>
                    <a:pt x="57" y="1"/>
                    <a:pt x="57" y="1"/>
                  </a:cubicBezTo>
                  <a:cubicBezTo>
                    <a:pt x="54" y="2"/>
                    <a:pt x="51" y="2"/>
                    <a:pt x="48" y="3"/>
                  </a:cubicBezTo>
                  <a:cubicBezTo>
                    <a:pt x="40" y="3"/>
                    <a:pt x="32" y="4"/>
                    <a:pt x="30" y="7"/>
                  </a:cubicBezTo>
                  <a:cubicBezTo>
                    <a:pt x="28" y="8"/>
                    <a:pt x="26" y="9"/>
                    <a:pt x="24" y="10"/>
                  </a:cubicBezTo>
                  <a:cubicBezTo>
                    <a:pt x="22" y="11"/>
                    <a:pt x="20" y="12"/>
                    <a:pt x="20" y="13"/>
                  </a:cubicBezTo>
                  <a:cubicBezTo>
                    <a:pt x="20" y="13"/>
                    <a:pt x="20" y="14"/>
                    <a:pt x="21" y="14"/>
                  </a:cubicBezTo>
                  <a:cubicBezTo>
                    <a:pt x="23" y="16"/>
                    <a:pt x="23" y="18"/>
                    <a:pt x="23" y="19"/>
                  </a:cubicBezTo>
                  <a:cubicBezTo>
                    <a:pt x="23" y="21"/>
                    <a:pt x="23" y="22"/>
                    <a:pt x="24" y="24"/>
                  </a:cubicBezTo>
                  <a:cubicBezTo>
                    <a:pt x="27" y="28"/>
                    <a:pt x="28" y="29"/>
                    <a:pt x="32" y="28"/>
                  </a:cubicBezTo>
                  <a:cubicBezTo>
                    <a:pt x="33" y="28"/>
                    <a:pt x="33" y="28"/>
                    <a:pt x="34" y="28"/>
                  </a:cubicBezTo>
                  <a:cubicBezTo>
                    <a:pt x="36" y="28"/>
                    <a:pt x="37" y="29"/>
                    <a:pt x="37" y="30"/>
                  </a:cubicBezTo>
                  <a:cubicBezTo>
                    <a:pt x="38" y="31"/>
                    <a:pt x="38" y="32"/>
                    <a:pt x="36" y="34"/>
                  </a:cubicBezTo>
                  <a:cubicBezTo>
                    <a:pt x="39" y="34"/>
                    <a:pt x="44" y="34"/>
                    <a:pt x="47" y="34"/>
                  </a:cubicBezTo>
                  <a:cubicBezTo>
                    <a:pt x="50" y="34"/>
                    <a:pt x="51" y="34"/>
                    <a:pt x="51" y="34"/>
                  </a:cubicBezTo>
                  <a:cubicBezTo>
                    <a:pt x="52" y="35"/>
                    <a:pt x="52" y="35"/>
                    <a:pt x="52" y="35"/>
                  </a:cubicBezTo>
                  <a:cubicBezTo>
                    <a:pt x="59" y="40"/>
                    <a:pt x="63" y="43"/>
                    <a:pt x="65" y="43"/>
                  </a:cubicBezTo>
                  <a:cubicBezTo>
                    <a:pt x="65" y="43"/>
                    <a:pt x="65" y="43"/>
                    <a:pt x="65" y="43"/>
                  </a:cubicBezTo>
                  <a:cubicBezTo>
                    <a:pt x="65" y="43"/>
                    <a:pt x="66" y="43"/>
                    <a:pt x="67" y="43"/>
                  </a:cubicBezTo>
                  <a:close/>
                  <a:moveTo>
                    <a:pt x="2" y="35"/>
                  </a:moveTo>
                  <a:cubicBezTo>
                    <a:pt x="1" y="35"/>
                    <a:pt x="0" y="34"/>
                    <a:pt x="0" y="33"/>
                  </a:cubicBezTo>
                  <a:cubicBezTo>
                    <a:pt x="0" y="29"/>
                    <a:pt x="2" y="23"/>
                    <a:pt x="8" y="22"/>
                  </a:cubicBezTo>
                  <a:cubicBezTo>
                    <a:pt x="13" y="20"/>
                    <a:pt x="17" y="21"/>
                    <a:pt x="18" y="23"/>
                  </a:cubicBezTo>
                  <a:cubicBezTo>
                    <a:pt x="19" y="23"/>
                    <a:pt x="19" y="24"/>
                    <a:pt x="18" y="25"/>
                  </a:cubicBezTo>
                  <a:cubicBezTo>
                    <a:pt x="16" y="27"/>
                    <a:pt x="6" y="35"/>
                    <a:pt x="2" y="35"/>
                  </a:cubicBezTo>
                  <a:close/>
                  <a:moveTo>
                    <a:pt x="13" y="22"/>
                  </a:moveTo>
                  <a:cubicBezTo>
                    <a:pt x="12" y="22"/>
                    <a:pt x="10" y="22"/>
                    <a:pt x="8" y="23"/>
                  </a:cubicBezTo>
                  <a:cubicBezTo>
                    <a:pt x="3" y="24"/>
                    <a:pt x="1" y="30"/>
                    <a:pt x="1" y="33"/>
                  </a:cubicBezTo>
                  <a:cubicBezTo>
                    <a:pt x="1" y="33"/>
                    <a:pt x="1" y="34"/>
                    <a:pt x="2" y="34"/>
                  </a:cubicBezTo>
                  <a:cubicBezTo>
                    <a:pt x="2" y="35"/>
                    <a:pt x="2" y="35"/>
                    <a:pt x="2" y="35"/>
                  </a:cubicBezTo>
                  <a:cubicBezTo>
                    <a:pt x="2" y="34"/>
                    <a:pt x="2" y="34"/>
                    <a:pt x="2" y="34"/>
                  </a:cubicBezTo>
                  <a:cubicBezTo>
                    <a:pt x="6" y="34"/>
                    <a:pt x="15" y="27"/>
                    <a:pt x="17" y="25"/>
                  </a:cubicBezTo>
                  <a:cubicBezTo>
                    <a:pt x="17" y="24"/>
                    <a:pt x="18" y="24"/>
                    <a:pt x="17" y="23"/>
                  </a:cubicBezTo>
                  <a:cubicBezTo>
                    <a:pt x="17" y="23"/>
                    <a:pt x="16" y="22"/>
                    <a:pt x="13" y="22"/>
                  </a:cubicBezTo>
                  <a:close/>
                  <a:moveTo>
                    <a:pt x="10" y="19"/>
                  </a:moveTo>
                  <a:cubicBezTo>
                    <a:pt x="10" y="19"/>
                    <a:pt x="10" y="19"/>
                    <a:pt x="10" y="19"/>
                  </a:cubicBezTo>
                  <a:cubicBezTo>
                    <a:pt x="8" y="19"/>
                    <a:pt x="6" y="18"/>
                    <a:pt x="5" y="17"/>
                  </a:cubicBezTo>
                  <a:cubicBezTo>
                    <a:pt x="4" y="17"/>
                    <a:pt x="4" y="16"/>
                    <a:pt x="4" y="16"/>
                  </a:cubicBezTo>
                  <a:cubicBezTo>
                    <a:pt x="5" y="14"/>
                    <a:pt x="9" y="14"/>
                    <a:pt x="11" y="14"/>
                  </a:cubicBezTo>
                  <a:cubicBezTo>
                    <a:pt x="12" y="14"/>
                    <a:pt x="14" y="14"/>
                    <a:pt x="15" y="15"/>
                  </a:cubicBezTo>
                  <a:cubicBezTo>
                    <a:pt x="15" y="16"/>
                    <a:pt x="15" y="16"/>
                    <a:pt x="15" y="16"/>
                  </a:cubicBezTo>
                  <a:cubicBezTo>
                    <a:pt x="14" y="18"/>
                    <a:pt x="12" y="19"/>
                    <a:pt x="10" y="19"/>
                  </a:cubicBezTo>
                  <a:close/>
                  <a:moveTo>
                    <a:pt x="11" y="15"/>
                  </a:moveTo>
                  <a:cubicBezTo>
                    <a:pt x="8" y="15"/>
                    <a:pt x="6" y="15"/>
                    <a:pt x="5" y="16"/>
                  </a:cubicBezTo>
                  <a:cubicBezTo>
                    <a:pt x="5" y="16"/>
                    <a:pt x="5" y="16"/>
                    <a:pt x="6" y="17"/>
                  </a:cubicBezTo>
                  <a:cubicBezTo>
                    <a:pt x="7" y="17"/>
                    <a:pt x="8" y="18"/>
                    <a:pt x="10" y="18"/>
                  </a:cubicBezTo>
                  <a:cubicBezTo>
                    <a:pt x="12" y="18"/>
                    <a:pt x="13" y="17"/>
                    <a:pt x="14" y="16"/>
                  </a:cubicBezTo>
                  <a:cubicBezTo>
                    <a:pt x="14" y="15"/>
                    <a:pt x="14" y="15"/>
                    <a:pt x="14" y="15"/>
                  </a:cubicBezTo>
                  <a:cubicBezTo>
                    <a:pt x="14" y="15"/>
                    <a:pt x="13" y="15"/>
                    <a:pt x="11"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4" name="Freeform 141"/>
            <p:cNvSpPr>
              <a:spLocks noEditPoints="1"/>
            </p:cNvSpPr>
            <p:nvPr/>
          </p:nvSpPr>
          <p:spPr>
            <a:xfrm>
              <a:off x="5600701" y="3684588"/>
              <a:ext cx="201613" cy="242888"/>
            </a:xfrm>
            <a:custGeom>
              <a:gdLst>
                <a:gd name="T0" fmla="*/ 79 w 119"/>
                <a:gd name="T1" fmla="*/ 143 h 143"/>
                <a:gd name="T2" fmla="*/ 54 w 119"/>
                <a:gd name="T3" fmla="*/ 126 h 143"/>
                <a:gd name="T4" fmla="*/ 55 w 119"/>
                <a:gd name="T5" fmla="*/ 117 h 143"/>
                <a:gd name="T6" fmla="*/ 0 w 119"/>
                <a:gd name="T7" fmla="*/ 87 h 143"/>
                <a:gd name="T8" fmla="*/ 7 w 119"/>
                <a:gd name="T9" fmla="*/ 79 h 143"/>
                <a:gd name="T10" fmla="*/ 1 w 119"/>
                <a:gd name="T11" fmla="*/ 72 h 143"/>
                <a:gd name="T12" fmla="*/ 1 w 119"/>
                <a:gd name="T13" fmla="*/ 71 h 143"/>
                <a:gd name="T14" fmla="*/ 15 w 119"/>
                <a:gd name="T15" fmla="*/ 45 h 143"/>
                <a:gd name="T16" fmla="*/ 10 w 119"/>
                <a:gd name="T17" fmla="*/ 28 h 143"/>
                <a:gd name="T18" fmla="*/ 1 w 119"/>
                <a:gd name="T19" fmla="*/ 11 h 143"/>
                <a:gd name="T20" fmla="*/ 3 w 119"/>
                <a:gd name="T21" fmla="*/ 9 h 143"/>
                <a:gd name="T22" fmla="*/ 25 w 119"/>
                <a:gd name="T23" fmla="*/ 2 h 143"/>
                <a:gd name="T24" fmla="*/ 33 w 119"/>
                <a:gd name="T25" fmla="*/ 6 h 143"/>
                <a:gd name="T26" fmla="*/ 48 w 119"/>
                <a:gd name="T27" fmla="*/ 9 h 143"/>
                <a:gd name="T28" fmla="*/ 81 w 119"/>
                <a:gd name="T29" fmla="*/ 21 h 143"/>
                <a:gd name="T30" fmla="*/ 85 w 119"/>
                <a:gd name="T31" fmla="*/ 19 h 143"/>
                <a:gd name="T32" fmla="*/ 101 w 119"/>
                <a:gd name="T33" fmla="*/ 10 h 143"/>
                <a:gd name="T34" fmla="*/ 109 w 119"/>
                <a:gd name="T35" fmla="*/ 14 h 143"/>
                <a:gd name="T36" fmla="*/ 118 w 119"/>
                <a:gd name="T37" fmla="*/ 12 h 143"/>
                <a:gd name="T38" fmla="*/ 111 w 119"/>
                <a:gd name="T39" fmla="*/ 23 h 143"/>
                <a:gd name="T40" fmla="*/ 105 w 119"/>
                <a:gd name="T41" fmla="*/ 85 h 143"/>
                <a:gd name="T42" fmla="*/ 112 w 119"/>
                <a:gd name="T43" fmla="*/ 97 h 143"/>
                <a:gd name="T44" fmla="*/ 106 w 119"/>
                <a:gd name="T45" fmla="*/ 103 h 143"/>
                <a:gd name="T46" fmla="*/ 106 w 119"/>
                <a:gd name="T47" fmla="*/ 103 h 143"/>
                <a:gd name="T48" fmla="*/ 99 w 119"/>
                <a:gd name="T49" fmla="*/ 107 h 143"/>
                <a:gd name="T50" fmla="*/ 80 w 119"/>
                <a:gd name="T51" fmla="*/ 143 h 143"/>
                <a:gd name="T52" fmla="*/ 79 w 119"/>
                <a:gd name="T53" fmla="*/ 142 h 143"/>
                <a:gd name="T54" fmla="*/ 99 w 119"/>
                <a:gd name="T55" fmla="*/ 106 h 143"/>
                <a:gd name="T56" fmla="*/ 106 w 119"/>
                <a:gd name="T57" fmla="*/ 102 h 143"/>
                <a:gd name="T58" fmla="*/ 110 w 119"/>
                <a:gd name="T59" fmla="*/ 98 h 143"/>
                <a:gd name="T60" fmla="*/ 104 w 119"/>
                <a:gd name="T61" fmla="*/ 85 h 143"/>
                <a:gd name="T62" fmla="*/ 104 w 119"/>
                <a:gd name="T63" fmla="*/ 33 h 143"/>
                <a:gd name="T64" fmla="*/ 110 w 119"/>
                <a:gd name="T65" fmla="*/ 22 h 143"/>
                <a:gd name="T66" fmla="*/ 111 w 119"/>
                <a:gd name="T67" fmla="*/ 15 h 143"/>
                <a:gd name="T68" fmla="*/ 103 w 119"/>
                <a:gd name="T69" fmla="*/ 12 h 143"/>
                <a:gd name="T70" fmla="*/ 91 w 119"/>
                <a:gd name="T71" fmla="*/ 15 h 143"/>
                <a:gd name="T72" fmla="*/ 82 w 119"/>
                <a:gd name="T73" fmla="*/ 23 h 143"/>
                <a:gd name="T74" fmla="*/ 64 w 119"/>
                <a:gd name="T75" fmla="*/ 20 h 143"/>
                <a:gd name="T76" fmla="*/ 38 w 119"/>
                <a:gd name="T77" fmla="*/ 8 h 143"/>
                <a:gd name="T78" fmla="*/ 29 w 119"/>
                <a:gd name="T79" fmla="*/ 6 h 143"/>
                <a:gd name="T80" fmla="*/ 16 w 119"/>
                <a:gd name="T81" fmla="*/ 2 h 143"/>
                <a:gd name="T82" fmla="*/ 3 w 119"/>
                <a:gd name="T83" fmla="*/ 11 h 143"/>
                <a:gd name="T84" fmla="*/ 9 w 119"/>
                <a:gd name="T85" fmla="*/ 17 h 143"/>
                <a:gd name="T86" fmla="*/ 17 w 119"/>
                <a:gd name="T87" fmla="*/ 33 h 143"/>
                <a:gd name="T88" fmla="*/ 16 w 119"/>
                <a:gd name="T89" fmla="*/ 45 h 143"/>
                <a:gd name="T90" fmla="*/ 2 w 119"/>
                <a:gd name="T91" fmla="*/ 71 h 143"/>
                <a:gd name="T92" fmla="*/ 7 w 119"/>
                <a:gd name="T93" fmla="*/ 80 h 143"/>
                <a:gd name="T94" fmla="*/ 1 w 119"/>
                <a:gd name="T95" fmla="*/ 87 h 143"/>
                <a:gd name="T96" fmla="*/ 56 w 119"/>
                <a:gd name="T97" fmla="*/ 116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 h="143">
                  <a:moveTo>
                    <a:pt x="80" y="143"/>
                  </a:moveTo>
                  <a:cubicBezTo>
                    <a:pt x="79" y="143"/>
                    <a:pt x="79" y="143"/>
                    <a:pt x="79" y="143"/>
                  </a:cubicBezTo>
                  <a:cubicBezTo>
                    <a:pt x="67" y="135"/>
                    <a:pt x="55" y="126"/>
                    <a:pt x="55" y="126"/>
                  </a:cubicBezTo>
                  <a:cubicBezTo>
                    <a:pt x="54" y="126"/>
                    <a:pt x="54" y="126"/>
                    <a:pt x="54" y="126"/>
                  </a:cubicBezTo>
                  <a:cubicBezTo>
                    <a:pt x="54" y="125"/>
                    <a:pt x="54" y="125"/>
                    <a:pt x="54" y="125"/>
                  </a:cubicBezTo>
                  <a:cubicBezTo>
                    <a:pt x="55" y="117"/>
                    <a:pt x="55" y="117"/>
                    <a:pt x="55" y="117"/>
                  </a:cubicBezTo>
                  <a:cubicBezTo>
                    <a:pt x="0" y="88"/>
                    <a:pt x="0" y="88"/>
                    <a:pt x="0" y="88"/>
                  </a:cubicBezTo>
                  <a:cubicBezTo>
                    <a:pt x="0" y="87"/>
                    <a:pt x="0" y="87"/>
                    <a:pt x="0" y="87"/>
                  </a:cubicBezTo>
                  <a:cubicBezTo>
                    <a:pt x="0" y="86"/>
                    <a:pt x="0" y="86"/>
                    <a:pt x="0" y="86"/>
                  </a:cubicBezTo>
                  <a:cubicBezTo>
                    <a:pt x="0" y="81"/>
                    <a:pt x="4" y="80"/>
                    <a:pt x="7" y="79"/>
                  </a:cubicBezTo>
                  <a:cubicBezTo>
                    <a:pt x="9" y="78"/>
                    <a:pt x="10" y="77"/>
                    <a:pt x="11" y="76"/>
                  </a:cubicBezTo>
                  <a:cubicBezTo>
                    <a:pt x="11" y="75"/>
                    <a:pt x="7" y="73"/>
                    <a:pt x="1" y="72"/>
                  </a:cubicBezTo>
                  <a:cubicBezTo>
                    <a:pt x="1" y="71"/>
                    <a:pt x="1" y="71"/>
                    <a:pt x="1" y="71"/>
                  </a:cubicBezTo>
                  <a:cubicBezTo>
                    <a:pt x="1" y="71"/>
                    <a:pt x="1" y="71"/>
                    <a:pt x="1" y="71"/>
                  </a:cubicBezTo>
                  <a:cubicBezTo>
                    <a:pt x="3" y="66"/>
                    <a:pt x="4" y="63"/>
                    <a:pt x="5" y="62"/>
                  </a:cubicBezTo>
                  <a:cubicBezTo>
                    <a:pt x="9" y="58"/>
                    <a:pt x="14" y="51"/>
                    <a:pt x="15" y="45"/>
                  </a:cubicBezTo>
                  <a:cubicBezTo>
                    <a:pt x="16" y="40"/>
                    <a:pt x="16" y="34"/>
                    <a:pt x="16" y="33"/>
                  </a:cubicBezTo>
                  <a:cubicBezTo>
                    <a:pt x="10" y="28"/>
                    <a:pt x="10" y="28"/>
                    <a:pt x="10" y="28"/>
                  </a:cubicBezTo>
                  <a:cubicBezTo>
                    <a:pt x="8" y="18"/>
                    <a:pt x="8" y="18"/>
                    <a:pt x="8" y="18"/>
                  </a:cubicBezTo>
                  <a:cubicBezTo>
                    <a:pt x="1" y="11"/>
                    <a:pt x="1" y="11"/>
                    <a:pt x="1" y="11"/>
                  </a:cubicBezTo>
                  <a:cubicBezTo>
                    <a:pt x="2" y="11"/>
                    <a:pt x="2" y="11"/>
                    <a:pt x="2" y="11"/>
                  </a:cubicBezTo>
                  <a:cubicBezTo>
                    <a:pt x="2" y="10"/>
                    <a:pt x="3" y="10"/>
                    <a:pt x="3" y="9"/>
                  </a:cubicBezTo>
                  <a:cubicBezTo>
                    <a:pt x="4" y="6"/>
                    <a:pt x="12" y="1"/>
                    <a:pt x="15" y="1"/>
                  </a:cubicBezTo>
                  <a:cubicBezTo>
                    <a:pt x="20" y="0"/>
                    <a:pt x="23" y="0"/>
                    <a:pt x="25" y="2"/>
                  </a:cubicBezTo>
                  <a:cubicBezTo>
                    <a:pt x="26" y="3"/>
                    <a:pt x="28" y="4"/>
                    <a:pt x="30" y="5"/>
                  </a:cubicBezTo>
                  <a:cubicBezTo>
                    <a:pt x="31" y="5"/>
                    <a:pt x="32" y="6"/>
                    <a:pt x="33" y="6"/>
                  </a:cubicBezTo>
                  <a:cubicBezTo>
                    <a:pt x="34" y="6"/>
                    <a:pt x="36" y="7"/>
                    <a:pt x="38" y="7"/>
                  </a:cubicBezTo>
                  <a:cubicBezTo>
                    <a:pt x="42" y="7"/>
                    <a:pt x="46" y="7"/>
                    <a:pt x="48" y="9"/>
                  </a:cubicBezTo>
                  <a:cubicBezTo>
                    <a:pt x="51" y="12"/>
                    <a:pt x="61" y="19"/>
                    <a:pt x="64" y="19"/>
                  </a:cubicBezTo>
                  <a:cubicBezTo>
                    <a:pt x="67" y="19"/>
                    <a:pt x="79" y="20"/>
                    <a:pt x="81" y="21"/>
                  </a:cubicBezTo>
                  <a:cubicBezTo>
                    <a:pt x="81" y="22"/>
                    <a:pt x="82" y="22"/>
                    <a:pt x="82" y="22"/>
                  </a:cubicBezTo>
                  <a:cubicBezTo>
                    <a:pt x="82" y="22"/>
                    <a:pt x="83" y="20"/>
                    <a:pt x="85" y="19"/>
                  </a:cubicBezTo>
                  <a:cubicBezTo>
                    <a:pt x="86" y="17"/>
                    <a:pt x="88" y="15"/>
                    <a:pt x="90" y="14"/>
                  </a:cubicBezTo>
                  <a:cubicBezTo>
                    <a:pt x="94" y="12"/>
                    <a:pt x="99" y="10"/>
                    <a:pt x="101" y="10"/>
                  </a:cubicBezTo>
                  <a:cubicBezTo>
                    <a:pt x="103" y="10"/>
                    <a:pt x="104" y="11"/>
                    <a:pt x="104" y="11"/>
                  </a:cubicBezTo>
                  <a:cubicBezTo>
                    <a:pt x="104" y="13"/>
                    <a:pt x="107" y="14"/>
                    <a:pt x="109" y="14"/>
                  </a:cubicBezTo>
                  <a:cubicBezTo>
                    <a:pt x="110" y="14"/>
                    <a:pt x="110" y="14"/>
                    <a:pt x="110" y="14"/>
                  </a:cubicBezTo>
                  <a:cubicBezTo>
                    <a:pt x="112" y="13"/>
                    <a:pt x="115" y="12"/>
                    <a:pt x="118" y="12"/>
                  </a:cubicBezTo>
                  <a:cubicBezTo>
                    <a:pt x="119" y="12"/>
                    <a:pt x="119" y="12"/>
                    <a:pt x="119" y="12"/>
                  </a:cubicBezTo>
                  <a:cubicBezTo>
                    <a:pt x="111" y="23"/>
                    <a:pt x="111" y="23"/>
                    <a:pt x="111" y="23"/>
                  </a:cubicBezTo>
                  <a:cubicBezTo>
                    <a:pt x="105" y="33"/>
                    <a:pt x="105" y="33"/>
                    <a:pt x="105" y="33"/>
                  </a:cubicBezTo>
                  <a:cubicBezTo>
                    <a:pt x="105" y="85"/>
                    <a:pt x="105" y="85"/>
                    <a:pt x="105" y="85"/>
                  </a:cubicBezTo>
                  <a:cubicBezTo>
                    <a:pt x="113" y="97"/>
                    <a:pt x="113" y="97"/>
                    <a:pt x="113" y="97"/>
                  </a:cubicBezTo>
                  <a:cubicBezTo>
                    <a:pt x="112" y="97"/>
                    <a:pt x="112" y="97"/>
                    <a:pt x="112" y="97"/>
                  </a:cubicBezTo>
                  <a:cubicBezTo>
                    <a:pt x="112" y="97"/>
                    <a:pt x="112" y="98"/>
                    <a:pt x="111" y="99"/>
                  </a:cubicBezTo>
                  <a:cubicBezTo>
                    <a:pt x="109" y="102"/>
                    <a:pt x="108" y="103"/>
                    <a:pt x="106" y="103"/>
                  </a:cubicBezTo>
                  <a:cubicBezTo>
                    <a:pt x="106" y="103"/>
                    <a:pt x="106" y="103"/>
                    <a:pt x="106" y="103"/>
                  </a:cubicBezTo>
                  <a:cubicBezTo>
                    <a:pt x="106" y="103"/>
                    <a:pt x="106" y="103"/>
                    <a:pt x="106" y="103"/>
                  </a:cubicBezTo>
                  <a:cubicBezTo>
                    <a:pt x="105" y="103"/>
                    <a:pt x="104" y="102"/>
                    <a:pt x="103" y="104"/>
                  </a:cubicBezTo>
                  <a:cubicBezTo>
                    <a:pt x="102" y="105"/>
                    <a:pt x="100" y="106"/>
                    <a:pt x="99" y="107"/>
                  </a:cubicBezTo>
                  <a:cubicBezTo>
                    <a:pt x="97" y="108"/>
                    <a:pt x="96" y="109"/>
                    <a:pt x="94" y="111"/>
                  </a:cubicBezTo>
                  <a:cubicBezTo>
                    <a:pt x="92" y="114"/>
                    <a:pt x="85" y="129"/>
                    <a:pt x="80" y="143"/>
                  </a:cubicBezTo>
                  <a:close/>
                  <a:moveTo>
                    <a:pt x="55" y="125"/>
                  </a:moveTo>
                  <a:cubicBezTo>
                    <a:pt x="57" y="126"/>
                    <a:pt x="68" y="134"/>
                    <a:pt x="79" y="142"/>
                  </a:cubicBezTo>
                  <a:cubicBezTo>
                    <a:pt x="85" y="128"/>
                    <a:pt x="91" y="114"/>
                    <a:pt x="93" y="111"/>
                  </a:cubicBezTo>
                  <a:cubicBezTo>
                    <a:pt x="95" y="108"/>
                    <a:pt x="97" y="107"/>
                    <a:pt x="99" y="106"/>
                  </a:cubicBezTo>
                  <a:cubicBezTo>
                    <a:pt x="100" y="105"/>
                    <a:pt x="101" y="105"/>
                    <a:pt x="102" y="103"/>
                  </a:cubicBezTo>
                  <a:cubicBezTo>
                    <a:pt x="104" y="102"/>
                    <a:pt x="105" y="102"/>
                    <a:pt x="106" y="102"/>
                  </a:cubicBezTo>
                  <a:cubicBezTo>
                    <a:pt x="106" y="102"/>
                    <a:pt x="106" y="102"/>
                    <a:pt x="106" y="102"/>
                  </a:cubicBezTo>
                  <a:cubicBezTo>
                    <a:pt x="107" y="102"/>
                    <a:pt x="108" y="102"/>
                    <a:pt x="110" y="98"/>
                  </a:cubicBezTo>
                  <a:cubicBezTo>
                    <a:pt x="111" y="98"/>
                    <a:pt x="111" y="97"/>
                    <a:pt x="111" y="97"/>
                  </a:cubicBezTo>
                  <a:cubicBezTo>
                    <a:pt x="104" y="85"/>
                    <a:pt x="104" y="85"/>
                    <a:pt x="104" y="85"/>
                  </a:cubicBezTo>
                  <a:cubicBezTo>
                    <a:pt x="104" y="85"/>
                    <a:pt x="104" y="85"/>
                    <a:pt x="104" y="85"/>
                  </a:cubicBezTo>
                  <a:cubicBezTo>
                    <a:pt x="104" y="33"/>
                    <a:pt x="104" y="33"/>
                    <a:pt x="104" y="33"/>
                  </a:cubicBezTo>
                  <a:cubicBezTo>
                    <a:pt x="104" y="33"/>
                    <a:pt x="104" y="33"/>
                    <a:pt x="104" y="33"/>
                  </a:cubicBezTo>
                  <a:cubicBezTo>
                    <a:pt x="110" y="22"/>
                    <a:pt x="110" y="22"/>
                    <a:pt x="110" y="22"/>
                  </a:cubicBezTo>
                  <a:cubicBezTo>
                    <a:pt x="117" y="13"/>
                    <a:pt x="117" y="13"/>
                    <a:pt x="117" y="13"/>
                  </a:cubicBezTo>
                  <a:cubicBezTo>
                    <a:pt x="114" y="14"/>
                    <a:pt x="111" y="15"/>
                    <a:pt x="111" y="15"/>
                  </a:cubicBezTo>
                  <a:cubicBezTo>
                    <a:pt x="110" y="15"/>
                    <a:pt x="109" y="15"/>
                    <a:pt x="109" y="15"/>
                  </a:cubicBezTo>
                  <a:cubicBezTo>
                    <a:pt x="106" y="15"/>
                    <a:pt x="104" y="14"/>
                    <a:pt x="103" y="12"/>
                  </a:cubicBezTo>
                  <a:cubicBezTo>
                    <a:pt x="103" y="11"/>
                    <a:pt x="102" y="11"/>
                    <a:pt x="101" y="11"/>
                  </a:cubicBezTo>
                  <a:cubicBezTo>
                    <a:pt x="99" y="11"/>
                    <a:pt x="95" y="13"/>
                    <a:pt x="91" y="15"/>
                  </a:cubicBezTo>
                  <a:cubicBezTo>
                    <a:pt x="89" y="16"/>
                    <a:pt x="87" y="18"/>
                    <a:pt x="85" y="20"/>
                  </a:cubicBezTo>
                  <a:cubicBezTo>
                    <a:pt x="84" y="21"/>
                    <a:pt x="83" y="23"/>
                    <a:pt x="82" y="23"/>
                  </a:cubicBezTo>
                  <a:cubicBezTo>
                    <a:pt x="81" y="23"/>
                    <a:pt x="81" y="23"/>
                    <a:pt x="81" y="22"/>
                  </a:cubicBezTo>
                  <a:cubicBezTo>
                    <a:pt x="79" y="21"/>
                    <a:pt x="67" y="20"/>
                    <a:pt x="64" y="20"/>
                  </a:cubicBezTo>
                  <a:cubicBezTo>
                    <a:pt x="61" y="20"/>
                    <a:pt x="50" y="12"/>
                    <a:pt x="47" y="10"/>
                  </a:cubicBezTo>
                  <a:cubicBezTo>
                    <a:pt x="45" y="8"/>
                    <a:pt x="41" y="8"/>
                    <a:pt x="38" y="8"/>
                  </a:cubicBezTo>
                  <a:cubicBezTo>
                    <a:pt x="35" y="8"/>
                    <a:pt x="33" y="7"/>
                    <a:pt x="32" y="7"/>
                  </a:cubicBezTo>
                  <a:cubicBezTo>
                    <a:pt x="32" y="6"/>
                    <a:pt x="31" y="6"/>
                    <a:pt x="29" y="6"/>
                  </a:cubicBezTo>
                  <a:cubicBezTo>
                    <a:pt x="27" y="5"/>
                    <a:pt x="25" y="4"/>
                    <a:pt x="24" y="3"/>
                  </a:cubicBezTo>
                  <a:cubicBezTo>
                    <a:pt x="23" y="1"/>
                    <a:pt x="20" y="1"/>
                    <a:pt x="16" y="2"/>
                  </a:cubicBezTo>
                  <a:cubicBezTo>
                    <a:pt x="13" y="2"/>
                    <a:pt x="5" y="7"/>
                    <a:pt x="4" y="9"/>
                  </a:cubicBezTo>
                  <a:cubicBezTo>
                    <a:pt x="4" y="10"/>
                    <a:pt x="4" y="11"/>
                    <a:pt x="3" y="11"/>
                  </a:cubicBezTo>
                  <a:cubicBezTo>
                    <a:pt x="9" y="17"/>
                    <a:pt x="9" y="17"/>
                    <a:pt x="9" y="17"/>
                  </a:cubicBezTo>
                  <a:cubicBezTo>
                    <a:pt x="9" y="17"/>
                    <a:pt x="9" y="17"/>
                    <a:pt x="9" y="17"/>
                  </a:cubicBezTo>
                  <a:cubicBezTo>
                    <a:pt x="11" y="28"/>
                    <a:pt x="11" y="28"/>
                    <a:pt x="11" y="28"/>
                  </a:cubicBezTo>
                  <a:cubicBezTo>
                    <a:pt x="17" y="33"/>
                    <a:pt x="17" y="33"/>
                    <a:pt x="17" y="33"/>
                  </a:cubicBezTo>
                  <a:cubicBezTo>
                    <a:pt x="17" y="33"/>
                    <a:pt x="17" y="33"/>
                    <a:pt x="17" y="33"/>
                  </a:cubicBezTo>
                  <a:cubicBezTo>
                    <a:pt x="17" y="33"/>
                    <a:pt x="17" y="39"/>
                    <a:pt x="16" y="45"/>
                  </a:cubicBezTo>
                  <a:cubicBezTo>
                    <a:pt x="15" y="51"/>
                    <a:pt x="9" y="59"/>
                    <a:pt x="6" y="62"/>
                  </a:cubicBezTo>
                  <a:cubicBezTo>
                    <a:pt x="5" y="63"/>
                    <a:pt x="4" y="65"/>
                    <a:pt x="2" y="71"/>
                  </a:cubicBezTo>
                  <a:cubicBezTo>
                    <a:pt x="7" y="72"/>
                    <a:pt x="12" y="74"/>
                    <a:pt x="12" y="77"/>
                  </a:cubicBezTo>
                  <a:cubicBezTo>
                    <a:pt x="11" y="78"/>
                    <a:pt x="9" y="79"/>
                    <a:pt x="7" y="80"/>
                  </a:cubicBezTo>
                  <a:cubicBezTo>
                    <a:pt x="4" y="81"/>
                    <a:pt x="1" y="82"/>
                    <a:pt x="1" y="86"/>
                  </a:cubicBezTo>
                  <a:cubicBezTo>
                    <a:pt x="1" y="87"/>
                    <a:pt x="1" y="87"/>
                    <a:pt x="1" y="87"/>
                  </a:cubicBezTo>
                  <a:cubicBezTo>
                    <a:pt x="56" y="116"/>
                    <a:pt x="56" y="116"/>
                    <a:pt x="56" y="116"/>
                  </a:cubicBezTo>
                  <a:cubicBezTo>
                    <a:pt x="56" y="116"/>
                    <a:pt x="56" y="116"/>
                    <a:pt x="56" y="116"/>
                  </a:cubicBezTo>
                  <a:lnTo>
                    <a:pt x="55" y="125"/>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5" name="Freeform 142"/>
            <p:cNvSpPr>
              <a:spLocks noEditPoints="1"/>
            </p:cNvSpPr>
            <p:nvPr/>
          </p:nvSpPr>
          <p:spPr>
            <a:xfrm>
              <a:off x="5491164" y="3703638"/>
              <a:ext cx="138113" cy="141288"/>
            </a:xfrm>
            <a:custGeom>
              <a:gdLst>
                <a:gd name="T0" fmla="*/ 1 w 81"/>
                <a:gd name="T1" fmla="*/ 83 h 83"/>
                <a:gd name="T2" fmla="*/ 0 w 81"/>
                <a:gd name="T3" fmla="*/ 82 h 83"/>
                <a:gd name="T4" fmla="*/ 5 w 81"/>
                <a:gd name="T5" fmla="*/ 59 h 83"/>
                <a:gd name="T6" fmla="*/ 9 w 81"/>
                <a:gd name="T7" fmla="*/ 48 h 83"/>
                <a:gd name="T8" fmla="*/ 15 w 81"/>
                <a:gd name="T9" fmla="*/ 40 h 83"/>
                <a:gd name="T10" fmla="*/ 22 w 81"/>
                <a:gd name="T11" fmla="*/ 33 h 83"/>
                <a:gd name="T12" fmla="*/ 22 w 81"/>
                <a:gd name="T13" fmla="*/ 26 h 83"/>
                <a:gd name="T14" fmla="*/ 21 w 81"/>
                <a:gd name="T15" fmla="*/ 9 h 83"/>
                <a:gd name="T16" fmla="*/ 21 w 81"/>
                <a:gd name="T17" fmla="*/ 9 h 83"/>
                <a:gd name="T18" fmla="*/ 38 w 81"/>
                <a:gd name="T19" fmla="*/ 8 h 83"/>
                <a:gd name="T20" fmla="*/ 50 w 81"/>
                <a:gd name="T21" fmla="*/ 5 h 83"/>
                <a:gd name="T22" fmla="*/ 57 w 81"/>
                <a:gd name="T23" fmla="*/ 6 h 83"/>
                <a:gd name="T24" fmla="*/ 64 w 81"/>
                <a:gd name="T25" fmla="*/ 1 h 83"/>
                <a:gd name="T26" fmla="*/ 66 w 81"/>
                <a:gd name="T27" fmla="*/ 0 h 83"/>
                <a:gd name="T28" fmla="*/ 73 w 81"/>
                <a:gd name="T29" fmla="*/ 6 h 83"/>
                <a:gd name="T30" fmla="*/ 81 w 81"/>
                <a:gd name="T31" fmla="*/ 22 h 83"/>
                <a:gd name="T32" fmla="*/ 80 w 81"/>
                <a:gd name="T33" fmla="*/ 34 h 83"/>
                <a:gd name="T34" fmla="*/ 66 w 81"/>
                <a:gd name="T35" fmla="*/ 60 h 83"/>
                <a:gd name="T36" fmla="*/ 65 w 81"/>
                <a:gd name="T37" fmla="*/ 61 h 83"/>
                <a:gd name="T38" fmla="*/ 46 w 81"/>
                <a:gd name="T39" fmla="*/ 60 h 83"/>
                <a:gd name="T40" fmla="*/ 35 w 81"/>
                <a:gd name="T41" fmla="*/ 76 h 83"/>
                <a:gd name="T42" fmla="*/ 8 w 81"/>
                <a:gd name="T43" fmla="*/ 81 h 83"/>
                <a:gd name="T44" fmla="*/ 3 w 81"/>
                <a:gd name="T45" fmla="*/ 83 h 83"/>
                <a:gd name="T46" fmla="*/ 3 w 81"/>
                <a:gd name="T47" fmla="*/ 82 h 83"/>
                <a:gd name="T48" fmla="*/ 8 w 81"/>
                <a:gd name="T49" fmla="*/ 80 h 83"/>
                <a:gd name="T50" fmla="*/ 35 w 81"/>
                <a:gd name="T51" fmla="*/ 75 h 83"/>
                <a:gd name="T52" fmla="*/ 54 w 81"/>
                <a:gd name="T53" fmla="*/ 58 h 83"/>
                <a:gd name="T54" fmla="*/ 69 w 81"/>
                <a:gd name="T55" fmla="*/ 51 h 83"/>
                <a:gd name="T56" fmla="*/ 80 w 81"/>
                <a:gd name="T57" fmla="*/ 22 h 83"/>
                <a:gd name="T58" fmla="*/ 72 w 81"/>
                <a:gd name="T59" fmla="*/ 7 h 83"/>
                <a:gd name="T60" fmla="*/ 65 w 81"/>
                <a:gd name="T61" fmla="*/ 2 h 83"/>
                <a:gd name="T62" fmla="*/ 57 w 81"/>
                <a:gd name="T63" fmla="*/ 7 h 83"/>
                <a:gd name="T64" fmla="*/ 50 w 81"/>
                <a:gd name="T65" fmla="*/ 6 h 83"/>
                <a:gd name="T66" fmla="*/ 41 w 81"/>
                <a:gd name="T67" fmla="*/ 10 h 83"/>
                <a:gd name="T68" fmla="*/ 33 w 81"/>
                <a:gd name="T69" fmla="*/ 7 h 83"/>
                <a:gd name="T70" fmla="*/ 21 w 81"/>
                <a:gd name="T71" fmla="*/ 22 h 83"/>
                <a:gd name="T72" fmla="*/ 26 w 81"/>
                <a:gd name="T73" fmla="*/ 29 h 83"/>
                <a:gd name="T74" fmla="*/ 21 w 81"/>
                <a:gd name="T75" fmla="*/ 36 h 83"/>
                <a:gd name="T76" fmla="*/ 12 w 81"/>
                <a:gd name="T77" fmla="*/ 45 h 83"/>
                <a:gd name="T78" fmla="*/ 7 w 81"/>
                <a:gd name="T79" fmla="*/ 54 h 83"/>
                <a:gd name="T80" fmla="*/ 4 w 81"/>
                <a:gd name="T81" fmla="*/ 72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3">
                  <a:moveTo>
                    <a:pt x="3" y="83"/>
                  </a:moveTo>
                  <a:cubicBezTo>
                    <a:pt x="2" y="83"/>
                    <a:pt x="2" y="83"/>
                    <a:pt x="1" y="83"/>
                  </a:cubicBezTo>
                  <a:cubicBezTo>
                    <a:pt x="0" y="83"/>
                    <a:pt x="0" y="83"/>
                    <a:pt x="0" y="83"/>
                  </a:cubicBezTo>
                  <a:cubicBezTo>
                    <a:pt x="0" y="82"/>
                    <a:pt x="0" y="82"/>
                    <a:pt x="0" y="82"/>
                  </a:cubicBezTo>
                  <a:cubicBezTo>
                    <a:pt x="2" y="79"/>
                    <a:pt x="3" y="74"/>
                    <a:pt x="3" y="72"/>
                  </a:cubicBezTo>
                  <a:cubicBezTo>
                    <a:pt x="3" y="67"/>
                    <a:pt x="4" y="62"/>
                    <a:pt x="5" y="59"/>
                  </a:cubicBezTo>
                  <a:cubicBezTo>
                    <a:pt x="6" y="57"/>
                    <a:pt x="6" y="56"/>
                    <a:pt x="6" y="54"/>
                  </a:cubicBezTo>
                  <a:cubicBezTo>
                    <a:pt x="7" y="52"/>
                    <a:pt x="7" y="50"/>
                    <a:pt x="9" y="48"/>
                  </a:cubicBezTo>
                  <a:cubicBezTo>
                    <a:pt x="10" y="47"/>
                    <a:pt x="11" y="46"/>
                    <a:pt x="11" y="45"/>
                  </a:cubicBezTo>
                  <a:cubicBezTo>
                    <a:pt x="12" y="43"/>
                    <a:pt x="13" y="41"/>
                    <a:pt x="15" y="40"/>
                  </a:cubicBezTo>
                  <a:cubicBezTo>
                    <a:pt x="18" y="39"/>
                    <a:pt x="20" y="38"/>
                    <a:pt x="20" y="36"/>
                  </a:cubicBezTo>
                  <a:cubicBezTo>
                    <a:pt x="21" y="35"/>
                    <a:pt x="21" y="34"/>
                    <a:pt x="22" y="33"/>
                  </a:cubicBezTo>
                  <a:cubicBezTo>
                    <a:pt x="23" y="32"/>
                    <a:pt x="25" y="30"/>
                    <a:pt x="25" y="29"/>
                  </a:cubicBezTo>
                  <a:cubicBezTo>
                    <a:pt x="25" y="28"/>
                    <a:pt x="24" y="27"/>
                    <a:pt x="22" y="26"/>
                  </a:cubicBezTo>
                  <a:cubicBezTo>
                    <a:pt x="21" y="25"/>
                    <a:pt x="20" y="24"/>
                    <a:pt x="20" y="22"/>
                  </a:cubicBezTo>
                  <a:cubicBezTo>
                    <a:pt x="20" y="18"/>
                    <a:pt x="21" y="10"/>
                    <a:pt x="21" y="9"/>
                  </a:cubicBezTo>
                  <a:cubicBezTo>
                    <a:pt x="21" y="9"/>
                    <a:pt x="21" y="9"/>
                    <a:pt x="21" y="9"/>
                  </a:cubicBezTo>
                  <a:cubicBezTo>
                    <a:pt x="21" y="9"/>
                    <a:pt x="21" y="9"/>
                    <a:pt x="21" y="9"/>
                  </a:cubicBezTo>
                  <a:cubicBezTo>
                    <a:pt x="22" y="9"/>
                    <a:pt x="29" y="6"/>
                    <a:pt x="32" y="6"/>
                  </a:cubicBezTo>
                  <a:cubicBezTo>
                    <a:pt x="34" y="5"/>
                    <a:pt x="36" y="7"/>
                    <a:pt x="38" y="8"/>
                  </a:cubicBezTo>
                  <a:cubicBezTo>
                    <a:pt x="39" y="9"/>
                    <a:pt x="41" y="10"/>
                    <a:pt x="41" y="9"/>
                  </a:cubicBezTo>
                  <a:cubicBezTo>
                    <a:pt x="42" y="7"/>
                    <a:pt x="47" y="5"/>
                    <a:pt x="50" y="5"/>
                  </a:cubicBezTo>
                  <a:cubicBezTo>
                    <a:pt x="51" y="5"/>
                    <a:pt x="52" y="5"/>
                    <a:pt x="52" y="5"/>
                  </a:cubicBezTo>
                  <a:cubicBezTo>
                    <a:pt x="54" y="6"/>
                    <a:pt x="55" y="6"/>
                    <a:pt x="57" y="6"/>
                  </a:cubicBezTo>
                  <a:cubicBezTo>
                    <a:pt x="59" y="6"/>
                    <a:pt x="61" y="6"/>
                    <a:pt x="61" y="5"/>
                  </a:cubicBezTo>
                  <a:cubicBezTo>
                    <a:pt x="61" y="4"/>
                    <a:pt x="62" y="3"/>
                    <a:pt x="64" y="1"/>
                  </a:cubicBezTo>
                  <a:cubicBezTo>
                    <a:pt x="65" y="1"/>
                    <a:pt x="65" y="0"/>
                    <a:pt x="66" y="0"/>
                  </a:cubicBezTo>
                  <a:cubicBezTo>
                    <a:pt x="66" y="0"/>
                    <a:pt x="66" y="0"/>
                    <a:pt x="66" y="0"/>
                  </a:cubicBezTo>
                  <a:cubicBezTo>
                    <a:pt x="73" y="6"/>
                    <a:pt x="73" y="6"/>
                    <a:pt x="73" y="6"/>
                  </a:cubicBezTo>
                  <a:cubicBezTo>
                    <a:pt x="73" y="6"/>
                    <a:pt x="73" y="6"/>
                    <a:pt x="73" y="6"/>
                  </a:cubicBezTo>
                  <a:cubicBezTo>
                    <a:pt x="75" y="17"/>
                    <a:pt x="75" y="17"/>
                    <a:pt x="75" y="17"/>
                  </a:cubicBezTo>
                  <a:cubicBezTo>
                    <a:pt x="81" y="22"/>
                    <a:pt x="81" y="22"/>
                    <a:pt x="81" y="22"/>
                  </a:cubicBezTo>
                  <a:cubicBezTo>
                    <a:pt x="81" y="22"/>
                    <a:pt x="81" y="22"/>
                    <a:pt x="81" y="22"/>
                  </a:cubicBezTo>
                  <a:cubicBezTo>
                    <a:pt x="81" y="22"/>
                    <a:pt x="81" y="28"/>
                    <a:pt x="80" y="34"/>
                  </a:cubicBezTo>
                  <a:cubicBezTo>
                    <a:pt x="79" y="40"/>
                    <a:pt x="73" y="48"/>
                    <a:pt x="70" y="51"/>
                  </a:cubicBezTo>
                  <a:cubicBezTo>
                    <a:pt x="69" y="52"/>
                    <a:pt x="68" y="54"/>
                    <a:pt x="66" y="60"/>
                  </a:cubicBezTo>
                  <a:cubicBezTo>
                    <a:pt x="66" y="61"/>
                    <a:pt x="66" y="61"/>
                    <a:pt x="66" y="61"/>
                  </a:cubicBezTo>
                  <a:cubicBezTo>
                    <a:pt x="65" y="61"/>
                    <a:pt x="65" y="61"/>
                    <a:pt x="65" y="61"/>
                  </a:cubicBezTo>
                  <a:cubicBezTo>
                    <a:pt x="61" y="60"/>
                    <a:pt x="57" y="59"/>
                    <a:pt x="54" y="59"/>
                  </a:cubicBezTo>
                  <a:cubicBezTo>
                    <a:pt x="51" y="59"/>
                    <a:pt x="48" y="59"/>
                    <a:pt x="46" y="60"/>
                  </a:cubicBezTo>
                  <a:cubicBezTo>
                    <a:pt x="42" y="61"/>
                    <a:pt x="38" y="67"/>
                    <a:pt x="35" y="76"/>
                  </a:cubicBezTo>
                  <a:cubicBezTo>
                    <a:pt x="35" y="76"/>
                    <a:pt x="35" y="76"/>
                    <a:pt x="35" y="76"/>
                  </a:cubicBezTo>
                  <a:cubicBezTo>
                    <a:pt x="23" y="77"/>
                    <a:pt x="23" y="77"/>
                    <a:pt x="23" y="77"/>
                  </a:cubicBezTo>
                  <a:cubicBezTo>
                    <a:pt x="23" y="77"/>
                    <a:pt x="11" y="80"/>
                    <a:pt x="8" y="81"/>
                  </a:cubicBezTo>
                  <a:cubicBezTo>
                    <a:pt x="8" y="81"/>
                    <a:pt x="8" y="81"/>
                    <a:pt x="8" y="81"/>
                  </a:cubicBezTo>
                  <a:cubicBezTo>
                    <a:pt x="6" y="82"/>
                    <a:pt x="5" y="83"/>
                    <a:pt x="3" y="83"/>
                  </a:cubicBezTo>
                  <a:close/>
                  <a:moveTo>
                    <a:pt x="2" y="82"/>
                  </a:moveTo>
                  <a:cubicBezTo>
                    <a:pt x="3" y="82"/>
                    <a:pt x="3" y="82"/>
                    <a:pt x="3" y="82"/>
                  </a:cubicBezTo>
                  <a:cubicBezTo>
                    <a:pt x="5" y="82"/>
                    <a:pt x="6" y="81"/>
                    <a:pt x="7" y="81"/>
                  </a:cubicBezTo>
                  <a:cubicBezTo>
                    <a:pt x="8" y="80"/>
                    <a:pt x="8" y="80"/>
                    <a:pt x="8" y="80"/>
                  </a:cubicBezTo>
                  <a:cubicBezTo>
                    <a:pt x="11" y="79"/>
                    <a:pt x="22" y="76"/>
                    <a:pt x="23" y="76"/>
                  </a:cubicBezTo>
                  <a:cubicBezTo>
                    <a:pt x="35" y="75"/>
                    <a:pt x="35" y="75"/>
                    <a:pt x="35" y="75"/>
                  </a:cubicBezTo>
                  <a:cubicBezTo>
                    <a:pt x="36" y="71"/>
                    <a:pt x="40" y="61"/>
                    <a:pt x="46" y="59"/>
                  </a:cubicBezTo>
                  <a:cubicBezTo>
                    <a:pt x="48" y="58"/>
                    <a:pt x="51" y="58"/>
                    <a:pt x="54" y="58"/>
                  </a:cubicBezTo>
                  <a:cubicBezTo>
                    <a:pt x="57" y="58"/>
                    <a:pt x="61" y="59"/>
                    <a:pt x="65" y="60"/>
                  </a:cubicBezTo>
                  <a:cubicBezTo>
                    <a:pt x="67" y="55"/>
                    <a:pt x="68" y="52"/>
                    <a:pt x="69" y="51"/>
                  </a:cubicBezTo>
                  <a:cubicBezTo>
                    <a:pt x="73" y="47"/>
                    <a:pt x="78" y="40"/>
                    <a:pt x="79" y="34"/>
                  </a:cubicBezTo>
                  <a:cubicBezTo>
                    <a:pt x="80" y="29"/>
                    <a:pt x="80" y="23"/>
                    <a:pt x="80" y="22"/>
                  </a:cubicBezTo>
                  <a:cubicBezTo>
                    <a:pt x="74" y="17"/>
                    <a:pt x="74" y="17"/>
                    <a:pt x="74" y="17"/>
                  </a:cubicBezTo>
                  <a:cubicBezTo>
                    <a:pt x="72" y="7"/>
                    <a:pt x="72" y="7"/>
                    <a:pt x="72" y="7"/>
                  </a:cubicBezTo>
                  <a:cubicBezTo>
                    <a:pt x="66" y="1"/>
                    <a:pt x="66" y="1"/>
                    <a:pt x="66" y="1"/>
                  </a:cubicBezTo>
                  <a:cubicBezTo>
                    <a:pt x="65" y="2"/>
                    <a:pt x="65" y="2"/>
                    <a:pt x="65" y="2"/>
                  </a:cubicBezTo>
                  <a:cubicBezTo>
                    <a:pt x="63" y="3"/>
                    <a:pt x="62" y="4"/>
                    <a:pt x="62" y="5"/>
                  </a:cubicBezTo>
                  <a:cubicBezTo>
                    <a:pt x="61" y="7"/>
                    <a:pt x="60" y="7"/>
                    <a:pt x="57" y="7"/>
                  </a:cubicBezTo>
                  <a:cubicBezTo>
                    <a:pt x="55" y="7"/>
                    <a:pt x="53" y="7"/>
                    <a:pt x="52" y="6"/>
                  </a:cubicBezTo>
                  <a:cubicBezTo>
                    <a:pt x="52" y="6"/>
                    <a:pt x="51" y="6"/>
                    <a:pt x="50" y="6"/>
                  </a:cubicBezTo>
                  <a:cubicBezTo>
                    <a:pt x="48" y="6"/>
                    <a:pt x="43" y="8"/>
                    <a:pt x="42" y="10"/>
                  </a:cubicBezTo>
                  <a:cubicBezTo>
                    <a:pt x="41" y="10"/>
                    <a:pt x="41" y="10"/>
                    <a:pt x="41" y="10"/>
                  </a:cubicBezTo>
                  <a:cubicBezTo>
                    <a:pt x="40" y="10"/>
                    <a:pt x="39" y="9"/>
                    <a:pt x="37" y="9"/>
                  </a:cubicBezTo>
                  <a:cubicBezTo>
                    <a:pt x="36" y="8"/>
                    <a:pt x="34" y="6"/>
                    <a:pt x="33" y="7"/>
                  </a:cubicBezTo>
                  <a:cubicBezTo>
                    <a:pt x="30" y="7"/>
                    <a:pt x="23" y="9"/>
                    <a:pt x="22" y="10"/>
                  </a:cubicBezTo>
                  <a:cubicBezTo>
                    <a:pt x="22" y="11"/>
                    <a:pt x="21" y="19"/>
                    <a:pt x="21" y="22"/>
                  </a:cubicBezTo>
                  <a:cubicBezTo>
                    <a:pt x="21" y="24"/>
                    <a:pt x="22" y="24"/>
                    <a:pt x="23" y="25"/>
                  </a:cubicBezTo>
                  <a:cubicBezTo>
                    <a:pt x="24" y="26"/>
                    <a:pt x="26" y="27"/>
                    <a:pt x="26" y="29"/>
                  </a:cubicBezTo>
                  <a:cubicBezTo>
                    <a:pt x="26" y="31"/>
                    <a:pt x="24" y="32"/>
                    <a:pt x="23" y="34"/>
                  </a:cubicBezTo>
                  <a:cubicBezTo>
                    <a:pt x="22" y="35"/>
                    <a:pt x="21" y="36"/>
                    <a:pt x="21" y="36"/>
                  </a:cubicBezTo>
                  <a:cubicBezTo>
                    <a:pt x="21" y="38"/>
                    <a:pt x="19" y="40"/>
                    <a:pt x="15" y="41"/>
                  </a:cubicBezTo>
                  <a:cubicBezTo>
                    <a:pt x="13" y="42"/>
                    <a:pt x="13" y="43"/>
                    <a:pt x="12" y="45"/>
                  </a:cubicBezTo>
                  <a:cubicBezTo>
                    <a:pt x="11" y="47"/>
                    <a:pt x="11" y="48"/>
                    <a:pt x="10" y="49"/>
                  </a:cubicBezTo>
                  <a:cubicBezTo>
                    <a:pt x="8" y="50"/>
                    <a:pt x="8" y="52"/>
                    <a:pt x="7" y="54"/>
                  </a:cubicBezTo>
                  <a:cubicBezTo>
                    <a:pt x="7" y="56"/>
                    <a:pt x="7" y="58"/>
                    <a:pt x="6" y="59"/>
                  </a:cubicBezTo>
                  <a:cubicBezTo>
                    <a:pt x="5" y="63"/>
                    <a:pt x="4" y="67"/>
                    <a:pt x="4" y="72"/>
                  </a:cubicBezTo>
                  <a:cubicBezTo>
                    <a:pt x="4" y="74"/>
                    <a:pt x="3" y="79"/>
                    <a:pt x="2" y="8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6" name="Freeform 143"/>
            <p:cNvSpPr>
              <a:spLocks noEditPoints="1"/>
            </p:cNvSpPr>
            <p:nvPr/>
          </p:nvSpPr>
          <p:spPr>
            <a:xfrm>
              <a:off x="6156326" y="2590800"/>
              <a:ext cx="430213" cy="257175"/>
            </a:xfrm>
            <a:custGeom>
              <a:gdLst>
                <a:gd name="T0" fmla="*/ 167 w 254"/>
                <a:gd name="T1" fmla="*/ 146 h 152"/>
                <a:gd name="T2" fmla="*/ 158 w 254"/>
                <a:gd name="T3" fmla="*/ 145 h 152"/>
                <a:gd name="T4" fmla="*/ 137 w 254"/>
                <a:gd name="T5" fmla="*/ 127 h 152"/>
                <a:gd name="T6" fmla="*/ 98 w 254"/>
                <a:gd name="T7" fmla="*/ 100 h 152"/>
                <a:gd name="T8" fmla="*/ 85 w 254"/>
                <a:gd name="T9" fmla="*/ 79 h 152"/>
                <a:gd name="T10" fmla="*/ 57 w 254"/>
                <a:gd name="T11" fmla="*/ 60 h 152"/>
                <a:gd name="T12" fmla="*/ 31 w 254"/>
                <a:gd name="T13" fmla="*/ 57 h 152"/>
                <a:gd name="T14" fmla="*/ 16 w 254"/>
                <a:gd name="T15" fmla="*/ 70 h 152"/>
                <a:gd name="T16" fmla="*/ 0 w 254"/>
                <a:gd name="T17" fmla="*/ 75 h 152"/>
                <a:gd name="T18" fmla="*/ 2 w 254"/>
                <a:gd name="T19" fmla="*/ 10 h 152"/>
                <a:gd name="T20" fmla="*/ 41 w 254"/>
                <a:gd name="T21" fmla="*/ 22 h 152"/>
                <a:gd name="T22" fmla="*/ 49 w 254"/>
                <a:gd name="T23" fmla="*/ 23 h 152"/>
                <a:gd name="T24" fmla="*/ 70 w 254"/>
                <a:gd name="T25" fmla="*/ 19 h 152"/>
                <a:gd name="T26" fmla="*/ 91 w 254"/>
                <a:gd name="T27" fmla="*/ 38 h 152"/>
                <a:gd name="T28" fmla="*/ 142 w 254"/>
                <a:gd name="T29" fmla="*/ 41 h 152"/>
                <a:gd name="T30" fmla="*/ 156 w 254"/>
                <a:gd name="T31" fmla="*/ 68 h 152"/>
                <a:gd name="T32" fmla="*/ 184 w 254"/>
                <a:gd name="T33" fmla="*/ 86 h 152"/>
                <a:gd name="T34" fmla="*/ 211 w 254"/>
                <a:gd name="T35" fmla="*/ 70 h 152"/>
                <a:gd name="T36" fmla="*/ 230 w 254"/>
                <a:gd name="T37" fmla="*/ 76 h 152"/>
                <a:gd name="T38" fmla="*/ 251 w 254"/>
                <a:gd name="T39" fmla="*/ 89 h 152"/>
                <a:gd name="T40" fmla="*/ 236 w 254"/>
                <a:gd name="T41" fmla="*/ 95 h 152"/>
                <a:gd name="T42" fmla="*/ 214 w 254"/>
                <a:gd name="T43" fmla="*/ 97 h 152"/>
                <a:gd name="T44" fmla="*/ 206 w 254"/>
                <a:gd name="T45" fmla="*/ 89 h 152"/>
                <a:gd name="T46" fmla="*/ 191 w 254"/>
                <a:gd name="T47" fmla="*/ 99 h 152"/>
                <a:gd name="T48" fmla="*/ 173 w 254"/>
                <a:gd name="T49" fmla="*/ 112 h 152"/>
                <a:gd name="T50" fmla="*/ 184 w 254"/>
                <a:gd name="T51" fmla="*/ 136 h 152"/>
                <a:gd name="T52" fmla="*/ 167 w 254"/>
                <a:gd name="T53" fmla="*/ 146 h 152"/>
                <a:gd name="T54" fmla="*/ 183 w 254"/>
                <a:gd name="T55" fmla="*/ 129 h 152"/>
                <a:gd name="T56" fmla="*/ 181 w 254"/>
                <a:gd name="T57" fmla="*/ 107 h 152"/>
                <a:gd name="T58" fmla="*/ 198 w 254"/>
                <a:gd name="T59" fmla="*/ 90 h 152"/>
                <a:gd name="T60" fmla="*/ 209 w 254"/>
                <a:gd name="T61" fmla="*/ 87 h 152"/>
                <a:gd name="T62" fmla="*/ 231 w 254"/>
                <a:gd name="T63" fmla="*/ 94 h 152"/>
                <a:gd name="T64" fmla="*/ 240 w 254"/>
                <a:gd name="T65" fmla="*/ 94 h 152"/>
                <a:gd name="T66" fmla="*/ 251 w 254"/>
                <a:gd name="T67" fmla="*/ 85 h 152"/>
                <a:gd name="T68" fmla="*/ 219 w 254"/>
                <a:gd name="T69" fmla="*/ 77 h 152"/>
                <a:gd name="T70" fmla="*/ 191 w 254"/>
                <a:gd name="T71" fmla="*/ 84 h 152"/>
                <a:gd name="T72" fmla="*/ 167 w 254"/>
                <a:gd name="T73" fmla="*/ 79 h 152"/>
                <a:gd name="T74" fmla="*/ 150 w 254"/>
                <a:gd name="T75" fmla="*/ 56 h 152"/>
                <a:gd name="T76" fmla="*/ 107 w 254"/>
                <a:gd name="T77" fmla="*/ 37 h 152"/>
                <a:gd name="T78" fmla="*/ 91 w 254"/>
                <a:gd name="T79" fmla="*/ 39 h 152"/>
                <a:gd name="T80" fmla="*/ 54 w 254"/>
                <a:gd name="T81" fmla="*/ 31 h 152"/>
                <a:gd name="T82" fmla="*/ 47 w 254"/>
                <a:gd name="T83" fmla="*/ 2 h 152"/>
                <a:gd name="T84" fmla="*/ 38 w 254"/>
                <a:gd name="T85" fmla="*/ 1 h 152"/>
                <a:gd name="T86" fmla="*/ 14 w 254"/>
                <a:gd name="T87" fmla="*/ 76 h 152"/>
                <a:gd name="T88" fmla="*/ 30 w 254"/>
                <a:gd name="T89" fmla="*/ 58 h 152"/>
                <a:gd name="T90" fmla="*/ 48 w 254"/>
                <a:gd name="T91" fmla="*/ 56 h 152"/>
                <a:gd name="T92" fmla="*/ 80 w 254"/>
                <a:gd name="T93" fmla="*/ 78 h 152"/>
                <a:gd name="T94" fmla="*/ 98 w 254"/>
                <a:gd name="T95" fmla="*/ 99 h 152"/>
                <a:gd name="T96" fmla="*/ 130 w 254"/>
                <a:gd name="T97" fmla="*/ 120 h 152"/>
                <a:gd name="T98" fmla="*/ 158 w 254"/>
                <a:gd name="T99" fmla="*/ 134 h 1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4" h="152">
                  <a:moveTo>
                    <a:pt x="178" y="152"/>
                  </a:moveTo>
                  <a:cubicBezTo>
                    <a:pt x="177" y="151"/>
                    <a:pt x="177" y="151"/>
                    <a:pt x="177" y="151"/>
                  </a:cubicBezTo>
                  <a:cubicBezTo>
                    <a:pt x="175" y="150"/>
                    <a:pt x="173" y="149"/>
                    <a:pt x="172" y="149"/>
                  </a:cubicBezTo>
                  <a:cubicBezTo>
                    <a:pt x="170" y="149"/>
                    <a:pt x="168" y="147"/>
                    <a:pt x="167" y="146"/>
                  </a:cubicBezTo>
                  <a:cubicBezTo>
                    <a:pt x="165" y="145"/>
                    <a:pt x="164" y="144"/>
                    <a:pt x="162" y="144"/>
                  </a:cubicBezTo>
                  <a:cubicBezTo>
                    <a:pt x="161" y="144"/>
                    <a:pt x="160" y="144"/>
                    <a:pt x="160" y="145"/>
                  </a:cubicBezTo>
                  <a:cubicBezTo>
                    <a:pt x="159" y="145"/>
                    <a:pt x="159" y="145"/>
                    <a:pt x="159" y="145"/>
                  </a:cubicBezTo>
                  <a:cubicBezTo>
                    <a:pt x="158" y="145"/>
                    <a:pt x="158" y="145"/>
                    <a:pt x="158" y="145"/>
                  </a:cubicBezTo>
                  <a:cubicBezTo>
                    <a:pt x="158" y="144"/>
                    <a:pt x="158" y="144"/>
                    <a:pt x="158" y="144"/>
                  </a:cubicBezTo>
                  <a:cubicBezTo>
                    <a:pt x="157" y="135"/>
                    <a:pt x="157" y="135"/>
                    <a:pt x="157" y="135"/>
                  </a:cubicBezTo>
                  <a:cubicBezTo>
                    <a:pt x="155" y="134"/>
                    <a:pt x="147" y="131"/>
                    <a:pt x="145" y="131"/>
                  </a:cubicBezTo>
                  <a:cubicBezTo>
                    <a:pt x="143" y="131"/>
                    <a:pt x="140" y="129"/>
                    <a:pt x="137" y="127"/>
                  </a:cubicBezTo>
                  <a:cubicBezTo>
                    <a:pt x="135" y="124"/>
                    <a:pt x="132" y="122"/>
                    <a:pt x="129" y="121"/>
                  </a:cubicBezTo>
                  <a:cubicBezTo>
                    <a:pt x="123" y="119"/>
                    <a:pt x="115" y="115"/>
                    <a:pt x="112" y="111"/>
                  </a:cubicBezTo>
                  <a:cubicBezTo>
                    <a:pt x="111" y="109"/>
                    <a:pt x="108" y="107"/>
                    <a:pt x="104" y="105"/>
                  </a:cubicBezTo>
                  <a:cubicBezTo>
                    <a:pt x="101" y="103"/>
                    <a:pt x="98" y="102"/>
                    <a:pt x="98" y="100"/>
                  </a:cubicBezTo>
                  <a:cubicBezTo>
                    <a:pt x="97" y="100"/>
                    <a:pt x="97" y="100"/>
                    <a:pt x="97" y="100"/>
                  </a:cubicBezTo>
                  <a:cubicBezTo>
                    <a:pt x="96" y="97"/>
                    <a:pt x="94" y="92"/>
                    <a:pt x="91" y="88"/>
                  </a:cubicBezTo>
                  <a:cubicBezTo>
                    <a:pt x="90" y="86"/>
                    <a:pt x="89" y="85"/>
                    <a:pt x="88" y="83"/>
                  </a:cubicBezTo>
                  <a:cubicBezTo>
                    <a:pt x="88" y="81"/>
                    <a:pt x="87" y="79"/>
                    <a:pt x="85" y="79"/>
                  </a:cubicBezTo>
                  <a:cubicBezTo>
                    <a:pt x="85" y="79"/>
                    <a:pt x="83" y="79"/>
                    <a:pt x="80" y="79"/>
                  </a:cubicBezTo>
                  <a:cubicBezTo>
                    <a:pt x="69" y="78"/>
                    <a:pt x="64" y="78"/>
                    <a:pt x="64" y="76"/>
                  </a:cubicBezTo>
                  <a:cubicBezTo>
                    <a:pt x="64" y="73"/>
                    <a:pt x="62" y="62"/>
                    <a:pt x="59" y="61"/>
                  </a:cubicBezTo>
                  <a:cubicBezTo>
                    <a:pt x="58" y="61"/>
                    <a:pt x="58" y="61"/>
                    <a:pt x="57" y="60"/>
                  </a:cubicBezTo>
                  <a:cubicBezTo>
                    <a:pt x="54" y="60"/>
                    <a:pt x="49" y="59"/>
                    <a:pt x="47" y="57"/>
                  </a:cubicBezTo>
                  <a:cubicBezTo>
                    <a:pt x="46" y="55"/>
                    <a:pt x="42" y="54"/>
                    <a:pt x="39" y="54"/>
                  </a:cubicBezTo>
                  <a:cubicBezTo>
                    <a:pt x="38" y="54"/>
                    <a:pt x="38" y="54"/>
                    <a:pt x="38" y="54"/>
                  </a:cubicBezTo>
                  <a:cubicBezTo>
                    <a:pt x="36" y="56"/>
                    <a:pt x="33" y="57"/>
                    <a:pt x="31" y="57"/>
                  </a:cubicBezTo>
                  <a:cubicBezTo>
                    <a:pt x="31" y="57"/>
                    <a:pt x="31" y="58"/>
                    <a:pt x="31" y="59"/>
                  </a:cubicBezTo>
                  <a:cubicBezTo>
                    <a:pt x="30" y="60"/>
                    <a:pt x="29" y="63"/>
                    <a:pt x="27" y="63"/>
                  </a:cubicBezTo>
                  <a:cubicBezTo>
                    <a:pt x="26" y="63"/>
                    <a:pt x="26" y="63"/>
                    <a:pt x="26" y="63"/>
                  </a:cubicBezTo>
                  <a:cubicBezTo>
                    <a:pt x="22" y="63"/>
                    <a:pt x="16" y="67"/>
                    <a:pt x="16" y="70"/>
                  </a:cubicBezTo>
                  <a:cubicBezTo>
                    <a:pt x="16" y="71"/>
                    <a:pt x="16" y="71"/>
                    <a:pt x="16" y="71"/>
                  </a:cubicBezTo>
                  <a:cubicBezTo>
                    <a:pt x="16" y="73"/>
                    <a:pt x="16" y="75"/>
                    <a:pt x="15" y="76"/>
                  </a:cubicBezTo>
                  <a:cubicBezTo>
                    <a:pt x="14" y="77"/>
                    <a:pt x="13" y="78"/>
                    <a:pt x="11" y="78"/>
                  </a:cubicBezTo>
                  <a:cubicBezTo>
                    <a:pt x="6" y="77"/>
                    <a:pt x="3" y="76"/>
                    <a:pt x="0" y="75"/>
                  </a:cubicBezTo>
                  <a:cubicBezTo>
                    <a:pt x="0" y="75"/>
                    <a:pt x="0" y="75"/>
                    <a:pt x="0" y="75"/>
                  </a:cubicBezTo>
                  <a:cubicBezTo>
                    <a:pt x="0" y="74"/>
                    <a:pt x="0" y="74"/>
                    <a:pt x="0" y="74"/>
                  </a:cubicBezTo>
                  <a:cubicBezTo>
                    <a:pt x="0" y="74"/>
                    <a:pt x="0" y="74"/>
                    <a:pt x="0" y="74"/>
                  </a:cubicBezTo>
                  <a:cubicBezTo>
                    <a:pt x="2" y="10"/>
                    <a:pt x="2" y="10"/>
                    <a:pt x="2" y="10"/>
                  </a:cubicBezTo>
                  <a:cubicBezTo>
                    <a:pt x="40" y="0"/>
                    <a:pt x="40" y="0"/>
                    <a:pt x="40" y="0"/>
                  </a:cubicBezTo>
                  <a:cubicBezTo>
                    <a:pt x="40" y="1"/>
                    <a:pt x="40" y="1"/>
                    <a:pt x="40" y="1"/>
                  </a:cubicBezTo>
                  <a:cubicBezTo>
                    <a:pt x="37" y="7"/>
                    <a:pt x="38" y="18"/>
                    <a:pt x="40" y="22"/>
                  </a:cubicBezTo>
                  <a:cubicBezTo>
                    <a:pt x="40" y="22"/>
                    <a:pt x="41" y="23"/>
                    <a:pt x="41" y="22"/>
                  </a:cubicBezTo>
                  <a:cubicBezTo>
                    <a:pt x="43" y="22"/>
                    <a:pt x="43" y="17"/>
                    <a:pt x="43" y="13"/>
                  </a:cubicBezTo>
                  <a:cubicBezTo>
                    <a:pt x="43" y="7"/>
                    <a:pt x="44" y="1"/>
                    <a:pt x="47" y="1"/>
                  </a:cubicBezTo>
                  <a:cubicBezTo>
                    <a:pt x="49" y="1"/>
                    <a:pt x="50" y="2"/>
                    <a:pt x="51" y="3"/>
                  </a:cubicBezTo>
                  <a:cubicBezTo>
                    <a:pt x="53" y="7"/>
                    <a:pt x="52" y="16"/>
                    <a:pt x="49" y="23"/>
                  </a:cubicBezTo>
                  <a:cubicBezTo>
                    <a:pt x="49" y="25"/>
                    <a:pt x="49" y="27"/>
                    <a:pt x="49" y="28"/>
                  </a:cubicBezTo>
                  <a:cubicBezTo>
                    <a:pt x="50" y="29"/>
                    <a:pt x="52" y="30"/>
                    <a:pt x="54" y="30"/>
                  </a:cubicBezTo>
                  <a:cubicBezTo>
                    <a:pt x="57" y="30"/>
                    <a:pt x="62" y="28"/>
                    <a:pt x="66" y="25"/>
                  </a:cubicBezTo>
                  <a:cubicBezTo>
                    <a:pt x="68" y="24"/>
                    <a:pt x="70" y="22"/>
                    <a:pt x="70" y="19"/>
                  </a:cubicBezTo>
                  <a:cubicBezTo>
                    <a:pt x="71" y="18"/>
                    <a:pt x="71" y="18"/>
                    <a:pt x="71" y="18"/>
                  </a:cubicBezTo>
                  <a:cubicBezTo>
                    <a:pt x="71" y="19"/>
                    <a:pt x="71" y="19"/>
                    <a:pt x="71" y="19"/>
                  </a:cubicBezTo>
                  <a:cubicBezTo>
                    <a:pt x="77" y="24"/>
                    <a:pt x="87" y="35"/>
                    <a:pt x="88" y="38"/>
                  </a:cubicBezTo>
                  <a:cubicBezTo>
                    <a:pt x="89" y="38"/>
                    <a:pt x="90" y="38"/>
                    <a:pt x="91" y="38"/>
                  </a:cubicBezTo>
                  <a:cubicBezTo>
                    <a:pt x="93" y="38"/>
                    <a:pt x="96" y="38"/>
                    <a:pt x="99" y="37"/>
                  </a:cubicBezTo>
                  <a:cubicBezTo>
                    <a:pt x="103" y="36"/>
                    <a:pt x="106" y="36"/>
                    <a:pt x="107" y="36"/>
                  </a:cubicBezTo>
                  <a:cubicBezTo>
                    <a:pt x="109" y="37"/>
                    <a:pt x="119" y="37"/>
                    <a:pt x="136" y="37"/>
                  </a:cubicBezTo>
                  <a:cubicBezTo>
                    <a:pt x="138" y="37"/>
                    <a:pt x="140" y="39"/>
                    <a:pt x="142" y="41"/>
                  </a:cubicBezTo>
                  <a:cubicBezTo>
                    <a:pt x="144" y="43"/>
                    <a:pt x="146" y="45"/>
                    <a:pt x="148" y="46"/>
                  </a:cubicBezTo>
                  <a:cubicBezTo>
                    <a:pt x="152" y="47"/>
                    <a:pt x="152" y="51"/>
                    <a:pt x="151" y="56"/>
                  </a:cubicBezTo>
                  <a:cubicBezTo>
                    <a:pt x="151" y="57"/>
                    <a:pt x="151" y="59"/>
                    <a:pt x="152" y="60"/>
                  </a:cubicBezTo>
                  <a:cubicBezTo>
                    <a:pt x="152" y="63"/>
                    <a:pt x="154" y="65"/>
                    <a:pt x="156" y="68"/>
                  </a:cubicBezTo>
                  <a:cubicBezTo>
                    <a:pt x="158" y="70"/>
                    <a:pt x="159" y="73"/>
                    <a:pt x="160" y="75"/>
                  </a:cubicBezTo>
                  <a:cubicBezTo>
                    <a:pt x="160" y="78"/>
                    <a:pt x="162" y="78"/>
                    <a:pt x="167" y="78"/>
                  </a:cubicBezTo>
                  <a:cubicBezTo>
                    <a:pt x="168" y="78"/>
                    <a:pt x="170" y="78"/>
                    <a:pt x="172" y="78"/>
                  </a:cubicBezTo>
                  <a:cubicBezTo>
                    <a:pt x="177" y="79"/>
                    <a:pt x="184" y="81"/>
                    <a:pt x="184" y="86"/>
                  </a:cubicBezTo>
                  <a:cubicBezTo>
                    <a:pt x="184" y="87"/>
                    <a:pt x="185" y="88"/>
                    <a:pt x="186" y="88"/>
                  </a:cubicBezTo>
                  <a:cubicBezTo>
                    <a:pt x="187" y="88"/>
                    <a:pt x="190" y="86"/>
                    <a:pt x="190" y="84"/>
                  </a:cubicBezTo>
                  <a:cubicBezTo>
                    <a:pt x="191" y="80"/>
                    <a:pt x="197" y="75"/>
                    <a:pt x="205" y="72"/>
                  </a:cubicBezTo>
                  <a:cubicBezTo>
                    <a:pt x="208" y="71"/>
                    <a:pt x="210" y="70"/>
                    <a:pt x="211" y="70"/>
                  </a:cubicBezTo>
                  <a:cubicBezTo>
                    <a:pt x="215" y="70"/>
                    <a:pt x="217" y="73"/>
                    <a:pt x="219" y="75"/>
                  </a:cubicBezTo>
                  <a:cubicBezTo>
                    <a:pt x="220" y="76"/>
                    <a:pt x="220" y="76"/>
                    <a:pt x="220" y="76"/>
                  </a:cubicBezTo>
                  <a:cubicBezTo>
                    <a:pt x="221" y="77"/>
                    <a:pt x="223" y="78"/>
                    <a:pt x="225" y="78"/>
                  </a:cubicBezTo>
                  <a:cubicBezTo>
                    <a:pt x="228" y="78"/>
                    <a:pt x="230" y="77"/>
                    <a:pt x="230" y="76"/>
                  </a:cubicBezTo>
                  <a:cubicBezTo>
                    <a:pt x="231" y="75"/>
                    <a:pt x="231" y="74"/>
                    <a:pt x="233" y="74"/>
                  </a:cubicBezTo>
                  <a:cubicBezTo>
                    <a:pt x="237" y="74"/>
                    <a:pt x="246" y="80"/>
                    <a:pt x="251" y="84"/>
                  </a:cubicBezTo>
                  <a:cubicBezTo>
                    <a:pt x="253" y="86"/>
                    <a:pt x="254" y="87"/>
                    <a:pt x="254" y="88"/>
                  </a:cubicBezTo>
                  <a:cubicBezTo>
                    <a:pt x="254" y="89"/>
                    <a:pt x="253" y="89"/>
                    <a:pt x="251" y="89"/>
                  </a:cubicBezTo>
                  <a:cubicBezTo>
                    <a:pt x="249" y="90"/>
                    <a:pt x="246" y="90"/>
                    <a:pt x="245" y="93"/>
                  </a:cubicBezTo>
                  <a:cubicBezTo>
                    <a:pt x="244" y="95"/>
                    <a:pt x="242" y="95"/>
                    <a:pt x="240" y="95"/>
                  </a:cubicBezTo>
                  <a:cubicBezTo>
                    <a:pt x="240" y="95"/>
                    <a:pt x="240" y="95"/>
                    <a:pt x="240" y="95"/>
                  </a:cubicBezTo>
                  <a:cubicBezTo>
                    <a:pt x="239" y="95"/>
                    <a:pt x="237" y="95"/>
                    <a:pt x="236" y="95"/>
                  </a:cubicBezTo>
                  <a:cubicBezTo>
                    <a:pt x="234" y="95"/>
                    <a:pt x="232" y="94"/>
                    <a:pt x="231" y="95"/>
                  </a:cubicBezTo>
                  <a:cubicBezTo>
                    <a:pt x="229" y="97"/>
                    <a:pt x="220" y="98"/>
                    <a:pt x="214" y="98"/>
                  </a:cubicBezTo>
                  <a:cubicBezTo>
                    <a:pt x="213" y="98"/>
                    <a:pt x="213" y="98"/>
                    <a:pt x="213" y="98"/>
                  </a:cubicBezTo>
                  <a:cubicBezTo>
                    <a:pt x="214" y="97"/>
                    <a:pt x="214" y="97"/>
                    <a:pt x="214" y="97"/>
                  </a:cubicBezTo>
                  <a:cubicBezTo>
                    <a:pt x="218" y="90"/>
                    <a:pt x="219" y="87"/>
                    <a:pt x="219" y="86"/>
                  </a:cubicBezTo>
                  <a:cubicBezTo>
                    <a:pt x="219" y="85"/>
                    <a:pt x="218" y="85"/>
                    <a:pt x="217" y="85"/>
                  </a:cubicBezTo>
                  <a:cubicBezTo>
                    <a:pt x="215" y="85"/>
                    <a:pt x="212" y="86"/>
                    <a:pt x="210" y="88"/>
                  </a:cubicBezTo>
                  <a:cubicBezTo>
                    <a:pt x="208" y="89"/>
                    <a:pt x="207" y="89"/>
                    <a:pt x="206" y="89"/>
                  </a:cubicBezTo>
                  <a:cubicBezTo>
                    <a:pt x="205" y="89"/>
                    <a:pt x="204" y="89"/>
                    <a:pt x="204" y="89"/>
                  </a:cubicBezTo>
                  <a:cubicBezTo>
                    <a:pt x="203" y="89"/>
                    <a:pt x="202" y="89"/>
                    <a:pt x="202" y="89"/>
                  </a:cubicBezTo>
                  <a:cubicBezTo>
                    <a:pt x="200" y="89"/>
                    <a:pt x="199" y="90"/>
                    <a:pt x="199" y="91"/>
                  </a:cubicBezTo>
                  <a:cubicBezTo>
                    <a:pt x="197" y="95"/>
                    <a:pt x="195" y="99"/>
                    <a:pt x="191" y="99"/>
                  </a:cubicBezTo>
                  <a:cubicBezTo>
                    <a:pt x="190" y="99"/>
                    <a:pt x="190" y="100"/>
                    <a:pt x="189" y="102"/>
                  </a:cubicBezTo>
                  <a:cubicBezTo>
                    <a:pt x="189" y="104"/>
                    <a:pt x="189" y="106"/>
                    <a:pt x="187" y="107"/>
                  </a:cubicBezTo>
                  <a:cubicBezTo>
                    <a:pt x="185" y="107"/>
                    <a:pt x="183" y="108"/>
                    <a:pt x="181" y="108"/>
                  </a:cubicBezTo>
                  <a:cubicBezTo>
                    <a:pt x="178" y="109"/>
                    <a:pt x="174" y="109"/>
                    <a:pt x="173" y="112"/>
                  </a:cubicBezTo>
                  <a:cubicBezTo>
                    <a:pt x="173" y="113"/>
                    <a:pt x="175" y="115"/>
                    <a:pt x="177" y="116"/>
                  </a:cubicBezTo>
                  <a:cubicBezTo>
                    <a:pt x="180" y="118"/>
                    <a:pt x="183" y="120"/>
                    <a:pt x="182" y="123"/>
                  </a:cubicBezTo>
                  <a:cubicBezTo>
                    <a:pt x="182" y="125"/>
                    <a:pt x="183" y="127"/>
                    <a:pt x="184" y="129"/>
                  </a:cubicBezTo>
                  <a:cubicBezTo>
                    <a:pt x="185" y="131"/>
                    <a:pt x="186" y="134"/>
                    <a:pt x="184" y="136"/>
                  </a:cubicBezTo>
                  <a:cubicBezTo>
                    <a:pt x="181" y="138"/>
                    <a:pt x="178" y="142"/>
                    <a:pt x="178" y="151"/>
                  </a:cubicBezTo>
                  <a:lnTo>
                    <a:pt x="178" y="152"/>
                  </a:lnTo>
                  <a:close/>
                  <a:moveTo>
                    <a:pt x="162" y="143"/>
                  </a:moveTo>
                  <a:cubicBezTo>
                    <a:pt x="164" y="143"/>
                    <a:pt x="166" y="144"/>
                    <a:pt x="167" y="146"/>
                  </a:cubicBezTo>
                  <a:cubicBezTo>
                    <a:pt x="169" y="147"/>
                    <a:pt x="170" y="148"/>
                    <a:pt x="172" y="148"/>
                  </a:cubicBezTo>
                  <a:cubicBezTo>
                    <a:pt x="173" y="148"/>
                    <a:pt x="175" y="149"/>
                    <a:pt x="177" y="150"/>
                  </a:cubicBezTo>
                  <a:cubicBezTo>
                    <a:pt x="177" y="143"/>
                    <a:pt x="179" y="139"/>
                    <a:pt x="183" y="135"/>
                  </a:cubicBezTo>
                  <a:cubicBezTo>
                    <a:pt x="185" y="134"/>
                    <a:pt x="184" y="132"/>
                    <a:pt x="183" y="129"/>
                  </a:cubicBezTo>
                  <a:cubicBezTo>
                    <a:pt x="182" y="127"/>
                    <a:pt x="181" y="125"/>
                    <a:pt x="181" y="123"/>
                  </a:cubicBezTo>
                  <a:cubicBezTo>
                    <a:pt x="182" y="120"/>
                    <a:pt x="179" y="119"/>
                    <a:pt x="177" y="117"/>
                  </a:cubicBezTo>
                  <a:cubicBezTo>
                    <a:pt x="174" y="115"/>
                    <a:pt x="172" y="114"/>
                    <a:pt x="172" y="111"/>
                  </a:cubicBezTo>
                  <a:cubicBezTo>
                    <a:pt x="173" y="109"/>
                    <a:pt x="177" y="108"/>
                    <a:pt x="181" y="107"/>
                  </a:cubicBezTo>
                  <a:cubicBezTo>
                    <a:pt x="183" y="107"/>
                    <a:pt x="185" y="106"/>
                    <a:pt x="186" y="106"/>
                  </a:cubicBezTo>
                  <a:cubicBezTo>
                    <a:pt x="188" y="105"/>
                    <a:pt x="188" y="103"/>
                    <a:pt x="188" y="102"/>
                  </a:cubicBezTo>
                  <a:cubicBezTo>
                    <a:pt x="189" y="100"/>
                    <a:pt x="189" y="98"/>
                    <a:pt x="191" y="98"/>
                  </a:cubicBezTo>
                  <a:cubicBezTo>
                    <a:pt x="195" y="98"/>
                    <a:pt x="196" y="95"/>
                    <a:pt x="198" y="90"/>
                  </a:cubicBezTo>
                  <a:cubicBezTo>
                    <a:pt x="198" y="88"/>
                    <a:pt x="200" y="88"/>
                    <a:pt x="202" y="88"/>
                  </a:cubicBezTo>
                  <a:cubicBezTo>
                    <a:pt x="202" y="88"/>
                    <a:pt x="203" y="88"/>
                    <a:pt x="204" y="88"/>
                  </a:cubicBezTo>
                  <a:cubicBezTo>
                    <a:pt x="204" y="88"/>
                    <a:pt x="205" y="88"/>
                    <a:pt x="206" y="88"/>
                  </a:cubicBezTo>
                  <a:cubicBezTo>
                    <a:pt x="207" y="88"/>
                    <a:pt x="208" y="88"/>
                    <a:pt x="209" y="87"/>
                  </a:cubicBezTo>
                  <a:cubicBezTo>
                    <a:pt x="212" y="86"/>
                    <a:pt x="215" y="84"/>
                    <a:pt x="217" y="84"/>
                  </a:cubicBezTo>
                  <a:cubicBezTo>
                    <a:pt x="219" y="84"/>
                    <a:pt x="219" y="85"/>
                    <a:pt x="220" y="85"/>
                  </a:cubicBezTo>
                  <a:cubicBezTo>
                    <a:pt x="221" y="87"/>
                    <a:pt x="219" y="91"/>
                    <a:pt x="215" y="97"/>
                  </a:cubicBezTo>
                  <a:cubicBezTo>
                    <a:pt x="222" y="97"/>
                    <a:pt x="229" y="96"/>
                    <a:pt x="231" y="94"/>
                  </a:cubicBezTo>
                  <a:cubicBezTo>
                    <a:pt x="231" y="94"/>
                    <a:pt x="232" y="94"/>
                    <a:pt x="233" y="94"/>
                  </a:cubicBezTo>
                  <a:cubicBezTo>
                    <a:pt x="234" y="94"/>
                    <a:pt x="235" y="94"/>
                    <a:pt x="236" y="94"/>
                  </a:cubicBezTo>
                  <a:cubicBezTo>
                    <a:pt x="237" y="94"/>
                    <a:pt x="239" y="94"/>
                    <a:pt x="240" y="94"/>
                  </a:cubicBezTo>
                  <a:cubicBezTo>
                    <a:pt x="240" y="94"/>
                    <a:pt x="240" y="94"/>
                    <a:pt x="240" y="94"/>
                  </a:cubicBezTo>
                  <a:cubicBezTo>
                    <a:pt x="242" y="94"/>
                    <a:pt x="243" y="94"/>
                    <a:pt x="244" y="92"/>
                  </a:cubicBezTo>
                  <a:cubicBezTo>
                    <a:pt x="246" y="89"/>
                    <a:pt x="249" y="89"/>
                    <a:pt x="251" y="88"/>
                  </a:cubicBezTo>
                  <a:cubicBezTo>
                    <a:pt x="252" y="88"/>
                    <a:pt x="253" y="88"/>
                    <a:pt x="253" y="88"/>
                  </a:cubicBezTo>
                  <a:cubicBezTo>
                    <a:pt x="253" y="88"/>
                    <a:pt x="253" y="87"/>
                    <a:pt x="251" y="85"/>
                  </a:cubicBezTo>
                  <a:cubicBezTo>
                    <a:pt x="245" y="81"/>
                    <a:pt x="236" y="75"/>
                    <a:pt x="233" y="75"/>
                  </a:cubicBezTo>
                  <a:cubicBezTo>
                    <a:pt x="232" y="75"/>
                    <a:pt x="231" y="76"/>
                    <a:pt x="231" y="76"/>
                  </a:cubicBezTo>
                  <a:cubicBezTo>
                    <a:pt x="231" y="78"/>
                    <a:pt x="228" y="79"/>
                    <a:pt x="225" y="79"/>
                  </a:cubicBezTo>
                  <a:cubicBezTo>
                    <a:pt x="223" y="79"/>
                    <a:pt x="220" y="78"/>
                    <a:pt x="219" y="77"/>
                  </a:cubicBezTo>
                  <a:cubicBezTo>
                    <a:pt x="219" y="76"/>
                    <a:pt x="219" y="76"/>
                    <a:pt x="218" y="76"/>
                  </a:cubicBezTo>
                  <a:cubicBezTo>
                    <a:pt x="217" y="74"/>
                    <a:pt x="215" y="71"/>
                    <a:pt x="211" y="71"/>
                  </a:cubicBezTo>
                  <a:cubicBezTo>
                    <a:pt x="210" y="71"/>
                    <a:pt x="208" y="72"/>
                    <a:pt x="206" y="73"/>
                  </a:cubicBezTo>
                  <a:cubicBezTo>
                    <a:pt x="198" y="76"/>
                    <a:pt x="192" y="80"/>
                    <a:pt x="191" y="84"/>
                  </a:cubicBezTo>
                  <a:cubicBezTo>
                    <a:pt x="191" y="86"/>
                    <a:pt x="188" y="89"/>
                    <a:pt x="186" y="89"/>
                  </a:cubicBezTo>
                  <a:cubicBezTo>
                    <a:pt x="185" y="89"/>
                    <a:pt x="184" y="88"/>
                    <a:pt x="183" y="86"/>
                  </a:cubicBezTo>
                  <a:cubicBezTo>
                    <a:pt x="183" y="82"/>
                    <a:pt x="176" y="80"/>
                    <a:pt x="172" y="79"/>
                  </a:cubicBezTo>
                  <a:cubicBezTo>
                    <a:pt x="170" y="79"/>
                    <a:pt x="168" y="79"/>
                    <a:pt x="167" y="79"/>
                  </a:cubicBezTo>
                  <a:cubicBezTo>
                    <a:pt x="163" y="79"/>
                    <a:pt x="159" y="79"/>
                    <a:pt x="159" y="75"/>
                  </a:cubicBezTo>
                  <a:cubicBezTo>
                    <a:pt x="158" y="73"/>
                    <a:pt x="157" y="71"/>
                    <a:pt x="155" y="68"/>
                  </a:cubicBezTo>
                  <a:cubicBezTo>
                    <a:pt x="153" y="66"/>
                    <a:pt x="151" y="63"/>
                    <a:pt x="151" y="60"/>
                  </a:cubicBezTo>
                  <a:cubicBezTo>
                    <a:pt x="150" y="59"/>
                    <a:pt x="150" y="57"/>
                    <a:pt x="150" y="56"/>
                  </a:cubicBezTo>
                  <a:cubicBezTo>
                    <a:pt x="151" y="52"/>
                    <a:pt x="151" y="48"/>
                    <a:pt x="148" y="47"/>
                  </a:cubicBezTo>
                  <a:cubicBezTo>
                    <a:pt x="145" y="46"/>
                    <a:pt x="143" y="44"/>
                    <a:pt x="141" y="42"/>
                  </a:cubicBezTo>
                  <a:cubicBezTo>
                    <a:pt x="140" y="40"/>
                    <a:pt x="138" y="38"/>
                    <a:pt x="136" y="38"/>
                  </a:cubicBezTo>
                  <a:cubicBezTo>
                    <a:pt x="126" y="38"/>
                    <a:pt x="109" y="38"/>
                    <a:pt x="107" y="37"/>
                  </a:cubicBezTo>
                  <a:cubicBezTo>
                    <a:pt x="106" y="37"/>
                    <a:pt x="106" y="37"/>
                    <a:pt x="106" y="37"/>
                  </a:cubicBezTo>
                  <a:cubicBezTo>
                    <a:pt x="104" y="37"/>
                    <a:pt x="102" y="38"/>
                    <a:pt x="99" y="38"/>
                  </a:cubicBezTo>
                  <a:cubicBezTo>
                    <a:pt x="96" y="39"/>
                    <a:pt x="93" y="39"/>
                    <a:pt x="91" y="39"/>
                  </a:cubicBezTo>
                  <a:cubicBezTo>
                    <a:pt x="91" y="39"/>
                    <a:pt x="91" y="39"/>
                    <a:pt x="91" y="39"/>
                  </a:cubicBezTo>
                  <a:cubicBezTo>
                    <a:pt x="90" y="39"/>
                    <a:pt x="88" y="39"/>
                    <a:pt x="87" y="38"/>
                  </a:cubicBezTo>
                  <a:cubicBezTo>
                    <a:pt x="87" y="35"/>
                    <a:pt x="77" y="25"/>
                    <a:pt x="71" y="20"/>
                  </a:cubicBezTo>
                  <a:cubicBezTo>
                    <a:pt x="70" y="22"/>
                    <a:pt x="69" y="24"/>
                    <a:pt x="67" y="26"/>
                  </a:cubicBezTo>
                  <a:cubicBezTo>
                    <a:pt x="62" y="29"/>
                    <a:pt x="58" y="31"/>
                    <a:pt x="54" y="31"/>
                  </a:cubicBezTo>
                  <a:cubicBezTo>
                    <a:pt x="51" y="31"/>
                    <a:pt x="50" y="30"/>
                    <a:pt x="49" y="29"/>
                  </a:cubicBezTo>
                  <a:cubicBezTo>
                    <a:pt x="48" y="27"/>
                    <a:pt x="48" y="25"/>
                    <a:pt x="49" y="22"/>
                  </a:cubicBezTo>
                  <a:cubicBezTo>
                    <a:pt x="51" y="15"/>
                    <a:pt x="52" y="7"/>
                    <a:pt x="50" y="4"/>
                  </a:cubicBezTo>
                  <a:cubicBezTo>
                    <a:pt x="49" y="3"/>
                    <a:pt x="48" y="2"/>
                    <a:pt x="47" y="2"/>
                  </a:cubicBezTo>
                  <a:cubicBezTo>
                    <a:pt x="45" y="2"/>
                    <a:pt x="44" y="8"/>
                    <a:pt x="44" y="13"/>
                  </a:cubicBezTo>
                  <a:cubicBezTo>
                    <a:pt x="44" y="18"/>
                    <a:pt x="44" y="23"/>
                    <a:pt x="41" y="23"/>
                  </a:cubicBezTo>
                  <a:cubicBezTo>
                    <a:pt x="40" y="24"/>
                    <a:pt x="40" y="23"/>
                    <a:pt x="39" y="22"/>
                  </a:cubicBezTo>
                  <a:cubicBezTo>
                    <a:pt x="37" y="19"/>
                    <a:pt x="36" y="8"/>
                    <a:pt x="38" y="1"/>
                  </a:cubicBezTo>
                  <a:cubicBezTo>
                    <a:pt x="3" y="11"/>
                    <a:pt x="3" y="11"/>
                    <a:pt x="3" y="11"/>
                  </a:cubicBezTo>
                  <a:cubicBezTo>
                    <a:pt x="1" y="74"/>
                    <a:pt x="1" y="74"/>
                    <a:pt x="1" y="74"/>
                  </a:cubicBezTo>
                  <a:cubicBezTo>
                    <a:pt x="4" y="76"/>
                    <a:pt x="7" y="76"/>
                    <a:pt x="11" y="77"/>
                  </a:cubicBezTo>
                  <a:cubicBezTo>
                    <a:pt x="12" y="77"/>
                    <a:pt x="14" y="76"/>
                    <a:pt x="14" y="76"/>
                  </a:cubicBezTo>
                  <a:cubicBezTo>
                    <a:pt x="15" y="75"/>
                    <a:pt x="15" y="73"/>
                    <a:pt x="15" y="71"/>
                  </a:cubicBezTo>
                  <a:cubicBezTo>
                    <a:pt x="15" y="70"/>
                    <a:pt x="15" y="70"/>
                    <a:pt x="15" y="70"/>
                  </a:cubicBezTo>
                  <a:cubicBezTo>
                    <a:pt x="15" y="67"/>
                    <a:pt x="22" y="62"/>
                    <a:pt x="26" y="62"/>
                  </a:cubicBezTo>
                  <a:cubicBezTo>
                    <a:pt x="29" y="62"/>
                    <a:pt x="29" y="60"/>
                    <a:pt x="30" y="58"/>
                  </a:cubicBezTo>
                  <a:cubicBezTo>
                    <a:pt x="30" y="57"/>
                    <a:pt x="31" y="56"/>
                    <a:pt x="31" y="56"/>
                  </a:cubicBezTo>
                  <a:cubicBezTo>
                    <a:pt x="33" y="56"/>
                    <a:pt x="36" y="56"/>
                    <a:pt x="37" y="54"/>
                  </a:cubicBezTo>
                  <a:cubicBezTo>
                    <a:pt x="37" y="53"/>
                    <a:pt x="38" y="53"/>
                    <a:pt x="39" y="53"/>
                  </a:cubicBezTo>
                  <a:cubicBezTo>
                    <a:pt x="42" y="53"/>
                    <a:pt x="46" y="55"/>
                    <a:pt x="48" y="56"/>
                  </a:cubicBezTo>
                  <a:cubicBezTo>
                    <a:pt x="50" y="58"/>
                    <a:pt x="54" y="59"/>
                    <a:pt x="57" y="60"/>
                  </a:cubicBezTo>
                  <a:cubicBezTo>
                    <a:pt x="58" y="60"/>
                    <a:pt x="58" y="60"/>
                    <a:pt x="59" y="60"/>
                  </a:cubicBezTo>
                  <a:cubicBezTo>
                    <a:pt x="63" y="61"/>
                    <a:pt x="65" y="74"/>
                    <a:pt x="65" y="76"/>
                  </a:cubicBezTo>
                  <a:cubicBezTo>
                    <a:pt x="65" y="77"/>
                    <a:pt x="77" y="78"/>
                    <a:pt x="80" y="78"/>
                  </a:cubicBezTo>
                  <a:cubicBezTo>
                    <a:pt x="83" y="78"/>
                    <a:pt x="85" y="78"/>
                    <a:pt x="86" y="78"/>
                  </a:cubicBezTo>
                  <a:cubicBezTo>
                    <a:pt x="88" y="78"/>
                    <a:pt x="88" y="80"/>
                    <a:pt x="89" y="83"/>
                  </a:cubicBezTo>
                  <a:cubicBezTo>
                    <a:pt x="90" y="84"/>
                    <a:pt x="91" y="86"/>
                    <a:pt x="92" y="88"/>
                  </a:cubicBezTo>
                  <a:cubicBezTo>
                    <a:pt x="95" y="91"/>
                    <a:pt x="97" y="96"/>
                    <a:pt x="98" y="99"/>
                  </a:cubicBezTo>
                  <a:cubicBezTo>
                    <a:pt x="98" y="100"/>
                    <a:pt x="98" y="100"/>
                    <a:pt x="98" y="100"/>
                  </a:cubicBezTo>
                  <a:cubicBezTo>
                    <a:pt x="99" y="101"/>
                    <a:pt x="102" y="103"/>
                    <a:pt x="105" y="104"/>
                  </a:cubicBezTo>
                  <a:cubicBezTo>
                    <a:pt x="108" y="106"/>
                    <a:pt x="112" y="108"/>
                    <a:pt x="113" y="110"/>
                  </a:cubicBezTo>
                  <a:cubicBezTo>
                    <a:pt x="116" y="114"/>
                    <a:pt x="123" y="118"/>
                    <a:pt x="130" y="120"/>
                  </a:cubicBezTo>
                  <a:cubicBezTo>
                    <a:pt x="133" y="121"/>
                    <a:pt x="135" y="124"/>
                    <a:pt x="138" y="126"/>
                  </a:cubicBezTo>
                  <a:cubicBezTo>
                    <a:pt x="141" y="128"/>
                    <a:pt x="143" y="130"/>
                    <a:pt x="144" y="130"/>
                  </a:cubicBezTo>
                  <a:cubicBezTo>
                    <a:pt x="148" y="129"/>
                    <a:pt x="157" y="134"/>
                    <a:pt x="158" y="134"/>
                  </a:cubicBezTo>
                  <a:cubicBezTo>
                    <a:pt x="158" y="134"/>
                    <a:pt x="158" y="134"/>
                    <a:pt x="158" y="134"/>
                  </a:cubicBezTo>
                  <a:cubicBezTo>
                    <a:pt x="159" y="144"/>
                    <a:pt x="159" y="144"/>
                    <a:pt x="159" y="144"/>
                  </a:cubicBezTo>
                  <a:cubicBezTo>
                    <a:pt x="159" y="144"/>
                    <a:pt x="159" y="144"/>
                    <a:pt x="160" y="144"/>
                  </a:cubicBezTo>
                  <a:cubicBezTo>
                    <a:pt x="160" y="143"/>
                    <a:pt x="161" y="143"/>
                    <a:pt x="162" y="1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7" name="Freeform 144"/>
            <p:cNvSpPr>
              <a:spLocks noEditPoints="1"/>
            </p:cNvSpPr>
            <p:nvPr/>
          </p:nvSpPr>
          <p:spPr>
            <a:xfrm>
              <a:off x="4906964" y="1163638"/>
              <a:ext cx="636588" cy="1009650"/>
            </a:xfrm>
            <a:custGeom>
              <a:gdLst>
                <a:gd name="T0" fmla="*/ 10 w 376"/>
                <a:gd name="T1" fmla="*/ 554 h 595"/>
                <a:gd name="T2" fmla="*/ 3 w 376"/>
                <a:gd name="T3" fmla="*/ 531 h 595"/>
                <a:gd name="T4" fmla="*/ 39 w 376"/>
                <a:gd name="T5" fmla="*/ 493 h 595"/>
                <a:gd name="T6" fmla="*/ 93 w 376"/>
                <a:gd name="T7" fmla="*/ 450 h 595"/>
                <a:gd name="T8" fmla="*/ 121 w 376"/>
                <a:gd name="T9" fmla="*/ 406 h 595"/>
                <a:gd name="T10" fmla="*/ 149 w 376"/>
                <a:gd name="T11" fmla="*/ 354 h 595"/>
                <a:gd name="T12" fmla="*/ 158 w 376"/>
                <a:gd name="T13" fmla="*/ 344 h 595"/>
                <a:gd name="T14" fmla="*/ 184 w 376"/>
                <a:gd name="T15" fmla="*/ 322 h 595"/>
                <a:gd name="T16" fmla="*/ 222 w 376"/>
                <a:gd name="T17" fmla="*/ 317 h 595"/>
                <a:gd name="T18" fmla="*/ 251 w 376"/>
                <a:gd name="T19" fmla="*/ 306 h 595"/>
                <a:gd name="T20" fmla="*/ 260 w 376"/>
                <a:gd name="T21" fmla="*/ 303 h 595"/>
                <a:gd name="T22" fmla="*/ 298 w 376"/>
                <a:gd name="T23" fmla="*/ 292 h 595"/>
                <a:gd name="T24" fmla="*/ 334 w 376"/>
                <a:gd name="T25" fmla="*/ 300 h 595"/>
                <a:gd name="T26" fmla="*/ 361 w 376"/>
                <a:gd name="T27" fmla="*/ 320 h 595"/>
                <a:gd name="T28" fmla="*/ 316 w 376"/>
                <a:gd name="T29" fmla="*/ 315 h 595"/>
                <a:gd name="T30" fmla="*/ 254 w 376"/>
                <a:gd name="T31" fmla="*/ 344 h 595"/>
                <a:gd name="T32" fmla="*/ 166 w 376"/>
                <a:gd name="T33" fmla="*/ 378 h 595"/>
                <a:gd name="T34" fmla="*/ 122 w 376"/>
                <a:gd name="T35" fmla="*/ 461 h 595"/>
                <a:gd name="T36" fmla="*/ 96 w 376"/>
                <a:gd name="T37" fmla="*/ 577 h 595"/>
                <a:gd name="T38" fmla="*/ 16 w 376"/>
                <a:gd name="T39" fmla="*/ 573 h 595"/>
                <a:gd name="T40" fmla="*/ 97 w 376"/>
                <a:gd name="T41" fmla="*/ 576 h 595"/>
                <a:gd name="T42" fmla="*/ 125 w 376"/>
                <a:gd name="T43" fmla="*/ 460 h 595"/>
                <a:gd name="T44" fmla="*/ 179 w 376"/>
                <a:gd name="T45" fmla="*/ 363 h 595"/>
                <a:gd name="T46" fmla="*/ 272 w 376"/>
                <a:gd name="T47" fmla="*/ 343 h 595"/>
                <a:gd name="T48" fmla="*/ 342 w 376"/>
                <a:gd name="T49" fmla="*/ 318 h 595"/>
                <a:gd name="T50" fmla="*/ 365 w 376"/>
                <a:gd name="T51" fmla="*/ 307 h 595"/>
                <a:gd name="T52" fmla="*/ 321 w 376"/>
                <a:gd name="T53" fmla="*/ 290 h 595"/>
                <a:gd name="T54" fmla="*/ 285 w 376"/>
                <a:gd name="T55" fmla="*/ 288 h 595"/>
                <a:gd name="T56" fmla="*/ 253 w 376"/>
                <a:gd name="T57" fmla="*/ 303 h 595"/>
                <a:gd name="T58" fmla="*/ 243 w 376"/>
                <a:gd name="T59" fmla="*/ 314 h 595"/>
                <a:gd name="T60" fmla="*/ 212 w 376"/>
                <a:gd name="T61" fmla="*/ 308 h 595"/>
                <a:gd name="T62" fmla="*/ 178 w 376"/>
                <a:gd name="T63" fmla="*/ 334 h 595"/>
                <a:gd name="T64" fmla="*/ 146 w 376"/>
                <a:gd name="T65" fmla="*/ 344 h 595"/>
                <a:gd name="T66" fmla="*/ 166 w 376"/>
                <a:gd name="T67" fmla="*/ 355 h 595"/>
                <a:gd name="T68" fmla="*/ 110 w 376"/>
                <a:gd name="T69" fmla="*/ 417 h 595"/>
                <a:gd name="T70" fmla="*/ 67 w 376"/>
                <a:gd name="T71" fmla="*/ 470 h 595"/>
                <a:gd name="T72" fmla="*/ 13 w 376"/>
                <a:gd name="T73" fmla="*/ 502 h 595"/>
                <a:gd name="T74" fmla="*/ 8 w 376"/>
                <a:gd name="T75" fmla="*/ 548 h 595"/>
                <a:gd name="T76" fmla="*/ 11 w 376"/>
                <a:gd name="T77" fmla="*/ 566 h 595"/>
                <a:gd name="T78" fmla="*/ 141 w 376"/>
                <a:gd name="T79" fmla="*/ 97 h 595"/>
                <a:gd name="T80" fmla="*/ 149 w 376"/>
                <a:gd name="T81" fmla="*/ 57 h 595"/>
                <a:gd name="T82" fmla="*/ 94 w 376"/>
                <a:gd name="T83" fmla="*/ 26 h 595"/>
                <a:gd name="T84" fmla="*/ 136 w 376"/>
                <a:gd name="T85" fmla="*/ 29 h 595"/>
                <a:gd name="T86" fmla="*/ 186 w 376"/>
                <a:gd name="T87" fmla="*/ 34 h 595"/>
                <a:gd name="T88" fmla="*/ 249 w 376"/>
                <a:gd name="T89" fmla="*/ 70 h 595"/>
                <a:gd name="T90" fmla="*/ 232 w 376"/>
                <a:gd name="T91" fmla="*/ 101 h 595"/>
                <a:gd name="T92" fmla="*/ 171 w 376"/>
                <a:gd name="T93" fmla="*/ 123 h 595"/>
                <a:gd name="T94" fmla="*/ 214 w 376"/>
                <a:gd name="T95" fmla="*/ 63 h 595"/>
                <a:gd name="T96" fmla="*/ 283 w 376"/>
                <a:gd name="T97" fmla="*/ 88 h 595"/>
                <a:gd name="T98" fmla="*/ 226 w 376"/>
                <a:gd name="T99" fmla="*/ 49 h 595"/>
                <a:gd name="T100" fmla="*/ 170 w 376"/>
                <a:gd name="T101" fmla="*/ 22 h 595"/>
                <a:gd name="T102" fmla="*/ 118 w 376"/>
                <a:gd name="T103" fmla="*/ 30 h 595"/>
                <a:gd name="T104" fmla="*/ 97 w 376"/>
                <a:gd name="T105" fmla="*/ 44 h 595"/>
                <a:gd name="T106" fmla="*/ 160 w 376"/>
                <a:gd name="T107" fmla="*/ 63 h 595"/>
                <a:gd name="T108" fmla="*/ 128 w 376"/>
                <a:gd name="T109" fmla="*/ 100 h 595"/>
                <a:gd name="T110" fmla="*/ 91 w 376"/>
                <a:gd name="T111" fmla="*/ 68 h 595"/>
                <a:gd name="T112" fmla="*/ 191 w 376"/>
                <a:gd name="T113" fmla="*/ 22 h 595"/>
                <a:gd name="T114" fmla="*/ 211 w 376"/>
                <a:gd name="T115" fmla="*/ 1 h 595"/>
                <a:gd name="T116" fmla="*/ 304 w 376"/>
                <a:gd name="T117" fmla="*/ 11 h 595"/>
                <a:gd name="T118" fmla="*/ 271 w 376"/>
                <a:gd name="T119" fmla="*/ 8 h 595"/>
                <a:gd name="T120" fmla="*/ 206 w 376"/>
                <a:gd name="T121" fmla="*/ 6 h 595"/>
                <a:gd name="T122" fmla="*/ 241 w 376"/>
                <a:gd name="T123" fmla="*/ 22 h 5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6" h="595">
                  <a:moveTo>
                    <a:pt x="39" y="595"/>
                  </a:moveTo>
                  <a:cubicBezTo>
                    <a:pt x="35" y="595"/>
                    <a:pt x="31" y="593"/>
                    <a:pt x="29" y="592"/>
                  </a:cubicBezTo>
                  <a:cubicBezTo>
                    <a:pt x="27" y="591"/>
                    <a:pt x="26" y="590"/>
                    <a:pt x="25" y="590"/>
                  </a:cubicBezTo>
                  <a:cubicBezTo>
                    <a:pt x="21" y="589"/>
                    <a:pt x="10" y="584"/>
                    <a:pt x="9" y="580"/>
                  </a:cubicBezTo>
                  <a:cubicBezTo>
                    <a:pt x="9" y="579"/>
                    <a:pt x="9" y="578"/>
                    <a:pt x="9" y="577"/>
                  </a:cubicBezTo>
                  <a:cubicBezTo>
                    <a:pt x="11" y="575"/>
                    <a:pt x="12" y="575"/>
                    <a:pt x="13" y="575"/>
                  </a:cubicBezTo>
                  <a:cubicBezTo>
                    <a:pt x="15" y="575"/>
                    <a:pt x="15" y="575"/>
                    <a:pt x="15" y="573"/>
                  </a:cubicBezTo>
                  <a:cubicBezTo>
                    <a:pt x="15" y="570"/>
                    <a:pt x="17" y="569"/>
                    <a:pt x="18" y="569"/>
                  </a:cubicBezTo>
                  <a:cubicBezTo>
                    <a:pt x="18" y="569"/>
                    <a:pt x="19" y="569"/>
                    <a:pt x="19" y="568"/>
                  </a:cubicBezTo>
                  <a:cubicBezTo>
                    <a:pt x="19" y="568"/>
                    <a:pt x="19" y="568"/>
                    <a:pt x="19" y="567"/>
                  </a:cubicBezTo>
                  <a:cubicBezTo>
                    <a:pt x="18" y="566"/>
                    <a:pt x="17" y="564"/>
                    <a:pt x="15" y="564"/>
                  </a:cubicBezTo>
                  <a:cubicBezTo>
                    <a:pt x="14" y="564"/>
                    <a:pt x="13" y="565"/>
                    <a:pt x="12" y="567"/>
                  </a:cubicBezTo>
                  <a:cubicBezTo>
                    <a:pt x="10" y="569"/>
                    <a:pt x="8" y="570"/>
                    <a:pt x="6" y="570"/>
                  </a:cubicBezTo>
                  <a:cubicBezTo>
                    <a:pt x="4" y="570"/>
                    <a:pt x="3" y="569"/>
                    <a:pt x="3" y="567"/>
                  </a:cubicBezTo>
                  <a:cubicBezTo>
                    <a:pt x="3" y="566"/>
                    <a:pt x="4" y="565"/>
                    <a:pt x="4" y="564"/>
                  </a:cubicBezTo>
                  <a:cubicBezTo>
                    <a:pt x="5" y="562"/>
                    <a:pt x="6" y="561"/>
                    <a:pt x="4" y="559"/>
                  </a:cubicBezTo>
                  <a:cubicBezTo>
                    <a:pt x="3" y="558"/>
                    <a:pt x="3" y="557"/>
                    <a:pt x="4" y="555"/>
                  </a:cubicBezTo>
                  <a:cubicBezTo>
                    <a:pt x="4" y="554"/>
                    <a:pt x="7" y="552"/>
                    <a:pt x="8" y="552"/>
                  </a:cubicBezTo>
                  <a:cubicBezTo>
                    <a:pt x="9" y="552"/>
                    <a:pt x="9" y="552"/>
                    <a:pt x="9" y="553"/>
                  </a:cubicBezTo>
                  <a:cubicBezTo>
                    <a:pt x="10" y="553"/>
                    <a:pt x="10" y="554"/>
                    <a:pt x="10" y="554"/>
                  </a:cubicBezTo>
                  <a:cubicBezTo>
                    <a:pt x="10" y="555"/>
                    <a:pt x="10" y="556"/>
                    <a:pt x="11" y="557"/>
                  </a:cubicBezTo>
                  <a:cubicBezTo>
                    <a:pt x="11" y="558"/>
                    <a:pt x="12" y="558"/>
                    <a:pt x="13" y="558"/>
                  </a:cubicBezTo>
                  <a:cubicBezTo>
                    <a:pt x="14" y="558"/>
                    <a:pt x="14" y="558"/>
                    <a:pt x="14" y="557"/>
                  </a:cubicBezTo>
                  <a:cubicBezTo>
                    <a:pt x="15" y="557"/>
                    <a:pt x="15" y="557"/>
                    <a:pt x="15" y="556"/>
                  </a:cubicBezTo>
                  <a:cubicBezTo>
                    <a:pt x="14" y="555"/>
                    <a:pt x="15" y="553"/>
                    <a:pt x="16" y="552"/>
                  </a:cubicBezTo>
                  <a:cubicBezTo>
                    <a:pt x="17" y="550"/>
                    <a:pt x="20" y="549"/>
                    <a:pt x="23" y="549"/>
                  </a:cubicBezTo>
                  <a:cubicBezTo>
                    <a:pt x="23" y="549"/>
                    <a:pt x="23" y="549"/>
                    <a:pt x="23" y="549"/>
                  </a:cubicBezTo>
                  <a:cubicBezTo>
                    <a:pt x="24" y="549"/>
                    <a:pt x="24" y="548"/>
                    <a:pt x="24" y="547"/>
                  </a:cubicBezTo>
                  <a:cubicBezTo>
                    <a:pt x="24" y="546"/>
                    <a:pt x="24" y="545"/>
                    <a:pt x="23" y="545"/>
                  </a:cubicBezTo>
                  <a:cubicBezTo>
                    <a:pt x="22" y="545"/>
                    <a:pt x="21" y="545"/>
                    <a:pt x="20" y="546"/>
                  </a:cubicBezTo>
                  <a:cubicBezTo>
                    <a:pt x="17" y="549"/>
                    <a:pt x="14" y="551"/>
                    <a:pt x="12" y="551"/>
                  </a:cubicBezTo>
                  <a:cubicBezTo>
                    <a:pt x="11" y="551"/>
                    <a:pt x="10" y="551"/>
                    <a:pt x="9" y="549"/>
                  </a:cubicBezTo>
                  <a:cubicBezTo>
                    <a:pt x="9" y="549"/>
                    <a:pt x="9" y="549"/>
                    <a:pt x="8" y="549"/>
                  </a:cubicBezTo>
                  <a:cubicBezTo>
                    <a:pt x="8" y="549"/>
                    <a:pt x="8" y="549"/>
                    <a:pt x="7" y="549"/>
                  </a:cubicBezTo>
                  <a:cubicBezTo>
                    <a:pt x="7" y="549"/>
                    <a:pt x="6" y="549"/>
                    <a:pt x="5" y="549"/>
                  </a:cubicBezTo>
                  <a:cubicBezTo>
                    <a:pt x="4" y="549"/>
                    <a:pt x="3" y="549"/>
                    <a:pt x="2" y="547"/>
                  </a:cubicBezTo>
                  <a:cubicBezTo>
                    <a:pt x="0" y="544"/>
                    <a:pt x="1" y="542"/>
                    <a:pt x="2" y="541"/>
                  </a:cubicBezTo>
                  <a:cubicBezTo>
                    <a:pt x="3" y="540"/>
                    <a:pt x="4" y="539"/>
                    <a:pt x="3" y="538"/>
                  </a:cubicBezTo>
                  <a:cubicBezTo>
                    <a:pt x="1" y="536"/>
                    <a:pt x="1" y="534"/>
                    <a:pt x="1" y="533"/>
                  </a:cubicBezTo>
                  <a:cubicBezTo>
                    <a:pt x="1" y="532"/>
                    <a:pt x="2" y="531"/>
                    <a:pt x="3" y="531"/>
                  </a:cubicBezTo>
                  <a:cubicBezTo>
                    <a:pt x="5" y="530"/>
                    <a:pt x="6" y="528"/>
                    <a:pt x="6" y="527"/>
                  </a:cubicBezTo>
                  <a:cubicBezTo>
                    <a:pt x="5" y="526"/>
                    <a:pt x="5" y="526"/>
                    <a:pt x="5" y="526"/>
                  </a:cubicBezTo>
                  <a:cubicBezTo>
                    <a:pt x="4" y="526"/>
                    <a:pt x="3" y="526"/>
                    <a:pt x="3" y="525"/>
                  </a:cubicBezTo>
                  <a:cubicBezTo>
                    <a:pt x="3" y="524"/>
                    <a:pt x="4" y="523"/>
                    <a:pt x="5" y="522"/>
                  </a:cubicBezTo>
                  <a:cubicBezTo>
                    <a:pt x="5" y="522"/>
                    <a:pt x="6" y="521"/>
                    <a:pt x="6" y="520"/>
                  </a:cubicBezTo>
                  <a:cubicBezTo>
                    <a:pt x="6" y="520"/>
                    <a:pt x="5" y="519"/>
                    <a:pt x="4" y="519"/>
                  </a:cubicBezTo>
                  <a:cubicBezTo>
                    <a:pt x="2" y="517"/>
                    <a:pt x="0" y="516"/>
                    <a:pt x="1" y="513"/>
                  </a:cubicBezTo>
                  <a:cubicBezTo>
                    <a:pt x="2" y="510"/>
                    <a:pt x="4" y="506"/>
                    <a:pt x="6" y="506"/>
                  </a:cubicBezTo>
                  <a:cubicBezTo>
                    <a:pt x="7" y="506"/>
                    <a:pt x="7" y="506"/>
                    <a:pt x="8" y="506"/>
                  </a:cubicBezTo>
                  <a:cubicBezTo>
                    <a:pt x="9" y="507"/>
                    <a:pt x="10" y="507"/>
                    <a:pt x="12" y="507"/>
                  </a:cubicBezTo>
                  <a:cubicBezTo>
                    <a:pt x="13" y="507"/>
                    <a:pt x="13" y="507"/>
                    <a:pt x="13" y="507"/>
                  </a:cubicBezTo>
                  <a:cubicBezTo>
                    <a:pt x="14" y="507"/>
                    <a:pt x="13" y="506"/>
                    <a:pt x="13" y="506"/>
                  </a:cubicBezTo>
                  <a:cubicBezTo>
                    <a:pt x="12" y="505"/>
                    <a:pt x="11" y="503"/>
                    <a:pt x="12" y="502"/>
                  </a:cubicBezTo>
                  <a:cubicBezTo>
                    <a:pt x="13" y="499"/>
                    <a:pt x="17" y="497"/>
                    <a:pt x="20" y="498"/>
                  </a:cubicBezTo>
                  <a:cubicBezTo>
                    <a:pt x="22" y="498"/>
                    <a:pt x="22" y="497"/>
                    <a:pt x="23" y="496"/>
                  </a:cubicBezTo>
                  <a:cubicBezTo>
                    <a:pt x="24" y="494"/>
                    <a:pt x="24" y="493"/>
                    <a:pt x="27" y="493"/>
                  </a:cubicBezTo>
                  <a:cubicBezTo>
                    <a:pt x="27" y="493"/>
                    <a:pt x="27" y="493"/>
                    <a:pt x="28" y="493"/>
                  </a:cubicBezTo>
                  <a:cubicBezTo>
                    <a:pt x="30" y="493"/>
                    <a:pt x="34" y="494"/>
                    <a:pt x="37" y="494"/>
                  </a:cubicBezTo>
                  <a:cubicBezTo>
                    <a:pt x="39" y="494"/>
                    <a:pt x="39" y="494"/>
                    <a:pt x="40" y="494"/>
                  </a:cubicBezTo>
                  <a:cubicBezTo>
                    <a:pt x="40" y="494"/>
                    <a:pt x="40" y="493"/>
                    <a:pt x="39" y="493"/>
                  </a:cubicBezTo>
                  <a:cubicBezTo>
                    <a:pt x="39" y="492"/>
                    <a:pt x="37" y="492"/>
                    <a:pt x="36" y="491"/>
                  </a:cubicBezTo>
                  <a:cubicBezTo>
                    <a:pt x="34" y="491"/>
                    <a:pt x="32" y="490"/>
                    <a:pt x="31" y="489"/>
                  </a:cubicBezTo>
                  <a:cubicBezTo>
                    <a:pt x="31" y="488"/>
                    <a:pt x="31" y="488"/>
                    <a:pt x="32" y="487"/>
                  </a:cubicBezTo>
                  <a:cubicBezTo>
                    <a:pt x="33" y="485"/>
                    <a:pt x="36" y="485"/>
                    <a:pt x="38" y="485"/>
                  </a:cubicBezTo>
                  <a:cubicBezTo>
                    <a:pt x="41" y="484"/>
                    <a:pt x="44" y="484"/>
                    <a:pt x="46" y="482"/>
                  </a:cubicBezTo>
                  <a:cubicBezTo>
                    <a:pt x="47" y="480"/>
                    <a:pt x="50" y="480"/>
                    <a:pt x="52" y="479"/>
                  </a:cubicBezTo>
                  <a:cubicBezTo>
                    <a:pt x="53" y="479"/>
                    <a:pt x="54" y="479"/>
                    <a:pt x="54" y="479"/>
                  </a:cubicBezTo>
                  <a:cubicBezTo>
                    <a:pt x="54" y="479"/>
                    <a:pt x="54" y="479"/>
                    <a:pt x="54" y="478"/>
                  </a:cubicBezTo>
                  <a:cubicBezTo>
                    <a:pt x="52" y="475"/>
                    <a:pt x="51" y="472"/>
                    <a:pt x="52" y="470"/>
                  </a:cubicBezTo>
                  <a:cubicBezTo>
                    <a:pt x="52" y="469"/>
                    <a:pt x="54" y="468"/>
                    <a:pt x="56" y="469"/>
                  </a:cubicBezTo>
                  <a:cubicBezTo>
                    <a:pt x="59" y="469"/>
                    <a:pt x="60" y="471"/>
                    <a:pt x="61" y="473"/>
                  </a:cubicBezTo>
                  <a:cubicBezTo>
                    <a:pt x="62" y="474"/>
                    <a:pt x="62" y="475"/>
                    <a:pt x="63" y="475"/>
                  </a:cubicBezTo>
                  <a:cubicBezTo>
                    <a:pt x="63" y="475"/>
                    <a:pt x="63" y="475"/>
                    <a:pt x="64" y="475"/>
                  </a:cubicBezTo>
                  <a:cubicBezTo>
                    <a:pt x="65" y="474"/>
                    <a:pt x="65" y="472"/>
                    <a:pt x="66" y="470"/>
                  </a:cubicBezTo>
                  <a:cubicBezTo>
                    <a:pt x="67" y="467"/>
                    <a:pt x="68" y="464"/>
                    <a:pt x="71" y="464"/>
                  </a:cubicBezTo>
                  <a:cubicBezTo>
                    <a:pt x="73" y="464"/>
                    <a:pt x="74" y="463"/>
                    <a:pt x="74" y="461"/>
                  </a:cubicBezTo>
                  <a:cubicBezTo>
                    <a:pt x="75" y="459"/>
                    <a:pt x="76" y="456"/>
                    <a:pt x="80" y="455"/>
                  </a:cubicBezTo>
                  <a:cubicBezTo>
                    <a:pt x="82" y="454"/>
                    <a:pt x="84" y="452"/>
                    <a:pt x="86" y="451"/>
                  </a:cubicBezTo>
                  <a:cubicBezTo>
                    <a:pt x="88" y="450"/>
                    <a:pt x="90" y="448"/>
                    <a:pt x="92" y="448"/>
                  </a:cubicBezTo>
                  <a:cubicBezTo>
                    <a:pt x="92" y="448"/>
                    <a:pt x="93" y="449"/>
                    <a:pt x="93" y="450"/>
                  </a:cubicBezTo>
                  <a:cubicBezTo>
                    <a:pt x="94" y="451"/>
                    <a:pt x="95" y="451"/>
                    <a:pt x="95" y="451"/>
                  </a:cubicBezTo>
                  <a:cubicBezTo>
                    <a:pt x="97" y="451"/>
                    <a:pt x="98" y="451"/>
                    <a:pt x="98" y="450"/>
                  </a:cubicBezTo>
                  <a:cubicBezTo>
                    <a:pt x="98" y="449"/>
                    <a:pt x="98" y="449"/>
                    <a:pt x="97" y="448"/>
                  </a:cubicBezTo>
                  <a:cubicBezTo>
                    <a:pt x="91" y="443"/>
                    <a:pt x="88" y="441"/>
                    <a:pt x="88" y="439"/>
                  </a:cubicBezTo>
                  <a:cubicBezTo>
                    <a:pt x="88" y="439"/>
                    <a:pt x="89" y="439"/>
                    <a:pt x="89" y="438"/>
                  </a:cubicBezTo>
                  <a:cubicBezTo>
                    <a:pt x="90" y="438"/>
                    <a:pt x="91" y="438"/>
                    <a:pt x="92" y="438"/>
                  </a:cubicBezTo>
                  <a:cubicBezTo>
                    <a:pt x="95" y="438"/>
                    <a:pt x="98" y="437"/>
                    <a:pt x="99" y="436"/>
                  </a:cubicBezTo>
                  <a:cubicBezTo>
                    <a:pt x="99" y="435"/>
                    <a:pt x="99" y="434"/>
                    <a:pt x="101" y="434"/>
                  </a:cubicBezTo>
                  <a:cubicBezTo>
                    <a:pt x="102" y="434"/>
                    <a:pt x="103" y="434"/>
                    <a:pt x="104" y="435"/>
                  </a:cubicBezTo>
                  <a:cubicBezTo>
                    <a:pt x="105" y="435"/>
                    <a:pt x="106" y="435"/>
                    <a:pt x="107" y="435"/>
                  </a:cubicBezTo>
                  <a:cubicBezTo>
                    <a:pt x="108" y="435"/>
                    <a:pt x="108" y="435"/>
                    <a:pt x="108" y="434"/>
                  </a:cubicBezTo>
                  <a:cubicBezTo>
                    <a:pt x="108" y="433"/>
                    <a:pt x="107" y="432"/>
                    <a:pt x="107" y="431"/>
                  </a:cubicBezTo>
                  <a:cubicBezTo>
                    <a:pt x="106" y="429"/>
                    <a:pt x="106" y="426"/>
                    <a:pt x="108" y="424"/>
                  </a:cubicBezTo>
                  <a:cubicBezTo>
                    <a:pt x="110" y="423"/>
                    <a:pt x="109" y="420"/>
                    <a:pt x="109" y="417"/>
                  </a:cubicBezTo>
                  <a:cubicBezTo>
                    <a:pt x="109" y="414"/>
                    <a:pt x="109" y="412"/>
                    <a:pt x="110" y="411"/>
                  </a:cubicBezTo>
                  <a:cubicBezTo>
                    <a:pt x="111" y="410"/>
                    <a:pt x="111" y="410"/>
                    <a:pt x="112" y="410"/>
                  </a:cubicBezTo>
                  <a:cubicBezTo>
                    <a:pt x="113" y="410"/>
                    <a:pt x="114" y="410"/>
                    <a:pt x="115" y="410"/>
                  </a:cubicBezTo>
                  <a:cubicBezTo>
                    <a:pt x="116" y="411"/>
                    <a:pt x="117" y="411"/>
                    <a:pt x="117" y="411"/>
                  </a:cubicBezTo>
                  <a:cubicBezTo>
                    <a:pt x="119" y="411"/>
                    <a:pt x="121" y="410"/>
                    <a:pt x="121" y="409"/>
                  </a:cubicBezTo>
                  <a:cubicBezTo>
                    <a:pt x="122" y="408"/>
                    <a:pt x="122" y="407"/>
                    <a:pt x="121" y="406"/>
                  </a:cubicBezTo>
                  <a:cubicBezTo>
                    <a:pt x="120" y="404"/>
                    <a:pt x="120" y="402"/>
                    <a:pt x="124" y="398"/>
                  </a:cubicBezTo>
                  <a:cubicBezTo>
                    <a:pt x="130" y="392"/>
                    <a:pt x="136" y="384"/>
                    <a:pt x="137" y="380"/>
                  </a:cubicBezTo>
                  <a:cubicBezTo>
                    <a:pt x="137" y="378"/>
                    <a:pt x="138" y="378"/>
                    <a:pt x="139" y="378"/>
                  </a:cubicBezTo>
                  <a:cubicBezTo>
                    <a:pt x="140" y="378"/>
                    <a:pt x="140" y="378"/>
                    <a:pt x="140" y="378"/>
                  </a:cubicBezTo>
                  <a:cubicBezTo>
                    <a:pt x="141" y="378"/>
                    <a:pt x="141" y="378"/>
                    <a:pt x="141" y="378"/>
                  </a:cubicBezTo>
                  <a:cubicBezTo>
                    <a:pt x="141" y="378"/>
                    <a:pt x="142" y="378"/>
                    <a:pt x="142" y="376"/>
                  </a:cubicBezTo>
                  <a:cubicBezTo>
                    <a:pt x="142" y="370"/>
                    <a:pt x="145" y="365"/>
                    <a:pt x="148" y="365"/>
                  </a:cubicBezTo>
                  <a:cubicBezTo>
                    <a:pt x="151" y="364"/>
                    <a:pt x="154" y="362"/>
                    <a:pt x="155" y="359"/>
                  </a:cubicBezTo>
                  <a:cubicBezTo>
                    <a:pt x="155" y="358"/>
                    <a:pt x="156" y="357"/>
                    <a:pt x="157" y="357"/>
                  </a:cubicBezTo>
                  <a:cubicBezTo>
                    <a:pt x="159" y="357"/>
                    <a:pt x="162" y="359"/>
                    <a:pt x="162" y="362"/>
                  </a:cubicBezTo>
                  <a:cubicBezTo>
                    <a:pt x="162" y="363"/>
                    <a:pt x="162" y="363"/>
                    <a:pt x="162" y="363"/>
                  </a:cubicBezTo>
                  <a:cubicBezTo>
                    <a:pt x="163" y="363"/>
                    <a:pt x="163" y="363"/>
                    <a:pt x="163" y="363"/>
                  </a:cubicBezTo>
                  <a:cubicBezTo>
                    <a:pt x="164" y="363"/>
                    <a:pt x="165" y="362"/>
                    <a:pt x="166" y="362"/>
                  </a:cubicBezTo>
                  <a:cubicBezTo>
                    <a:pt x="166" y="361"/>
                    <a:pt x="165" y="360"/>
                    <a:pt x="165" y="360"/>
                  </a:cubicBezTo>
                  <a:cubicBezTo>
                    <a:pt x="163" y="358"/>
                    <a:pt x="164" y="356"/>
                    <a:pt x="166" y="355"/>
                  </a:cubicBezTo>
                  <a:cubicBezTo>
                    <a:pt x="166" y="354"/>
                    <a:pt x="167" y="353"/>
                    <a:pt x="167" y="353"/>
                  </a:cubicBezTo>
                  <a:cubicBezTo>
                    <a:pt x="167" y="353"/>
                    <a:pt x="167" y="352"/>
                    <a:pt x="166" y="352"/>
                  </a:cubicBezTo>
                  <a:cubicBezTo>
                    <a:pt x="163" y="350"/>
                    <a:pt x="160" y="350"/>
                    <a:pt x="158" y="353"/>
                  </a:cubicBezTo>
                  <a:cubicBezTo>
                    <a:pt x="157" y="355"/>
                    <a:pt x="155" y="356"/>
                    <a:pt x="153" y="356"/>
                  </a:cubicBezTo>
                  <a:cubicBezTo>
                    <a:pt x="151" y="356"/>
                    <a:pt x="149" y="355"/>
                    <a:pt x="149" y="354"/>
                  </a:cubicBezTo>
                  <a:cubicBezTo>
                    <a:pt x="148" y="354"/>
                    <a:pt x="148" y="354"/>
                    <a:pt x="147" y="354"/>
                  </a:cubicBezTo>
                  <a:cubicBezTo>
                    <a:pt x="145" y="354"/>
                    <a:pt x="141" y="356"/>
                    <a:pt x="135" y="359"/>
                  </a:cubicBezTo>
                  <a:cubicBezTo>
                    <a:pt x="132" y="361"/>
                    <a:pt x="131" y="362"/>
                    <a:pt x="129" y="362"/>
                  </a:cubicBezTo>
                  <a:cubicBezTo>
                    <a:pt x="127" y="362"/>
                    <a:pt x="126" y="363"/>
                    <a:pt x="124" y="365"/>
                  </a:cubicBezTo>
                  <a:cubicBezTo>
                    <a:pt x="123" y="367"/>
                    <a:pt x="120" y="368"/>
                    <a:pt x="118" y="368"/>
                  </a:cubicBezTo>
                  <a:cubicBezTo>
                    <a:pt x="117" y="368"/>
                    <a:pt x="116" y="367"/>
                    <a:pt x="116" y="367"/>
                  </a:cubicBezTo>
                  <a:cubicBezTo>
                    <a:pt x="116" y="366"/>
                    <a:pt x="117" y="365"/>
                    <a:pt x="119" y="363"/>
                  </a:cubicBezTo>
                  <a:cubicBezTo>
                    <a:pt x="121" y="362"/>
                    <a:pt x="125" y="360"/>
                    <a:pt x="128" y="359"/>
                  </a:cubicBezTo>
                  <a:cubicBezTo>
                    <a:pt x="132" y="358"/>
                    <a:pt x="136" y="356"/>
                    <a:pt x="136" y="354"/>
                  </a:cubicBezTo>
                  <a:cubicBezTo>
                    <a:pt x="137" y="352"/>
                    <a:pt x="139" y="350"/>
                    <a:pt x="141" y="349"/>
                  </a:cubicBezTo>
                  <a:cubicBezTo>
                    <a:pt x="142" y="349"/>
                    <a:pt x="143" y="348"/>
                    <a:pt x="143" y="347"/>
                  </a:cubicBezTo>
                  <a:cubicBezTo>
                    <a:pt x="143" y="347"/>
                    <a:pt x="143" y="347"/>
                    <a:pt x="143" y="347"/>
                  </a:cubicBezTo>
                  <a:cubicBezTo>
                    <a:pt x="142" y="346"/>
                    <a:pt x="142" y="346"/>
                    <a:pt x="142" y="345"/>
                  </a:cubicBezTo>
                  <a:cubicBezTo>
                    <a:pt x="142" y="344"/>
                    <a:pt x="143" y="344"/>
                    <a:pt x="145" y="343"/>
                  </a:cubicBezTo>
                  <a:cubicBezTo>
                    <a:pt x="147" y="342"/>
                    <a:pt x="150" y="341"/>
                    <a:pt x="152" y="339"/>
                  </a:cubicBezTo>
                  <a:cubicBezTo>
                    <a:pt x="154" y="337"/>
                    <a:pt x="155" y="335"/>
                    <a:pt x="156" y="334"/>
                  </a:cubicBezTo>
                  <a:cubicBezTo>
                    <a:pt x="158" y="332"/>
                    <a:pt x="158" y="331"/>
                    <a:pt x="160" y="331"/>
                  </a:cubicBezTo>
                  <a:cubicBezTo>
                    <a:pt x="160" y="331"/>
                    <a:pt x="161" y="331"/>
                    <a:pt x="161" y="332"/>
                  </a:cubicBezTo>
                  <a:cubicBezTo>
                    <a:pt x="163" y="334"/>
                    <a:pt x="161" y="336"/>
                    <a:pt x="159" y="339"/>
                  </a:cubicBezTo>
                  <a:cubicBezTo>
                    <a:pt x="158" y="341"/>
                    <a:pt x="157" y="343"/>
                    <a:pt x="158" y="344"/>
                  </a:cubicBezTo>
                  <a:cubicBezTo>
                    <a:pt x="158" y="344"/>
                    <a:pt x="158" y="344"/>
                    <a:pt x="158" y="344"/>
                  </a:cubicBezTo>
                  <a:cubicBezTo>
                    <a:pt x="159" y="344"/>
                    <a:pt x="160" y="343"/>
                    <a:pt x="161" y="342"/>
                  </a:cubicBezTo>
                  <a:cubicBezTo>
                    <a:pt x="162" y="340"/>
                    <a:pt x="163" y="339"/>
                    <a:pt x="164" y="339"/>
                  </a:cubicBezTo>
                  <a:cubicBezTo>
                    <a:pt x="165" y="339"/>
                    <a:pt x="165" y="340"/>
                    <a:pt x="166" y="340"/>
                  </a:cubicBezTo>
                  <a:cubicBezTo>
                    <a:pt x="166" y="341"/>
                    <a:pt x="167" y="341"/>
                    <a:pt x="167" y="342"/>
                  </a:cubicBezTo>
                  <a:cubicBezTo>
                    <a:pt x="168" y="343"/>
                    <a:pt x="170" y="346"/>
                    <a:pt x="171" y="346"/>
                  </a:cubicBezTo>
                  <a:cubicBezTo>
                    <a:pt x="171" y="346"/>
                    <a:pt x="171" y="345"/>
                    <a:pt x="171" y="344"/>
                  </a:cubicBezTo>
                  <a:cubicBezTo>
                    <a:pt x="172" y="341"/>
                    <a:pt x="174" y="341"/>
                    <a:pt x="175" y="341"/>
                  </a:cubicBezTo>
                  <a:cubicBezTo>
                    <a:pt x="176" y="341"/>
                    <a:pt x="178" y="342"/>
                    <a:pt x="180" y="343"/>
                  </a:cubicBezTo>
                  <a:cubicBezTo>
                    <a:pt x="181" y="344"/>
                    <a:pt x="181" y="344"/>
                    <a:pt x="181" y="344"/>
                  </a:cubicBezTo>
                  <a:cubicBezTo>
                    <a:pt x="181" y="344"/>
                    <a:pt x="181" y="344"/>
                    <a:pt x="182" y="343"/>
                  </a:cubicBezTo>
                  <a:cubicBezTo>
                    <a:pt x="182" y="343"/>
                    <a:pt x="181" y="341"/>
                    <a:pt x="180" y="340"/>
                  </a:cubicBezTo>
                  <a:cubicBezTo>
                    <a:pt x="179" y="339"/>
                    <a:pt x="180" y="338"/>
                    <a:pt x="180" y="337"/>
                  </a:cubicBezTo>
                  <a:cubicBezTo>
                    <a:pt x="180" y="336"/>
                    <a:pt x="180" y="335"/>
                    <a:pt x="179" y="335"/>
                  </a:cubicBezTo>
                  <a:cubicBezTo>
                    <a:pt x="177" y="334"/>
                    <a:pt x="175" y="335"/>
                    <a:pt x="174" y="336"/>
                  </a:cubicBezTo>
                  <a:cubicBezTo>
                    <a:pt x="173" y="336"/>
                    <a:pt x="172" y="337"/>
                    <a:pt x="171" y="337"/>
                  </a:cubicBezTo>
                  <a:cubicBezTo>
                    <a:pt x="170" y="337"/>
                    <a:pt x="169" y="337"/>
                    <a:pt x="169" y="335"/>
                  </a:cubicBezTo>
                  <a:cubicBezTo>
                    <a:pt x="169" y="332"/>
                    <a:pt x="171" y="330"/>
                    <a:pt x="173" y="328"/>
                  </a:cubicBezTo>
                  <a:cubicBezTo>
                    <a:pt x="175" y="327"/>
                    <a:pt x="176" y="326"/>
                    <a:pt x="177" y="325"/>
                  </a:cubicBezTo>
                  <a:cubicBezTo>
                    <a:pt x="178" y="323"/>
                    <a:pt x="181" y="322"/>
                    <a:pt x="184" y="322"/>
                  </a:cubicBezTo>
                  <a:cubicBezTo>
                    <a:pt x="186" y="322"/>
                    <a:pt x="187" y="322"/>
                    <a:pt x="188" y="324"/>
                  </a:cubicBezTo>
                  <a:cubicBezTo>
                    <a:pt x="188" y="325"/>
                    <a:pt x="189" y="325"/>
                    <a:pt x="190" y="325"/>
                  </a:cubicBezTo>
                  <a:cubicBezTo>
                    <a:pt x="191" y="325"/>
                    <a:pt x="191" y="325"/>
                    <a:pt x="191" y="325"/>
                  </a:cubicBezTo>
                  <a:cubicBezTo>
                    <a:pt x="192" y="324"/>
                    <a:pt x="192" y="324"/>
                    <a:pt x="192" y="323"/>
                  </a:cubicBezTo>
                  <a:cubicBezTo>
                    <a:pt x="191" y="322"/>
                    <a:pt x="192" y="321"/>
                    <a:pt x="192" y="320"/>
                  </a:cubicBezTo>
                  <a:cubicBezTo>
                    <a:pt x="193" y="319"/>
                    <a:pt x="194" y="319"/>
                    <a:pt x="197" y="319"/>
                  </a:cubicBezTo>
                  <a:cubicBezTo>
                    <a:pt x="198" y="320"/>
                    <a:pt x="199" y="319"/>
                    <a:pt x="199" y="318"/>
                  </a:cubicBezTo>
                  <a:cubicBezTo>
                    <a:pt x="200" y="317"/>
                    <a:pt x="199" y="315"/>
                    <a:pt x="198" y="313"/>
                  </a:cubicBezTo>
                  <a:cubicBezTo>
                    <a:pt x="197" y="312"/>
                    <a:pt x="196" y="311"/>
                    <a:pt x="197" y="311"/>
                  </a:cubicBezTo>
                  <a:cubicBezTo>
                    <a:pt x="197" y="310"/>
                    <a:pt x="199" y="309"/>
                    <a:pt x="201" y="309"/>
                  </a:cubicBezTo>
                  <a:cubicBezTo>
                    <a:pt x="202" y="309"/>
                    <a:pt x="202" y="309"/>
                    <a:pt x="202" y="309"/>
                  </a:cubicBezTo>
                  <a:cubicBezTo>
                    <a:pt x="204" y="308"/>
                    <a:pt x="205" y="308"/>
                    <a:pt x="206" y="307"/>
                  </a:cubicBezTo>
                  <a:cubicBezTo>
                    <a:pt x="208" y="307"/>
                    <a:pt x="209" y="306"/>
                    <a:pt x="210" y="306"/>
                  </a:cubicBezTo>
                  <a:cubicBezTo>
                    <a:pt x="211" y="306"/>
                    <a:pt x="212" y="307"/>
                    <a:pt x="213" y="308"/>
                  </a:cubicBezTo>
                  <a:cubicBezTo>
                    <a:pt x="214" y="310"/>
                    <a:pt x="213" y="312"/>
                    <a:pt x="213" y="314"/>
                  </a:cubicBezTo>
                  <a:cubicBezTo>
                    <a:pt x="212" y="315"/>
                    <a:pt x="212" y="316"/>
                    <a:pt x="212" y="317"/>
                  </a:cubicBezTo>
                  <a:cubicBezTo>
                    <a:pt x="212" y="317"/>
                    <a:pt x="213" y="317"/>
                    <a:pt x="213" y="316"/>
                  </a:cubicBezTo>
                  <a:cubicBezTo>
                    <a:pt x="216" y="315"/>
                    <a:pt x="218" y="314"/>
                    <a:pt x="220" y="314"/>
                  </a:cubicBezTo>
                  <a:cubicBezTo>
                    <a:pt x="221" y="314"/>
                    <a:pt x="222" y="314"/>
                    <a:pt x="222" y="315"/>
                  </a:cubicBezTo>
                  <a:cubicBezTo>
                    <a:pt x="222" y="315"/>
                    <a:pt x="222" y="316"/>
                    <a:pt x="222" y="317"/>
                  </a:cubicBezTo>
                  <a:cubicBezTo>
                    <a:pt x="222" y="319"/>
                    <a:pt x="222" y="320"/>
                    <a:pt x="223" y="321"/>
                  </a:cubicBezTo>
                  <a:cubicBezTo>
                    <a:pt x="223" y="321"/>
                    <a:pt x="224" y="322"/>
                    <a:pt x="225" y="322"/>
                  </a:cubicBezTo>
                  <a:cubicBezTo>
                    <a:pt x="226" y="322"/>
                    <a:pt x="226" y="321"/>
                    <a:pt x="226" y="320"/>
                  </a:cubicBezTo>
                  <a:cubicBezTo>
                    <a:pt x="226" y="319"/>
                    <a:pt x="226" y="318"/>
                    <a:pt x="226" y="317"/>
                  </a:cubicBezTo>
                  <a:cubicBezTo>
                    <a:pt x="227" y="314"/>
                    <a:pt x="227" y="312"/>
                    <a:pt x="223" y="311"/>
                  </a:cubicBezTo>
                  <a:cubicBezTo>
                    <a:pt x="221" y="311"/>
                    <a:pt x="221" y="310"/>
                    <a:pt x="221" y="309"/>
                  </a:cubicBezTo>
                  <a:cubicBezTo>
                    <a:pt x="221" y="308"/>
                    <a:pt x="224" y="306"/>
                    <a:pt x="226" y="306"/>
                  </a:cubicBezTo>
                  <a:cubicBezTo>
                    <a:pt x="227" y="306"/>
                    <a:pt x="228" y="307"/>
                    <a:pt x="228" y="308"/>
                  </a:cubicBezTo>
                  <a:cubicBezTo>
                    <a:pt x="229" y="310"/>
                    <a:pt x="232" y="313"/>
                    <a:pt x="234" y="313"/>
                  </a:cubicBezTo>
                  <a:cubicBezTo>
                    <a:pt x="235" y="313"/>
                    <a:pt x="235" y="313"/>
                    <a:pt x="235" y="312"/>
                  </a:cubicBezTo>
                  <a:cubicBezTo>
                    <a:pt x="236" y="312"/>
                    <a:pt x="236" y="312"/>
                    <a:pt x="237" y="312"/>
                  </a:cubicBezTo>
                  <a:cubicBezTo>
                    <a:pt x="238" y="312"/>
                    <a:pt x="239" y="312"/>
                    <a:pt x="240" y="313"/>
                  </a:cubicBezTo>
                  <a:cubicBezTo>
                    <a:pt x="241" y="313"/>
                    <a:pt x="242" y="313"/>
                    <a:pt x="242" y="314"/>
                  </a:cubicBezTo>
                  <a:cubicBezTo>
                    <a:pt x="242" y="313"/>
                    <a:pt x="239" y="312"/>
                    <a:pt x="238" y="311"/>
                  </a:cubicBezTo>
                  <a:cubicBezTo>
                    <a:pt x="235" y="309"/>
                    <a:pt x="233" y="308"/>
                    <a:pt x="233" y="307"/>
                  </a:cubicBezTo>
                  <a:cubicBezTo>
                    <a:pt x="233" y="307"/>
                    <a:pt x="233" y="306"/>
                    <a:pt x="234" y="306"/>
                  </a:cubicBezTo>
                  <a:cubicBezTo>
                    <a:pt x="236" y="305"/>
                    <a:pt x="238" y="304"/>
                    <a:pt x="241" y="304"/>
                  </a:cubicBezTo>
                  <a:cubicBezTo>
                    <a:pt x="243" y="304"/>
                    <a:pt x="244" y="305"/>
                    <a:pt x="246" y="306"/>
                  </a:cubicBezTo>
                  <a:cubicBezTo>
                    <a:pt x="246" y="306"/>
                    <a:pt x="248" y="307"/>
                    <a:pt x="249" y="307"/>
                  </a:cubicBezTo>
                  <a:cubicBezTo>
                    <a:pt x="250" y="307"/>
                    <a:pt x="251" y="306"/>
                    <a:pt x="251" y="306"/>
                  </a:cubicBezTo>
                  <a:cubicBezTo>
                    <a:pt x="251" y="305"/>
                    <a:pt x="251" y="304"/>
                    <a:pt x="249" y="303"/>
                  </a:cubicBezTo>
                  <a:cubicBezTo>
                    <a:pt x="245" y="301"/>
                    <a:pt x="244" y="298"/>
                    <a:pt x="244" y="295"/>
                  </a:cubicBezTo>
                  <a:cubicBezTo>
                    <a:pt x="245" y="294"/>
                    <a:pt x="246" y="293"/>
                    <a:pt x="248" y="293"/>
                  </a:cubicBezTo>
                  <a:cubicBezTo>
                    <a:pt x="250" y="293"/>
                    <a:pt x="250" y="293"/>
                    <a:pt x="250" y="293"/>
                  </a:cubicBezTo>
                  <a:cubicBezTo>
                    <a:pt x="251" y="293"/>
                    <a:pt x="253" y="293"/>
                    <a:pt x="254" y="293"/>
                  </a:cubicBezTo>
                  <a:cubicBezTo>
                    <a:pt x="258" y="293"/>
                    <a:pt x="260" y="292"/>
                    <a:pt x="260" y="291"/>
                  </a:cubicBezTo>
                  <a:cubicBezTo>
                    <a:pt x="260" y="289"/>
                    <a:pt x="262" y="288"/>
                    <a:pt x="263" y="288"/>
                  </a:cubicBezTo>
                  <a:cubicBezTo>
                    <a:pt x="265" y="288"/>
                    <a:pt x="266" y="288"/>
                    <a:pt x="266" y="290"/>
                  </a:cubicBezTo>
                  <a:cubicBezTo>
                    <a:pt x="266" y="291"/>
                    <a:pt x="265" y="292"/>
                    <a:pt x="264" y="294"/>
                  </a:cubicBezTo>
                  <a:cubicBezTo>
                    <a:pt x="264" y="295"/>
                    <a:pt x="261" y="298"/>
                    <a:pt x="258" y="298"/>
                  </a:cubicBezTo>
                  <a:cubicBezTo>
                    <a:pt x="256" y="298"/>
                    <a:pt x="255" y="299"/>
                    <a:pt x="254" y="300"/>
                  </a:cubicBezTo>
                  <a:cubicBezTo>
                    <a:pt x="254" y="301"/>
                    <a:pt x="254" y="302"/>
                    <a:pt x="254" y="302"/>
                  </a:cubicBezTo>
                  <a:cubicBezTo>
                    <a:pt x="254" y="302"/>
                    <a:pt x="254" y="302"/>
                    <a:pt x="255" y="302"/>
                  </a:cubicBezTo>
                  <a:cubicBezTo>
                    <a:pt x="255" y="302"/>
                    <a:pt x="255" y="302"/>
                    <a:pt x="255" y="302"/>
                  </a:cubicBezTo>
                  <a:cubicBezTo>
                    <a:pt x="257" y="302"/>
                    <a:pt x="257" y="304"/>
                    <a:pt x="258" y="307"/>
                  </a:cubicBezTo>
                  <a:cubicBezTo>
                    <a:pt x="258" y="309"/>
                    <a:pt x="258" y="312"/>
                    <a:pt x="260" y="312"/>
                  </a:cubicBezTo>
                  <a:cubicBezTo>
                    <a:pt x="260" y="312"/>
                    <a:pt x="260" y="312"/>
                    <a:pt x="260" y="312"/>
                  </a:cubicBezTo>
                  <a:cubicBezTo>
                    <a:pt x="262" y="311"/>
                    <a:pt x="263" y="310"/>
                    <a:pt x="263" y="308"/>
                  </a:cubicBezTo>
                  <a:cubicBezTo>
                    <a:pt x="263" y="307"/>
                    <a:pt x="262" y="305"/>
                    <a:pt x="261" y="304"/>
                  </a:cubicBezTo>
                  <a:cubicBezTo>
                    <a:pt x="261" y="304"/>
                    <a:pt x="260" y="304"/>
                    <a:pt x="260" y="303"/>
                  </a:cubicBezTo>
                  <a:cubicBezTo>
                    <a:pt x="260" y="302"/>
                    <a:pt x="261" y="302"/>
                    <a:pt x="261" y="302"/>
                  </a:cubicBezTo>
                  <a:cubicBezTo>
                    <a:pt x="262" y="301"/>
                    <a:pt x="264" y="300"/>
                    <a:pt x="265" y="298"/>
                  </a:cubicBezTo>
                  <a:cubicBezTo>
                    <a:pt x="267" y="295"/>
                    <a:pt x="270" y="293"/>
                    <a:pt x="272" y="293"/>
                  </a:cubicBezTo>
                  <a:cubicBezTo>
                    <a:pt x="274" y="293"/>
                    <a:pt x="275" y="293"/>
                    <a:pt x="276" y="295"/>
                  </a:cubicBezTo>
                  <a:cubicBezTo>
                    <a:pt x="276" y="296"/>
                    <a:pt x="277" y="296"/>
                    <a:pt x="278" y="296"/>
                  </a:cubicBezTo>
                  <a:cubicBezTo>
                    <a:pt x="278" y="296"/>
                    <a:pt x="278" y="296"/>
                    <a:pt x="278" y="296"/>
                  </a:cubicBezTo>
                  <a:cubicBezTo>
                    <a:pt x="279" y="295"/>
                    <a:pt x="279" y="294"/>
                    <a:pt x="278" y="293"/>
                  </a:cubicBezTo>
                  <a:cubicBezTo>
                    <a:pt x="276" y="291"/>
                    <a:pt x="278" y="289"/>
                    <a:pt x="279" y="288"/>
                  </a:cubicBezTo>
                  <a:cubicBezTo>
                    <a:pt x="280" y="288"/>
                    <a:pt x="281" y="288"/>
                    <a:pt x="281" y="287"/>
                  </a:cubicBezTo>
                  <a:cubicBezTo>
                    <a:pt x="280" y="287"/>
                    <a:pt x="281" y="287"/>
                    <a:pt x="281" y="287"/>
                  </a:cubicBezTo>
                  <a:cubicBezTo>
                    <a:pt x="281" y="286"/>
                    <a:pt x="281" y="286"/>
                    <a:pt x="282" y="286"/>
                  </a:cubicBezTo>
                  <a:cubicBezTo>
                    <a:pt x="282" y="286"/>
                    <a:pt x="284" y="287"/>
                    <a:pt x="285" y="287"/>
                  </a:cubicBezTo>
                  <a:cubicBezTo>
                    <a:pt x="287" y="288"/>
                    <a:pt x="289" y="288"/>
                    <a:pt x="290" y="288"/>
                  </a:cubicBezTo>
                  <a:cubicBezTo>
                    <a:pt x="291" y="288"/>
                    <a:pt x="291" y="288"/>
                    <a:pt x="291" y="288"/>
                  </a:cubicBezTo>
                  <a:cubicBezTo>
                    <a:pt x="291" y="288"/>
                    <a:pt x="292" y="287"/>
                    <a:pt x="292" y="286"/>
                  </a:cubicBezTo>
                  <a:cubicBezTo>
                    <a:pt x="293" y="284"/>
                    <a:pt x="295" y="281"/>
                    <a:pt x="298" y="281"/>
                  </a:cubicBezTo>
                  <a:cubicBezTo>
                    <a:pt x="299" y="281"/>
                    <a:pt x="299" y="281"/>
                    <a:pt x="299" y="281"/>
                  </a:cubicBezTo>
                  <a:cubicBezTo>
                    <a:pt x="303" y="282"/>
                    <a:pt x="304" y="284"/>
                    <a:pt x="304" y="286"/>
                  </a:cubicBezTo>
                  <a:cubicBezTo>
                    <a:pt x="304" y="287"/>
                    <a:pt x="303" y="288"/>
                    <a:pt x="301" y="288"/>
                  </a:cubicBezTo>
                  <a:cubicBezTo>
                    <a:pt x="300" y="288"/>
                    <a:pt x="299" y="290"/>
                    <a:pt x="298" y="292"/>
                  </a:cubicBezTo>
                  <a:cubicBezTo>
                    <a:pt x="296" y="294"/>
                    <a:pt x="295" y="298"/>
                    <a:pt x="292" y="299"/>
                  </a:cubicBezTo>
                  <a:cubicBezTo>
                    <a:pt x="288" y="301"/>
                    <a:pt x="287" y="305"/>
                    <a:pt x="287" y="306"/>
                  </a:cubicBezTo>
                  <a:cubicBezTo>
                    <a:pt x="288" y="307"/>
                    <a:pt x="288" y="308"/>
                    <a:pt x="289" y="307"/>
                  </a:cubicBezTo>
                  <a:cubicBezTo>
                    <a:pt x="291" y="307"/>
                    <a:pt x="295" y="303"/>
                    <a:pt x="299" y="298"/>
                  </a:cubicBezTo>
                  <a:cubicBezTo>
                    <a:pt x="300" y="297"/>
                    <a:pt x="301" y="295"/>
                    <a:pt x="303" y="294"/>
                  </a:cubicBezTo>
                  <a:cubicBezTo>
                    <a:pt x="307" y="289"/>
                    <a:pt x="309" y="287"/>
                    <a:pt x="311" y="287"/>
                  </a:cubicBezTo>
                  <a:cubicBezTo>
                    <a:pt x="312" y="287"/>
                    <a:pt x="313" y="287"/>
                    <a:pt x="313" y="289"/>
                  </a:cubicBezTo>
                  <a:cubicBezTo>
                    <a:pt x="313" y="291"/>
                    <a:pt x="312" y="293"/>
                    <a:pt x="312" y="295"/>
                  </a:cubicBezTo>
                  <a:cubicBezTo>
                    <a:pt x="311" y="297"/>
                    <a:pt x="311" y="300"/>
                    <a:pt x="311" y="301"/>
                  </a:cubicBezTo>
                  <a:cubicBezTo>
                    <a:pt x="312" y="301"/>
                    <a:pt x="312" y="301"/>
                    <a:pt x="312" y="301"/>
                  </a:cubicBezTo>
                  <a:cubicBezTo>
                    <a:pt x="314" y="301"/>
                    <a:pt x="318" y="297"/>
                    <a:pt x="320" y="293"/>
                  </a:cubicBezTo>
                  <a:cubicBezTo>
                    <a:pt x="320" y="292"/>
                    <a:pt x="321" y="291"/>
                    <a:pt x="320" y="290"/>
                  </a:cubicBezTo>
                  <a:cubicBezTo>
                    <a:pt x="319" y="290"/>
                    <a:pt x="319" y="288"/>
                    <a:pt x="320" y="286"/>
                  </a:cubicBezTo>
                  <a:cubicBezTo>
                    <a:pt x="321" y="284"/>
                    <a:pt x="324" y="281"/>
                    <a:pt x="330" y="281"/>
                  </a:cubicBezTo>
                  <a:cubicBezTo>
                    <a:pt x="335" y="282"/>
                    <a:pt x="338" y="285"/>
                    <a:pt x="338" y="287"/>
                  </a:cubicBezTo>
                  <a:cubicBezTo>
                    <a:pt x="338" y="289"/>
                    <a:pt x="337" y="290"/>
                    <a:pt x="336" y="291"/>
                  </a:cubicBezTo>
                  <a:cubicBezTo>
                    <a:pt x="335" y="291"/>
                    <a:pt x="334" y="291"/>
                    <a:pt x="334" y="292"/>
                  </a:cubicBezTo>
                  <a:cubicBezTo>
                    <a:pt x="334" y="292"/>
                    <a:pt x="334" y="293"/>
                    <a:pt x="335" y="294"/>
                  </a:cubicBezTo>
                  <a:cubicBezTo>
                    <a:pt x="335" y="295"/>
                    <a:pt x="335" y="297"/>
                    <a:pt x="334" y="299"/>
                  </a:cubicBezTo>
                  <a:cubicBezTo>
                    <a:pt x="334" y="300"/>
                    <a:pt x="334" y="300"/>
                    <a:pt x="334" y="300"/>
                  </a:cubicBezTo>
                  <a:cubicBezTo>
                    <a:pt x="335" y="301"/>
                    <a:pt x="335" y="301"/>
                    <a:pt x="335" y="301"/>
                  </a:cubicBezTo>
                  <a:cubicBezTo>
                    <a:pt x="336" y="301"/>
                    <a:pt x="337" y="299"/>
                    <a:pt x="337" y="297"/>
                  </a:cubicBezTo>
                  <a:cubicBezTo>
                    <a:pt x="337" y="292"/>
                    <a:pt x="343" y="288"/>
                    <a:pt x="346" y="288"/>
                  </a:cubicBezTo>
                  <a:cubicBezTo>
                    <a:pt x="348" y="288"/>
                    <a:pt x="348" y="288"/>
                    <a:pt x="349" y="289"/>
                  </a:cubicBezTo>
                  <a:cubicBezTo>
                    <a:pt x="350" y="289"/>
                    <a:pt x="350" y="290"/>
                    <a:pt x="351" y="291"/>
                  </a:cubicBezTo>
                  <a:cubicBezTo>
                    <a:pt x="352" y="292"/>
                    <a:pt x="353" y="293"/>
                    <a:pt x="355" y="293"/>
                  </a:cubicBezTo>
                  <a:cubicBezTo>
                    <a:pt x="355" y="293"/>
                    <a:pt x="356" y="293"/>
                    <a:pt x="356" y="292"/>
                  </a:cubicBezTo>
                  <a:cubicBezTo>
                    <a:pt x="357" y="292"/>
                    <a:pt x="358" y="292"/>
                    <a:pt x="358" y="292"/>
                  </a:cubicBezTo>
                  <a:cubicBezTo>
                    <a:pt x="362" y="292"/>
                    <a:pt x="367" y="294"/>
                    <a:pt x="368" y="296"/>
                  </a:cubicBezTo>
                  <a:cubicBezTo>
                    <a:pt x="368" y="297"/>
                    <a:pt x="369" y="298"/>
                    <a:pt x="371" y="298"/>
                  </a:cubicBezTo>
                  <a:cubicBezTo>
                    <a:pt x="373" y="300"/>
                    <a:pt x="376" y="302"/>
                    <a:pt x="375" y="304"/>
                  </a:cubicBezTo>
                  <a:cubicBezTo>
                    <a:pt x="375" y="306"/>
                    <a:pt x="373" y="306"/>
                    <a:pt x="371" y="306"/>
                  </a:cubicBezTo>
                  <a:cubicBezTo>
                    <a:pt x="369" y="306"/>
                    <a:pt x="367" y="306"/>
                    <a:pt x="365" y="308"/>
                  </a:cubicBezTo>
                  <a:cubicBezTo>
                    <a:pt x="362" y="312"/>
                    <a:pt x="359" y="313"/>
                    <a:pt x="355" y="311"/>
                  </a:cubicBezTo>
                  <a:cubicBezTo>
                    <a:pt x="353" y="310"/>
                    <a:pt x="351" y="310"/>
                    <a:pt x="350" y="310"/>
                  </a:cubicBezTo>
                  <a:cubicBezTo>
                    <a:pt x="349" y="310"/>
                    <a:pt x="349" y="310"/>
                    <a:pt x="349" y="310"/>
                  </a:cubicBezTo>
                  <a:cubicBezTo>
                    <a:pt x="349" y="310"/>
                    <a:pt x="350" y="311"/>
                    <a:pt x="352" y="312"/>
                  </a:cubicBezTo>
                  <a:cubicBezTo>
                    <a:pt x="355" y="313"/>
                    <a:pt x="358" y="315"/>
                    <a:pt x="358" y="317"/>
                  </a:cubicBezTo>
                  <a:cubicBezTo>
                    <a:pt x="358" y="318"/>
                    <a:pt x="358" y="318"/>
                    <a:pt x="359" y="319"/>
                  </a:cubicBezTo>
                  <a:cubicBezTo>
                    <a:pt x="359" y="319"/>
                    <a:pt x="360" y="320"/>
                    <a:pt x="361" y="320"/>
                  </a:cubicBezTo>
                  <a:cubicBezTo>
                    <a:pt x="362" y="320"/>
                    <a:pt x="363" y="319"/>
                    <a:pt x="364" y="318"/>
                  </a:cubicBezTo>
                  <a:cubicBezTo>
                    <a:pt x="364" y="316"/>
                    <a:pt x="366" y="315"/>
                    <a:pt x="369" y="315"/>
                  </a:cubicBezTo>
                  <a:cubicBezTo>
                    <a:pt x="371" y="315"/>
                    <a:pt x="373" y="316"/>
                    <a:pt x="375" y="317"/>
                  </a:cubicBezTo>
                  <a:cubicBezTo>
                    <a:pt x="375" y="317"/>
                    <a:pt x="375" y="317"/>
                    <a:pt x="375" y="317"/>
                  </a:cubicBezTo>
                  <a:cubicBezTo>
                    <a:pt x="375" y="318"/>
                    <a:pt x="375" y="318"/>
                    <a:pt x="375" y="318"/>
                  </a:cubicBezTo>
                  <a:cubicBezTo>
                    <a:pt x="375" y="322"/>
                    <a:pt x="373" y="324"/>
                    <a:pt x="370" y="324"/>
                  </a:cubicBezTo>
                  <a:cubicBezTo>
                    <a:pt x="370" y="324"/>
                    <a:pt x="370" y="324"/>
                    <a:pt x="370" y="324"/>
                  </a:cubicBezTo>
                  <a:cubicBezTo>
                    <a:pt x="369" y="324"/>
                    <a:pt x="368" y="323"/>
                    <a:pt x="367" y="323"/>
                  </a:cubicBezTo>
                  <a:cubicBezTo>
                    <a:pt x="366" y="323"/>
                    <a:pt x="364" y="324"/>
                    <a:pt x="362" y="326"/>
                  </a:cubicBezTo>
                  <a:cubicBezTo>
                    <a:pt x="360" y="327"/>
                    <a:pt x="358" y="329"/>
                    <a:pt x="355" y="329"/>
                  </a:cubicBezTo>
                  <a:cubicBezTo>
                    <a:pt x="353" y="329"/>
                    <a:pt x="351" y="330"/>
                    <a:pt x="349" y="332"/>
                  </a:cubicBezTo>
                  <a:cubicBezTo>
                    <a:pt x="348" y="333"/>
                    <a:pt x="348" y="333"/>
                    <a:pt x="348" y="333"/>
                  </a:cubicBezTo>
                  <a:cubicBezTo>
                    <a:pt x="348" y="332"/>
                    <a:pt x="348" y="332"/>
                    <a:pt x="348" y="332"/>
                  </a:cubicBezTo>
                  <a:cubicBezTo>
                    <a:pt x="348" y="331"/>
                    <a:pt x="348" y="330"/>
                    <a:pt x="348" y="329"/>
                  </a:cubicBezTo>
                  <a:cubicBezTo>
                    <a:pt x="348" y="327"/>
                    <a:pt x="348" y="325"/>
                    <a:pt x="348" y="324"/>
                  </a:cubicBezTo>
                  <a:cubicBezTo>
                    <a:pt x="348" y="322"/>
                    <a:pt x="345" y="320"/>
                    <a:pt x="342" y="319"/>
                  </a:cubicBezTo>
                  <a:cubicBezTo>
                    <a:pt x="338" y="318"/>
                    <a:pt x="335" y="316"/>
                    <a:pt x="333" y="313"/>
                  </a:cubicBezTo>
                  <a:cubicBezTo>
                    <a:pt x="332" y="311"/>
                    <a:pt x="330" y="311"/>
                    <a:pt x="328" y="311"/>
                  </a:cubicBezTo>
                  <a:cubicBezTo>
                    <a:pt x="326" y="311"/>
                    <a:pt x="323" y="312"/>
                    <a:pt x="322" y="314"/>
                  </a:cubicBezTo>
                  <a:cubicBezTo>
                    <a:pt x="321" y="315"/>
                    <a:pt x="319" y="315"/>
                    <a:pt x="316" y="315"/>
                  </a:cubicBezTo>
                  <a:cubicBezTo>
                    <a:pt x="314" y="315"/>
                    <a:pt x="314" y="315"/>
                    <a:pt x="314" y="315"/>
                  </a:cubicBezTo>
                  <a:cubicBezTo>
                    <a:pt x="310" y="315"/>
                    <a:pt x="308" y="315"/>
                    <a:pt x="308" y="317"/>
                  </a:cubicBezTo>
                  <a:cubicBezTo>
                    <a:pt x="308" y="319"/>
                    <a:pt x="305" y="320"/>
                    <a:pt x="303" y="322"/>
                  </a:cubicBezTo>
                  <a:cubicBezTo>
                    <a:pt x="301" y="323"/>
                    <a:pt x="299" y="324"/>
                    <a:pt x="299" y="326"/>
                  </a:cubicBezTo>
                  <a:cubicBezTo>
                    <a:pt x="299" y="328"/>
                    <a:pt x="299" y="329"/>
                    <a:pt x="299" y="331"/>
                  </a:cubicBezTo>
                  <a:cubicBezTo>
                    <a:pt x="300" y="334"/>
                    <a:pt x="301" y="337"/>
                    <a:pt x="299" y="338"/>
                  </a:cubicBezTo>
                  <a:cubicBezTo>
                    <a:pt x="298" y="339"/>
                    <a:pt x="297" y="339"/>
                    <a:pt x="295" y="339"/>
                  </a:cubicBezTo>
                  <a:cubicBezTo>
                    <a:pt x="294" y="339"/>
                    <a:pt x="294" y="339"/>
                    <a:pt x="294" y="339"/>
                  </a:cubicBezTo>
                  <a:cubicBezTo>
                    <a:pt x="292" y="339"/>
                    <a:pt x="292" y="340"/>
                    <a:pt x="292" y="341"/>
                  </a:cubicBezTo>
                  <a:cubicBezTo>
                    <a:pt x="292" y="343"/>
                    <a:pt x="292" y="345"/>
                    <a:pt x="290" y="347"/>
                  </a:cubicBezTo>
                  <a:cubicBezTo>
                    <a:pt x="289" y="349"/>
                    <a:pt x="288" y="349"/>
                    <a:pt x="287" y="349"/>
                  </a:cubicBezTo>
                  <a:cubicBezTo>
                    <a:pt x="286" y="349"/>
                    <a:pt x="285" y="348"/>
                    <a:pt x="284" y="347"/>
                  </a:cubicBezTo>
                  <a:cubicBezTo>
                    <a:pt x="284" y="346"/>
                    <a:pt x="283" y="345"/>
                    <a:pt x="281" y="345"/>
                  </a:cubicBezTo>
                  <a:cubicBezTo>
                    <a:pt x="281" y="346"/>
                    <a:pt x="280" y="346"/>
                    <a:pt x="280" y="346"/>
                  </a:cubicBezTo>
                  <a:cubicBezTo>
                    <a:pt x="278" y="346"/>
                    <a:pt x="276" y="345"/>
                    <a:pt x="275" y="345"/>
                  </a:cubicBezTo>
                  <a:cubicBezTo>
                    <a:pt x="274" y="344"/>
                    <a:pt x="273" y="344"/>
                    <a:pt x="272" y="344"/>
                  </a:cubicBezTo>
                  <a:cubicBezTo>
                    <a:pt x="271" y="344"/>
                    <a:pt x="271" y="344"/>
                    <a:pt x="270" y="345"/>
                  </a:cubicBezTo>
                  <a:cubicBezTo>
                    <a:pt x="270" y="346"/>
                    <a:pt x="268" y="346"/>
                    <a:pt x="266" y="346"/>
                  </a:cubicBezTo>
                  <a:cubicBezTo>
                    <a:pt x="264" y="346"/>
                    <a:pt x="261" y="346"/>
                    <a:pt x="258" y="345"/>
                  </a:cubicBezTo>
                  <a:cubicBezTo>
                    <a:pt x="257" y="345"/>
                    <a:pt x="255" y="344"/>
                    <a:pt x="254" y="344"/>
                  </a:cubicBezTo>
                  <a:cubicBezTo>
                    <a:pt x="250" y="343"/>
                    <a:pt x="248" y="340"/>
                    <a:pt x="245" y="338"/>
                  </a:cubicBezTo>
                  <a:cubicBezTo>
                    <a:pt x="243" y="335"/>
                    <a:pt x="241" y="333"/>
                    <a:pt x="238" y="332"/>
                  </a:cubicBezTo>
                  <a:cubicBezTo>
                    <a:pt x="235" y="332"/>
                    <a:pt x="231" y="335"/>
                    <a:pt x="229" y="339"/>
                  </a:cubicBezTo>
                  <a:cubicBezTo>
                    <a:pt x="229" y="340"/>
                    <a:pt x="229" y="340"/>
                    <a:pt x="229" y="340"/>
                  </a:cubicBezTo>
                  <a:cubicBezTo>
                    <a:pt x="228" y="339"/>
                    <a:pt x="228" y="339"/>
                    <a:pt x="228" y="339"/>
                  </a:cubicBezTo>
                  <a:cubicBezTo>
                    <a:pt x="227" y="339"/>
                    <a:pt x="227" y="339"/>
                    <a:pt x="227" y="339"/>
                  </a:cubicBezTo>
                  <a:cubicBezTo>
                    <a:pt x="226" y="338"/>
                    <a:pt x="225" y="338"/>
                    <a:pt x="225" y="338"/>
                  </a:cubicBezTo>
                  <a:cubicBezTo>
                    <a:pt x="221" y="338"/>
                    <a:pt x="219" y="345"/>
                    <a:pt x="219" y="349"/>
                  </a:cubicBezTo>
                  <a:cubicBezTo>
                    <a:pt x="219" y="352"/>
                    <a:pt x="217" y="355"/>
                    <a:pt x="214" y="355"/>
                  </a:cubicBezTo>
                  <a:cubicBezTo>
                    <a:pt x="213" y="355"/>
                    <a:pt x="211" y="354"/>
                    <a:pt x="209" y="352"/>
                  </a:cubicBezTo>
                  <a:cubicBezTo>
                    <a:pt x="207" y="351"/>
                    <a:pt x="206" y="351"/>
                    <a:pt x="204" y="351"/>
                  </a:cubicBezTo>
                  <a:cubicBezTo>
                    <a:pt x="203" y="351"/>
                    <a:pt x="203" y="351"/>
                    <a:pt x="202" y="351"/>
                  </a:cubicBezTo>
                  <a:cubicBezTo>
                    <a:pt x="201" y="351"/>
                    <a:pt x="201" y="351"/>
                    <a:pt x="200" y="351"/>
                  </a:cubicBezTo>
                  <a:cubicBezTo>
                    <a:pt x="198" y="351"/>
                    <a:pt x="196" y="351"/>
                    <a:pt x="194" y="350"/>
                  </a:cubicBezTo>
                  <a:cubicBezTo>
                    <a:pt x="192" y="349"/>
                    <a:pt x="191" y="349"/>
                    <a:pt x="191" y="350"/>
                  </a:cubicBezTo>
                  <a:cubicBezTo>
                    <a:pt x="190" y="351"/>
                    <a:pt x="190" y="354"/>
                    <a:pt x="191" y="356"/>
                  </a:cubicBezTo>
                  <a:cubicBezTo>
                    <a:pt x="191" y="357"/>
                    <a:pt x="191" y="359"/>
                    <a:pt x="191" y="360"/>
                  </a:cubicBezTo>
                  <a:cubicBezTo>
                    <a:pt x="191" y="364"/>
                    <a:pt x="184" y="364"/>
                    <a:pt x="179" y="364"/>
                  </a:cubicBezTo>
                  <a:cubicBezTo>
                    <a:pt x="176" y="364"/>
                    <a:pt x="169" y="367"/>
                    <a:pt x="169" y="372"/>
                  </a:cubicBezTo>
                  <a:cubicBezTo>
                    <a:pt x="169" y="374"/>
                    <a:pt x="167" y="376"/>
                    <a:pt x="166" y="378"/>
                  </a:cubicBezTo>
                  <a:cubicBezTo>
                    <a:pt x="165" y="380"/>
                    <a:pt x="164" y="381"/>
                    <a:pt x="165" y="382"/>
                  </a:cubicBezTo>
                  <a:cubicBezTo>
                    <a:pt x="167" y="386"/>
                    <a:pt x="163" y="389"/>
                    <a:pt x="161" y="390"/>
                  </a:cubicBezTo>
                  <a:cubicBezTo>
                    <a:pt x="160" y="391"/>
                    <a:pt x="158" y="394"/>
                    <a:pt x="157" y="397"/>
                  </a:cubicBezTo>
                  <a:cubicBezTo>
                    <a:pt x="156" y="399"/>
                    <a:pt x="154" y="400"/>
                    <a:pt x="154" y="401"/>
                  </a:cubicBezTo>
                  <a:cubicBezTo>
                    <a:pt x="153" y="402"/>
                    <a:pt x="153" y="403"/>
                    <a:pt x="153" y="404"/>
                  </a:cubicBezTo>
                  <a:cubicBezTo>
                    <a:pt x="153" y="406"/>
                    <a:pt x="153" y="408"/>
                    <a:pt x="151" y="410"/>
                  </a:cubicBezTo>
                  <a:cubicBezTo>
                    <a:pt x="148" y="411"/>
                    <a:pt x="146" y="411"/>
                    <a:pt x="144" y="411"/>
                  </a:cubicBezTo>
                  <a:cubicBezTo>
                    <a:pt x="142" y="412"/>
                    <a:pt x="141" y="412"/>
                    <a:pt x="140" y="412"/>
                  </a:cubicBezTo>
                  <a:cubicBezTo>
                    <a:pt x="139" y="413"/>
                    <a:pt x="139" y="415"/>
                    <a:pt x="139" y="418"/>
                  </a:cubicBezTo>
                  <a:cubicBezTo>
                    <a:pt x="139" y="420"/>
                    <a:pt x="139" y="423"/>
                    <a:pt x="139" y="425"/>
                  </a:cubicBezTo>
                  <a:cubicBezTo>
                    <a:pt x="138" y="431"/>
                    <a:pt x="134" y="438"/>
                    <a:pt x="129" y="444"/>
                  </a:cubicBezTo>
                  <a:cubicBezTo>
                    <a:pt x="128" y="446"/>
                    <a:pt x="128" y="447"/>
                    <a:pt x="128" y="448"/>
                  </a:cubicBezTo>
                  <a:cubicBezTo>
                    <a:pt x="129" y="450"/>
                    <a:pt x="131" y="450"/>
                    <a:pt x="132" y="451"/>
                  </a:cubicBezTo>
                  <a:cubicBezTo>
                    <a:pt x="133" y="451"/>
                    <a:pt x="133" y="451"/>
                    <a:pt x="133" y="451"/>
                  </a:cubicBezTo>
                  <a:cubicBezTo>
                    <a:pt x="134" y="452"/>
                    <a:pt x="134" y="452"/>
                    <a:pt x="134" y="452"/>
                  </a:cubicBezTo>
                  <a:cubicBezTo>
                    <a:pt x="135" y="454"/>
                    <a:pt x="134" y="457"/>
                    <a:pt x="133" y="460"/>
                  </a:cubicBezTo>
                  <a:cubicBezTo>
                    <a:pt x="132" y="462"/>
                    <a:pt x="131" y="462"/>
                    <a:pt x="129" y="462"/>
                  </a:cubicBezTo>
                  <a:cubicBezTo>
                    <a:pt x="127" y="462"/>
                    <a:pt x="126" y="462"/>
                    <a:pt x="124" y="461"/>
                  </a:cubicBezTo>
                  <a:cubicBezTo>
                    <a:pt x="123" y="461"/>
                    <a:pt x="123" y="461"/>
                    <a:pt x="123" y="461"/>
                  </a:cubicBezTo>
                  <a:cubicBezTo>
                    <a:pt x="122" y="461"/>
                    <a:pt x="122" y="461"/>
                    <a:pt x="122" y="461"/>
                  </a:cubicBezTo>
                  <a:cubicBezTo>
                    <a:pt x="119" y="461"/>
                    <a:pt x="112" y="464"/>
                    <a:pt x="109" y="470"/>
                  </a:cubicBezTo>
                  <a:cubicBezTo>
                    <a:pt x="105" y="477"/>
                    <a:pt x="106" y="481"/>
                    <a:pt x="107" y="484"/>
                  </a:cubicBezTo>
                  <a:cubicBezTo>
                    <a:pt x="108" y="486"/>
                    <a:pt x="108" y="488"/>
                    <a:pt x="107" y="489"/>
                  </a:cubicBezTo>
                  <a:cubicBezTo>
                    <a:pt x="106" y="492"/>
                    <a:pt x="105" y="495"/>
                    <a:pt x="107" y="499"/>
                  </a:cubicBezTo>
                  <a:cubicBezTo>
                    <a:pt x="109" y="503"/>
                    <a:pt x="109" y="506"/>
                    <a:pt x="108" y="508"/>
                  </a:cubicBezTo>
                  <a:cubicBezTo>
                    <a:pt x="107" y="509"/>
                    <a:pt x="106" y="511"/>
                    <a:pt x="107" y="513"/>
                  </a:cubicBezTo>
                  <a:cubicBezTo>
                    <a:pt x="107" y="515"/>
                    <a:pt x="109" y="517"/>
                    <a:pt x="111" y="518"/>
                  </a:cubicBezTo>
                  <a:cubicBezTo>
                    <a:pt x="114" y="519"/>
                    <a:pt x="116" y="520"/>
                    <a:pt x="116" y="523"/>
                  </a:cubicBezTo>
                  <a:cubicBezTo>
                    <a:pt x="117" y="526"/>
                    <a:pt x="116" y="528"/>
                    <a:pt x="115" y="529"/>
                  </a:cubicBezTo>
                  <a:cubicBezTo>
                    <a:pt x="114" y="531"/>
                    <a:pt x="112" y="531"/>
                    <a:pt x="110" y="531"/>
                  </a:cubicBezTo>
                  <a:cubicBezTo>
                    <a:pt x="109" y="532"/>
                    <a:pt x="109" y="532"/>
                    <a:pt x="109" y="532"/>
                  </a:cubicBezTo>
                  <a:cubicBezTo>
                    <a:pt x="109" y="534"/>
                    <a:pt x="110" y="537"/>
                    <a:pt x="111" y="537"/>
                  </a:cubicBezTo>
                  <a:cubicBezTo>
                    <a:pt x="114" y="539"/>
                    <a:pt x="114" y="549"/>
                    <a:pt x="112" y="552"/>
                  </a:cubicBezTo>
                  <a:cubicBezTo>
                    <a:pt x="111" y="553"/>
                    <a:pt x="109" y="554"/>
                    <a:pt x="107" y="554"/>
                  </a:cubicBezTo>
                  <a:cubicBezTo>
                    <a:pt x="105" y="554"/>
                    <a:pt x="103" y="554"/>
                    <a:pt x="103" y="554"/>
                  </a:cubicBezTo>
                  <a:cubicBezTo>
                    <a:pt x="103" y="554"/>
                    <a:pt x="102" y="555"/>
                    <a:pt x="103" y="555"/>
                  </a:cubicBezTo>
                  <a:cubicBezTo>
                    <a:pt x="103" y="557"/>
                    <a:pt x="102" y="560"/>
                    <a:pt x="101" y="563"/>
                  </a:cubicBezTo>
                  <a:cubicBezTo>
                    <a:pt x="101" y="564"/>
                    <a:pt x="100" y="566"/>
                    <a:pt x="100" y="567"/>
                  </a:cubicBezTo>
                  <a:cubicBezTo>
                    <a:pt x="100" y="567"/>
                    <a:pt x="100" y="577"/>
                    <a:pt x="97" y="577"/>
                  </a:cubicBezTo>
                  <a:cubicBezTo>
                    <a:pt x="97" y="577"/>
                    <a:pt x="97" y="577"/>
                    <a:pt x="96" y="577"/>
                  </a:cubicBezTo>
                  <a:cubicBezTo>
                    <a:pt x="95" y="576"/>
                    <a:pt x="94" y="576"/>
                    <a:pt x="92" y="576"/>
                  </a:cubicBezTo>
                  <a:cubicBezTo>
                    <a:pt x="91" y="576"/>
                    <a:pt x="91" y="576"/>
                    <a:pt x="91" y="576"/>
                  </a:cubicBezTo>
                  <a:cubicBezTo>
                    <a:pt x="91" y="576"/>
                    <a:pt x="91" y="576"/>
                    <a:pt x="91" y="576"/>
                  </a:cubicBezTo>
                  <a:cubicBezTo>
                    <a:pt x="91" y="572"/>
                    <a:pt x="90" y="570"/>
                    <a:pt x="88" y="570"/>
                  </a:cubicBezTo>
                  <a:cubicBezTo>
                    <a:pt x="87" y="569"/>
                    <a:pt x="86" y="567"/>
                    <a:pt x="86" y="565"/>
                  </a:cubicBezTo>
                  <a:cubicBezTo>
                    <a:pt x="85" y="564"/>
                    <a:pt x="84" y="562"/>
                    <a:pt x="83" y="562"/>
                  </a:cubicBezTo>
                  <a:cubicBezTo>
                    <a:pt x="83" y="562"/>
                    <a:pt x="83" y="562"/>
                    <a:pt x="83" y="562"/>
                  </a:cubicBezTo>
                  <a:cubicBezTo>
                    <a:pt x="82" y="562"/>
                    <a:pt x="82" y="564"/>
                    <a:pt x="82" y="566"/>
                  </a:cubicBezTo>
                  <a:cubicBezTo>
                    <a:pt x="82" y="568"/>
                    <a:pt x="81" y="571"/>
                    <a:pt x="79" y="572"/>
                  </a:cubicBezTo>
                  <a:cubicBezTo>
                    <a:pt x="78" y="573"/>
                    <a:pt x="77" y="573"/>
                    <a:pt x="75" y="573"/>
                  </a:cubicBezTo>
                  <a:cubicBezTo>
                    <a:pt x="74" y="573"/>
                    <a:pt x="74" y="573"/>
                    <a:pt x="74" y="573"/>
                  </a:cubicBezTo>
                  <a:cubicBezTo>
                    <a:pt x="73" y="573"/>
                    <a:pt x="73" y="573"/>
                    <a:pt x="72" y="573"/>
                  </a:cubicBezTo>
                  <a:cubicBezTo>
                    <a:pt x="71" y="573"/>
                    <a:pt x="70" y="574"/>
                    <a:pt x="69" y="574"/>
                  </a:cubicBezTo>
                  <a:cubicBezTo>
                    <a:pt x="67" y="577"/>
                    <a:pt x="51" y="593"/>
                    <a:pt x="42" y="594"/>
                  </a:cubicBezTo>
                  <a:cubicBezTo>
                    <a:pt x="41" y="595"/>
                    <a:pt x="40" y="595"/>
                    <a:pt x="39" y="595"/>
                  </a:cubicBezTo>
                  <a:close/>
                  <a:moveTo>
                    <a:pt x="15" y="563"/>
                  </a:moveTo>
                  <a:cubicBezTo>
                    <a:pt x="17" y="563"/>
                    <a:pt x="19" y="565"/>
                    <a:pt x="20" y="567"/>
                  </a:cubicBezTo>
                  <a:cubicBezTo>
                    <a:pt x="20" y="568"/>
                    <a:pt x="20" y="568"/>
                    <a:pt x="20" y="569"/>
                  </a:cubicBezTo>
                  <a:cubicBezTo>
                    <a:pt x="20" y="570"/>
                    <a:pt x="19" y="570"/>
                    <a:pt x="18" y="570"/>
                  </a:cubicBezTo>
                  <a:cubicBezTo>
                    <a:pt x="17" y="570"/>
                    <a:pt x="16" y="571"/>
                    <a:pt x="16" y="573"/>
                  </a:cubicBezTo>
                  <a:cubicBezTo>
                    <a:pt x="16" y="576"/>
                    <a:pt x="15" y="576"/>
                    <a:pt x="13" y="576"/>
                  </a:cubicBezTo>
                  <a:cubicBezTo>
                    <a:pt x="12" y="576"/>
                    <a:pt x="11" y="576"/>
                    <a:pt x="10" y="578"/>
                  </a:cubicBezTo>
                  <a:cubicBezTo>
                    <a:pt x="10" y="579"/>
                    <a:pt x="10" y="579"/>
                    <a:pt x="10" y="579"/>
                  </a:cubicBezTo>
                  <a:cubicBezTo>
                    <a:pt x="11" y="583"/>
                    <a:pt x="21" y="588"/>
                    <a:pt x="25" y="589"/>
                  </a:cubicBezTo>
                  <a:cubicBezTo>
                    <a:pt x="26" y="589"/>
                    <a:pt x="28" y="590"/>
                    <a:pt x="29" y="591"/>
                  </a:cubicBezTo>
                  <a:cubicBezTo>
                    <a:pt x="32" y="592"/>
                    <a:pt x="35" y="594"/>
                    <a:pt x="39" y="594"/>
                  </a:cubicBezTo>
                  <a:cubicBezTo>
                    <a:pt x="40" y="594"/>
                    <a:pt x="41" y="594"/>
                    <a:pt x="42" y="594"/>
                  </a:cubicBezTo>
                  <a:cubicBezTo>
                    <a:pt x="50" y="592"/>
                    <a:pt x="66" y="576"/>
                    <a:pt x="69" y="574"/>
                  </a:cubicBezTo>
                  <a:cubicBezTo>
                    <a:pt x="70" y="572"/>
                    <a:pt x="71" y="572"/>
                    <a:pt x="72" y="572"/>
                  </a:cubicBezTo>
                  <a:cubicBezTo>
                    <a:pt x="73" y="572"/>
                    <a:pt x="73" y="572"/>
                    <a:pt x="74" y="572"/>
                  </a:cubicBezTo>
                  <a:cubicBezTo>
                    <a:pt x="75" y="572"/>
                    <a:pt x="75" y="572"/>
                    <a:pt x="75" y="572"/>
                  </a:cubicBezTo>
                  <a:cubicBezTo>
                    <a:pt x="77" y="572"/>
                    <a:pt x="78" y="572"/>
                    <a:pt x="79" y="571"/>
                  </a:cubicBezTo>
                  <a:cubicBezTo>
                    <a:pt x="80" y="570"/>
                    <a:pt x="81" y="568"/>
                    <a:pt x="81" y="566"/>
                  </a:cubicBezTo>
                  <a:cubicBezTo>
                    <a:pt x="81" y="564"/>
                    <a:pt x="81" y="562"/>
                    <a:pt x="82" y="561"/>
                  </a:cubicBezTo>
                  <a:cubicBezTo>
                    <a:pt x="83" y="561"/>
                    <a:pt x="83" y="561"/>
                    <a:pt x="83" y="561"/>
                  </a:cubicBezTo>
                  <a:cubicBezTo>
                    <a:pt x="85" y="561"/>
                    <a:pt x="86" y="563"/>
                    <a:pt x="86" y="565"/>
                  </a:cubicBezTo>
                  <a:cubicBezTo>
                    <a:pt x="87" y="567"/>
                    <a:pt x="88" y="569"/>
                    <a:pt x="89" y="569"/>
                  </a:cubicBezTo>
                  <a:cubicBezTo>
                    <a:pt x="91" y="570"/>
                    <a:pt x="92" y="572"/>
                    <a:pt x="92" y="575"/>
                  </a:cubicBezTo>
                  <a:cubicBezTo>
                    <a:pt x="94" y="575"/>
                    <a:pt x="96" y="575"/>
                    <a:pt x="97" y="576"/>
                  </a:cubicBezTo>
                  <a:cubicBezTo>
                    <a:pt x="97" y="576"/>
                    <a:pt x="97" y="576"/>
                    <a:pt x="97" y="576"/>
                  </a:cubicBezTo>
                  <a:cubicBezTo>
                    <a:pt x="99" y="576"/>
                    <a:pt x="99" y="571"/>
                    <a:pt x="99" y="567"/>
                  </a:cubicBezTo>
                  <a:cubicBezTo>
                    <a:pt x="99" y="566"/>
                    <a:pt x="100" y="564"/>
                    <a:pt x="100" y="562"/>
                  </a:cubicBezTo>
                  <a:cubicBezTo>
                    <a:pt x="101" y="560"/>
                    <a:pt x="102" y="557"/>
                    <a:pt x="102" y="555"/>
                  </a:cubicBezTo>
                  <a:cubicBezTo>
                    <a:pt x="101" y="555"/>
                    <a:pt x="102" y="554"/>
                    <a:pt x="102" y="554"/>
                  </a:cubicBezTo>
                  <a:cubicBezTo>
                    <a:pt x="103" y="553"/>
                    <a:pt x="105" y="553"/>
                    <a:pt x="107" y="553"/>
                  </a:cubicBezTo>
                  <a:cubicBezTo>
                    <a:pt x="109" y="553"/>
                    <a:pt x="111" y="552"/>
                    <a:pt x="111" y="551"/>
                  </a:cubicBezTo>
                  <a:cubicBezTo>
                    <a:pt x="113" y="549"/>
                    <a:pt x="113" y="539"/>
                    <a:pt x="111" y="538"/>
                  </a:cubicBezTo>
                  <a:cubicBezTo>
                    <a:pt x="109" y="537"/>
                    <a:pt x="108" y="534"/>
                    <a:pt x="108" y="532"/>
                  </a:cubicBezTo>
                  <a:cubicBezTo>
                    <a:pt x="108" y="531"/>
                    <a:pt x="109" y="530"/>
                    <a:pt x="110" y="530"/>
                  </a:cubicBezTo>
                  <a:cubicBezTo>
                    <a:pt x="112" y="530"/>
                    <a:pt x="113" y="530"/>
                    <a:pt x="114" y="529"/>
                  </a:cubicBezTo>
                  <a:cubicBezTo>
                    <a:pt x="115" y="527"/>
                    <a:pt x="116" y="526"/>
                    <a:pt x="115" y="523"/>
                  </a:cubicBezTo>
                  <a:cubicBezTo>
                    <a:pt x="115" y="521"/>
                    <a:pt x="113" y="520"/>
                    <a:pt x="111" y="519"/>
                  </a:cubicBezTo>
                  <a:cubicBezTo>
                    <a:pt x="108" y="517"/>
                    <a:pt x="106" y="516"/>
                    <a:pt x="106" y="513"/>
                  </a:cubicBezTo>
                  <a:cubicBezTo>
                    <a:pt x="105" y="511"/>
                    <a:pt x="106" y="509"/>
                    <a:pt x="107" y="507"/>
                  </a:cubicBezTo>
                  <a:cubicBezTo>
                    <a:pt x="108" y="505"/>
                    <a:pt x="108" y="503"/>
                    <a:pt x="106" y="499"/>
                  </a:cubicBezTo>
                  <a:cubicBezTo>
                    <a:pt x="104" y="495"/>
                    <a:pt x="105" y="492"/>
                    <a:pt x="106" y="489"/>
                  </a:cubicBezTo>
                  <a:cubicBezTo>
                    <a:pt x="106" y="487"/>
                    <a:pt x="107" y="486"/>
                    <a:pt x="106" y="485"/>
                  </a:cubicBezTo>
                  <a:cubicBezTo>
                    <a:pt x="105" y="481"/>
                    <a:pt x="104" y="477"/>
                    <a:pt x="108" y="470"/>
                  </a:cubicBezTo>
                  <a:cubicBezTo>
                    <a:pt x="112" y="463"/>
                    <a:pt x="120" y="459"/>
                    <a:pt x="123" y="460"/>
                  </a:cubicBezTo>
                  <a:cubicBezTo>
                    <a:pt x="123" y="460"/>
                    <a:pt x="124" y="460"/>
                    <a:pt x="125" y="460"/>
                  </a:cubicBezTo>
                  <a:cubicBezTo>
                    <a:pt x="126" y="461"/>
                    <a:pt x="128" y="461"/>
                    <a:pt x="129" y="461"/>
                  </a:cubicBezTo>
                  <a:cubicBezTo>
                    <a:pt x="130" y="461"/>
                    <a:pt x="131" y="461"/>
                    <a:pt x="132" y="459"/>
                  </a:cubicBezTo>
                  <a:cubicBezTo>
                    <a:pt x="133" y="457"/>
                    <a:pt x="134" y="454"/>
                    <a:pt x="133" y="453"/>
                  </a:cubicBezTo>
                  <a:cubicBezTo>
                    <a:pt x="133" y="452"/>
                    <a:pt x="133" y="452"/>
                    <a:pt x="132" y="452"/>
                  </a:cubicBezTo>
                  <a:cubicBezTo>
                    <a:pt x="132" y="452"/>
                    <a:pt x="132" y="452"/>
                    <a:pt x="132" y="452"/>
                  </a:cubicBezTo>
                  <a:cubicBezTo>
                    <a:pt x="130" y="451"/>
                    <a:pt x="128" y="450"/>
                    <a:pt x="127" y="448"/>
                  </a:cubicBezTo>
                  <a:cubicBezTo>
                    <a:pt x="127" y="447"/>
                    <a:pt x="127" y="445"/>
                    <a:pt x="129" y="444"/>
                  </a:cubicBezTo>
                  <a:cubicBezTo>
                    <a:pt x="133" y="437"/>
                    <a:pt x="138" y="431"/>
                    <a:pt x="138" y="425"/>
                  </a:cubicBezTo>
                  <a:cubicBezTo>
                    <a:pt x="138" y="423"/>
                    <a:pt x="138" y="420"/>
                    <a:pt x="138" y="418"/>
                  </a:cubicBezTo>
                  <a:cubicBezTo>
                    <a:pt x="138" y="415"/>
                    <a:pt x="138" y="413"/>
                    <a:pt x="139" y="412"/>
                  </a:cubicBezTo>
                  <a:cubicBezTo>
                    <a:pt x="140" y="411"/>
                    <a:pt x="142" y="411"/>
                    <a:pt x="144" y="410"/>
                  </a:cubicBezTo>
                  <a:cubicBezTo>
                    <a:pt x="146" y="410"/>
                    <a:pt x="148" y="410"/>
                    <a:pt x="150" y="409"/>
                  </a:cubicBezTo>
                  <a:cubicBezTo>
                    <a:pt x="152" y="407"/>
                    <a:pt x="152" y="406"/>
                    <a:pt x="152" y="404"/>
                  </a:cubicBezTo>
                  <a:cubicBezTo>
                    <a:pt x="152" y="403"/>
                    <a:pt x="152" y="402"/>
                    <a:pt x="153" y="401"/>
                  </a:cubicBezTo>
                  <a:cubicBezTo>
                    <a:pt x="154" y="400"/>
                    <a:pt x="155" y="398"/>
                    <a:pt x="156" y="396"/>
                  </a:cubicBezTo>
                  <a:cubicBezTo>
                    <a:pt x="157" y="394"/>
                    <a:pt x="159" y="391"/>
                    <a:pt x="160" y="390"/>
                  </a:cubicBezTo>
                  <a:cubicBezTo>
                    <a:pt x="164" y="387"/>
                    <a:pt x="165" y="385"/>
                    <a:pt x="164" y="383"/>
                  </a:cubicBezTo>
                  <a:cubicBezTo>
                    <a:pt x="163" y="381"/>
                    <a:pt x="164" y="379"/>
                    <a:pt x="165" y="377"/>
                  </a:cubicBezTo>
                  <a:cubicBezTo>
                    <a:pt x="166" y="376"/>
                    <a:pt x="168" y="374"/>
                    <a:pt x="168" y="372"/>
                  </a:cubicBezTo>
                  <a:cubicBezTo>
                    <a:pt x="168" y="367"/>
                    <a:pt x="175" y="363"/>
                    <a:pt x="179" y="363"/>
                  </a:cubicBezTo>
                  <a:cubicBezTo>
                    <a:pt x="183" y="363"/>
                    <a:pt x="190" y="363"/>
                    <a:pt x="190" y="360"/>
                  </a:cubicBezTo>
                  <a:cubicBezTo>
                    <a:pt x="190" y="359"/>
                    <a:pt x="190" y="357"/>
                    <a:pt x="190" y="356"/>
                  </a:cubicBezTo>
                  <a:cubicBezTo>
                    <a:pt x="189" y="353"/>
                    <a:pt x="189" y="350"/>
                    <a:pt x="190" y="349"/>
                  </a:cubicBezTo>
                  <a:cubicBezTo>
                    <a:pt x="191" y="348"/>
                    <a:pt x="192" y="348"/>
                    <a:pt x="194" y="349"/>
                  </a:cubicBezTo>
                  <a:cubicBezTo>
                    <a:pt x="196" y="350"/>
                    <a:pt x="198" y="350"/>
                    <a:pt x="200" y="350"/>
                  </a:cubicBezTo>
                  <a:cubicBezTo>
                    <a:pt x="201" y="350"/>
                    <a:pt x="201" y="350"/>
                    <a:pt x="202" y="350"/>
                  </a:cubicBezTo>
                  <a:cubicBezTo>
                    <a:pt x="203" y="350"/>
                    <a:pt x="203" y="350"/>
                    <a:pt x="204" y="350"/>
                  </a:cubicBezTo>
                  <a:cubicBezTo>
                    <a:pt x="206" y="350"/>
                    <a:pt x="208" y="350"/>
                    <a:pt x="209" y="352"/>
                  </a:cubicBezTo>
                  <a:cubicBezTo>
                    <a:pt x="211" y="353"/>
                    <a:pt x="213" y="354"/>
                    <a:pt x="214" y="354"/>
                  </a:cubicBezTo>
                  <a:cubicBezTo>
                    <a:pt x="217" y="354"/>
                    <a:pt x="218" y="352"/>
                    <a:pt x="218" y="349"/>
                  </a:cubicBezTo>
                  <a:cubicBezTo>
                    <a:pt x="218" y="345"/>
                    <a:pt x="220" y="337"/>
                    <a:pt x="225" y="337"/>
                  </a:cubicBezTo>
                  <a:cubicBezTo>
                    <a:pt x="225" y="337"/>
                    <a:pt x="226" y="337"/>
                    <a:pt x="227" y="338"/>
                  </a:cubicBezTo>
                  <a:cubicBezTo>
                    <a:pt x="228" y="338"/>
                    <a:pt x="228" y="338"/>
                    <a:pt x="228" y="338"/>
                  </a:cubicBezTo>
                  <a:cubicBezTo>
                    <a:pt x="231" y="334"/>
                    <a:pt x="234" y="331"/>
                    <a:pt x="238" y="331"/>
                  </a:cubicBezTo>
                  <a:cubicBezTo>
                    <a:pt x="241" y="332"/>
                    <a:pt x="243" y="334"/>
                    <a:pt x="246" y="337"/>
                  </a:cubicBezTo>
                  <a:cubicBezTo>
                    <a:pt x="248" y="340"/>
                    <a:pt x="251" y="342"/>
                    <a:pt x="254" y="343"/>
                  </a:cubicBezTo>
                  <a:cubicBezTo>
                    <a:pt x="256" y="343"/>
                    <a:pt x="257" y="344"/>
                    <a:pt x="259" y="344"/>
                  </a:cubicBezTo>
                  <a:cubicBezTo>
                    <a:pt x="261" y="345"/>
                    <a:pt x="264" y="345"/>
                    <a:pt x="266" y="345"/>
                  </a:cubicBezTo>
                  <a:cubicBezTo>
                    <a:pt x="268" y="345"/>
                    <a:pt x="269" y="345"/>
                    <a:pt x="270" y="344"/>
                  </a:cubicBezTo>
                  <a:cubicBezTo>
                    <a:pt x="270" y="343"/>
                    <a:pt x="271" y="343"/>
                    <a:pt x="272" y="343"/>
                  </a:cubicBezTo>
                  <a:cubicBezTo>
                    <a:pt x="273" y="343"/>
                    <a:pt x="274" y="343"/>
                    <a:pt x="275" y="344"/>
                  </a:cubicBezTo>
                  <a:cubicBezTo>
                    <a:pt x="277" y="344"/>
                    <a:pt x="279" y="345"/>
                    <a:pt x="281" y="345"/>
                  </a:cubicBezTo>
                  <a:cubicBezTo>
                    <a:pt x="281" y="344"/>
                    <a:pt x="282" y="344"/>
                    <a:pt x="282" y="344"/>
                  </a:cubicBezTo>
                  <a:cubicBezTo>
                    <a:pt x="283" y="344"/>
                    <a:pt x="284" y="346"/>
                    <a:pt x="285" y="347"/>
                  </a:cubicBezTo>
                  <a:cubicBezTo>
                    <a:pt x="286" y="348"/>
                    <a:pt x="286" y="348"/>
                    <a:pt x="287" y="348"/>
                  </a:cubicBezTo>
                  <a:cubicBezTo>
                    <a:pt x="287" y="348"/>
                    <a:pt x="288" y="348"/>
                    <a:pt x="289" y="347"/>
                  </a:cubicBezTo>
                  <a:cubicBezTo>
                    <a:pt x="291" y="345"/>
                    <a:pt x="291" y="343"/>
                    <a:pt x="291" y="341"/>
                  </a:cubicBezTo>
                  <a:cubicBezTo>
                    <a:pt x="291" y="340"/>
                    <a:pt x="291" y="338"/>
                    <a:pt x="294" y="338"/>
                  </a:cubicBezTo>
                  <a:cubicBezTo>
                    <a:pt x="294" y="338"/>
                    <a:pt x="295" y="338"/>
                    <a:pt x="296" y="338"/>
                  </a:cubicBezTo>
                  <a:cubicBezTo>
                    <a:pt x="297" y="338"/>
                    <a:pt x="298" y="338"/>
                    <a:pt x="298" y="338"/>
                  </a:cubicBezTo>
                  <a:cubicBezTo>
                    <a:pt x="299" y="336"/>
                    <a:pt x="299" y="334"/>
                    <a:pt x="298" y="331"/>
                  </a:cubicBezTo>
                  <a:cubicBezTo>
                    <a:pt x="298" y="329"/>
                    <a:pt x="298" y="328"/>
                    <a:pt x="298" y="326"/>
                  </a:cubicBezTo>
                  <a:cubicBezTo>
                    <a:pt x="298" y="324"/>
                    <a:pt x="300" y="322"/>
                    <a:pt x="303" y="321"/>
                  </a:cubicBezTo>
                  <a:cubicBezTo>
                    <a:pt x="305" y="320"/>
                    <a:pt x="307" y="318"/>
                    <a:pt x="307" y="317"/>
                  </a:cubicBezTo>
                  <a:cubicBezTo>
                    <a:pt x="307" y="314"/>
                    <a:pt x="311" y="314"/>
                    <a:pt x="314" y="314"/>
                  </a:cubicBezTo>
                  <a:cubicBezTo>
                    <a:pt x="316" y="314"/>
                    <a:pt x="316" y="314"/>
                    <a:pt x="316" y="314"/>
                  </a:cubicBezTo>
                  <a:cubicBezTo>
                    <a:pt x="318" y="314"/>
                    <a:pt x="321" y="314"/>
                    <a:pt x="321" y="313"/>
                  </a:cubicBezTo>
                  <a:cubicBezTo>
                    <a:pt x="323" y="311"/>
                    <a:pt x="326" y="310"/>
                    <a:pt x="328" y="310"/>
                  </a:cubicBezTo>
                  <a:cubicBezTo>
                    <a:pt x="331" y="310"/>
                    <a:pt x="333" y="311"/>
                    <a:pt x="334" y="313"/>
                  </a:cubicBezTo>
                  <a:cubicBezTo>
                    <a:pt x="335" y="315"/>
                    <a:pt x="339" y="317"/>
                    <a:pt x="342" y="318"/>
                  </a:cubicBezTo>
                  <a:cubicBezTo>
                    <a:pt x="346" y="320"/>
                    <a:pt x="349" y="321"/>
                    <a:pt x="349" y="324"/>
                  </a:cubicBezTo>
                  <a:cubicBezTo>
                    <a:pt x="349" y="325"/>
                    <a:pt x="349" y="327"/>
                    <a:pt x="349" y="329"/>
                  </a:cubicBezTo>
                  <a:cubicBezTo>
                    <a:pt x="349" y="329"/>
                    <a:pt x="349" y="330"/>
                    <a:pt x="349" y="331"/>
                  </a:cubicBezTo>
                  <a:cubicBezTo>
                    <a:pt x="351" y="329"/>
                    <a:pt x="353" y="328"/>
                    <a:pt x="355" y="328"/>
                  </a:cubicBezTo>
                  <a:cubicBezTo>
                    <a:pt x="357" y="328"/>
                    <a:pt x="359" y="326"/>
                    <a:pt x="361" y="325"/>
                  </a:cubicBezTo>
                  <a:cubicBezTo>
                    <a:pt x="363" y="324"/>
                    <a:pt x="365" y="322"/>
                    <a:pt x="367" y="322"/>
                  </a:cubicBezTo>
                  <a:cubicBezTo>
                    <a:pt x="367" y="322"/>
                    <a:pt x="367" y="322"/>
                    <a:pt x="368" y="322"/>
                  </a:cubicBezTo>
                  <a:cubicBezTo>
                    <a:pt x="371" y="323"/>
                    <a:pt x="373" y="322"/>
                    <a:pt x="374" y="318"/>
                  </a:cubicBezTo>
                  <a:cubicBezTo>
                    <a:pt x="373" y="317"/>
                    <a:pt x="371" y="316"/>
                    <a:pt x="369" y="316"/>
                  </a:cubicBezTo>
                  <a:cubicBezTo>
                    <a:pt x="366" y="316"/>
                    <a:pt x="365" y="317"/>
                    <a:pt x="365" y="318"/>
                  </a:cubicBezTo>
                  <a:cubicBezTo>
                    <a:pt x="364" y="320"/>
                    <a:pt x="363" y="321"/>
                    <a:pt x="361" y="321"/>
                  </a:cubicBezTo>
                  <a:cubicBezTo>
                    <a:pt x="360" y="321"/>
                    <a:pt x="359" y="320"/>
                    <a:pt x="358" y="320"/>
                  </a:cubicBezTo>
                  <a:cubicBezTo>
                    <a:pt x="357" y="319"/>
                    <a:pt x="357" y="318"/>
                    <a:pt x="357" y="317"/>
                  </a:cubicBezTo>
                  <a:cubicBezTo>
                    <a:pt x="357" y="316"/>
                    <a:pt x="354" y="314"/>
                    <a:pt x="351" y="313"/>
                  </a:cubicBezTo>
                  <a:cubicBezTo>
                    <a:pt x="349" y="312"/>
                    <a:pt x="348" y="311"/>
                    <a:pt x="348" y="310"/>
                  </a:cubicBezTo>
                  <a:cubicBezTo>
                    <a:pt x="348" y="310"/>
                    <a:pt x="348" y="310"/>
                    <a:pt x="348" y="309"/>
                  </a:cubicBezTo>
                  <a:cubicBezTo>
                    <a:pt x="348" y="309"/>
                    <a:pt x="349" y="309"/>
                    <a:pt x="350" y="309"/>
                  </a:cubicBezTo>
                  <a:cubicBezTo>
                    <a:pt x="352" y="309"/>
                    <a:pt x="354" y="309"/>
                    <a:pt x="356" y="310"/>
                  </a:cubicBezTo>
                  <a:cubicBezTo>
                    <a:pt x="357" y="311"/>
                    <a:pt x="358" y="311"/>
                    <a:pt x="358" y="311"/>
                  </a:cubicBezTo>
                  <a:cubicBezTo>
                    <a:pt x="360" y="311"/>
                    <a:pt x="362" y="310"/>
                    <a:pt x="365" y="307"/>
                  </a:cubicBezTo>
                  <a:cubicBezTo>
                    <a:pt x="367" y="305"/>
                    <a:pt x="369" y="305"/>
                    <a:pt x="371" y="305"/>
                  </a:cubicBezTo>
                  <a:cubicBezTo>
                    <a:pt x="373" y="305"/>
                    <a:pt x="374" y="305"/>
                    <a:pt x="374" y="304"/>
                  </a:cubicBezTo>
                  <a:cubicBezTo>
                    <a:pt x="375" y="302"/>
                    <a:pt x="372" y="301"/>
                    <a:pt x="370" y="299"/>
                  </a:cubicBezTo>
                  <a:cubicBezTo>
                    <a:pt x="369" y="298"/>
                    <a:pt x="368" y="298"/>
                    <a:pt x="367" y="297"/>
                  </a:cubicBezTo>
                  <a:cubicBezTo>
                    <a:pt x="366" y="295"/>
                    <a:pt x="362" y="293"/>
                    <a:pt x="358" y="293"/>
                  </a:cubicBezTo>
                  <a:cubicBezTo>
                    <a:pt x="357" y="293"/>
                    <a:pt x="357" y="293"/>
                    <a:pt x="357" y="293"/>
                  </a:cubicBezTo>
                  <a:cubicBezTo>
                    <a:pt x="353" y="294"/>
                    <a:pt x="352" y="293"/>
                    <a:pt x="350" y="291"/>
                  </a:cubicBezTo>
                  <a:cubicBezTo>
                    <a:pt x="350" y="291"/>
                    <a:pt x="349" y="290"/>
                    <a:pt x="348" y="290"/>
                  </a:cubicBezTo>
                  <a:cubicBezTo>
                    <a:pt x="348" y="289"/>
                    <a:pt x="347" y="289"/>
                    <a:pt x="346" y="289"/>
                  </a:cubicBezTo>
                  <a:cubicBezTo>
                    <a:pt x="343" y="289"/>
                    <a:pt x="338" y="293"/>
                    <a:pt x="338" y="297"/>
                  </a:cubicBezTo>
                  <a:cubicBezTo>
                    <a:pt x="338" y="300"/>
                    <a:pt x="336" y="302"/>
                    <a:pt x="335" y="302"/>
                  </a:cubicBezTo>
                  <a:cubicBezTo>
                    <a:pt x="334" y="302"/>
                    <a:pt x="334" y="301"/>
                    <a:pt x="333" y="301"/>
                  </a:cubicBezTo>
                  <a:cubicBezTo>
                    <a:pt x="333" y="300"/>
                    <a:pt x="333" y="299"/>
                    <a:pt x="333" y="298"/>
                  </a:cubicBezTo>
                  <a:cubicBezTo>
                    <a:pt x="334" y="297"/>
                    <a:pt x="334" y="295"/>
                    <a:pt x="334" y="294"/>
                  </a:cubicBezTo>
                  <a:cubicBezTo>
                    <a:pt x="333" y="293"/>
                    <a:pt x="333" y="292"/>
                    <a:pt x="333" y="291"/>
                  </a:cubicBezTo>
                  <a:cubicBezTo>
                    <a:pt x="333" y="291"/>
                    <a:pt x="334" y="290"/>
                    <a:pt x="336" y="290"/>
                  </a:cubicBezTo>
                  <a:cubicBezTo>
                    <a:pt x="337" y="289"/>
                    <a:pt x="337" y="289"/>
                    <a:pt x="337" y="287"/>
                  </a:cubicBezTo>
                  <a:cubicBezTo>
                    <a:pt x="337" y="286"/>
                    <a:pt x="335" y="283"/>
                    <a:pt x="330" y="282"/>
                  </a:cubicBezTo>
                  <a:cubicBezTo>
                    <a:pt x="325" y="282"/>
                    <a:pt x="322" y="284"/>
                    <a:pt x="321" y="287"/>
                  </a:cubicBezTo>
                  <a:cubicBezTo>
                    <a:pt x="320" y="288"/>
                    <a:pt x="320" y="289"/>
                    <a:pt x="321" y="290"/>
                  </a:cubicBezTo>
                  <a:cubicBezTo>
                    <a:pt x="322" y="290"/>
                    <a:pt x="322" y="292"/>
                    <a:pt x="321" y="293"/>
                  </a:cubicBezTo>
                  <a:cubicBezTo>
                    <a:pt x="319" y="297"/>
                    <a:pt x="315" y="302"/>
                    <a:pt x="312" y="302"/>
                  </a:cubicBezTo>
                  <a:cubicBezTo>
                    <a:pt x="311" y="302"/>
                    <a:pt x="311" y="302"/>
                    <a:pt x="311" y="301"/>
                  </a:cubicBezTo>
                  <a:cubicBezTo>
                    <a:pt x="310" y="300"/>
                    <a:pt x="310" y="298"/>
                    <a:pt x="311" y="295"/>
                  </a:cubicBezTo>
                  <a:cubicBezTo>
                    <a:pt x="311" y="293"/>
                    <a:pt x="312" y="291"/>
                    <a:pt x="312" y="289"/>
                  </a:cubicBezTo>
                  <a:cubicBezTo>
                    <a:pt x="312" y="288"/>
                    <a:pt x="311" y="288"/>
                    <a:pt x="311" y="288"/>
                  </a:cubicBezTo>
                  <a:cubicBezTo>
                    <a:pt x="310" y="288"/>
                    <a:pt x="306" y="291"/>
                    <a:pt x="303" y="295"/>
                  </a:cubicBezTo>
                  <a:cubicBezTo>
                    <a:pt x="302" y="296"/>
                    <a:pt x="301" y="297"/>
                    <a:pt x="300" y="299"/>
                  </a:cubicBezTo>
                  <a:cubicBezTo>
                    <a:pt x="295" y="304"/>
                    <a:pt x="292" y="308"/>
                    <a:pt x="289" y="308"/>
                  </a:cubicBezTo>
                  <a:cubicBezTo>
                    <a:pt x="288" y="309"/>
                    <a:pt x="287" y="308"/>
                    <a:pt x="286" y="307"/>
                  </a:cubicBezTo>
                  <a:cubicBezTo>
                    <a:pt x="286" y="304"/>
                    <a:pt x="287" y="300"/>
                    <a:pt x="291" y="298"/>
                  </a:cubicBezTo>
                  <a:cubicBezTo>
                    <a:pt x="294" y="297"/>
                    <a:pt x="295" y="294"/>
                    <a:pt x="297" y="292"/>
                  </a:cubicBezTo>
                  <a:cubicBezTo>
                    <a:pt x="298" y="289"/>
                    <a:pt x="299" y="287"/>
                    <a:pt x="301" y="287"/>
                  </a:cubicBezTo>
                  <a:cubicBezTo>
                    <a:pt x="302" y="287"/>
                    <a:pt x="303" y="287"/>
                    <a:pt x="303" y="286"/>
                  </a:cubicBezTo>
                  <a:cubicBezTo>
                    <a:pt x="303" y="285"/>
                    <a:pt x="302" y="283"/>
                    <a:pt x="299" y="282"/>
                  </a:cubicBezTo>
                  <a:cubicBezTo>
                    <a:pt x="298" y="282"/>
                    <a:pt x="298" y="282"/>
                    <a:pt x="298" y="282"/>
                  </a:cubicBezTo>
                  <a:cubicBezTo>
                    <a:pt x="295" y="282"/>
                    <a:pt x="294" y="285"/>
                    <a:pt x="293" y="287"/>
                  </a:cubicBezTo>
                  <a:cubicBezTo>
                    <a:pt x="293" y="287"/>
                    <a:pt x="292" y="288"/>
                    <a:pt x="292" y="289"/>
                  </a:cubicBezTo>
                  <a:cubicBezTo>
                    <a:pt x="291" y="289"/>
                    <a:pt x="291" y="289"/>
                    <a:pt x="290" y="289"/>
                  </a:cubicBezTo>
                  <a:cubicBezTo>
                    <a:pt x="289" y="289"/>
                    <a:pt x="287" y="289"/>
                    <a:pt x="285" y="288"/>
                  </a:cubicBezTo>
                  <a:cubicBezTo>
                    <a:pt x="283" y="288"/>
                    <a:pt x="282" y="287"/>
                    <a:pt x="282" y="287"/>
                  </a:cubicBezTo>
                  <a:cubicBezTo>
                    <a:pt x="282" y="287"/>
                    <a:pt x="282" y="287"/>
                    <a:pt x="282" y="287"/>
                  </a:cubicBezTo>
                  <a:cubicBezTo>
                    <a:pt x="282" y="288"/>
                    <a:pt x="281" y="289"/>
                    <a:pt x="280" y="289"/>
                  </a:cubicBezTo>
                  <a:cubicBezTo>
                    <a:pt x="279" y="290"/>
                    <a:pt x="278" y="291"/>
                    <a:pt x="279" y="292"/>
                  </a:cubicBezTo>
                  <a:cubicBezTo>
                    <a:pt x="280" y="294"/>
                    <a:pt x="280" y="295"/>
                    <a:pt x="279" y="296"/>
                  </a:cubicBezTo>
                  <a:cubicBezTo>
                    <a:pt x="279" y="297"/>
                    <a:pt x="278" y="297"/>
                    <a:pt x="278" y="297"/>
                  </a:cubicBezTo>
                  <a:cubicBezTo>
                    <a:pt x="277" y="297"/>
                    <a:pt x="276" y="297"/>
                    <a:pt x="275" y="295"/>
                  </a:cubicBezTo>
                  <a:cubicBezTo>
                    <a:pt x="274" y="294"/>
                    <a:pt x="273" y="294"/>
                    <a:pt x="272" y="294"/>
                  </a:cubicBezTo>
                  <a:cubicBezTo>
                    <a:pt x="270" y="294"/>
                    <a:pt x="267" y="296"/>
                    <a:pt x="266" y="299"/>
                  </a:cubicBezTo>
                  <a:cubicBezTo>
                    <a:pt x="264" y="301"/>
                    <a:pt x="263" y="302"/>
                    <a:pt x="262" y="302"/>
                  </a:cubicBezTo>
                  <a:cubicBezTo>
                    <a:pt x="262" y="303"/>
                    <a:pt x="261" y="303"/>
                    <a:pt x="261" y="303"/>
                  </a:cubicBezTo>
                  <a:cubicBezTo>
                    <a:pt x="261" y="303"/>
                    <a:pt x="261" y="303"/>
                    <a:pt x="261" y="303"/>
                  </a:cubicBezTo>
                  <a:cubicBezTo>
                    <a:pt x="261" y="303"/>
                    <a:pt x="261" y="303"/>
                    <a:pt x="262" y="303"/>
                  </a:cubicBezTo>
                  <a:cubicBezTo>
                    <a:pt x="263" y="304"/>
                    <a:pt x="264" y="306"/>
                    <a:pt x="264" y="308"/>
                  </a:cubicBezTo>
                  <a:cubicBezTo>
                    <a:pt x="264" y="311"/>
                    <a:pt x="262" y="312"/>
                    <a:pt x="260" y="313"/>
                  </a:cubicBezTo>
                  <a:cubicBezTo>
                    <a:pt x="260" y="313"/>
                    <a:pt x="260" y="313"/>
                    <a:pt x="260" y="313"/>
                  </a:cubicBezTo>
                  <a:cubicBezTo>
                    <a:pt x="258" y="313"/>
                    <a:pt x="257" y="310"/>
                    <a:pt x="257" y="307"/>
                  </a:cubicBezTo>
                  <a:cubicBezTo>
                    <a:pt x="256" y="305"/>
                    <a:pt x="256" y="303"/>
                    <a:pt x="255" y="303"/>
                  </a:cubicBezTo>
                  <a:cubicBezTo>
                    <a:pt x="255" y="303"/>
                    <a:pt x="255" y="303"/>
                    <a:pt x="255" y="303"/>
                  </a:cubicBezTo>
                  <a:cubicBezTo>
                    <a:pt x="254" y="304"/>
                    <a:pt x="253" y="303"/>
                    <a:pt x="253" y="303"/>
                  </a:cubicBezTo>
                  <a:cubicBezTo>
                    <a:pt x="253" y="302"/>
                    <a:pt x="253" y="301"/>
                    <a:pt x="254" y="299"/>
                  </a:cubicBezTo>
                  <a:cubicBezTo>
                    <a:pt x="255" y="298"/>
                    <a:pt x="256" y="297"/>
                    <a:pt x="258" y="297"/>
                  </a:cubicBezTo>
                  <a:cubicBezTo>
                    <a:pt x="260" y="297"/>
                    <a:pt x="262" y="295"/>
                    <a:pt x="264" y="293"/>
                  </a:cubicBezTo>
                  <a:cubicBezTo>
                    <a:pt x="265" y="291"/>
                    <a:pt x="265" y="290"/>
                    <a:pt x="265" y="290"/>
                  </a:cubicBezTo>
                  <a:cubicBezTo>
                    <a:pt x="265" y="289"/>
                    <a:pt x="264" y="289"/>
                    <a:pt x="263" y="289"/>
                  </a:cubicBezTo>
                  <a:cubicBezTo>
                    <a:pt x="262" y="289"/>
                    <a:pt x="261" y="289"/>
                    <a:pt x="261" y="291"/>
                  </a:cubicBezTo>
                  <a:cubicBezTo>
                    <a:pt x="261" y="294"/>
                    <a:pt x="257" y="294"/>
                    <a:pt x="254" y="294"/>
                  </a:cubicBezTo>
                  <a:cubicBezTo>
                    <a:pt x="253" y="294"/>
                    <a:pt x="251" y="294"/>
                    <a:pt x="250" y="294"/>
                  </a:cubicBezTo>
                  <a:cubicBezTo>
                    <a:pt x="248" y="294"/>
                    <a:pt x="248" y="294"/>
                    <a:pt x="248" y="294"/>
                  </a:cubicBezTo>
                  <a:cubicBezTo>
                    <a:pt x="247" y="294"/>
                    <a:pt x="246" y="295"/>
                    <a:pt x="245" y="296"/>
                  </a:cubicBezTo>
                  <a:cubicBezTo>
                    <a:pt x="245" y="298"/>
                    <a:pt x="246" y="301"/>
                    <a:pt x="250" y="303"/>
                  </a:cubicBezTo>
                  <a:cubicBezTo>
                    <a:pt x="252" y="304"/>
                    <a:pt x="252" y="305"/>
                    <a:pt x="252" y="306"/>
                  </a:cubicBezTo>
                  <a:cubicBezTo>
                    <a:pt x="252" y="307"/>
                    <a:pt x="251" y="308"/>
                    <a:pt x="249" y="308"/>
                  </a:cubicBezTo>
                  <a:cubicBezTo>
                    <a:pt x="247" y="308"/>
                    <a:pt x="246" y="307"/>
                    <a:pt x="245" y="306"/>
                  </a:cubicBezTo>
                  <a:cubicBezTo>
                    <a:pt x="244" y="306"/>
                    <a:pt x="243" y="305"/>
                    <a:pt x="241" y="305"/>
                  </a:cubicBezTo>
                  <a:cubicBezTo>
                    <a:pt x="239" y="305"/>
                    <a:pt x="236" y="306"/>
                    <a:pt x="235" y="307"/>
                  </a:cubicBezTo>
                  <a:cubicBezTo>
                    <a:pt x="234" y="307"/>
                    <a:pt x="234" y="307"/>
                    <a:pt x="234" y="307"/>
                  </a:cubicBezTo>
                  <a:cubicBezTo>
                    <a:pt x="234" y="308"/>
                    <a:pt x="237" y="309"/>
                    <a:pt x="239" y="310"/>
                  </a:cubicBezTo>
                  <a:cubicBezTo>
                    <a:pt x="241" y="312"/>
                    <a:pt x="243" y="312"/>
                    <a:pt x="243" y="313"/>
                  </a:cubicBezTo>
                  <a:cubicBezTo>
                    <a:pt x="243" y="314"/>
                    <a:pt x="243" y="314"/>
                    <a:pt x="243" y="314"/>
                  </a:cubicBezTo>
                  <a:cubicBezTo>
                    <a:pt x="243" y="314"/>
                    <a:pt x="243" y="315"/>
                    <a:pt x="242" y="315"/>
                  </a:cubicBezTo>
                  <a:cubicBezTo>
                    <a:pt x="242" y="315"/>
                    <a:pt x="241" y="314"/>
                    <a:pt x="240" y="314"/>
                  </a:cubicBezTo>
                  <a:cubicBezTo>
                    <a:pt x="239" y="313"/>
                    <a:pt x="237" y="313"/>
                    <a:pt x="237" y="313"/>
                  </a:cubicBezTo>
                  <a:cubicBezTo>
                    <a:pt x="236" y="313"/>
                    <a:pt x="236" y="313"/>
                    <a:pt x="236" y="313"/>
                  </a:cubicBezTo>
                  <a:cubicBezTo>
                    <a:pt x="236" y="313"/>
                    <a:pt x="235" y="314"/>
                    <a:pt x="234" y="314"/>
                  </a:cubicBezTo>
                  <a:cubicBezTo>
                    <a:pt x="232" y="314"/>
                    <a:pt x="228" y="311"/>
                    <a:pt x="227" y="308"/>
                  </a:cubicBezTo>
                  <a:cubicBezTo>
                    <a:pt x="227" y="308"/>
                    <a:pt x="227" y="307"/>
                    <a:pt x="226" y="307"/>
                  </a:cubicBezTo>
                  <a:cubicBezTo>
                    <a:pt x="224" y="307"/>
                    <a:pt x="222" y="309"/>
                    <a:pt x="222" y="309"/>
                  </a:cubicBezTo>
                  <a:cubicBezTo>
                    <a:pt x="222" y="310"/>
                    <a:pt x="223" y="310"/>
                    <a:pt x="223" y="310"/>
                  </a:cubicBezTo>
                  <a:cubicBezTo>
                    <a:pt x="228" y="311"/>
                    <a:pt x="228" y="314"/>
                    <a:pt x="227" y="317"/>
                  </a:cubicBezTo>
                  <a:cubicBezTo>
                    <a:pt x="227" y="318"/>
                    <a:pt x="227" y="319"/>
                    <a:pt x="227" y="320"/>
                  </a:cubicBezTo>
                  <a:cubicBezTo>
                    <a:pt x="227" y="323"/>
                    <a:pt x="225" y="323"/>
                    <a:pt x="225" y="323"/>
                  </a:cubicBezTo>
                  <a:cubicBezTo>
                    <a:pt x="224" y="323"/>
                    <a:pt x="223" y="322"/>
                    <a:pt x="222" y="321"/>
                  </a:cubicBezTo>
                  <a:cubicBezTo>
                    <a:pt x="221" y="320"/>
                    <a:pt x="221" y="318"/>
                    <a:pt x="221" y="317"/>
                  </a:cubicBezTo>
                  <a:cubicBezTo>
                    <a:pt x="221" y="317"/>
                    <a:pt x="221" y="316"/>
                    <a:pt x="221" y="315"/>
                  </a:cubicBezTo>
                  <a:cubicBezTo>
                    <a:pt x="220" y="315"/>
                    <a:pt x="220" y="315"/>
                    <a:pt x="220" y="315"/>
                  </a:cubicBezTo>
                  <a:cubicBezTo>
                    <a:pt x="218" y="315"/>
                    <a:pt x="216" y="316"/>
                    <a:pt x="214" y="317"/>
                  </a:cubicBezTo>
                  <a:cubicBezTo>
                    <a:pt x="212" y="318"/>
                    <a:pt x="212" y="318"/>
                    <a:pt x="211" y="317"/>
                  </a:cubicBezTo>
                  <a:cubicBezTo>
                    <a:pt x="211" y="317"/>
                    <a:pt x="211" y="316"/>
                    <a:pt x="212" y="314"/>
                  </a:cubicBezTo>
                  <a:cubicBezTo>
                    <a:pt x="212" y="312"/>
                    <a:pt x="213" y="310"/>
                    <a:pt x="212" y="308"/>
                  </a:cubicBezTo>
                  <a:cubicBezTo>
                    <a:pt x="212" y="307"/>
                    <a:pt x="211" y="307"/>
                    <a:pt x="210" y="307"/>
                  </a:cubicBezTo>
                  <a:cubicBezTo>
                    <a:pt x="209" y="307"/>
                    <a:pt x="208" y="308"/>
                    <a:pt x="207" y="308"/>
                  </a:cubicBezTo>
                  <a:cubicBezTo>
                    <a:pt x="205" y="309"/>
                    <a:pt x="204" y="309"/>
                    <a:pt x="202" y="310"/>
                  </a:cubicBezTo>
                  <a:cubicBezTo>
                    <a:pt x="202" y="310"/>
                    <a:pt x="202" y="310"/>
                    <a:pt x="202" y="310"/>
                  </a:cubicBezTo>
                  <a:cubicBezTo>
                    <a:pt x="200" y="310"/>
                    <a:pt x="198" y="310"/>
                    <a:pt x="198" y="311"/>
                  </a:cubicBezTo>
                  <a:cubicBezTo>
                    <a:pt x="197" y="311"/>
                    <a:pt x="198" y="312"/>
                    <a:pt x="199" y="313"/>
                  </a:cubicBezTo>
                  <a:cubicBezTo>
                    <a:pt x="200" y="315"/>
                    <a:pt x="201" y="317"/>
                    <a:pt x="200" y="319"/>
                  </a:cubicBezTo>
                  <a:cubicBezTo>
                    <a:pt x="200" y="320"/>
                    <a:pt x="199" y="321"/>
                    <a:pt x="197" y="320"/>
                  </a:cubicBezTo>
                  <a:cubicBezTo>
                    <a:pt x="195" y="320"/>
                    <a:pt x="194" y="320"/>
                    <a:pt x="193" y="321"/>
                  </a:cubicBezTo>
                  <a:cubicBezTo>
                    <a:pt x="193" y="321"/>
                    <a:pt x="193" y="322"/>
                    <a:pt x="193" y="323"/>
                  </a:cubicBezTo>
                  <a:cubicBezTo>
                    <a:pt x="193" y="324"/>
                    <a:pt x="193" y="325"/>
                    <a:pt x="192" y="325"/>
                  </a:cubicBezTo>
                  <a:cubicBezTo>
                    <a:pt x="191" y="326"/>
                    <a:pt x="191" y="326"/>
                    <a:pt x="190" y="326"/>
                  </a:cubicBezTo>
                  <a:cubicBezTo>
                    <a:pt x="188" y="326"/>
                    <a:pt x="187" y="326"/>
                    <a:pt x="187" y="324"/>
                  </a:cubicBezTo>
                  <a:cubicBezTo>
                    <a:pt x="186" y="323"/>
                    <a:pt x="184" y="323"/>
                    <a:pt x="184" y="323"/>
                  </a:cubicBezTo>
                  <a:cubicBezTo>
                    <a:pt x="182" y="323"/>
                    <a:pt x="179" y="324"/>
                    <a:pt x="178" y="325"/>
                  </a:cubicBezTo>
                  <a:cubicBezTo>
                    <a:pt x="177" y="327"/>
                    <a:pt x="175" y="328"/>
                    <a:pt x="174" y="329"/>
                  </a:cubicBezTo>
                  <a:cubicBezTo>
                    <a:pt x="172" y="331"/>
                    <a:pt x="170" y="333"/>
                    <a:pt x="170" y="335"/>
                  </a:cubicBezTo>
                  <a:cubicBezTo>
                    <a:pt x="170" y="336"/>
                    <a:pt x="171" y="336"/>
                    <a:pt x="171" y="336"/>
                  </a:cubicBezTo>
                  <a:cubicBezTo>
                    <a:pt x="171" y="336"/>
                    <a:pt x="172" y="336"/>
                    <a:pt x="173" y="335"/>
                  </a:cubicBezTo>
                  <a:cubicBezTo>
                    <a:pt x="175" y="334"/>
                    <a:pt x="176" y="334"/>
                    <a:pt x="178" y="334"/>
                  </a:cubicBezTo>
                  <a:cubicBezTo>
                    <a:pt x="179" y="334"/>
                    <a:pt x="179" y="334"/>
                    <a:pt x="179" y="334"/>
                  </a:cubicBezTo>
                  <a:cubicBezTo>
                    <a:pt x="182" y="335"/>
                    <a:pt x="181" y="336"/>
                    <a:pt x="181" y="337"/>
                  </a:cubicBezTo>
                  <a:cubicBezTo>
                    <a:pt x="181" y="338"/>
                    <a:pt x="180" y="339"/>
                    <a:pt x="181" y="339"/>
                  </a:cubicBezTo>
                  <a:cubicBezTo>
                    <a:pt x="182" y="340"/>
                    <a:pt x="183" y="343"/>
                    <a:pt x="182" y="344"/>
                  </a:cubicBezTo>
                  <a:cubicBezTo>
                    <a:pt x="182" y="345"/>
                    <a:pt x="181" y="345"/>
                    <a:pt x="179" y="344"/>
                  </a:cubicBezTo>
                  <a:cubicBezTo>
                    <a:pt x="178" y="342"/>
                    <a:pt x="176" y="342"/>
                    <a:pt x="175" y="342"/>
                  </a:cubicBezTo>
                  <a:cubicBezTo>
                    <a:pt x="174" y="342"/>
                    <a:pt x="173" y="343"/>
                    <a:pt x="172" y="344"/>
                  </a:cubicBezTo>
                  <a:cubicBezTo>
                    <a:pt x="172" y="346"/>
                    <a:pt x="172" y="347"/>
                    <a:pt x="171" y="347"/>
                  </a:cubicBezTo>
                  <a:cubicBezTo>
                    <a:pt x="170" y="347"/>
                    <a:pt x="168" y="345"/>
                    <a:pt x="166" y="342"/>
                  </a:cubicBezTo>
                  <a:cubicBezTo>
                    <a:pt x="166" y="342"/>
                    <a:pt x="166" y="341"/>
                    <a:pt x="165" y="341"/>
                  </a:cubicBezTo>
                  <a:cubicBezTo>
                    <a:pt x="165" y="340"/>
                    <a:pt x="164" y="340"/>
                    <a:pt x="164" y="340"/>
                  </a:cubicBezTo>
                  <a:cubicBezTo>
                    <a:pt x="164" y="340"/>
                    <a:pt x="163" y="341"/>
                    <a:pt x="162" y="342"/>
                  </a:cubicBezTo>
                  <a:cubicBezTo>
                    <a:pt x="161" y="344"/>
                    <a:pt x="160" y="345"/>
                    <a:pt x="158" y="345"/>
                  </a:cubicBezTo>
                  <a:cubicBezTo>
                    <a:pt x="158" y="345"/>
                    <a:pt x="158" y="345"/>
                    <a:pt x="157" y="345"/>
                  </a:cubicBezTo>
                  <a:cubicBezTo>
                    <a:pt x="156" y="343"/>
                    <a:pt x="157" y="341"/>
                    <a:pt x="159" y="338"/>
                  </a:cubicBezTo>
                  <a:cubicBezTo>
                    <a:pt x="160" y="336"/>
                    <a:pt x="161" y="334"/>
                    <a:pt x="161" y="333"/>
                  </a:cubicBezTo>
                  <a:cubicBezTo>
                    <a:pt x="160" y="332"/>
                    <a:pt x="160" y="332"/>
                    <a:pt x="160" y="332"/>
                  </a:cubicBezTo>
                  <a:cubicBezTo>
                    <a:pt x="159" y="332"/>
                    <a:pt x="158" y="333"/>
                    <a:pt x="157" y="335"/>
                  </a:cubicBezTo>
                  <a:cubicBezTo>
                    <a:pt x="156" y="336"/>
                    <a:pt x="154" y="338"/>
                    <a:pt x="153" y="340"/>
                  </a:cubicBezTo>
                  <a:cubicBezTo>
                    <a:pt x="150" y="342"/>
                    <a:pt x="148" y="343"/>
                    <a:pt x="146" y="344"/>
                  </a:cubicBezTo>
                  <a:cubicBezTo>
                    <a:pt x="144" y="344"/>
                    <a:pt x="143" y="345"/>
                    <a:pt x="143" y="345"/>
                  </a:cubicBezTo>
                  <a:cubicBezTo>
                    <a:pt x="143" y="345"/>
                    <a:pt x="143" y="346"/>
                    <a:pt x="144" y="346"/>
                  </a:cubicBezTo>
                  <a:cubicBezTo>
                    <a:pt x="144" y="347"/>
                    <a:pt x="144" y="347"/>
                    <a:pt x="144" y="347"/>
                  </a:cubicBezTo>
                  <a:cubicBezTo>
                    <a:pt x="144" y="348"/>
                    <a:pt x="143" y="349"/>
                    <a:pt x="141" y="350"/>
                  </a:cubicBezTo>
                  <a:cubicBezTo>
                    <a:pt x="140" y="351"/>
                    <a:pt x="138" y="352"/>
                    <a:pt x="137" y="354"/>
                  </a:cubicBezTo>
                  <a:cubicBezTo>
                    <a:pt x="137" y="357"/>
                    <a:pt x="133" y="358"/>
                    <a:pt x="128" y="360"/>
                  </a:cubicBezTo>
                  <a:cubicBezTo>
                    <a:pt x="125" y="361"/>
                    <a:pt x="122" y="363"/>
                    <a:pt x="119" y="364"/>
                  </a:cubicBezTo>
                  <a:cubicBezTo>
                    <a:pt x="117" y="366"/>
                    <a:pt x="117" y="366"/>
                    <a:pt x="117" y="367"/>
                  </a:cubicBezTo>
                  <a:cubicBezTo>
                    <a:pt x="117" y="367"/>
                    <a:pt x="117" y="367"/>
                    <a:pt x="118" y="367"/>
                  </a:cubicBezTo>
                  <a:cubicBezTo>
                    <a:pt x="120" y="367"/>
                    <a:pt x="122" y="366"/>
                    <a:pt x="124" y="364"/>
                  </a:cubicBezTo>
                  <a:cubicBezTo>
                    <a:pt x="126" y="362"/>
                    <a:pt x="127" y="361"/>
                    <a:pt x="129" y="361"/>
                  </a:cubicBezTo>
                  <a:cubicBezTo>
                    <a:pt x="130" y="361"/>
                    <a:pt x="132" y="360"/>
                    <a:pt x="135" y="359"/>
                  </a:cubicBezTo>
                  <a:cubicBezTo>
                    <a:pt x="139" y="356"/>
                    <a:pt x="144" y="353"/>
                    <a:pt x="147" y="353"/>
                  </a:cubicBezTo>
                  <a:cubicBezTo>
                    <a:pt x="148" y="353"/>
                    <a:pt x="149" y="353"/>
                    <a:pt x="149" y="353"/>
                  </a:cubicBezTo>
                  <a:cubicBezTo>
                    <a:pt x="150" y="354"/>
                    <a:pt x="151" y="355"/>
                    <a:pt x="153" y="355"/>
                  </a:cubicBezTo>
                  <a:cubicBezTo>
                    <a:pt x="155" y="355"/>
                    <a:pt x="156" y="354"/>
                    <a:pt x="157" y="352"/>
                  </a:cubicBezTo>
                  <a:cubicBezTo>
                    <a:pt x="159" y="350"/>
                    <a:pt x="160" y="349"/>
                    <a:pt x="162" y="349"/>
                  </a:cubicBezTo>
                  <a:cubicBezTo>
                    <a:pt x="164" y="349"/>
                    <a:pt x="165" y="350"/>
                    <a:pt x="167" y="351"/>
                  </a:cubicBezTo>
                  <a:cubicBezTo>
                    <a:pt x="167" y="352"/>
                    <a:pt x="168" y="352"/>
                    <a:pt x="168" y="353"/>
                  </a:cubicBezTo>
                  <a:cubicBezTo>
                    <a:pt x="168" y="354"/>
                    <a:pt x="167" y="355"/>
                    <a:pt x="166" y="355"/>
                  </a:cubicBezTo>
                  <a:cubicBezTo>
                    <a:pt x="165" y="357"/>
                    <a:pt x="164" y="358"/>
                    <a:pt x="166" y="359"/>
                  </a:cubicBezTo>
                  <a:cubicBezTo>
                    <a:pt x="167" y="360"/>
                    <a:pt x="167" y="361"/>
                    <a:pt x="167" y="362"/>
                  </a:cubicBezTo>
                  <a:cubicBezTo>
                    <a:pt x="166" y="363"/>
                    <a:pt x="164" y="364"/>
                    <a:pt x="163" y="364"/>
                  </a:cubicBezTo>
                  <a:cubicBezTo>
                    <a:pt x="163" y="364"/>
                    <a:pt x="162" y="364"/>
                    <a:pt x="162" y="363"/>
                  </a:cubicBezTo>
                  <a:cubicBezTo>
                    <a:pt x="161" y="363"/>
                    <a:pt x="161" y="363"/>
                    <a:pt x="161" y="362"/>
                  </a:cubicBezTo>
                  <a:cubicBezTo>
                    <a:pt x="161" y="360"/>
                    <a:pt x="159" y="358"/>
                    <a:pt x="157" y="358"/>
                  </a:cubicBezTo>
                  <a:cubicBezTo>
                    <a:pt x="156" y="359"/>
                    <a:pt x="156" y="359"/>
                    <a:pt x="156" y="359"/>
                  </a:cubicBezTo>
                  <a:cubicBezTo>
                    <a:pt x="155" y="361"/>
                    <a:pt x="152" y="365"/>
                    <a:pt x="149" y="366"/>
                  </a:cubicBezTo>
                  <a:cubicBezTo>
                    <a:pt x="146" y="366"/>
                    <a:pt x="143" y="371"/>
                    <a:pt x="143" y="376"/>
                  </a:cubicBezTo>
                  <a:cubicBezTo>
                    <a:pt x="143" y="378"/>
                    <a:pt x="142" y="379"/>
                    <a:pt x="141" y="379"/>
                  </a:cubicBezTo>
                  <a:cubicBezTo>
                    <a:pt x="140" y="379"/>
                    <a:pt x="140" y="379"/>
                    <a:pt x="140" y="379"/>
                  </a:cubicBezTo>
                  <a:cubicBezTo>
                    <a:pt x="139" y="379"/>
                    <a:pt x="138" y="378"/>
                    <a:pt x="138" y="380"/>
                  </a:cubicBezTo>
                  <a:cubicBezTo>
                    <a:pt x="137" y="386"/>
                    <a:pt x="127" y="396"/>
                    <a:pt x="124" y="399"/>
                  </a:cubicBezTo>
                  <a:cubicBezTo>
                    <a:pt x="121" y="402"/>
                    <a:pt x="121" y="404"/>
                    <a:pt x="122" y="406"/>
                  </a:cubicBezTo>
                  <a:cubicBezTo>
                    <a:pt x="122" y="407"/>
                    <a:pt x="123" y="408"/>
                    <a:pt x="122" y="409"/>
                  </a:cubicBezTo>
                  <a:cubicBezTo>
                    <a:pt x="121" y="411"/>
                    <a:pt x="119" y="412"/>
                    <a:pt x="117" y="412"/>
                  </a:cubicBezTo>
                  <a:cubicBezTo>
                    <a:pt x="117" y="412"/>
                    <a:pt x="116" y="412"/>
                    <a:pt x="115" y="411"/>
                  </a:cubicBezTo>
                  <a:cubicBezTo>
                    <a:pt x="114" y="411"/>
                    <a:pt x="113" y="411"/>
                    <a:pt x="112" y="411"/>
                  </a:cubicBezTo>
                  <a:cubicBezTo>
                    <a:pt x="111" y="411"/>
                    <a:pt x="111" y="411"/>
                    <a:pt x="111" y="412"/>
                  </a:cubicBezTo>
                  <a:cubicBezTo>
                    <a:pt x="110" y="412"/>
                    <a:pt x="110" y="414"/>
                    <a:pt x="110" y="417"/>
                  </a:cubicBezTo>
                  <a:cubicBezTo>
                    <a:pt x="110" y="420"/>
                    <a:pt x="111" y="423"/>
                    <a:pt x="109" y="425"/>
                  </a:cubicBezTo>
                  <a:cubicBezTo>
                    <a:pt x="107" y="427"/>
                    <a:pt x="107" y="429"/>
                    <a:pt x="108" y="431"/>
                  </a:cubicBezTo>
                  <a:cubicBezTo>
                    <a:pt x="108" y="432"/>
                    <a:pt x="109" y="433"/>
                    <a:pt x="109" y="434"/>
                  </a:cubicBezTo>
                  <a:cubicBezTo>
                    <a:pt x="109" y="435"/>
                    <a:pt x="109" y="436"/>
                    <a:pt x="107" y="436"/>
                  </a:cubicBezTo>
                  <a:cubicBezTo>
                    <a:pt x="106" y="436"/>
                    <a:pt x="105" y="436"/>
                    <a:pt x="104" y="436"/>
                  </a:cubicBezTo>
                  <a:cubicBezTo>
                    <a:pt x="103" y="435"/>
                    <a:pt x="102" y="435"/>
                    <a:pt x="101" y="435"/>
                  </a:cubicBezTo>
                  <a:cubicBezTo>
                    <a:pt x="100" y="435"/>
                    <a:pt x="100" y="436"/>
                    <a:pt x="100" y="436"/>
                  </a:cubicBezTo>
                  <a:cubicBezTo>
                    <a:pt x="99" y="438"/>
                    <a:pt x="95" y="439"/>
                    <a:pt x="92" y="439"/>
                  </a:cubicBezTo>
                  <a:cubicBezTo>
                    <a:pt x="91" y="439"/>
                    <a:pt x="90" y="439"/>
                    <a:pt x="89" y="439"/>
                  </a:cubicBezTo>
                  <a:cubicBezTo>
                    <a:pt x="89" y="439"/>
                    <a:pt x="89" y="439"/>
                    <a:pt x="89" y="439"/>
                  </a:cubicBezTo>
                  <a:cubicBezTo>
                    <a:pt x="89" y="440"/>
                    <a:pt x="91" y="442"/>
                    <a:pt x="98" y="448"/>
                  </a:cubicBezTo>
                  <a:cubicBezTo>
                    <a:pt x="99" y="449"/>
                    <a:pt x="99" y="450"/>
                    <a:pt x="99" y="450"/>
                  </a:cubicBezTo>
                  <a:cubicBezTo>
                    <a:pt x="98" y="451"/>
                    <a:pt x="97" y="452"/>
                    <a:pt x="95" y="452"/>
                  </a:cubicBezTo>
                  <a:cubicBezTo>
                    <a:pt x="94" y="452"/>
                    <a:pt x="93" y="451"/>
                    <a:pt x="92" y="450"/>
                  </a:cubicBezTo>
                  <a:cubicBezTo>
                    <a:pt x="92" y="449"/>
                    <a:pt x="92" y="449"/>
                    <a:pt x="92" y="449"/>
                  </a:cubicBezTo>
                  <a:cubicBezTo>
                    <a:pt x="91" y="449"/>
                    <a:pt x="89" y="450"/>
                    <a:pt x="87" y="452"/>
                  </a:cubicBezTo>
                  <a:cubicBezTo>
                    <a:pt x="85" y="453"/>
                    <a:pt x="83" y="454"/>
                    <a:pt x="80" y="456"/>
                  </a:cubicBezTo>
                  <a:cubicBezTo>
                    <a:pt x="77" y="457"/>
                    <a:pt x="76" y="459"/>
                    <a:pt x="75" y="461"/>
                  </a:cubicBezTo>
                  <a:cubicBezTo>
                    <a:pt x="75" y="463"/>
                    <a:pt x="74" y="465"/>
                    <a:pt x="71" y="465"/>
                  </a:cubicBezTo>
                  <a:cubicBezTo>
                    <a:pt x="68" y="465"/>
                    <a:pt x="68" y="467"/>
                    <a:pt x="67" y="470"/>
                  </a:cubicBezTo>
                  <a:cubicBezTo>
                    <a:pt x="66" y="472"/>
                    <a:pt x="66" y="474"/>
                    <a:pt x="64" y="476"/>
                  </a:cubicBezTo>
                  <a:cubicBezTo>
                    <a:pt x="63" y="476"/>
                    <a:pt x="63" y="476"/>
                    <a:pt x="63" y="476"/>
                  </a:cubicBezTo>
                  <a:cubicBezTo>
                    <a:pt x="61" y="476"/>
                    <a:pt x="61" y="475"/>
                    <a:pt x="60" y="474"/>
                  </a:cubicBezTo>
                  <a:cubicBezTo>
                    <a:pt x="59" y="472"/>
                    <a:pt x="58" y="470"/>
                    <a:pt x="56" y="470"/>
                  </a:cubicBezTo>
                  <a:cubicBezTo>
                    <a:pt x="54" y="469"/>
                    <a:pt x="53" y="470"/>
                    <a:pt x="52" y="471"/>
                  </a:cubicBezTo>
                  <a:cubicBezTo>
                    <a:pt x="52" y="472"/>
                    <a:pt x="53" y="474"/>
                    <a:pt x="55" y="477"/>
                  </a:cubicBezTo>
                  <a:cubicBezTo>
                    <a:pt x="55" y="478"/>
                    <a:pt x="56" y="479"/>
                    <a:pt x="55" y="479"/>
                  </a:cubicBezTo>
                  <a:cubicBezTo>
                    <a:pt x="55" y="480"/>
                    <a:pt x="54" y="480"/>
                    <a:pt x="52" y="480"/>
                  </a:cubicBezTo>
                  <a:cubicBezTo>
                    <a:pt x="50" y="481"/>
                    <a:pt x="48" y="481"/>
                    <a:pt x="47" y="482"/>
                  </a:cubicBezTo>
                  <a:cubicBezTo>
                    <a:pt x="45" y="485"/>
                    <a:pt x="42" y="485"/>
                    <a:pt x="39" y="486"/>
                  </a:cubicBezTo>
                  <a:cubicBezTo>
                    <a:pt x="36" y="486"/>
                    <a:pt x="34" y="486"/>
                    <a:pt x="33" y="488"/>
                  </a:cubicBezTo>
                  <a:cubicBezTo>
                    <a:pt x="32" y="488"/>
                    <a:pt x="32" y="488"/>
                    <a:pt x="32" y="489"/>
                  </a:cubicBezTo>
                  <a:cubicBezTo>
                    <a:pt x="33" y="489"/>
                    <a:pt x="34" y="490"/>
                    <a:pt x="36" y="490"/>
                  </a:cubicBezTo>
                  <a:cubicBezTo>
                    <a:pt x="38" y="491"/>
                    <a:pt x="40" y="492"/>
                    <a:pt x="40" y="493"/>
                  </a:cubicBezTo>
                  <a:cubicBezTo>
                    <a:pt x="41" y="494"/>
                    <a:pt x="41" y="494"/>
                    <a:pt x="40" y="494"/>
                  </a:cubicBezTo>
                  <a:cubicBezTo>
                    <a:pt x="40" y="495"/>
                    <a:pt x="39" y="495"/>
                    <a:pt x="37" y="495"/>
                  </a:cubicBezTo>
                  <a:cubicBezTo>
                    <a:pt x="34" y="495"/>
                    <a:pt x="30" y="494"/>
                    <a:pt x="27" y="494"/>
                  </a:cubicBezTo>
                  <a:cubicBezTo>
                    <a:pt x="25" y="493"/>
                    <a:pt x="25" y="495"/>
                    <a:pt x="24" y="496"/>
                  </a:cubicBezTo>
                  <a:cubicBezTo>
                    <a:pt x="23" y="498"/>
                    <a:pt x="22" y="500"/>
                    <a:pt x="20" y="499"/>
                  </a:cubicBezTo>
                  <a:cubicBezTo>
                    <a:pt x="17" y="499"/>
                    <a:pt x="14" y="500"/>
                    <a:pt x="13" y="502"/>
                  </a:cubicBezTo>
                  <a:cubicBezTo>
                    <a:pt x="12" y="503"/>
                    <a:pt x="13" y="504"/>
                    <a:pt x="13" y="505"/>
                  </a:cubicBezTo>
                  <a:cubicBezTo>
                    <a:pt x="14" y="506"/>
                    <a:pt x="15" y="507"/>
                    <a:pt x="14" y="507"/>
                  </a:cubicBezTo>
                  <a:cubicBezTo>
                    <a:pt x="14" y="508"/>
                    <a:pt x="13" y="508"/>
                    <a:pt x="12" y="508"/>
                  </a:cubicBezTo>
                  <a:cubicBezTo>
                    <a:pt x="10" y="508"/>
                    <a:pt x="9" y="508"/>
                    <a:pt x="7" y="507"/>
                  </a:cubicBezTo>
                  <a:cubicBezTo>
                    <a:pt x="7" y="507"/>
                    <a:pt x="7" y="507"/>
                    <a:pt x="6" y="507"/>
                  </a:cubicBezTo>
                  <a:cubicBezTo>
                    <a:pt x="4" y="507"/>
                    <a:pt x="2" y="510"/>
                    <a:pt x="1" y="513"/>
                  </a:cubicBezTo>
                  <a:cubicBezTo>
                    <a:pt x="1" y="515"/>
                    <a:pt x="3" y="517"/>
                    <a:pt x="5" y="518"/>
                  </a:cubicBezTo>
                  <a:cubicBezTo>
                    <a:pt x="6" y="519"/>
                    <a:pt x="7" y="520"/>
                    <a:pt x="7" y="521"/>
                  </a:cubicBezTo>
                  <a:cubicBezTo>
                    <a:pt x="7" y="521"/>
                    <a:pt x="6" y="522"/>
                    <a:pt x="5" y="523"/>
                  </a:cubicBezTo>
                  <a:cubicBezTo>
                    <a:pt x="5" y="524"/>
                    <a:pt x="4" y="524"/>
                    <a:pt x="4" y="525"/>
                  </a:cubicBezTo>
                  <a:cubicBezTo>
                    <a:pt x="4" y="525"/>
                    <a:pt x="4" y="525"/>
                    <a:pt x="5" y="525"/>
                  </a:cubicBezTo>
                  <a:cubicBezTo>
                    <a:pt x="7" y="526"/>
                    <a:pt x="7" y="527"/>
                    <a:pt x="7" y="527"/>
                  </a:cubicBezTo>
                  <a:cubicBezTo>
                    <a:pt x="7" y="529"/>
                    <a:pt x="5" y="531"/>
                    <a:pt x="4" y="532"/>
                  </a:cubicBezTo>
                  <a:cubicBezTo>
                    <a:pt x="3" y="532"/>
                    <a:pt x="2" y="533"/>
                    <a:pt x="2" y="533"/>
                  </a:cubicBezTo>
                  <a:cubicBezTo>
                    <a:pt x="2" y="534"/>
                    <a:pt x="2" y="536"/>
                    <a:pt x="4" y="538"/>
                  </a:cubicBezTo>
                  <a:cubicBezTo>
                    <a:pt x="5" y="540"/>
                    <a:pt x="4" y="541"/>
                    <a:pt x="3" y="542"/>
                  </a:cubicBezTo>
                  <a:cubicBezTo>
                    <a:pt x="2" y="543"/>
                    <a:pt x="1" y="544"/>
                    <a:pt x="3" y="547"/>
                  </a:cubicBezTo>
                  <a:cubicBezTo>
                    <a:pt x="4" y="548"/>
                    <a:pt x="5" y="548"/>
                    <a:pt x="5" y="548"/>
                  </a:cubicBezTo>
                  <a:cubicBezTo>
                    <a:pt x="6" y="548"/>
                    <a:pt x="6" y="548"/>
                    <a:pt x="7" y="548"/>
                  </a:cubicBezTo>
                  <a:cubicBezTo>
                    <a:pt x="8" y="548"/>
                    <a:pt x="8" y="548"/>
                    <a:pt x="8" y="548"/>
                  </a:cubicBezTo>
                  <a:cubicBezTo>
                    <a:pt x="9" y="548"/>
                    <a:pt x="10" y="548"/>
                    <a:pt x="10" y="549"/>
                  </a:cubicBezTo>
                  <a:cubicBezTo>
                    <a:pt x="11" y="550"/>
                    <a:pt x="11" y="550"/>
                    <a:pt x="12" y="550"/>
                  </a:cubicBezTo>
                  <a:cubicBezTo>
                    <a:pt x="14" y="550"/>
                    <a:pt x="17" y="548"/>
                    <a:pt x="20" y="545"/>
                  </a:cubicBezTo>
                  <a:cubicBezTo>
                    <a:pt x="21" y="544"/>
                    <a:pt x="22" y="544"/>
                    <a:pt x="23" y="544"/>
                  </a:cubicBezTo>
                  <a:cubicBezTo>
                    <a:pt x="24" y="544"/>
                    <a:pt x="25" y="546"/>
                    <a:pt x="25" y="547"/>
                  </a:cubicBezTo>
                  <a:cubicBezTo>
                    <a:pt x="25" y="549"/>
                    <a:pt x="24" y="550"/>
                    <a:pt x="23" y="550"/>
                  </a:cubicBezTo>
                  <a:cubicBezTo>
                    <a:pt x="23" y="550"/>
                    <a:pt x="23" y="550"/>
                    <a:pt x="23" y="550"/>
                  </a:cubicBezTo>
                  <a:cubicBezTo>
                    <a:pt x="20" y="550"/>
                    <a:pt x="18" y="551"/>
                    <a:pt x="16" y="553"/>
                  </a:cubicBezTo>
                  <a:cubicBezTo>
                    <a:pt x="16" y="554"/>
                    <a:pt x="15" y="555"/>
                    <a:pt x="16" y="556"/>
                  </a:cubicBezTo>
                  <a:cubicBezTo>
                    <a:pt x="16" y="557"/>
                    <a:pt x="16" y="558"/>
                    <a:pt x="15" y="558"/>
                  </a:cubicBezTo>
                  <a:cubicBezTo>
                    <a:pt x="15" y="559"/>
                    <a:pt x="14" y="559"/>
                    <a:pt x="13" y="559"/>
                  </a:cubicBezTo>
                  <a:cubicBezTo>
                    <a:pt x="12" y="559"/>
                    <a:pt x="11" y="558"/>
                    <a:pt x="10" y="558"/>
                  </a:cubicBezTo>
                  <a:cubicBezTo>
                    <a:pt x="9" y="557"/>
                    <a:pt x="9" y="556"/>
                    <a:pt x="9" y="554"/>
                  </a:cubicBezTo>
                  <a:cubicBezTo>
                    <a:pt x="9" y="554"/>
                    <a:pt x="9" y="554"/>
                    <a:pt x="9" y="553"/>
                  </a:cubicBezTo>
                  <a:cubicBezTo>
                    <a:pt x="8" y="553"/>
                    <a:pt x="5" y="554"/>
                    <a:pt x="5" y="556"/>
                  </a:cubicBezTo>
                  <a:cubicBezTo>
                    <a:pt x="4" y="557"/>
                    <a:pt x="4" y="558"/>
                    <a:pt x="5" y="558"/>
                  </a:cubicBezTo>
                  <a:cubicBezTo>
                    <a:pt x="7" y="561"/>
                    <a:pt x="6" y="563"/>
                    <a:pt x="5" y="564"/>
                  </a:cubicBezTo>
                  <a:cubicBezTo>
                    <a:pt x="4" y="565"/>
                    <a:pt x="4" y="566"/>
                    <a:pt x="4" y="567"/>
                  </a:cubicBezTo>
                  <a:cubicBezTo>
                    <a:pt x="4" y="569"/>
                    <a:pt x="5" y="569"/>
                    <a:pt x="6" y="569"/>
                  </a:cubicBezTo>
                  <a:cubicBezTo>
                    <a:pt x="8" y="569"/>
                    <a:pt x="10" y="568"/>
                    <a:pt x="11" y="566"/>
                  </a:cubicBezTo>
                  <a:cubicBezTo>
                    <a:pt x="12" y="564"/>
                    <a:pt x="14" y="563"/>
                    <a:pt x="15" y="563"/>
                  </a:cubicBezTo>
                  <a:close/>
                  <a:moveTo>
                    <a:pt x="165" y="128"/>
                  </a:moveTo>
                  <a:cubicBezTo>
                    <a:pt x="163" y="128"/>
                    <a:pt x="162" y="127"/>
                    <a:pt x="161" y="126"/>
                  </a:cubicBezTo>
                  <a:cubicBezTo>
                    <a:pt x="160" y="124"/>
                    <a:pt x="156" y="123"/>
                    <a:pt x="154" y="122"/>
                  </a:cubicBezTo>
                  <a:cubicBezTo>
                    <a:pt x="151" y="121"/>
                    <a:pt x="149" y="120"/>
                    <a:pt x="149" y="119"/>
                  </a:cubicBezTo>
                  <a:cubicBezTo>
                    <a:pt x="149" y="118"/>
                    <a:pt x="149" y="118"/>
                    <a:pt x="149" y="118"/>
                  </a:cubicBezTo>
                  <a:cubicBezTo>
                    <a:pt x="150" y="117"/>
                    <a:pt x="151" y="117"/>
                    <a:pt x="153" y="116"/>
                  </a:cubicBezTo>
                  <a:cubicBezTo>
                    <a:pt x="154" y="115"/>
                    <a:pt x="157" y="114"/>
                    <a:pt x="157" y="114"/>
                  </a:cubicBezTo>
                  <a:cubicBezTo>
                    <a:pt x="157" y="114"/>
                    <a:pt x="157" y="114"/>
                    <a:pt x="157" y="114"/>
                  </a:cubicBezTo>
                  <a:cubicBezTo>
                    <a:pt x="157" y="114"/>
                    <a:pt x="157" y="114"/>
                    <a:pt x="156" y="113"/>
                  </a:cubicBezTo>
                  <a:cubicBezTo>
                    <a:pt x="156" y="113"/>
                    <a:pt x="155" y="113"/>
                    <a:pt x="154" y="113"/>
                  </a:cubicBezTo>
                  <a:cubicBezTo>
                    <a:pt x="153" y="113"/>
                    <a:pt x="152" y="113"/>
                    <a:pt x="151" y="113"/>
                  </a:cubicBezTo>
                  <a:cubicBezTo>
                    <a:pt x="149" y="114"/>
                    <a:pt x="148" y="114"/>
                    <a:pt x="147" y="114"/>
                  </a:cubicBezTo>
                  <a:cubicBezTo>
                    <a:pt x="145" y="114"/>
                    <a:pt x="143" y="113"/>
                    <a:pt x="142" y="112"/>
                  </a:cubicBezTo>
                  <a:cubicBezTo>
                    <a:pt x="141" y="110"/>
                    <a:pt x="139" y="109"/>
                    <a:pt x="136" y="108"/>
                  </a:cubicBezTo>
                  <a:cubicBezTo>
                    <a:pt x="132" y="106"/>
                    <a:pt x="127" y="104"/>
                    <a:pt x="127" y="100"/>
                  </a:cubicBezTo>
                  <a:cubicBezTo>
                    <a:pt x="128" y="96"/>
                    <a:pt x="132" y="96"/>
                    <a:pt x="133" y="96"/>
                  </a:cubicBezTo>
                  <a:cubicBezTo>
                    <a:pt x="134" y="96"/>
                    <a:pt x="136" y="97"/>
                    <a:pt x="137" y="97"/>
                  </a:cubicBezTo>
                  <a:cubicBezTo>
                    <a:pt x="139" y="97"/>
                    <a:pt x="140" y="97"/>
                    <a:pt x="140" y="97"/>
                  </a:cubicBezTo>
                  <a:cubicBezTo>
                    <a:pt x="141" y="97"/>
                    <a:pt x="141" y="97"/>
                    <a:pt x="141" y="97"/>
                  </a:cubicBezTo>
                  <a:cubicBezTo>
                    <a:pt x="141" y="96"/>
                    <a:pt x="142" y="95"/>
                    <a:pt x="142" y="94"/>
                  </a:cubicBezTo>
                  <a:cubicBezTo>
                    <a:pt x="144" y="93"/>
                    <a:pt x="147" y="91"/>
                    <a:pt x="155" y="91"/>
                  </a:cubicBezTo>
                  <a:cubicBezTo>
                    <a:pt x="162" y="91"/>
                    <a:pt x="168" y="90"/>
                    <a:pt x="169" y="89"/>
                  </a:cubicBezTo>
                  <a:cubicBezTo>
                    <a:pt x="168" y="89"/>
                    <a:pt x="168" y="89"/>
                    <a:pt x="168" y="89"/>
                  </a:cubicBezTo>
                  <a:cubicBezTo>
                    <a:pt x="166" y="88"/>
                    <a:pt x="163" y="88"/>
                    <a:pt x="160" y="88"/>
                  </a:cubicBezTo>
                  <a:cubicBezTo>
                    <a:pt x="153" y="88"/>
                    <a:pt x="144" y="89"/>
                    <a:pt x="139" y="90"/>
                  </a:cubicBezTo>
                  <a:cubicBezTo>
                    <a:pt x="136" y="90"/>
                    <a:pt x="133" y="91"/>
                    <a:pt x="131" y="91"/>
                  </a:cubicBezTo>
                  <a:cubicBezTo>
                    <a:pt x="128" y="91"/>
                    <a:pt x="124" y="90"/>
                    <a:pt x="124" y="88"/>
                  </a:cubicBezTo>
                  <a:cubicBezTo>
                    <a:pt x="123" y="87"/>
                    <a:pt x="124" y="86"/>
                    <a:pt x="125" y="84"/>
                  </a:cubicBezTo>
                  <a:cubicBezTo>
                    <a:pt x="128" y="81"/>
                    <a:pt x="133" y="80"/>
                    <a:pt x="138" y="80"/>
                  </a:cubicBezTo>
                  <a:cubicBezTo>
                    <a:pt x="142" y="79"/>
                    <a:pt x="146" y="79"/>
                    <a:pt x="148" y="76"/>
                  </a:cubicBezTo>
                  <a:cubicBezTo>
                    <a:pt x="150" y="73"/>
                    <a:pt x="154" y="72"/>
                    <a:pt x="158" y="72"/>
                  </a:cubicBezTo>
                  <a:cubicBezTo>
                    <a:pt x="162" y="71"/>
                    <a:pt x="165" y="71"/>
                    <a:pt x="165" y="68"/>
                  </a:cubicBezTo>
                  <a:cubicBezTo>
                    <a:pt x="166" y="66"/>
                    <a:pt x="166" y="63"/>
                    <a:pt x="165" y="62"/>
                  </a:cubicBezTo>
                  <a:cubicBezTo>
                    <a:pt x="165" y="62"/>
                    <a:pt x="165" y="62"/>
                    <a:pt x="164" y="62"/>
                  </a:cubicBezTo>
                  <a:cubicBezTo>
                    <a:pt x="163" y="62"/>
                    <a:pt x="162" y="62"/>
                    <a:pt x="160" y="64"/>
                  </a:cubicBezTo>
                  <a:cubicBezTo>
                    <a:pt x="157" y="67"/>
                    <a:pt x="152" y="69"/>
                    <a:pt x="149" y="69"/>
                  </a:cubicBezTo>
                  <a:cubicBezTo>
                    <a:pt x="148" y="69"/>
                    <a:pt x="147" y="68"/>
                    <a:pt x="146" y="67"/>
                  </a:cubicBezTo>
                  <a:cubicBezTo>
                    <a:pt x="146" y="67"/>
                    <a:pt x="146" y="66"/>
                    <a:pt x="147" y="65"/>
                  </a:cubicBezTo>
                  <a:cubicBezTo>
                    <a:pt x="149" y="62"/>
                    <a:pt x="150" y="59"/>
                    <a:pt x="149" y="57"/>
                  </a:cubicBezTo>
                  <a:cubicBezTo>
                    <a:pt x="149" y="56"/>
                    <a:pt x="148" y="56"/>
                    <a:pt x="146" y="57"/>
                  </a:cubicBezTo>
                  <a:cubicBezTo>
                    <a:pt x="144" y="57"/>
                    <a:pt x="144" y="59"/>
                    <a:pt x="144" y="60"/>
                  </a:cubicBezTo>
                  <a:cubicBezTo>
                    <a:pt x="143" y="61"/>
                    <a:pt x="142" y="63"/>
                    <a:pt x="140" y="63"/>
                  </a:cubicBezTo>
                  <a:cubicBezTo>
                    <a:pt x="139" y="63"/>
                    <a:pt x="139" y="63"/>
                    <a:pt x="139" y="63"/>
                  </a:cubicBezTo>
                  <a:cubicBezTo>
                    <a:pt x="136" y="63"/>
                    <a:pt x="136" y="66"/>
                    <a:pt x="135" y="68"/>
                  </a:cubicBezTo>
                  <a:cubicBezTo>
                    <a:pt x="134" y="71"/>
                    <a:pt x="133" y="73"/>
                    <a:pt x="131" y="74"/>
                  </a:cubicBezTo>
                  <a:cubicBezTo>
                    <a:pt x="129" y="76"/>
                    <a:pt x="125" y="76"/>
                    <a:pt x="121" y="76"/>
                  </a:cubicBezTo>
                  <a:cubicBezTo>
                    <a:pt x="116" y="76"/>
                    <a:pt x="112" y="75"/>
                    <a:pt x="110" y="73"/>
                  </a:cubicBezTo>
                  <a:cubicBezTo>
                    <a:pt x="108" y="72"/>
                    <a:pt x="107" y="71"/>
                    <a:pt x="105" y="69"/>
                  </a:cubicBezTo>
                  <a:cubicBezTo>
                    <a:pt x="99" y="65"/>
                    <a:pt x="94" y="61"/>
                    <a:pt x="95" y="56"/>
                  </a:cubicBezTo>
                  <a:cubicBezTo>
                    <a:pt x="96" y="54"/>
                    <a:pt x="99" y="51"/>
                    <a:pt x="101" y="48"/>
                  </a:cubicBezTo>
                  <a:cubicBezTo>
                    <a:pt x="103" y="47"/>
                    <a:pt x="105" y="44"/>
                    <a:pt x="105" y="44"/>
                  </a:cubicBezTo>
                  <a:cubicBezTo>
                    <a:pt x="105" y="43"/>
                    <a:pt x="104" y="43"/>
                    <a:pt x="104" y="43"/>
                  </a:cubicBezTo>
                  <a:cubicBezTo>
                    <a:pt x="103" y="43"/>
                    <a:pt x="103" y="43"/>
                    <a:pt x="103" y="43"/>
                  </a:cubicBezTo>
                  <a:cubicBezTo>
                    <a:pt x="101" y="43"/>
                    <a:pt x="99" y="44"/>
                    <a:pt x="98" y="45"/>
                  </a:cubicBezTo>
                  <a:cubicBezTo>
                    <a:pt x="96" y="46"/>
                    <a:pt x="94" y="47"/>
                    <a:pt x="93" y="47"/>
                  </a:cubicBezTo>
                  <a:cubicBezTo>
                    <a:pt x="91" y="47"/>
                    <a:pt x="90" y="46"/>
                    <a:pt x="88" y="44"/>
                  </a:cubicBezTo>
                  <a:cubicBezTo>
                    <a:pt x="85" y="38"/>
                    <a:pt x="84" y="33"/>
                    <a:pt x="86" y="30"/>
                  </a:cubicBezTo>
                  <a:cubicBezTo>
                    <a:pt x="87" y="29"/>
                    <a:pt x="88" y="28"/>
                    <a:pt x="89" y="29"/>
                  </a:cubicBezTo>
                  <a:cubicBezTo>
                    <a:pt x="90" y="29"/>
                    <a:pt x="92" y="28"/>
                    <a:pt x="94" y="26"/>
                  </a:cubicBezTo>
                  <a:cubicBezTo>
                    <a:pt x="95" y="25"/>
                    <a:pt x="97" y="23"/>
                    <a:pt x="100" y="23"/>
                  </a:cubicBezTo>
                  <a:cubicBezTo>
                    <a:pt x="100" y="23"/>
                    <a:pt x="100" y="23"/>
                    <a:pt x="100" y="23"/>
                  </a:cubicBezTo>
                  <a:cubicBezTo>
                    <a:pt x="102" y="24"/>
                    <a:pt x="103" y="24"/>
                    <a:pt x="104" y="25"/>
                  </a:cubicBezTo>
                  <a:cubicBezTo>
                    <a:pt x="106" y="25"/>
                    <a:pt x="107" y="26"/>
                    <a:pt x="108" y="26"/>
                  </a:cubicBezTo>
                  <a:cubicBezTo>
                    <a:pt x="109" y="26"/>
                    <a:pt x="110" y="26"/>
                    <a:pt x="110" y="25"/>
                  </a:cubicBezTo>
                  <a:cubicBezTo>
                    <a:pt x="111" y="23"/>
                    <a:pt x="113" y="23"/>
                    <a:pt x="114" y="23"/>
                  </a:cubicBezTo>
                  <a:cubicBezTo>
                    <a:pt x="115" y="23"/>
                    <a:pt x="116" y="23"/>
                    <a:pt x="117" y="23"/>
                  </a:cubicBezTo>
                  <a:cubicBezTo>
                    <a:pt x="118" y="23"/>
                    <a:pt x="118" y="23"/>
                    <a:pt x="119" y="23"/>
                  </a:cubicBezTo>
                  <a:cubicBezTo>
                    <a:pt x="121" y="23"/>
                    <a:pt x="122" y="23"/>
                    <a:pt x="123" y="23"/>
                  </a:cubicBezTo>
                  <a:cubicBezTo>
                    <a:pt x="124" y="22"/>
                    <a:pt x="126" y="22"/>
                    <a:pt x="127" y="22"/>
                  </a:cubicBezTo>
                  <a:cubicBezTo>
                    <a:pt x="130" y="22"/>
                    <a:pt x="133" y="23"/>
                    <a:pt x="133" y="24"/>
                  </a:cubicBezTo>
                  <a:cubicBezTo>
                    <a:pt x="133" y="25"/>
                    <a:pt x="133" y="26"/>
                    <a:pt x="132" y="26"/>
                  </a:cubicBezTo>
                  <a:cubicBezTo>
                    <a:pt x="129" y="27"/>
                    <a:pt x="126" y="28"/>
                    <a:pt x="123" y="29"/>
                  </a:cubicBezTo>
                  <a:cubicBezTo>
                    <a:pt x="122" y="30"/>
                    <a:pt x="121" y="30"/>
                    <a:pt x="120" y="30"/>
                  </a:cubicBezTo>
                  <a:cubicBezTo>
                    <a:pt x="124" y="31"/>
                    <a:pt x="131" y="35"/>
                    <a:pt x="131" y="39"/>
                  </a:cubicBezTo>
                  <a:cubicBezTo>
                    <a:pt x="131" y="40"/>
                    <a:pt x="131" y="40"/>
                    <a:pt x="131" y="40"/>
                  </a:cubicBezTo>
                  <a:cubicBezTo>
                    <a:pt x="131" y="41"/>
                    <a:pt x="132" y="41"/>
                    <a:pt x="132" y="41"/>
                  </a:cubicBezTo>
                  <a:cubicBezTo>
                    <a:pt x="133" y="40"/>
                    <a:pt x="133" y="40"/>
                    <a:pt x="133" y="40"/>
                  </a:cubicBezTo>
                  <a:cubicBezTo>
                    <a:pt x="134" y="39"/>
                    <a:pt x="134" y="38"/>
                    <a:pt x="133" y="37"/>
                  </a:cubicBezTo>
                  <a:cubicBezTo>
                    <a:pt x="132" y="33"/>
                    <a:pt x="134" y="31"/>
                    <a:pt x="136" y="29"/>
                  </a:cubicBezTo>
                  <a:cubicBezTo>
                    <a:pt x="137" y="28"/>
                    <a:pt x="139" y="27"/>
                    <a:pt x="139" y="25"/>
                  </a:cubicBezTo>
                  <a:cubicBezTo>
                    <a:pt x="140" y="23"/>
                    <a:pt x="141" y="23"/>
                    <a:pt x="142" y="23"/>
                  </a:cubicBezTo>
                  <a:cubicBezTo>
                    <a:pt x="145" y="23"/>
                    <a:pt x="150" y="27"/>
                    <a:pt x="150" y="32"/>
                  </a:cubicBezTo>
                  <a:cubicBezTo>
                    <a:pt x="151" y="38"/>
                    <a:pt x="163" y="51"/>
                    <a:pt x="165" y="51"/>
                  </a:cubicBezTo>
                  <a:cubicBezTo>
                    <a:pt x="166" y="48"/>
                    <a:pt x="161" y="32"/>
                    <a:pt x="157" y="29"/>
                  </a:cubicBezTo>
                  <a:cubicBezTo>
                    <a:pt x="154" y="28"/>
                    <a:pt x="154" y="26"/>
                    <a:pt x="154" y="25"/>
                  </a:cubicBezTo>
                  <a:cubicBezTo>
                    <a:pt x="154" y="23"/>
                    <a:pt x="157" y="22"/>
                    <a:pt x="159" y="22"/>
                  </a:cubicBezTo>
                  <a:cubicBezTo>
                    <a:pt x="160" y="21"/>
                    <a:pt x="160" y="20"/>
                    <a:pt x="160" y="18"/>
                  </a:cubicBezTo>
                  <a:cubicBezTo>
                    <a:pt x="160" y="16"/>
                    <a:pt x="160" y="14"/>
                    <a:pt x="162" y="14"/>
                  </a:cubicBezTo>
                  <a:cubicBezTo>
                    <a:pt x="162" y="14"/>
                    <a:pt x="162" y="14"/>
                    <a:pt x="162" y="14"/>
                  </a:cubicBezTo>
                  <a:cubicBezTo>
                    <a:pt x="164" y="15"/>
                    <a:pt x="165" y="17"/>
                    <a:pt x="167" y="19"/>
                  </a:cubicBezTo>
                  <a:cubicBezTo>
                    <a:pt x="168" y="20"/>
                    <a:pt x="169" y="22"/>
                    <a:pt x="169" y="22"/>
                  </a:cubicBezTo>
                  <a:cubicBezTo>
                    <a:pt x="169" y="22"/>
                    <a:pt x="169" y="22"/>
                    <a:pt x="170" y="22"/>
                  </a:cubicBezTo>
                  <a:cubicBezTo>
                    <a:pt x="170" y="21"/>
                    <a:pt x="171" y="20"/>
                    <a:pt x="173" y="20"/>
                  </a:cubicBezTo>
                  <a:cubicBezTo>
                    <a:pt x="177" y="20"/>
                    <a:pt x="184" y="22"/>
                    <a:pt x="185" y="25"/>
                  </a:cubicBezTo>
                  <a:cubicBezTo>
                    <a:pt x="186" y="26"/>
                    <a:pt x="186" y="27"/>
                    <a:pt x="186" y="27"/>
                  </a:cubicBezTo>
                  <a:cubicBezTo>
                    <a:pt x="185" y="28"/>
                    <a:pt x="184" y="30"/>
                    <a:pt x="183" y="31"/>
                  </a:cubicBezTo>
                  <a:cubicBezTo>
                    <a:pt x="182" y="33"/>
                    <a:pt x="181" y="36"/>
                    <a:pt x="181" y="36"/>
                  </a:cubicBezTo>
                  <a:cubicBezTo>
                    <a:pt x="181" y="37"/>
                    <a:pt x="181" y="37"/>
                    <a:pt x="181" y="37"/>
                  </a:cubicBezTo>
                  <a:cubicBezTo>
                    <a:pt x="182" y="37"/>
                    <a:pt x="184" y="36"/>
                    <a:pt x="186" y="34"/>
                  </a:cubicBezTo>
                  <a:cubicBezTo>
                    <a:pt x="187" y="33"/>
                    <a:pt x="189" y="31"/>
                    <a:pt x="192" y="31"/>
                  </a:cubicBezTo>
                  <a:cubicBezTo>
                    <a:pt x="192" y="31"/>
                    <a:pt x="193" y="31"/>
                    <a:pt x="194" y="32"/>
                  </a:cubicBezTo>
                  <a:cubicBezTo>
                    <a:pt x="196" y="33"/>
                    <a:pt x="196" y="36"/>
                    <a:pt x="197" y="38"/>
                  </a:cubicBezTo>
                  <a:cubicBezTo>
                    <a:pt x="197" y="41"/>
                    <a:pt x="198" y="43"/>
                    <a:pt x="199" y="43"/>
                  </a:cubicBezTo>
                  <a:cubicBezTo>
                    <a:pt x="199" y="43"/>
                    <a:pt x="199" y="43"/>
                    <a:pt x="199" y="43"/>
                  </a:cubicBezTo>
                  <a:cubicBezTo>
                    <a:pt x="199" y="43"/>
                    <a:pt x="199" y="43"/>
                    <a:pt x="199" y="43"/>
                  </a:cubicBezTo>
                  <a:cubicBezTo>
                    <a:pt x="201" y="43"/>
                    <a:pt x="203" y="42"/>
                    <a:pt x="205" y="42"/>
                  </a:cubicBezTo>
                  <a:cubicBezTo>
                    <a:pt x="207" y="42"/>
                    <a:pt x="213" y="42"/>
                    <a:pt x="213" y="46"/>
                  </a:cubicBezTo>
                  <a:cubicBezTo>
                    <a:pt x="213" y="47"/>
                    <a:pt x="213" y="48"/>
                    <a:pt x="214" y="48"/>
                  </a:cubicBezTo>
                  <a:cubicBezTo>
                    <a:pt x="214" y="49"/>
                    <a:pt x="215" y="49"/>
                    <a:pt x="216" y="49"/>
                  </a:cubicBezTo>
                  <a:cubicBezTo>
                    <a:pt x="216" y="49"/>
                    <a:pt x="217" y="48"/>
                    <a:pt x="218" y="48"/>
                  </a:cubicBezTo>
                  <a:cubicBezTo>
                    <a:pt x="219" y="47"/>
                    <a:pt x="220" y="46"/>
                    <a:pt x="221" y="46"/>
                  </a:cubicBezTo>
                  <a:cubicBezTo>
                    <a:pt x="224" y="46"/>
                    <a:pt x="227" y="47"/>
                    <a:pt x="227" y="49"/>
                  </a:cubicBezTo>
                  <a:cubicBezTo>
                    <a:pt x="227" y="49"/>
                    <a:pt x="227" y="49"/>
                    <a:pt x="226" y="50"/>
                  </a:cubicBezTo>
                  <a:cubicBezTo>
                    <a:pt x="227" y="50"/>
                    <a:pt x="228" y="51"/>
                    <a:pt x="229" y="51"/>
                  </a:cubicBezTo>
                  <a:cubicBezTo>
                    <a:pt x="233" y="52"/>
                    <a:pt x="237" y="54"/>
                    <a:pt x="237" y="56"/>
                  </a:cubicBezTo>
                  <a:cubicBezTo>
                    <a:pt x="237" y="57"/>
                    <a:pt x="237" y="57"/>
                    <a:pt x="237" y="57"/>
                  </a:cubicBezTo>
                  <a:cubicBezTo>
                    <a:pt x="236" y="60"/>
                    <a:pt x="236" y="62"/>
                    <a:pt x="237" y="63"/>
                  </a:cubicBezTo>
                  <a:cubicBezTo>
                    <a:pt x="237" y="64"/>
                    <a:pt x="238" y="64"/>
                    <a:pt x="239" y="64"/>
                  </a:cubicBezTo>
                  <a:cubicBezTo>
                    <a:pt x="243" y="63"/>
                    <a:pt x="248" y="67"/>
                    <a:pt x="249" y="70"/>
                  </a:cubicBezTo>
                  <a:cubicBezTo>
                    <a:pt x="249" y="71"/>
                    <a:pt x="249" y="72"/>
                    <a:pt x="247" y="73"/>
                  </a:cubicBezTo>
                  <a:cubicBezTo>
                    <a:pt x="246" y="73"/>
                    <a:pt x="246" y="73"/>
                    <a:pt x="246" y="73"/>
                  </a:cubicBezTo>
                  <a:cubicBezTo>
                    <a:pt x="247" y="74"/>
                    <a:pt x="252" y="76"/>
                    <a:pt x="257" y="76"/>
                  </a:cubicBezTo>
                  <a:cubicBezTo>
                    <a:pt x="258" y="76"/>
                    <a:pt x="258" y="76"/>
                    <a:pt x="258" y="76"/>
                  </a:cubicBezTo>
                  <a:cubicBezTo>
                    <a:pt x="259" y="76"/>
                    <a:pt x="259" y="76"/>
                    <a:pt x="260" y="76"/>
                  </a:cubicBezTo>
                  <a:cubicBezTo>
                    <a:pt x="263" y="76"/>
                    <a:pt x="263" y="77"/>
                    <a:pt x="264" y="78"/>
                  </a:cubicBezTo>
                  <a:cubicBezTo>
                    <a:pt x="264" y="79"/>
                    <a:pt x="263" y="81"/>
                    <a:pt x="261" y="83"/>
                  </a:cubicBezTo>
                  <a:cubicBezTo>
                    <a:pt x="261" y="84"/>
                    <a:pt x="261" y="84"/>
                    <a:pt x="261" y="84"/>
                  </a:cubicBezTo>
                  <a:cubicBezTo>
                    <a:pt x="261" y="85"/>
                    <a:pt x="264" y="86"/>
                    <a:pt x="267" y="86"/>
                  </a:cubicBezTo>
                  <a:cubicBezTo>
                    <a:pt x="270" y="86"/>
                    <a:pt x="271" y="85"/>
                    <a:pt x="273" y="85"/>
                  </a:cubicBezTo>
                  <a:cubicBezTo>
                    <a:pt x="274" y="84"/>
                    <a:pt x="276" y="84"/>
                    <a:pt x="278" y="84"/>
                  </a:cubicBezTo>
                  <a:cubicBezTo>
                    <a:pt x="281" y="84"/>
                    <a:pt x="284" y="85"/>
                    <a:pt x="284" y="88"/>
                  </a:cubicBezTo>
                  <a:cubicBezTo>
                    <a:pt x="284" y="90"/>
                    <a:pt x="282" y="90"/>
                    <a:pt x="280" y="91"/>
                  </a:cubicBezTo>
                  <a:cubicBezTo>
                    <a:pt x="277" y="92"/>
                    <a:pt x="274" y="93"/>
                    <a:pt x="271" y="97"/>
                  </a:cubicBezTo>
                  <a:cubicBezTo>
                    <a:pt x="267" y="101"/>
                    <a:pt x="260" y="106"/>
                    <a:pt x="255" y="106"/>
                  </a:cubicBezTo>
                  <a:cubicBezTo>
                    <a:pt x="254" y="106"/>
                    <a:pt x="253" y="106"/>
                    <a:pt x="252" y="105"/>
                  </a:cubicBezTo>
                  <a:cubicBezTo>
                    <a:pt x="250" y="104"/>
                    <a:pt x="251" y="102"/>
                    <a:pt x="251" y="100"/>
                  </a:cubicBezTo>
                  <a:cubicBezTo>
                    <a:pt x="251" y="99"/>
                    <a:pt x="251" y="98"/>
                    <a:pt x="251" y="97"/>
                  </a:cubicBezTo>
                  <a:cubicBezTo>
                    <a:pt x="250" y="96"/>
                    <a:pt x="248" y="97"/>
                    <a:pt x="244" y="98"/>
                  </a:cubicBezTo>
                  <a:cubicBezTo>
                    <a:pt x="240" y="100"/>
                    <a:pt x="235" y="101"/>
                    <a:pt x="232" y="101"/>
                  </a:cubicBezTo>
                  <a:cubicBezTo>
                    <a:pt x="229" y="101"/>
                    <a:pt x="228" y="100"/>
                    <a:pt x="228" y="99"/>
                  </a:cubicBezTo>
                  <a:cubicBezTo>
                    <a:pt x="228" y="98"/>
                    <a:pt x="228" y="96"/>
                    <a:pt x="230" y="94"/>
                  </a:cubicBezTo>
                  <a:cubicBezTo>
                    <a:pt x="234" y="90"/>
                    <a:pt x="236" y="86"/>
                    <a:pt x="235" y="83"/>
                  </a:cubicBezTo>
                  <a:cubicBezTo>
                    <a:pt x="235" y="82"/>
                    <a:pt x="234" y="81"/>
                    <a:pt x="233" y="81"/>
                  </a:cubicBezTo>
                  <a:cubicBezTo>
                    <a:pt x="231" y="81"/>
                    <a:pt x="230" y="80"/>
                    <a:pt x="230" y="79"/>
                  </a:cubicBezTo>
                  <a:cubicBezTo>
                    <a:pt x="230" y="78"/>
                    <a:pt x="230" y="77"/>
                    <a:pt x="228" y="76"/>
                  </a:cubicBezTo>
                  <a:cubicBezTo>
                    <a:pt x="224" y="75"/>
                    <a:pt x="221" y="70"/>
                    <a:pt x="221" y="67"/>
                  </a:cubicBezTo>
                  <a:cubicBezTo>
                    <a:pt x="221" y="66"/>
                    <a:pt x="222" y="64"/>
                    <a:pt x="225" y="64"/>
                  </a:cubicBezTo>
                  <a:cubicBezTo>
                    <a:pt x="228" y="64"/>
                    <a:pt x="230" y="63"/>
                    <a:pt x="230" y="62"/>
                  </a:cubicBezTo>
                  <a:cubicBezTo>
                    <a:pt x="230" y="61"/>
                    <a:pt x="229" y="61"/>
                    <a:pt x="227" y="61"/>
                  </a:cubicBezTo>
                  <a:cubicBezTo>
                    <a:pt x="226" y="61"/>
                    <a:pt x="224" y="61"/>
                    <a:pt x="223" y="62"/>
                  </a:cubicBezTo>
                  <a:cubicBezTo>
                    <a:pt x="220" y="63"/>
                    <a:pt x="217" y="64"/>
                    <a:pt x="214" y="64"/>
                  </a:cubicBezTo>
                  <a:cubicBezTo>
                    <a:pt x="211" y="64"/>
                    <a:pt x="209" y="64"/>
                    <a:pt x="206" y="67"/>
                  </a:cubicBezTo>
                  <a:cubicBezTo>
                    <a:pt x="200" y="73"/>
                    <a:pt x="198" y="74"/>
                    <a:pt x="200" y="79"/>
                  </a:cubicBezTo>
                  <a:cubicBezTo>
                    <a:pt x="201" y="79"/>
                    <a:pt x="201" y="80"/>
                    <a:pt x="201" y="81"/>
                  </a:cubicBezTo>
                  <a:cubicBezTo>
                    <a:pt x="200" y="82"/>
                    <a:pt x="199" y="82"/>
                    <a:pt x="198" y="82"/>
                  </a:cubicBezTo>
                  <a:cubicBezTo>
                    <a:pt x="196" y="82"/>
                    <a:pt x="194" y="82"/>
                    <a:pt x="194" y="84"/>
                  </a:cubicBezTo>
                  <a:cubicBezTo>
                    <a:pt x="193" y="86"/>
                    <a:pt x="194" y="87"/>
                    <a:pt x="194" y="89"/>
                  </a:cubicBezTo>
                  <a:cubicBezTo>
                    <a:pt x="194" y="92"/>
                    <a:pt x="195" y="94"/>
                    <a:pt x="188" y="97"/>
                  </a:cubicBezTo>
                  <a:cubicBezTo>
                    <a:pt x="179" y="100"/>
                    <a:pt x="171" y="117"/>
                    <a:pt x="171" y="123"/>
                  </a:cubicBezTo>
                  <a:cubicBezTo>
                    <a:pt x="172" y="124"/>
                    <a:pt x="171" y="125"/>
                    <a:pt x="170" y="126"/>
                  </a:cubicBezTo>
                  <a:cubicBezTo>
                    <a:pt x="169" y="127"/>
                    <a:pt x="167" y="128"/>
                    <a:pt x="165" y="128"/>
                  </a:cubicBezTo>
                  <a:close/>
                  <a:moveTo>
                    <a:pt x="154" y="112"/>
                  </a:moveTo>
                  <a:cubicBezTo>
                    <a:pt x="155" y="112"/>
                    <a:pt x="156" y="112"/>
                    <a:pt x="157" y="113"/>
                  </a:cubicBezTo>
                  <a:cubicBezTo>
                    <a:pt x="157" y="113"/>
                    <a:pt x="158" y="113"/>
                    <a:pt x="158" y="114"/>
                  </a:cubicBezTo>
                  <a:cubicBezTo>
                    <a:pt x="158" y="115"/>
                    <a:pt x="156" y="116"/>
                    <a:pt x="153" y="117"/>
                  </a:cubicBezTo>
                  <a:cubicBezTo>
                    <a:pt x="152" y="118"/>
                    <a:pt x="150" y="118"/>
                    <a:pt x="150" y="119"/>
                  </a:cubicBezTo>
                  <a:cubicBezTo>
                    <a:pt x="150" y="119"/>
                    <a:pt x="152" y="120"/>
                    <a:pt x="154" y="121"/>
                  </a:cubicBezTo>
                  <a:cubicBezTo>
                    <a:pt x="157" y="122"/>
                    <a:pt x="161" y="124"/>
                    <a:pt x="162" y="125"/>
                  </a:cubicBezTo>
                  <a:cubicBezTo>
                    <a:pt x="162" y="126"/>
                    <a:pt x="164" y="127"/>
                    <a:pt x="165" y="127"/>
                  </a:cubicBezTo>
                  <a:cubicBezTo>
                    <a:pt x="167" y="127"/>
                    <a:pt x="169" y="126"/>
                    <a:pt x="170" y="125"/>
                  </a:cubicBezTo>
                  <a:cubicBezTo>
                    <a:pt x="170" y="124"/>
                    <a:pt x="171" y="124"/>
                    <a:pt x="170" y="123"/>
                  </a:cubicBezTo>
                  <a:cubicBezTo>
                    <a:pt x="170" y="117"/>
                    <a:pt x="177" y="100"/>
                    <a:pt x="188" y="96"/>
                  </a:cubicBezTo>
                  <a:cubicBezTo>
                    <a:pt x="194" y="94"/>
                    <a:pt x="193" y="92"/>
                    <a:pt x="193" y="89"/>
                  </a:cubicBezTo>
                  <a:cubicBezTo>
                    <a:pt x="193" y="88"/>
                    <a:pt x="192" y="86"/>
                    <a:pt x="193" y="84"/>
                  </a:cubicBezTo>
                  <a:cubicBezTo>
                    <a:pt x="194" y="81"/>
                    <a:pt x="196" y="81"/>
                    <a:pt x="198" y="81"/>
                  </a:cubicBezTo>
                  <a:cubicBezTo>
                    <a:pt x="199" y="81"/>
                    <a:pt x="200" y="81"/>
                    <a:pt x="200" y="80"/>
                  </a:cubicBezTo>
                  <a:cubicBezTo>
                    <a:pt x="200" y="80"/>
                    <a:pt x="200" y="80"/>
                    <a:pt x="200" y="79"/>
                  </a:cubicBezTo>
                  <a:cubicBezTo>
                    <a:pt x="197" y="74"/>
                    <a:pt x="199" y="72"/>
                    <a:pt x="205" y="66"/>
                  </a:cubicBezTo>
                  <a:cubicBezTo>
                    <a:pt x="208" y="63"/>
                    <a:pt x="211" y="63"/>
                    <a:pt x="214" y="63"/>
                  </a:cubicBezTo>
                  <a:cubicBezTo>
                    <a:pt x="217" y="63"/>
                    <a:pt x="219" y="62"/>
                    <a:pt x="222" y="61"/>
                  </a:cubicBezTo>
                  <a:cubicBezTo>
                    <a:pt x="224" y="60"/>
                    <a:pt x="226" y="60"/>
                    <a:pt x="227" y="60"/>
                  </a:cubicBezTo>
                  <a:cubicBezTo>
                    <a:pt x="229" y="60"/>
                    <a:pt x="231" y="61"/>
                    <a:pt x="231" y="62"/>
                  </a:cubicBezTo>
                  <a:cubicBezTo>
                    <a:pt x="231" y="63"/>
                    <a:pt x="229" y="65"/>
                    <a:pt x="226" y="65"/>
                  </a:cubicBezTo>
                  <a:cubicBezTo>
                    <a:pt x="224" y="65"/>
                    <a:pt x="222" y="66"/>
                    <a:pt x="222" y="68"/>
                  </a:cubicBezTo>
                  <a:cubicBezTo>
                    <a:pt x="222" y="70"/>
                    <a:pt x="224" y="74"/>
                    <a:pt x="228" y="75"/>
                  </a:cubicBezTo>
                  <a:cubicBezTo>
                    <a:pt x="231" y="76"/>
                    <a:pt x="231" y="78"/>
                    <a:pt x="231" y="79"/>
                  </a:cubicBezTo>
                  <a:cubicBezTo>
                    <a:pt x="231" y="80"/>
                    <a:pt x="231" y="80"/>
                    <a:pt x="233" y="80"/>
                  </a:cubicBezTo>
                  <a:cubicBezTo>
                    <a:pt x="235" y="81"/>
                    <a:pt x="236" y="81"/>
                    <a:pt x="236" y="83"/>
                  </a:cubicBezTo>
                  <a:cubicBezTo>
                    <a:pt x="237" y="86"/>
                    <a:pt x="235" y="91"/>
                    <a:pt x="231" y="95"/>
                  </a:cubicBezTo>
                  <a:cubicBezTo>
                    <a:pt x="229" y="97"/>
                    <a:pt x="229" y="98"/>
                    <a:pt x="229" y="99"/>
                  </a:cubicBezTo>
                  <a:cubicBezTo>
                    <a:pt x="229" y="99"/>
                    <a:pt x="230" y="100"/>
                    <a:pt x="232" y="100"/>
                  </a:cubicBezTo>
                  <a:cubicBezTo>
                    <a:pt x="235" y="100"/>
                    <a:pt x="239" y="99"/>
                    <a:pt x="244" y="97"/>
                  </a:cubicBezTo>
                  <a:cubicBezTo>
                    <a:pt x="248" y="95"/>
                    <a:pt x="250" y="95"/>
                    <a:pt x="251" y="96"/>
                  </a:cubicBezTo>
                  <a:cubicBezTo>
                    <a:pt x="252" y="97"/>
                    <a:pt x="252" y="99"/>
                    <a:pt x="252" y="100"/>
                  </a:cubicBezTo>
                  <a:cubicBezTo>
                    <a:pt x="252" y="102"/>
                    <a:pt x="252" y="103"/>
                    <a:pt x="253" y="105"/>
                  </a:cubicBezTo>
                  <a:cubicBezTo>
                    <a:pt x="253" y="105"/>
                    <a:pt x="254" y="105"/>
                    <a:pt x="255" y="105"/>
                  </a:cubicBezTo>
                  <a:cubicBezTo>
                    <a:pt x="260" y="105"/>
                    <a:pt x="266" y="101"/>
                    <a:pt x="270" y="96"/>
                  </a:cubicBezTo>
                  <a:cubicBezTo>
                    <a:pt x="273" y="93"/>
                    <a:pt x="277" y="91"/>
                    <a:pt x="279" y="90"/>
                  </a:cubicBezTo>
                  <a:cubicBezTo>
                    <a:pt x="282" y="89"/>
                    <a:pt x="283" y="89"/>
                    <a:pt x="283" y="88"/>
                  </a:cubicBezTo>
                  <a:cubicBezTo>
                    <a:pt x="283" y="86"/>
                    <a:pt x="280" y="85"/>
                    <a:pt x="278" y="85"/>
                  </a:cubicBezTo>
                  <a:cubicBezTo>
                    <a:pt x="276" y="85"/>
                    <a:pt x="275" y="85"/>
                    <a:pt x="273" y="86"/>
                  </a:cubicBezTo>
                  <a:cubicBezTo>
                    <a:pt x="272" y="86"/>
                    <a:pt x="270" y="87"/>
                    <a:pt x="267" y="87"/>
                  </a:cubicBezTo>
                  <a:cubicBezTo>
                    <a:pt x="264" y="87"/>
                    <a:pt x="260" y="86"/>
                    <a:pt x="260" y="84"/>
                  </a:cubicBezTo>
                  <a:cubicBezTo>
                    <a:pt x="260" y="84"/>
                    <a:pt x="260" y="83"/>
                    <a:pt x="261" y="82"/>
                  </a:cubicBezTo>
                  <a:cubicBezTo>
                    <a:pt x="262" y="80"/>
                    <a:pt x="263" y="79"/>
                    <a:pt x="263" y="78"/>
                  </a:cubicBezTo>
                  <a:cubicBezTo>
                    <a:pt x="263" y="77"/>
                    <a:pt x="261" y="77"/>
                    <a:pt x="258" y="77"/>
                  </a:cubicBezTo>
                  <a:cubicBezTo>
                    <a:pt x="257" y="77"/>
                    <a:pt x="257" y="77"/>
                    <a:pt x="257" y="77"/>
                  </a:cubicBezTo>
                  <a:cubicBezTo>
                    <a:pt x="252" y="77"/>
                    <a:pt x="246" y="76"/>
                    <a:pt x="245" y="74"/>
                  </a:cubicBezTo>
                  <a:cubicBezTo>
                    <a:pt x="245" y="73"/>
                    <a:pt x="246" y="72"/>
                    <a:pt x="247" y="72"/>
                  </a:cubicBezTo>
                  <a:cubicBezTo>
                    <a:pt x="248" y="71"/>
                    <a:pt x="248" y="71"/>
                    <a:pt x="248" y="70"/>
                  </a:cubicBezTo>
                  <a:cubicBezTo>
                    <a:pt x="248" y="68"/>
                    <a:pt x="243" y="65"/>
                    <a:pt x="239" y="65"/>
                  </a:cubicBezTo>
                  <a:cubicBezTo>
                    <a:pt x="239" y="65"/>
                    <a:pt x="239" y="65"/>
                    <a:pt x="239" y="65"/>
                  </a:cubicBezTo>
                  <a:cubicBezTo>
                    <a:pt x="238" y="65"/>
                    <a:pt x="237" y="65"/>
                    <a:pt x="236" y="64"/>
                  </a:cubicBezTo>
                  <a:cubicBezTo>
                    <a:pt x="235" y="62"/>
                    <a:pt x="235" y="60"/>
                    <a:pt x="236" y="57"/>
                  </a:cubicBezTo>
                  <a:cubicBezTo>
                    <a:pt x="236" y="56"/>
                    <a:pt x="236" y="56"/>
                    <a:pt x="236" y="56"/>
                  </a:cubicBezTo>
                  <a:cubicBezTo>
                    <a:pt x="236" y="54"/>
                    <a:pt x="232" y="53"/>
                    <a:pt x="229" y="52"/>
                  </a:cubicBezTo>
                  <a:cubicBezTo>
                    <a:pt x="226" y="51"/>
                    <a:pt x="225" y="51"/>
                    <a:pt x="225" y="50"/>
                  </a:cubicBezTo>
                  <a:cubicBezTo>
                    <a:pt x="225" y="50"/>
                    <a:pt x="225" y="49"/>
                    <a:pt x="226" y="49"/>
                  </a:cubicBezTo>
                  <a:cubicBezTo>
                    <a:pt x="226" y="49"/>
                    <a:pt x="226" y="49"/>
                    <a:pt x="226" y="49"/>
                  </a:cubicBezTo>
                  <a:cubicBezTo>
                    <a:pt x="226" y="48"/>
                    <a:pt x="224" y="47"/>
                    <a:pt x="221" y="47"/>
                  </a:cubicBezTo>
                  <a:cubicBezTo>
                    <a:pt x="220" y="47"/>
                    <a:pt x="219" y="48"/>
                    <a:pt x="219" y="48"/>
                  </a:cubicBezTo>
                  <a:cubicBezTo>
                    <a:pt x="218" y="49"/>
                    <a:pt x="217" y="50"/>
                    <a:pt x="216" y="50"/>
                  </a:cubicBezTo>
                  <a:cubicBezTo>
                    <a:pt x="215" y="50"/>
                    <a:pt x="214" y="50"/>
                    <a:pt x="213" y="49"/>
                  </a:cubicBezTo>
                  <a:cubicBezTo>
                    <a:pt x="212" y="48"/>
                    <a:pt x="212" y="47"/>
                    <a:pt x="212" y="46"/>
                  </a:cubicBezTo>
                  <a:cubicBezTo>
                    <a:pt x="212" y="44"/>
                    <a:pt x="208" y="43"/>
                    <a:pt x="205" y="43"/>
                  </a:cubicBezTo>
                  <a:cubicBezTo>
                    <a:pt x="203" y="43"/>
                    <a:pt x="201" y="44"/>
                    <a:pt x="200" y="44"/>
                  </a:cubicBezTo>
                  <a:cubicBezTo>
                    <a:pt x="199" y="44"/>
                    <a:pt x="199" y="44"/>
                    <a:pt x="199" y="44"/>
                  </a:cubicBezTo>
                  <a:cubicBezTo>
                    <a:pt x="199" y="44"/>
                    <a:pt x="199" y="44"/>
                    <a:pt x="199" y="44"/>
                  </a:cubicBezTo>
                  <a:cubicBezTo>
                    <a:pt x="197" y="44"/>
                    <a:pt x="196" y="41"/>
                    <a:pt x="196" y="39"/>
                  </a:cubicBezTo>
                  <a:cubicBezTo>
                    <a:pt x="195" y="36"/>
                    <a:pt x="195" y="34"/>
                    <a:pt x="193" y="32"/>
                  </a:cubicBezTo>
                  <a:cubicBezTo>
                    <a:pt x="192" y="32"/>
                    <a:pt x="192" y="32"/>
                    <a:pt x="192" y="32"/>
                  </a:cubicBezTo>
                  <a:cubicBezTo>
                    <a:pt x="190" y="32"/>
                    <a:pt x="188" y="34"/>
                    <a:pt x="186" y="35"/>
                  </a:cubicBezTo>
                  <a:cubicBezTo>
                    <a:pt x="184" y="37"/>
                    <a:pt x="183" y="38"/>
                    <a:pt x="181" y="38"/>
                  </a:cubicBezTo>
                  <a:cubicBezTo>
                    <a:pt x="180" y="37"/>
                    <a:pt x="180" y="37"/>
                    <a:pt x="180" y="37"/>
                  </a:cubicBezTo>
                  <a:cubicBezTo>
                    <a:pt x="180" y="36"/>
                    <a:pt x="181" y="33"/>
                    <a:pt x="182" y="31"/>
                  </a:cubicBezTo>
                  <a:cubicBezTo>
                    <a:pt x="183" y="29"/>
                    <a:pt x="184" y="28"/>
                    <a:pt x="185" y="27"/>
                  </a:cubicBezTo>
                  <a:cubicBezTo>
                    <a:pt x="185" y="26"/>
                    <a:pt x="185" y="26"/>
                    <a:pt x="184" y="25"/>
                  </a:cubicBezTo>
                  <a:cubicBezTo>
                    <a:pt x="183" y="23"/>
                    <a:pt x="177" y="21"/>
                    <a:pt x="173" y="21"/>
                  </a:cubicBezTo>
                  <a:cubicBezTo>
                    <a:pt x="172" y="21"/>
                    <a:pt x="171" y="21"/>
                    <a:pt x="170" y="22"/>
                  </a:cubicBezTo>
                  <a:cubicBezTo>
                    <a:pt x="170" y="23"/>
                    <a:pt x="170" y="23"/>
                    <a:pt x="169" y="23"/>
                  </a:cubicBezTo>
                  <a:cubicBezTo>
                    <a:pt x="168" y="23"/>
                    <a:pt x="167" y="22"/>
                    <a:pt x="166" y="20"/>
                  </a:cubicBezTo>
                  <a:cubicBezTo>
                    <a:pt x="165" y="18"/>
                    <a:pt x="163" y="16"/>
                    <a:pt x="162" y="15"/>
                  </a:cubicBezTo>
                  <a:cubicBezTo>
                    <a:pt x="162" y="15"/>
                    <a:pt x="162" y="15"/>
                    <a:pt x="162" y="15"/>
                  </a:cubicBezTo>
                  <a:cubicBezTo>
                    <a:pt x="161" y="15"/>
                    <a:pt x="161" y="16"/>
                    <a:pt x="161" y="18"/>
                  </a:cubicBezTo>
                  <a:cubicBezTo>
                    <a:pt x="161" y="20"/>
                    <a:pt x="161" y="22"/>
                    <a:pt x="159" y="23"/>
                  </a:cubicBezTo>
                  <a:cubicBezTo>
                    <a:pt x="157" y="23"/>
                    <a:pt x="155" y="24"/>
                    <a:pt x="155" y="25"/>
                  </a:cubicBezTo>
                  <a:cubicBezTo>
                    <a:pt x="155" y="27"/>
                    <a:pt x="156" y="28"/>
                    <a:pt x="157" y="28"/>
                  </a:cubicBezTo>
                  <a:cubicBezTo>
                    <a:pt x="162" y="32"/>
                    <a:pt x="167" y="48"/>
                    <a:pt x="166" y="51"/>
                  </a:cubicBezTo>
                  <a:cubicBezTo>
                    <a:pt x="166" y="51"/>
                    <a:pt x="166" y="52"/>
                    <a:pt x="165" y="52"/>
                  </a:cubicBezTo>
                  <a:cubicBezTo>
                    <a:pt x="162" y="52"/>
                    <a:pt x="150" y="39"/>
                    <a:pt x="149" y="32"/>
                  </a:cubicBezTo>
                  <a:cubicBezTo>
                    <a:pt x="149" y="28"/>
                    <a:pt x="145" y="24"/>
                    <a:pt x="142" y="24"/>
                  </a:cubicBezTo>
                  <a:cubicBezTo>
                    <a:pt x="141" y="24"/>
                    <a:pt x="141" y="24"/>
                    <a:pt x="140" y="25"/>
                  </a:cubicBezTo>
                  <a:cubicBezTo>
                    <a:pt x="139" y="27"/>
                    <a:pt x="138" y="29"/>
                    <a:pt x="137" y="30"/>
                  </a:cubicBezTo>
                  <a:cubicBezTo>
                    <a:pt x="135" y="32"/>
                    <a:pt x="133" y="34"/>
                    <a:pt x="134" y="36"/>
                  </a:cubicBezTo>
                  <a:cubicBezTo>
                    <a:pt x="135" y="39"/>
                    <a:pt x="134" y="40"/>
                    <a:pt x="134" y="41"/>
                  </a:cubicBezTo>
                  <a:cubicBezTo>
                    <a:pt x="133" y="42"/>
                    <a:pt x="131" y="42"/>
                    <a:pt x="130" y="41"/>
                  </a:cubicBezTo>
                  <a:cubicBezTo>
                    <a:pt x="130" y="41"/>
                    <a:pt x="130" y="40"/>
                    <a:pt x="130" y="39"/>
                  </a:cubicBezTo>
                  <a:cubicBezTo>
                    <a:pt x="130" y="36"/>
                    <a:pt x="122" y="31"/>
                    <a:pt x="119" y="31"/>
                  </a:cubicBezTo>
                  <a:cubicBezTo>
                    <a:pt x="119" y="31"/>
                    <a:pt x="118" y="31"/>
                    <a:pt x="118" y="30"/>
                  </a:cubicBezTo>
                  <a:cubicBezTo>
                    <a:pt x="118" y="30"/>
                    <a:pt x="119" y="29"/>
                    <a:pt x="123" y="28"/>
                  </a:cubicBezTo>
                  <a:cubicBezTo>
                    <a:pt x="125" y="27"/>
                    <a:pt x="129" y="26"/>
                    <a:pt x="131" y="25"/>
                  </a:cubicBezTo>
                  <a:cubicBezTo>
                    <a:pt x="132" y="25"/>
                    <a:pt x="132" y="25"/>
                    <a:pt x="132" y="24"/>
                  </a:cubicBezTo>
                  <a:cubicBezTo>
                    <a:pt x="132" y="24"/>
                    <a:pt x="130" y="23"/>
                    <a:pt x="127" y="23"/>
                  </a:cubicBezTo>
                  <a:cubicBezTo>
                    <a:pt x="126" y="23"/>
                    <a:pt x="124" y="23"/>
                    <a:pt x="123" y="23"/>
                  </a:cubicBezTo>
                  <a:cubicBezTo>
                    <a:pt x="122" y="24"/>
                    <a:pt x="121" y="24"/>
                    <a:pt x="119" y="24"/>
                  </a:cubicBezTo>
                  <a:cubicBezTo>
                    <a:pt x="118" y="24"/>
                    <a:pt x="117" y="24"/>
                    <a:pt x="117" y="24"/>
                  </a:cubicBezTo>
                  <a:cubicBezTo>
                    <a:pt x="116" y="24"/>
                    <a:pt x="115" y="24"/>
                    <a:pt x="114" y="24"/>
                  </a:cubicBezTo>
                  <a:cubicBezTo>
                    <a:pt x="113" y="24"/>
                    <a:pt x="112" y="24"/>
                    <a:pt x="111" y="25"/>
                  </a:cubicBezTo>
                  <a:cubicBezTo>
                    <a:pt x="110" y="26"/>
                    <a:pt x="109" y="27"/>
                    <a:pt x="108" y="27"/>
                  </a:cubicBezTo>
                  <a:cubicBezTo>
                    <a:pt x="107" y="27"/>
                    <a:pt x="105" y="26"/>
                    <a:pt x="104" y="26"/>
                  </a:cubicBezTo>
                  <a:cubicBezTo>
                    <a:pt x="103" y="25"/>
                    <a:pt x="102" y="25"/>
                    <a:pt x="100" y="24"/>
                  </a:cubicBezTo>
                  <a:cubicBezTo>
                    <a:pt x="100" y="24"/>
                    <a:pt x="100" y="24"/>
                    <a:pt x="100" y="24"/>
                  </a:cubicBezTo>
                  <a:cubicBezTo>
                    <a:pt x="98" y="24"/>
                    <a:pt x="96" y="26"/>
                    <a:pt x="94" y="27"/>
                  </a:cubicBezTo>
                  <a:cubicBezTo>
                    <a:pt x="93" y="29"/>
                    <a:pt x="91" y="30"/>
                    <a:pt x="90" y="30"/>
                  </a:cubicBezTo>
                  <a:cubicBezTo>
                    <a:pt x="89" y="30"/>
                    <a:pt x="89" y="30"/>
                    <a:pt x="89" y="30"/>
                  </a:cubicBezTo>
                  <a:cubicBezTo>
                    <a:pt x="88" y="29"/>
                    <a:pt x="87" y="30"/>
                    <a:pt x="87" y="30"/>
                  </a:cubicBezTo>
                  <a:cubicBezTo>
                    <a:pt x="85" y="33"/>
                    <a:pt x="86" y="38"/>
                    <a:pt x="89" y="43"/>
                  </a:cubicBezTo>
                  <a:cubicBezTo>
                    <a:pt x="90" y="45"/>
                    <a:pt x="92" y="46"/>
                    <a:pt x="93" y="46"/>
                  </a:cubicBezTo>
                  <a:cubicBezTo>
                    <a:pt x="94" y="46"/>
                    <a:pt x="96" y="45"/>
                    <a:pt x="97" y="44"/>
                  </a:cubicBezTo>
                  <a:cubicBezTo>
                    <a:pt x="99" y="43"/>
                    <a:pt x="101" y="42"/>
                    <a:pt x="103" y="42"/>
                  </a:cubicBezTo>
                  <a:cubicBezTo>
                    <a:pt x="104" y="42"/>
                    <a:pt x="104" y="42"/>
                    <a:pt x="104" y="42"/>
                  </a:cubicBezTo>
                  <a:cubicBezTo>
                    <a:pt x="105" y="42"/>
                    <a:pt x="106" y="43"/>
                    <a:pt x="106" y="43"/>
                  </a:cubicBezTo>
                  <a:cubicBezTo>
                    <a:pt x="106" y="45"/>
                    <a:pt x="104" y="47"/>
                    <a:pt x="102" y="49"/>
                  </a:cubicBezTo>
                  <a:cubicBezTo>
                    <a:pt x="100" y="51"/>
                    <a:pt x="97" y="54"/>
                    <a:pt x="96" y="57"/>
                  </a:cubicBezTo>
                  <a:cubicBezTo>
                    <a:pt x="95" y="61"/>
                    <a:pt x="100" y="65"/>
                    <a:pt x="105" y="68"/>
                  </a:cubicBezTo>
                  <a:cubicBezTo>
                    <a:pt x="107" y="70"/>
                    <a:pt x="109" y="71"/>
                    <a:pt x="110" y="72"/>
                  </a:cubicBezTo>
                  <a:cubicBezTo>
                    <a:pt x="113" y="74"/>
                    <a:pt x="116" y="75"/>
                    <a:pt x="121" y="75"/>
                  </a:cubicBezTo>
                  <a:cubicBezTo>
                    <a:pt x="125" y="75"/>
                    <a:pt x="128" y="75"/>
                    <a:pt x="130" y="74"/>
                  </a:cubicBezTo>
                  <a:cubicBezTo>
                    <a:pt x="132" y="73"/>
                    <a:pt x="133" y="70"/>
                    <a:pt x="134" y="68"/>
                  </a:cubicBezTo>
                  <a:cubicBezTo>
                    <a:pt x="135" y="65"/>
                    <a:pt x="136" y="62"/>
                    <a:pt x="139" y="62"/>
                  </a:cubicBezTo>
                  <a:cubicBezTo>
                    <a:pt x="139" y="62"/>
                    <a:pt x="139" y="62"/>
                    <a:pt x="139" y="62"/>
                  </a:cubicBezTo>
                  <a:cubicBezTo>
                    <a:pt x="139" y="62"/>
                    <a:pt x="139" y="62"/>
                    <a:pt x="140" y="62"/>
                  </a:cubicBezTo>
                  <a:cubicBezTo>
                    <a:pt x="142" y="62"/>
                    <a:pt x="142" y="61"/>
                    <a:pt x="143" y="60"/>
                  </a:cubicBezTo>
                  <a:cubicBezTo>
                    <a:pt x="143" y="58"/>
                    <a:pt x="144" y="57"/>
                    <a:pt x="146" y="56"/>
                  </a:cubicBezTo>
                  <a:cubicBezTo>
                    <a:pt x="148" y="55"/>
                    <a:pt x="149" y="56"/>
                    <a:pt x="150" y="57"/>
                  </a:cubicBezTo>
                  <a:cubicBezTo>
                    <a:pt x="151" y="59"/>
                    <a:pt x="150" y="63"/>
                    <a:pt x="148" y="65"/>
                  </a:cubicBezTo>
                  <a:cubicBezTo>
                    <a:pt x="147" y="66"/>
                    <a:pt x="147" y="67"/>
                    <a:pt x="147" y="67"/>
                  </a:cubicBezTo>
                  <a:cubicBezTo>
                    <a:pt x="147" y="67"/>
                    <a:pt x="148" y="68"/>
                    <a:pt x="149" y="68"/>
                  </a:cubicBezTo>
                  <a:cubicBezTo>
                    <a:pt x="152" y="68"/>
                    <a:pt x="157" y="66"/>
                    <a:pt x="160" y="63"/>
                  </a:cubicBezTo>
                  <a:cubicBezTo>
                    <a:pt x="162" y="61"/>
                    <a:pt x="165" y="60"/>
                    <a:pt x="166" y="62"/>
                  </a:cubicBezTo>
                  <a:cubicBezTo>
                    <a:pt x="167" y="63"/>
                    <a:pt x="167" y="66"/>
                    <a:pt x="166" y="69"/>
                  </a:cubicBezTo>
                  <a:cubicBezTo>
                    <a:pt x="166" y="71"/>
                    <a:pt x="162" y="72"/>
                    <a:pt x="158" y="73"/>
                  </a:cubicBezTo>
                  <a:cubicBezTo>
                    <a:pt x="155" y="73"/>
                    <a:pt x="151" y="74"/>
                    <a:pt x="149" y="77"/>
                  </a:cubicBezTo>
                  <a:cubicBezTo>
                    <a:pt x="147" y="80"/>
                    <a:pt x="142" y="80"/>
                    <a:pt x="138" y="81"/>
                  </a:cubicBezTo>
                  <a:cubicBezTo>
                    <a:pt x="133" y="81"/>
                    <a:pt x="129" y="81"/>
                    <a:pt x="126" y="85"/>
                  </a:cubicBezTo>
                  <a:cubicBezTo>
                    <a:pt x="125" y="86"/>
                    <a:pt x="124" y="87"/>
                    <a:pt x="125" y="88"/>
                  </a:cubicBezTo>
                  <a:cubicBezTo>
                    <a:pt x="125" y="89"/>
                    <a:pt x="127" y="90"/>
                    <a:pt x="131" y="90"/>
                  </a:cubicBezTo>
                  <a:cubicBezTo>
                    <a:pt x="133" y="90"/>
                    <a:pt x="136" y="89"/>
                    <a:pt x="139" y="89"/>
                  </a:cubicBezTo>
                  <a:cubicBezTo>
                    <a:pt x="144" y="88"/>
                    <a:pt x="153" y="87"/>
                    <a:pt x="160" y="87"/>
                  </a:cubicBezTo>
                  <a:cubicBezTo>
                    <a:pt x="163" y="87"/>
                    <a:pt x="166" y="87"/>
                    <a:pt x="168" y="88"/>
                  </a:cubicBezTo>
                  <a:cubicBezTo>
                    <a:pt x="169" y="88"/>
                    <a:pt x="170" y="88"/>
                    <a:pt x="170" y="89"/>
                  </a:cubicBezTo>
                  <a:cubicBezTo>
                    <a:pt x="170" y="91"/>
                    <a:pt x="159" y="92"/>
                    <a:pt x="155" y="92"/>
                  </a:cubicBezTo>
                  <a:cubicBezTo>
                    <a:pt x="147" y="92"/>
                    <a:pt x="144" y="94"/>
                    <a:pt x="143" y="95"/>
                  </a:cubicBezTo>
                  <a:cubicBezTo>
                    <a:pt x="143" y="95"/>
                    <a:pt x="142" y="96"/>
                    <a:pt x="142" y="97"/>
                  </a:cubicBezTo>
                  <a:cubicBezTo>
                    <a:pt x="143" y="97"/>
                    <a:pt x="142" y="97"/>
                    <a:pt x="142" y="98"/>
                  </a:cubicBezTo>
                  <a:cubicBezTo>
                    <a:pt x="142" y="98"/>
                    <a:pt x="141" y="98"/>
                    <a:pt x="140" y="98"/>
                  </a:cubicBezTo>
                  <a:cubicBezTo>
                    <a:pt x="140" y="98"/>
                    <a:pt x="138" y="98"/>
                    <a:pt x="137" y="98"/>
                  </a:cubicBezTo>
                  <a:cubicBezTo>
                    <a:pt x="136" y="98"/>
                    <a:pt x="134" y="97"/>
                    <a:pt x="133" y="97"/>
                  </a:cubicBezTo>
                  <a:cubicBezTo>
                    <a:pt x="129" y="97"/>
                    <a:pt x="128" y="99"/>
                    <a:pt x="128" y="100"/>
                  </a:cubicBezTo>
                  <a:cubicBezTo>
                    <a:pt x="128" y="103"/>
                    <a:pt x="132" y="105"/>
                    <a:pt x="136" y="107"/>
                  </a:cubicBezTo>
                  <a:cubicBezTo>
                    <a:pt x="139" y="108"/>
                    <a:pt x="142" y="110"/>
                    <a:pt x="143" y="111"/>
                  </a:cubicBezTo>
                  <a:cubicBezTo>
                    <a:pt x="143" y="112"/>
                    <a:pt x="144" y="113"/>
                    <a:pt x="147" y="113"/>
                  </a:cubicBezTo>
                  <a:cubicBezTo>
                    <a:pt x="148" y="113"/>
                    <a:pt x="149" y="113"/>
                    <a:pt x="150" y="112"/>
                  </a:cubicBezTo>
                  <a:cubicBezTo>
                    <a:pt x="152" y="112"/>
                    <a:pt x="153" y="112"/>
                    <a:pt x="154" y="112"/>
                  </a:cubicBezTo>
                  <a:close/>
                  <a:moveTo>
                    <a:pt x="101" y="76"/>
                  </a:moveTo>
                  <a:cubicBezTo>
                    <a:pt x="99" y="76"/>
                    <a:pt x="97" y="74"/>
                    <a:pt x="95" y="73"/>
                  </a:cubicBezTo>
                  <a:cubicBezTo>
                    <a:pt x="94" y="71"/>
                    <a:pt x="92" y="69"/>
                    <a:pt x="91" y="69"/>
                  </a:cubicBezTo>
                  <a:cubicBezTo>
                    <a:pt x="87" y="68"/>
                    <a:pt x="80" y="61"/>
                    <a:pt x="79" y="58"/>
                  </a:cubicBezTo>
                  <a:cubicBezTo>
                    <a:pt x="79" y="57"/>
                    <a:pt x="80" y="56"/>
                    <a:pt x="82" y="55"/>
                  </a:cubicBezTo>
                  <a:cubicBezTo>
                    <a:pt x="82" y="55"/>
                    <a:pt x="83" y="55"/>
                    <a:pt x="84" y="55"/>
                  </a:cubicBezTo>
                  <a:cubicBezTo>
                    <a:pt x="86" y="55"/>
                    <a:pt x="87" y="56"/>
                    <a:pt x="89" y="59"/>
                  </a:cubicBezTo>
                  <a:cubicBezTo>
                    <a:pt x="90" y="60"/>
                    <a:pt x="90" y="61"/>
                    <a:pt x="92" y="63"/>
                  </a:cubicBezTo>
                  <a:cubicBezTo>
                    <a:pt x="102" y="74"/>
                    <a:pt x="102" y="75"/>
                    <a:pt x="102" y="76"/>
                  </a:cubicBezTo>
                  <a:cubicBezTo>
                    <a:pt x="101" y="76"/>
                    <a:pt x="101" y="76"/>
                    <a:pt x="101" y="76"/>
                  </a:cubicBezTo>
                  <a:cubicBezTo>
                    <a:pt x="101" y="76"/>
                    <a:pt x="101" y="76"/>
                    <a:pt x="101" y="76"/>
                  </a:cubicBezTo>
                  <a:close/>
                  <a:moveTo>
                    <a:pt x="84" y="56"/>
                  </a:moveTo>
                  <a:cubicBezTo>
                    <a:pt x="83" y="56"/>
                    <a:pt x="83" y="56"/>
                    <a:pt x="82" y="56"/>
                  </a:cubicBezTo>
                  <a:cubicBezTo>
                    <a:pt x="81" y="56"/>
                    <a:pt x="80" y="57"/>
                    <a:pt x="80" y="58"/>
                  </a:cubicBezTo>
                  <a:cubicBezTo>
                    <a:pt x="81" y="61"/>
                    <a:pt x="88" y="67"/>
                    <a:pt x="91" y="68"/>
                  </a:cubicBezTo>
                  <a:cubicBezTo>
                    <a:pt x="93" y="68"/>
                    <a:pt x="94" y="70"/>
                    <a:pt x="96" y="72"/>
                  </a:cubicBezTo>
                  <a:cubicBezTo>
                    <a:pt x="98" y="73"/>
                    <a:pt x="99" y="75"/>
                    <a:pt x="101" y="75"/>
                  </a:cubicBezTo>
                  <a:cubicBezTo>
                    <a:pt x="100" y="74"/>
                    <a:pt x="98" y="70"/>
                    <a:pt x="91" y="63"/>
                  </a:cubicBezTo>
                  <a:cubicBezTo>
                    <a:pt x="90" y="62"/>
                    <a:pt x="89" y="60"/>
                    <a:pt x="88" y="59"/>
                  </a:cubicBezTo>
                  <a:cubicBezTo>
                    <a:pt x="87" y="57"/>
                    <a:pt x="86" y="56"/>
                    <a:pt x="84" y="56"/>
                  </a:cubicBezTo>
                  <a:close/>
                  <a:moveTo>
                    <a:pt x="268" y="45"/>
                  </a:moveTo>
                  <a:cubicBezTo>
                    <a:pt x="267" y="45"/>
                    <a:pt x="266" y="45"/>
                    <a:pt x="266" y="44"/>
                  </a:cubicBezTo>
                  <a:cubicBezTo>
                    <a:pt x="260" y="44"/>
                    <a:pt x="256" y="42"/>
                    <a:pt x="253" y="40"/>
                  </a:cubicBezTo>
                  <a:cubicBezTo>
                    <a:pt x="251" y="39"/>
                    <a:pt x="250" y="38"/>
                    <a:pt x="249" y="38"/>
                  </a:cubicBezTo>
                  <a:cubicBezTo>
                    <a:pt x="249" y="39"/>
                    <a:pt x="248" y="40"/>
                    <a:pt x="242" y="40"/>
                  </a:cubicBezTo>
                  <a:cubicBezTo>
                    <a:pt x="233" y="40"/>
                    <a:pt x="215" y="37"/>
                    <a:pt x="214" y="34"/>
                  </a:cubicBezTo>
                  <a:cubicBezTo>
                    <a:pt x="214" y="33"/>
                    <a:pt x="214" y="33"/>
                    <a:pt x="214" y="33"/>
                  </a:cubicBezTo>
                  <a:cubicBezTo>
                    <a:pt x="215" y="31"/>
                    <a:pt x="221" y="30"/>
                    <a:pt x="231" y="28"/>
                  </a:cubicBezTo>
                  <a:cubicBezTo>
                    <a:pt x="236" y="26"/>
                    <a:pt x="244" y="25"/>
                    <a:pt x="245" y="24"/>
                  </a:cubicBezTo>
                  <a:cubicBezTo>
                    <a:pt x="244" y="24"/>
                    <a:pt x="244" y="24"/>
                    <a:pt x="244" y="24"/>
                  </a:cubicBezTo>
                  <a:cubicBezTo>
                    <a:pt x="244" y="23"/>
                    <a:pt x="243" y="23"/>
                    <a:pt x="241" y="23"/>
                  </a:cubicBezTo>
                  <a:cubicBezTo>
                    <a:pt x="238" y="23"/>
                    <a:pt x="234" y="24"/>
                    <a:pt x="229" y="24"/>
                  </a:cubicBezTo>
                  <a:cubicBezTo>
                    <a:pt x="222" y="25"/>
                    <a:pt x="214" y="26"/>
                    <a:pt x="208" y="26"/>
                  </a:cubicBezTo>
                  <a:cubicBezTo>
                    <a:pt x="208" y="26"/>
                    <a:pt x="208" y="26"/>
                    <a:pt x="208" y="26"/>
                  </a:cubicBezTo>
                  <a:cubicBezTo>
                    <a:pt x="199" y="26"/>
                    <a:pt x="194" y="25"/>
                    <a:pt x="191" y="22"/>
                  </a:cubicBezTo>
                  <a:cubicBezTo>
                    <a:pt x="191" y="21"/>
                    <a:pt x="190" y="21"/>
                    <a:pt x="190" y="20"/>
                  </a:cubicBezTo>
                  <a:cubicBezTo>
                    <a:pt x="191" y="19"/>
                    <a:pt x="191" y="19"/>
                    <a:pt x="192" y="18"/>
                  </a:cubicBezTo>
                  <a:cubicBezTo>
                    <a:pt x="193" y="18"/>
                    <a:pt x="193" y="17"/>
                    <a:pt x="193" y="17"/>
                  </a:cubicBezTo>
                  <a:cubicBezTo>
                    <a:pt x="193" y="17"/>
                    <a:pt x="193" y="17"/>
                    <a:pt x="193" y="17"/>
                  </a:cubicBezTo>
                  <a:cubicBezTo>
                    <a:pt x="192" y="16"/>
                    <a:pt x="191" y="15"/>
                    <a:pt x="190" y="14"/>
                  </a:cubicBezTo>
                  <a:cubicBezTo>
                    <a:pt x="186" y="12"/>
                    <a:pt x="184" y="11"/>
                    <a:pt x="185" y="10"/>
                  </a:cubicBezTo>
                  <a:cubicBezTo>
                    <a:pt x="185" y="9"/>
                    <a:pt x="186" y="9"/>
                    <a:pt x="186" y="9"/>
                  </a:cubicBezTo>
                  <a:cubicBezTo>
                    <a:pt x="187" y="9"/>
                    <a:pt x="187" y="8"/>
                    <a:pt x="188" y="7"/>
                  </a:cubicBezTo>
                  <a:cubicBezTo>
                    <a:pt x="188" y="6"/>
                    <a:pt x="189" y="4"/>
                    <a:pt x="192" y="4"/>
                  </a:cubicBezTo>
                  <a:cubicBezTo>
                    <a:pt x="195" y="4"/>
                    <a:pt x="197" y="7"/>
                    <a:pt x="199" y="9"/>
                  </a:cubicBezTo>
                  <a:cubicBezTo>
                    <a:pt x="200" y="10"/>
                    <a:pt x="202" y="12"/>
                    <a:pt x="202" y="12"/>
                  </a:cubicBezTo>
                  <a:cubicBezTo>
                    <a:pt x="202" y="12"/>
                    <a:pt x="202" y="12"/>
                    <a:pt x="202" y="12"/>
                  </a:cubicBezTo>
                  <a:cubicBezTo>
                    <a:pt x="203" y="11"/>
                    <a:pt x="202" y="9"/>
                    <a:pt x="202" y="7"/>
                  </a:cubicBezTo>
                  <a:cubicBezTo>
                    <a:pt x="201" y="6"/>
                    <a:pt x="201" y="5"/>
                    <a:pt x="201" y="4"/>
                  </a:cubicBezTo>
                  <a:cubicBezTo>
                    <a:pt x="202" y="4"/>
                    <a:pt x="202" y="3"/>
                    <a:pt x="203" y="3"/>
                  </a:cubicBezTo>
                  <a:cubicBezTo>
                    <a:pt x="204" y="4"/>
                    <a:pt x="205" y="4"/>
                    <a:pt x="207" y="5"/>
                  </a:cubicBezTo>
                  <a:cubicBezTo>
                    <a:pt x="208" y="6"/>
                    <a:pt x="210" y="7"/>
                    <a:pt x="212" y="7"/>
                  </a:cubicBezTo>
                  <a:cubicBezTo>
                    <a:pt x="213" y="7"/>
                    <a:pt x="213" y="7"/>
                    <a:pt x="213" y="7"/>
                  </a:cubicBezTo>
                  <a:cubicBezTo>
                    <a:pt x="214" y="6"/>
                    <a:pt x="213" y="4"/>
                    <a:pt x="212" y="3"/>
                  </a:cubicBezTo>
                  <a:cubicBezTo>
                    <a:pt x="211" y="2"/>
                    <a:pt x="211" y="1"/>
                    <a:pt x="211" y="1"/>
                  </a:cubicBezTo>
                  <a:cubicBezTo>
                    <a:pt x="211" y="0"/>
                    <a:pt x="212" y="0"/>
                    <a:pt x="212" y="0"/>
                  </a:cubicBezTo>
                  <a:cubicBezTo>
                    <a:pt x="215" y="0"/>
                    <a:pt x="227" y="4"/>
                    <a:pt x="229" y="9"/>
                  </a:cubicBezTo>
                  <a:cubicBezTo>
                    <a:pt x="229" y="10"/>
                    <a:pt x="229" y="11"/>
                    <a:pt x="230" y="11"/>
                  </a:cubicBezTo>
                  <a:cubicBezTo>
                    <a:pt x="231" y="11"/>
                    <a:pt x="233" y="10"/>
                    <a:pt x="235" y="9"/>
                  </a:cubicBezTo>
                  <a:cubicBezTo>
                    <a:pt x="236" y="9"/>
                    <a:pt x="238" y="8"/>
                    <a:pt x="239" y="8"/>
                  </a:cubicBezTo>
                  <a:cubicBezTo>
                    <a:pt x="240" y="8"/>
                    <a:pt x="240" y="9"/>
                    <a:pt x="241" y="10"/>
                  </a:cubicBezTo>
                  <a:cubicBezTo>
                    <a:pt x="241" y="13"/>
                    <a:pt x="247" y="16"/>
                    <a:pt x="250" y="16"/>
                  </a:cubicBezTo>
                  <a:cubicBezTo>
                    <a:pt x="251" y="16"/>
                    <a:pt x="251" y="16"/>
                    <a:pt x="251" y="16"/>
                  </a:cubicBezTo>
                  <a:cubicBezTo>
                    <a:pt x="252" y="16"/>
                    <a:pt x="251" y="14"/>
                    <a:pt x="251" y="13"/>
                  </a:cubicBezTo>
                  <a:cubicBezTo>
                    <a:pt x="250" y="11"/>
                    <a:pt x="249" y="8"/>
                    <a:pt x="250" y="5"/>
                  </a:cubicBezTo>
                  <a:cubicBezTo>
                    <a:pt x="251" y="4"/>
                    <a:pt x="252" y="3"/>
                    <a:pt x="254" y="2"/>
                  </a:cubicBezTo>
                  <a:cubicBezTo>
                    <a:pt x="255" y="2"/>
                    <a:pt x="256" y="1"/>
                    <a:pt x="257" y="1"/>
                  </a:cubicBezTo>
                  <a:cubicBezTo>
                    <a:pt x="261" y="1"/>
                    <a:pt x="262" y="5"/>
                    <a:pt x="262" y="8"/>
                  </a:cubicBezTo>
                  <a:cubicBezTo>
                    <a:pt x="262" y="10"/>
                    <a:pt x="263" y="11"/>
                    <a:pt x="263" y="11"/>
                  </a:cubicBezTo>
                  <a:cubicBezTo>
                    <a:pt x="263" y="12"/>
                    <a:pt x="264" y="12"/>
                    <a:pt x="265" y="12"/>
                  </a:cubicBezTo>
                  <a:cubicBezTo>
                    <a:pt x="267" y="12"/>
                    <a:pt x="269" y="10"/>
                    <a:pt x="270" y="8"/>
                  </a:cubicBezTo>
                  <a:cubicBezTo>
                    <a:pt x="271" y="6"/>
                    <a:pt x="273" y="5"/>
                    <a:pt x="276" y="5"/>
                  </a:cubicBezTo>
                  <a:cubicBezTo>
                    <a:pt x="281" y="5"/>
                    <a:pt x="289" y="8"/>
                    <a:pt x="293" y="10"/>
                  </a:cubicBezTo>
                  <a:cubicBezTo>
                    <a:pt x="294" y="11"/>
                    <a:pt x="298" y="11"/>
                    <a:pt x="301" y="11"/>
                  </a:cubicBezTo>
                  <a:cubicBezTo>
                    <a:pt x="302" y="11"/>
                    <a:pt x="303" y="11"/>
                    <a:pt x="304" y="11"/>
                  </a:cubicBezTo>
                  <a:cubicBezTo>
                    <a:pt x="305" y="11"/>
                    <a:pt x="306" y="11"/>
                    <a:pt x="307" y="11"/>
                  </a:cubicBezTo>
                  <a:cubicBezTo>
                    <a:pt x="314" y="11"/>
                    <a:pt x="320" y="11"/>
                    <a:pt x="321" y="15"/>
                  </a:cubicBezTo>
                  <a:cubicBezTo>
                    <a:pt x="323" y="20"/>
                    <a:pt x="316" y="23"/>
                    <a:pt x="309" y="26"/>
                  </a:cubicBezTo>
                  <a:cubicBezTo>
                    <a:pt x="306" y="28"/>
                    <a:pt x="302" y="30"/>
                    <a:pt x="302" y="32"/>
                  </a:cubicBezTo>
                  <a:cubicBezTo>
                    <a:pt x="301" y="36"/>
                    <a:pt x="290" y="40"/>
                    <a:pt x="282" y="40"/>
                  </a:cubicBezTo>
                  <a:cubicBezTo>
                    <a:pt x="279" y="40"/>
                    <a:pt x="278" y="41"/>
                    <a:pt x="276" y="42"/>
                  </a:cubicBezTo>
                  <a:cubicBezTo>
                    <a:pt x="274" y="43"/>
                    <a:pt x="272" y="45"/>
                    <a:pt x="268" y="45"/>
                  </a:cubicBezTo>
                  <a:close/>
                  <a:moveTo>
                    <a:pt x="250" y="37"/>
                  </a:moveTo>
                  <a:cubicBezTo>
                    <a:pt x="251" y="37"/>
                    <a:pt x="252" y="38"/>
                    <a:pt x="254" y="39"/>
                  </a:cubicBezTo>
                  <a:cubicBezTo>
                    <a:pt x="257" y="41"/>
                    <a:pt x="261" y="43"/>
                    <a:pt x="266" y="43"/>
                  </a:cubicBezTo>
                  <a:cubicBezTo>
                    <a:pt x="271" y="44"/>
                    <a:pt x="273" y="43"/>
                    <a:pt x="275" y="41"/>
                  </a:cubicBezTo>
                  <a:cubicBezTo>
                    <a:pt x="277" y="40"/>
                    <a:pt x="279" y="39"/>
                    <a:pt x="282" y="39"/>
                  </a:cubicBezTo>
                  <a:cubicBezTo>
                    <a:pt x="290" y="39"/>
                    <a:pt x="300" y="35"/>
                    <a:pt x="301" y="32"/>
                  </a:cubicBezTo>
                  <a:cubicBezTo>
                    <a:pt x="301" y="30"/>
                    <a:pt x="304" y="28"/>
                    <a:pt x="309" y="25"/>
                  </a:cubicBezTo>
                  <a:cubicBezTo>
                    <a:pt x="315" y="23"/>
                    <a:pt x="322" y="19"/>
                    <a:pt x="321" y="15"/>
                  </a:cubicBezTo>
                  <a:cubicBezTo>
                    <a:pt x="319" y="12"/>
                    <a:pt x="311" y="12"/>
                    <a:pt x="304" y="12"/>
                  </a:cubicBezTo>
                  <a:cubicBezTo>
                    <a:pt x="303" y="12"/>
                    <a:pt x="302" y="12"/>
                    <a:pt x="301" y="12"/>
                  </a:cubicBezTo>
                  <a:cubicBezTo>
                    <a:pt x="298" y="12"/>
                    <a:pt x="294" y="12"/>
                    <a:pt x="292" y="11"/>
                  </a:cubicBezTo>
                  <a:cubicBezTo>
                    <a:pt x="289" y="9"/>
                    <a:pt x="281" y="6"/>
                    <a:pt x="276" y="6"/>
                  </a:cubicBezTo>
                  <a:cubicBezTo>
                    <a:pt x="274" y="6"/>
                    <a:pt x="272" y="7"/>
                    <a:pt x="271" y="8"/>
                  </a:cubicBezTo>
                  <a:cubicBezTo>
                    <a:pt x="270" y="11"/>
                    <a:pt x="267" y="13"/>
                    <a:pt x="265" y="13"/>
                  </a:cubicBezTo>
                  <a:cubicBezTo>
                    <a:pt x="264" y="13"/>
                    <a:pt x="263" y="13"/>
                    <a:pt x="262" y="12"/>
                  </a:cubicBezTo>
                  <a:cubicBezTo>
                    <a:pt x="262" y="11"/>
                    <a:pt x="261" y="10"/>
                    <a:pt x="261" y="8"/>
                  </a:cubicBezTo>
                  <a:cubicBezTo>
                    <a:pt x="261" y="6"/>
                    <a:pt x="261" y="2"/>
                    <a:pt x="257" y="2"/>
                  </a:cubicBezTo>
                  <a:cubicBezTo>
                    <a:pt x="256" y="2"/>
                    <a:pt x="255" y="3"/>
                    <a:pt x="254" y="3"/>
                  </a:cubicBezTo>
                  <a:cubicBezTo>
                    <a:pt x="253" y="3"/>
                    <a:pt x="251" y="4"/>
                    <a:pt x="251" y="5"/>
                  </a:cubicBezTo>
                  <a:cubicBezTo>
                    <a:pt x="250" y="8"/>
                    <a:pt x="251" y="11"/>
                    <a:pt x="252" y="13"/>
                  </a:cubicBezTo>
                  <a:cubicBezTo>
                    <a:pt x="252" y="15"/>
                    <a:pt x="253" y="16"/>
                    <a:pt x="252" y="17"/>
                  </a:cubicBezTo>
                  <a:cubicBezTo>
                    <a:pt x="252" y="17"/>
                    <a:pt x="251" y="17"/>
                    <a:pt x="250" y="17"/>
                  </a:cubicBezTo>
                  <a:cubicBezTo>
                    <a:pt x="247" y="17"/>
                    <a:pt x="240" y="14"/>
                    <a:pt x="240" y="10"/>
                  </a:cubicBezTo>
                  <a:cubicBezTo>
                    <a:pt x="239" y="10"/>
                    <a:pt x="239" y="9"/>
                    <a:pt x="239" y="9"/>
                  </a:cubicBezTo>
                  <a:cubicBezTo>
                    <a:pt x="238" y="9"/>
                    <a:pt x="236" y="10"/>
                    <a:pt x="235" y="10"/>
                  </a:cubicBezTo>
                  <a:cubicBezTo>
                    <a:pt x="233" y="11"/>
                    <a:pt x="232" y="12"/>
                    <a:pt x="230" y="12"/>
                  </a:cubicBezTo>
                  <a:cubicBezTo>
                    <a:pt x="229" y="12"/>
                    <a:pt x="228" y="11"/>
                    <a:pt x="228" y="10"/>
                  </a:cubicBezTo>
                  <a:cubicBezTo>
                    <a:pt x="226" y="4"/>
                    <a:pt x="215" y="1"/>
                    <a:pt x="212" y="1"/>
                  </a:cubicBezTo>
                  <a:cubicBezTo>
                    <a:pt x="212" y="1"/>
                    <a:pt x="212" y="1"/>
                    <a:pt x="212" y="1"/>
                  </a:cubicBezTo>
                  <a:cubicBezTo>
                    <a:pt x="212" y="1"/>
                    <a:pt x="212" y="2"/>
                    <a:pt x="213" y="2"/>
                  </a:cubicBezTo>
                  <a:cubicBezTo>
                    <a:pt x="214" y="4"/>
                    <a:pt x="215" y="6"/>
                    <a:pt x="214" y="7"/>
                  </a:cubicBezTo>
                  <a:cubicBezTo>
                    <a:pt x="213" y="8"/>
                    <a:pt x="213" y="8"/>
                    <a:pt x="212" y="8"/>
                  </a:cubicBezTo>
                  <a:cubicBezTo>
                    <a:pt x="210" y="8"/>
                    <a:pt x="208" y="7"/>
                    <a:pt x="206" y="6"/>
                  </a:cubicBezTo>
                  <a:cubicBezTo>
                    <a:pt x="205" y="5"/>
                    <a:pt x="203" y="5"/>
                    <a:pt x="203" y="4"/>
                  </a:cubicBezTo>
                  <a:cubicBezTo>
                    <a:pt x="202" y="4"/>
                    <a:pt x="202" y="4"/>
                    <a:pt x="202" y="4"/>
                  </a:cubicBezTo>
                  <a:cubicBezTo>
                    <a:pt x="202" y="5"/>
                    <a:pt x="203" y="6"/>
                    <a:pt x="203" y="7"/>
                  </a:cubicBezTo>
                  <a:cubicBezTo>
                    <a:pt x="203" y="9"/>
                    <a:pt x="204" y="11"/>
                    <a:pt x="203" y="12"/>
                  </a:cubicBezTo>
                  <a:cubicBezTo>
                    <a:pt x="203" y="13"/>
                    <a:pt x="203" y="13"/>
                    <a:pt x="202" y="13"/>
                  </a:cubicBezTo>
                  <a:cubicBezTo>
                    <a:pt x="201" y="13"/>
                    <a:pt x="200" y="12"/>
                    <a:pt x="199" y="10"/>
                  </a:cubicBezTo>
                  <a:cubicBezTo>
                    <a:pt x="197" y="8"/>
                    <a:pt x="194" y="5"/>
                    <a:pt x="192" y="5"/>
                  </a:cubicBezTo>
                  <a:cubicBezTo>
                    <a:pt x="190" y="5"/>
                    <a:pt x="189" y="6"/>
                    <a:pt x="189" y="7"/>
                  </a:cubicBezTo>
                  <a:cubicBezTo>
                    <a:pt x="188" y="9"/>
                    <a:pt x="188" y="10"/>
                    <a:pt x="186" y="10"/>
                  </a:cubicBezTo>
                  <a:cubicBezTo>
                    <a:pt x="186" y="10"/>
                    <a:pt x="186" y="10"/>
                    <a:pt x="186" y="10"/>
                  </a:cubicBezTo>
                  <a:cubicBezTo>
                    <a:pt x="186" y="11"/>
                    <a:pt x="188" y="12"/>
                    <a:pt x="190" y="13"/>
                  </a:cubicBezTo>
                  <a:cubicBezTo>
                    <a:pt x="191" y="14"/>
                    <a:pt x="193" y="15"/>
                    <a:pt x="194" y="16"/>
                  </a:cubicBezTo>
                  <a:cubicBezTo>
                    <a:pt x="194" y="17"/>
                    <a:pt x="194" y="17"/>
                    <a:pt x="194" y="17"/>
                  </a:cubicBezTo>
                  <a:cubicBezTo>
                    <a:pt x="194" y="18"/>
                    <a:pt x="194" y="18"/>
                    <a:pt x="193" y="19"/>
                  </a:cubicBezTo>
                  <a:cubicBezTo>
                    <a:pt x="192" y="19"/>
                    <a:pt x="191" y="20"/>
                    <a:pt x="191" y="20"/>
                  </a:cubicBezTo>
                  <a:cubicBezTo>
                    <a:pt x="191" y="21"/>
                    <a:pt x="192" y="21"/>
                    <a:pt x="192" y="21"/>
                  </a:cubicBezTo>
                  <a:cubicBezTo>
                    <a:pt x="195" y="24"/>
                    <a:pt x="200" y="25"/>
                    <a:pt x="208" y="25"/>
                  </a:cubicBezTo>
                  <a:cubicBezTo>
                    <a:pt x="208" y="25"/>
                    <a:pt x="208" y="25"/>
                    <a:pt x="208" y="25"/>
                  </a:cubicBezTo>
                  <a:cubicBezTo>
                    <a:pt x="214" y="25"/>
                    <a:pt x="222" y="24"/>
                    <a:pt x="229" y="24"/>
                  </a:cubicBezTo>
                  <a:cubicBezTo>
                    <a:pt x="234" y="23"/>
                    <a:pt x="238" y="22"/>
                    <a:pt x="241" y="22"/>
                  </a:cubicBezTo>
                  <a:cubicBezTo>
                    <a:pt x="243" y="22"/>
                    <a:pt x="244" y="23"/>
                    <a:pt x="245" y="23"/>
                  </a:cubicBezTo>
                  <a:cubicBezTo>
                    <a:pt x="246" y="24"/>
                    <a:pt x="246" y="24"/>
                    <a:pt x="246" y="24"/>
                  </a:cubicBezTo>
                  <a:cubicBezTo>
                    <a:pt x="245" y="25"/>
                    <a:pt x="241" y="26"/>
                    <a:pt x="231" y="29"/>
                  </a:cubicBezTo>
                  <a:cubicBezTo>
                    <a:pt x="224" y="30"/>
                    <a:pt x="216" y="32"/>
                    <a:pt x="215" y="33"/>
                  </a:cubicBezTo>
                  <a:cubicBezTo>
                    <a:pt x="215" y="33"/>
                    <a:pt x="215" y="33"/>
                    <a:pt x="215" y="33"/>
                  </a:cubicBezTo>
                  <a:cubicBezTo>
                    <a:pt x="216" y="36"/>
                    <a:pt x="232" y="39"/>
                    <a:pt x="242" y="39"/>
                  </a:cubicBezTo>
                  <a:cubicBezTo>
                    <a:pt x="247" y="39"/>
                    <a:pt x="248" y="38"/>
                    <a:pt x="248" y="38"/>
                  </a:cubicBezTo>
                  <a:cubicBezTo>
                    <a:pt x="248" y="37"/>
                    <a:pt x="249" y="37"/>
                    <a:pt x="250" y="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8" name="Freeform 145"/>
            <p:cNvSpPr>
              <a:spLocks noEditPoints="1"/>
            </p:cNvSpPr>
            <p:nvPr/>
          </p:nvSpPr>
          <p:spPr>
            <a:xfrm>
              <a:off x="9420226" y="1971675"/>
              <a:ext cx="79375" cy="25400"/>
            </a:xfrm>
            <a:custGeom>
              <a:gdLst>
                <a:gd name="T0" fmla="*/ 37 w 47"/>
                <a:gd name="T1" fmla="*/ 15 h 15"/>
                <a:gd name="T2" fmla="*/ 28 w 47"/>
                <a:gd name="T3" fmla="*/ 13 h 15"/>
                <a:gd name="T4" fmla="*/ 14 w 47"/>
                <a:gd name="T5" fmla="*/ 10 h 15"/>
                <a:gd name="T6" fmla="*/ 1 w 47"/>
                <a:gd name="T7" fmla="*/ 7 h 15"/>
                <a:gd name="T8" fmla="*/ 1 w 47"/>
                <a:gd name="T9" fmla="*/ 5 h 15"/>
                <a:gd name="T10" fmla="*/ 11 w 47"/>
                <a:gd name="T11" fmla="*/ 2 h 15"/>
                <a:gd name="T12" fmla="*/ 19 w 47"/>
                <a:gd name="T13" fmla="*/ 1 h 15"/>
                <a:gd name="T14" fmla="*/ 22 w 47"/>
                <a:gd name="T15" fmla="*/ 0 h 15"/>
                <a:gd name="T16" fmla="*/ 37 w 47"/>
                <a:gd name="T17" fmla="*/ 4 h 15"/>
                <a:gd name="T18" fmla="*/ 47 w 47"/>
                <a:gd name="T19" fmla="*/ 10 h 15"/>
                <a:gd name="T20" fmla="*/ 44 w 47"/>
                <a:gd name="T21" fmla="*/ 14 h 15"/>
                <a:gd name="T22" fmla="*/ 37 w 47"/>
                <a:gd name="T23" fmla="*/ 15 h 15"/>
                <a:gd name="T24" fmla="*/ 22 w 47"/>
                <a:gd name="T25" fmla="*/ 1 h 15"/>
                <a:gd name="T26" fmla="*/ 20 w 47"/>
                <a:gd name="T27" fmla="*/ 2 h 15"/>
                <a:gd name="T28" fmla="*/ 12 w 47"/>
                <a:gd name="T29" fmla="*/ 3 h 15"/>
                <a:gd name="T30" fmla="*/ 2 w 47"/>
                <a:gd name="T31" fmla="*/ 6 h 15"/>
                <a:gd name="T32" fmla="*/ 2 w 47"/>
                <a:gd name="T33" fmla="*/ 6 h 15"/>
                <a:gd name="T34" fmla="*/ 14 w 47"/>
                <a:gd name="T35" fmla="*/ 9 h 15"/>
                <a:gd name="T36" fmla="*/ 29 w 47"/>
                <a:gd name="T37" fmla="*/ 12 h 15"/>
                <a:gd name="T38" fmla="*/ 37 w 47"/>
                <a:gd name="T39" fmla="*/ 14 h 15"/>
                <a:gd name="T40" fmla="*/ 43 w 47"/>
                <a:gd name="T41" fmla="*/ 13 h 15"/>
                <a:gd name="T42" fmla="*/ 46 w 47"/>
                <a:gd name="T43" fmla="*/ 10 h 15"/>
                <a:gd name="T44" fmla="*/ 22 w 47"/>
                <a:gd name="T45" fmla="*/ 1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15">
                  <a:moveTo>
                    <a:pt x="37" y="15"/>
                  </a:moveTo>
                  <a:cubicBezTo>
                    <a:pt x="34" y="15"/>
                    <a:pt x="31" y="15"/>
                    <a:pt x="28" y="13"/>
                  </a:cubicBezTo>
                  <a:cubicBezTo>
                    <a:pt x="25" y="11"/>
                    <a:pt x="19" y="11"/>
                    <a:pt x="14" y="10"/>
                  </a:cubicBezTo>
                  <a:cubicBezTo>
                    <a:pt x="8" y="10"/>
                    <a:pt x="3" y="9"/>
                    <a:pt x="1" y="7"/>
                  </a:cubicBezTo>
                  <a:cubicBezTo>
                    <a:pt x="1" y="6"/>
                    <a:pt x="0" y="6"/>
                    <a:pt x="1" y="5"/>
                  </a:cubicBezTo>
                  <a:cubicBezTo>
                    <a:pt x="1" y="3"/>
                    <a:pt x="5" y="3"/>
                    <a:pt x="11" y="2"/>
                  </a:cubicBezTo>
                  <a:cubicBezTo>
                    <a:pt x="15" y="2"/>
                    <a:pt x="18" y="2"/>
                    <a:pt x="19" y="1"/>
                  </a:cubicBezTo>
                  <a:cubicBezTo>
                    <a:pt x="20" y="0"/>
                    <a:pt x="21" y="0"/>
                    <a:pt x="22" y="0"/>
                  </a:cubicBezTo>
                  <a:cubicBezTo>
                    <a:pt x="25" y="0"/>
                    <a:pt x="32" y="2"/>
                    <a:pt x="37" y="4"/>
                  </a:cubicBezTo>
                  <a:cubicBezTo>
                    <a:pt x="40" y="5"/>
                    <a:pt x="47" y="8"/>
                    <a:pt x="47" y="10"/>
                  </a:cubicBezTo>
                  <a:cubicBezTo>
                    <a:pt x="47" y="12"/>
                    <a:pt x="46" y="13"/>
                    <a:pt x="44" y="14"/>
                  </a:cubicBezTo>
                  <a:cubicBezTo>
                    <a:pt x="42" y="15"/>
                    <a:pt x="39" y="15"/>
                    <a:pt x="37" y="15"/>
                  </a:cubicBezTo>
                  <a:close/>
                  <a:moveTo>
                    <a:pt x="22" y="1"/>
                  </a:moveTo>
                  <a:cubicBezTo>
                    <a:pt x="21" y="1"/>
                    <a:pt x="20" y="2"/>
                    <a:pt x="20" y="2"/>
                  </a:cubicBezTo>
                  <a:cubicBezTo>
                    <a:pt x="19" y="3"/>
                    <a:pt x="15" y="3"/>
                    <a:pt x="12" y="3"/>
                  </a:cubicBezTo>
                  <a:cubicBezTo>
                    <a:pt x="8" y="4"/>
                    <a:pt x="2" y="4"/>
                    <a:pt x="2" y="6"/>
                  </a:cubicBezTo>
                  <a:cubicBezTo>
                    <a:pt x="2" y="6"/>
                    <a:pt x="2" y="6"/>
                    <a:pt x="2" y="6"/>
                  </a:cubicBezTo>
                  <a:cubicBezTo>
                    <a:pt x="4" y="8"/>
                    <a:pt x="8" y="9"/>
                    <a:pt x="14" y="9"/>
                  </a:cubicBezTo>
                  <a:cubicBezTo>
                    <a:pt x="19" y="10"/>
                    <a:pt x="25" y="10"/>
                    <a:pt x="29" y="12"/>
                  </a:cubicBezTo>
                  <a:cubicBezTo>
                    <a:pt x="31" y="14"/>
                    <a:pt x="34" y="14"/>
                    <a:pt x="37" y="14"/>
                  </a:cubicBezTo>
                  <a:cubicBezTo>
                    <a:pt x="39" y="14"/>
                    <a:pt x="41" y="14"/>
                    <a:pt x="43" y="13"/>
                  </a:cubicBezTo>
                  <a:cubicBezTo>
                    <a:pt x="45" y="12"/>
                    <a:pt x="46" y="11"/>
                    <a:pt x="46" y="10"/>
                  </a:cubicBezTo>
                  <a:cubicBezTo>
                    <a:pt x="46" y="8"/>
                    <a:pt x="28" y="1"/>
                    <a:pt x="22"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19" name="Freeform 146"/>
            <p:cNvSpPr>
              <a:spLocks noEditPoints="1"/>
            </p:cNvSpPr>
            <p:nvPr/>
          </p:nvSpPr>
          <p:spPr>
            <a:xfrm>
              <a:off x="7953376" y="2598738"/>
              <a:ext cx="423863" cy="417513"/>
            </a:xfrm>
            <a:custGeom>
              <a:gdLst>
                <a:gd name="T0" fmla="*/ 13 w 250"/>
                <a:gd name="T1" fmla="*/ 213 h 246"/>
                <a:gd name="T2" fmla="*/ 7 w 250"/>
                <a:gd name="T3" fmla="*/ 208 h 246"/>
                <a:gd name="T4" fmla="*/ 33 w 250"/>
                <a:gd name="T5" fmla="*/ 211 h 246"/>
                <a:gd name="T6" fmla="*/ 19 w 250"/>
                <a:gd name="T7" fmla="*/ 246 h 246"/>
                <a:gd name="T8" fmla="*/ 15 w 250"/>
                <a:gd name="T9" fmla="*/ 242 h 246"/>
                <a:gd name="T10" fmla="*/ 35 w 250"/>
                <a:gd name="T11" fmla="*/ 221 h 246"/>
                <a:gd name="T12" fmla="*/ 22 w 250"/>
                <a:gd name="T13" fmla="*/ 204 h 246"/>
                <a:gd name="T14" fmla="*/ 6 w 250"/>
                <a:gd name="T15" fmla="*/ 219 h 246"/>
                <a:gd name="T16" fmla="*/ 43 w 250"/>
                <a:gd name="T17" fmla="*/ 208 h 246"/>
                <a:gd name="T18" fmla="*/ 77 w 250"/>
                <a:gd name="T19" fmla="*/ 196 h 246"/>
                <a:gd name="T20" fmla="*/ 63 w 250"/>
                <a:gd name="T21" fmla="*/ 209 h 246"/>
                <a:gd name="T22" fmla="*/ 55 w 250"/>
                <a:gd name="T23" fmla="*/ 199 h 246"/>
                <a:gd name="T24" fmla="*/ 54 w 250"/>
                <a:gd name="T25" fmla="*/ 214 h 246"/>
                <a:gd name="T26" fmla="*/ 69 w 250"/>
                <a:gd name="T27" fmla="*/ 192 h 246"/>
                <a:gd name="T28" fmla="*/ 79 w 250"/>
                <a:gd name="T29" fmla="*/ 187 h 246"/>
                <a:gd name="T30" fmla="*/ 24 w 250"/>
                <a:gd name="T31" fmla="*/ 200 h 246"/>
                <a:gd name="T32" fmla="*/ 52 w 250"/>
                <a:gd name="T33" fmla="*/ 172 h 246"/>
                <a:gd name="T34" fmla="*/ 87 w 250"/>
                <a:gd name="T35" fmla="*/ 171 h 246"/>
                <a:gd name="T36" fmla="*/ 98 w 250"/>
                <a:gd name="T37" fmla="*/ 162 h 246"/>
                <a:gd name="T38" fmla="*/ 116 w 250"/>
                <a:gd name="T39" fmla="*/ 142 h 246"/>
                <a:gd name="T40" fmla="*/ 138 w 250"/>
                <a:gd name="T41" fmla="*/ 136 h 246"/>
                <a:gd name="T42" fmla="*/ 152 w 250"/>
                <a:gd name="T43" fmla="*/ 93 h 246"/>
                <a:gd name="T44" fmla="*/ 179 w 250"/>
                <a:gd name="T45" fmla="*/ 90 h 246"/>
                <a:gd name="T46" fmla="*/ 165 w 250"/>
                <a:gd name="T47" fmla="*/ 164 h 246"/>
                <a:gd name="T48" fmla="*/ 147 w 250"/>
                <a:gd name="T49" fmla="*/ 177 h 246"/>
                <a:gd name="T50" fmla="*/ 129 w 250"/>
                <a:gd name="T51" fmla="*/ 185 h 246"/>
                <a:gd name="T52" fmla="*/ 106 w 250"/>
                <a:gd name="T53" fmla="*/ 188 h 246"/>
                <a:gd name="T54" fmla="*/ 79 w 250"/>
                <a:gd name="T55" fmla="*/ 186 h 246"/>
                <a:gd name="T56" fmla="*/ 100 w 250"/>
                <a:gd name="T57" fmla="*/ 198 h 246"/>
                <a:gd name="T58" fmla="*/ 106 w 250"/>
                <a:gd name="T59" fmla="*/ 183 h 246"/>
                <a:gd name="T60" fmla="*/ 135 w 250"/>
                <a:gd name="T61" fmla="*/ 184 h 246"/>
                <a:gd name="T62" fmla="*/ 152 w 250"/>
                <a:gd name="T63" fmla="*/ 180 h 246"/>
                <a:gd name="T64" fmla="*/ 169 w 250"/>
                <a:gd name="T65" fmla="*/ 133 h 246"/>
                <a:gd name="T66" fmla="*/ 173 w 250"/>
                <a:gd name="T67" fmla="*/ 75 h 246"/>
                <a:gd name="T68" fmla="*/ 152 w 250"/>
                <a:gd name="T69" fmla="*/ 111 h 246"/>
                <a:gd name="T70" fmla="*/ 125 w 250"/>
                <a:gd name="T71" fmla="*/ 146 h 246"/>
                <a:gd name="T72" fmla="*/ 115 w 250"/>
                <a:gd name="T73" fmla="*/ 141 h 246"/>
                <a:gd name="T74" fmla="*/ 96 w 250"/>
                <a:gd name="T75" fmla="*/ 167 h 246"/>
                <a:gd name="T76" fmla="*/ 86 w 250"/>
                <a:gd name="T77" fmla="*/ 170 h 246"/>
                <a:gd name="T78" fmla="*/ 52 w 250"/>
                <a:gd name="T79" fmla="*/ 173 h 246"/>
                <a:gd name="T80" fmla="*/ 25 w 250"/>
                <a:gd name="T81" fmla="*/ 199 h 246"/>
                <a:gd name="T82" fmla="*/ 155 w 250"/>
                <a:gd name="T83" fmla="*/ 72 h 246"/>
                <a:gd name="T84" fmla="*/ 152 w 250"/>
                <a:gd name="T85" fmla="*/ 55 h 246"/>
                <a:gd name="T86" fmla="*/ 174 w 250"/>
                <a:gd name="T87" fmla="*/ 39 h 246"/>
                <a:gd name="T88" fmla="*/ 180 w 250"/>
                <a:gd name="T89" fmla="*/ 9 h 246"/>
                <a:gd name="T90" fmla="*/ 221 w 250"/>
                <a:gd name="T91" fmla="*/ 27 h 246"/>
                <a:gd name="T92" fmla="*/ 244 w 250"/>
                <a:gd name="T93" fmla="*/ 21 h 246"/>
                <a:gd name="T94" fmla="*/ 234 w 250"/>
                <a:gd name="T95" fmla="*/ 38 h 246"/>
                <a:gd name="T96" fmla="*/ 201 w 250"/>
                <a:gd name="T97" fmla="*/ 62 h 246"/>
                <a:gd name="T98" fmla="*/ 166 w 250"/>
                <a:gd name="T99" fmla="*/ 54 h 246"/>
                <a:gd name="T100" fmla="*/ 169 w 250"/>
                <a:gd name="T101" fmla="*/ 67 h 246"/>
                <a:gd name="T102" fmla="*/ 184 w 250"/>
                <a:gd name="T103" fmla="*/ 1 h 246"/>
                <a:gd name="T104" fmla="*/ 177 w 250"/>
                <a:gd name="T105" fmla="*/ 31 h 246"/>
                <a:gd name="T106" fmla="*/ 161 w 250"/>
                <a:gd name="T107" fmla="*/ 45 h 246"/>
                <a:gd name="T108" fmla="*/ 155 w 250"/>
                <a:gd name="T109" fmla="*/ 70 h 246"/>
                <a:gd name="T110" fmla="*/ 167 w 250"/>
                <a:gd name="T111" fmla="*/ 66 h 246"/>
                <a:gd name="T112" fmla="*/ 163 w 250"/>
                <a:gd name="T113" fmla="*/ 52 h 246"/>
                <a:gd name="T114" fmla="*/ 196 w 250"/>
                <a:gd name="T115" fmla="*/ 58 h 246"/>
                <a:gd name="T116" fmla="*/ 233 w 250"/>
                <a:gd name="T117" fmla="*/ 39 h 246"/>
                <a:gd name="T118" fmla="*/ 245 w 250"/>
                <a:gd name="T119" fmla="*/ 22 h 246"/>
                <a:gd name="T120" fmla="*/ 222 w 250"/>
                <a:gd name="T121" fmla="*/ 28 h 2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 h="246">
                  <a:moveTo>
                    <a:pt x="19" y="246"/>
                  </a:moveTo>
                  <a:cubicBezTo>
                    <a:pt x="19" y="246"/>
                    <a:pt x="19" y="246"/>
                    <a:pt x="19" y="246"/>
                  </a:cubicBezTo>
                  <a:cubicBezTo>
                    <a:pt x="17" y="246"/>
                    <a:pt x="15" y="245"/>
                    <a:pt x="14" y="243"/>
                  </a:cubicBezTo>
                  <a:cubicBezTo>
                    <a:pt x="12" y="239"/>
                    <a:pt x="11" y="233"/>
                    <a:pt x="13" y="228"/>
                  </a:cubicBezTo>
                  <a:cubicBezTo>
                    <a:pt x="16" y="222"/>
                    <a:pt x="15" y="216"/>
                    <a:pt x="13" y="213"/>
                  </a:cubicBezTo>
                  <a:cubicBezTo>
                    <a:pt x="13" y="213"/>
                    <a:pt x="13" y="213"/>
                    <a:pt x="13" y="213"/>
                  </a:cubicBezTo>
                  <a:cubicBezTo>
                    <a:pt x="12" y="213"/>
                    <a:pt x="12" y="213"/>
                    <a:pt x="12" y="213"/>
                  </a:cubicBezTo>
                  <a:cubicBezTo>
                    <a:pt x="11" y="217"/>
                    <a:pt x="8" y="220"/>
                    <a:pt x="6" y="220"/>
                  </a:cubicBezTo>
                  <a:cubicBezTo>
                    <a:pt x="5" y="220"/>
                    <a:pt x="4" y="219"/>
                    <a:pt x="3" y="218"/>
                  </a:cubicBezTo>
                  <a:cubicBezTo>
                    <a:pt x="0" y="213"/>
                    <a:pt x="2" y="212"/>
                    <a:pt x="7" y="208"/>
                  </a:cubicBezTo>
                  <a:cubicBezTo>
                    <a:pt x="8" y="208"/>
                    <a:pt x="8" y="207"/>
                    <a:pt x="9" y="207"/>
                  </a:cubicBezTo>
                  <a:cubicBezTo>
                    <a:pt x="13" y="204"/>
                    <a:pt x="18" y="202"/>
                    <a:pt x="20" y="202"/>
                  </a:cubicBezTo>
                  <a:cubicBezTo>
                    <a:pt x="22" y="202"/>
                    <a:pt x="23" y="203"/>
                    <a:pt x="23" y="204"/>
                  </a:cubicBezTo>
                  <a:cubicBezTo>
                    <a:pt x="23" y="206"/>
                    <a:pt x="25" y="206"/>
                    <a:pt x="28" y="207"/>
                  </a:cubicBezTo>
                  <a:cubicBezTo>
                    <a:pt x="30" y="208"/>
                    <a:pt x="33" y="209"/>
                    <a:pt x="33" y="211"/>
                  </a:cubicBezTo>
                  <a:cubicBezTo>
                    <a:pt x="33" y="213"/>
                    <a:pt x="34" y="213"/>
                    <a:pt x="36" y="214"/>
                  </a:cubicBezTo>
                  <a:cubicBezTo>
                    <a:pt x="37" y="214"/>
                    <a:pt x="38" y="215"/>
                    <a:pt x="38" y="216"/>
                  </a:cubicBezTo>
                  <a:cubicBezTo>
                    <a:pt x="39" y="217"/>
                    <a:pt x="38" y="219"/>
                    <a:pt x="36" y="221"/>
                  </a:cubicBezTo>
                  <a:cubicBezTo>
                    <a:pt x="33" y="225"/>
                    <a:pt x="31" y="229"/>
                    <a:pt x="28" y="234"/>
                  </a:cubicBezTo>
                  <a:cubicBezTo>
                    <a:pt x="25" y="240"/>
                    <a:pt x="22" y="245"/>
                    <a:pt x="19" y="246"/>
                  </a:cubicBezTo>
                  <a:cubicBezTo>
                    <a:pt x="19" y="246"/>
                    <a:pt x="19" y="246"/>
                    <a:pt x="19" y="246"/>
                  </a:cubicBezTo>
                  <a:close/>
                  <a:moveTo>
                    <a:pt x="13" y="212"/>
                  </a:moveTo>
                  <a:cubicBezTo>
                    <a:pt x="13" y="212"/>
                    <a:pt x="14" y="212"/>
                    <a:pt x="14" y="213"/>
                  </a:cubicBezTo>
                  <a:cubicBezTo>
                    <a:pt x="16" y="215"/>
                    <a:pt x="17" y="222"/>
                    <a:pt x="14" y="228"/>
                  </a:cubicBezTo>
                  <a:cubicBezTo>
                    <a:pt x="12" y="233"/>
                    <a:pt x="13" y="239"/>
                    <a:pt x="15" y="242"/>
                  </a:cubicBezTo>
                  <a:cubicBezTo>
                    <a:pt x="16" y="244"/>
                    <a:pt x="17" y="245"/>
                    <a:pt x="19" y="245"/>
                  </a:cubicBezTo>
                  <a:cubicBezTo>
                    <a:pt x="19" y="245"/>
                    <a:pt x="19" y="245"/>
                    <a:pt x="19" y="245"/>
                  </a:cubicBezTo>
                  <a:cubicBezTo>
                    <a:pt x="19" y="245"/>
                    <a:pt x="19" y="245"/>
                    <a:pt x="19" y="245"/>
                  </a:cubicBezTo>
                  <a:cubicBezTo>
                    <a:pt x="21" y="245"/>
                    <a:pt x="24" y="239"/>
                    <a:pt x="28" y="233"/>
                  </a:cubicBezTo>
                  <a:cubicBezTo>
                    <a:pt x="30" y="229"/>
                    <a:pt x="32" y="224"/>
                    <a:pt x="35" y="221"/>
                  </a:cubicBezTo>
                  <a:cubicBezTo>
                    <a:pt x="37" y="219"/>
                    <a:pt x="38" y="217"/>
                    <a:pt x="37" y="216"/>
                  </a:cubicBezTo>
                  <a:cubicBezTo>
                    <a:pt x="37" y="215"/>
                    <a:pt x="36" y="215"/>
                    <a:pt x="35" y="215"/>
                  </a:cubicBezTo>
                  <a:cubicBezTo>
                    <a:pt x="34" y="214"/>
                    <a:pt x="32" y="213"/>
                    <a:pt x="32" y="211"/>
                  </a:cubicBezTo>
                  <a:cubicBezTo>
                    <a:pt x="32" y="210"/>
                    <a:pt x="30" y="209"/>
                    <a:pt x="27" y="208"/>
                  </a:cubicBezTo>
                  <a:cubicBezTo>
                    <a:pt x="25" y="207"/>
                    <a:pt x="22" y="206"/>
                    <a:pt x="22" y="204"/>
                  </a:cubicBezTo>
                  <a:cubicBezTo>
                    <a:pt x="22" y="204"/>
                    <a:pt x="22" y="203"/>
                    <a:pt x="20" y="203"/>
                  </a:cubicBezTo>
                  <a:cubicBezTo>
                    <a:pt x="18" y="203"/>
                    <a:pt x="14" y="205"/>
                    <a:pt x="10" y="208"/>
                  </a:cubicBezTo>
                  <a:cubicBezTo>
                    <a:pt x="9" y="208"/>
                    <a:pt x="8" y="208"/>
                    <a:pt x="8" y="209"/>
                  </a:cubicBezTo>
                  <a:cubicBezTo>
                    <a:pt x="3" y="212"/>
                    <a:pt x="2" y="213"/>
                    <a:pt x="4" y="217"/>
                  </a:cubicBezTo>
                  <a:cubicBezTo>
                    <a:pt x="4" y="218"/>
                    <a:pt x="5" y="219"/>
                    <a:pt x="6" y="219"/>
                  </a:cubicBezTo>
                  <a:cubicBezTo>
                    <a:pt x="8" y="219"/>
                    <a:pt x="10" y="217"/>
                    <a:pt x="11" y="213"/>
                  </a:cubicBezTo>
                  <a:cubicBezTo>
                    <a:pt x="11" y="212"/>
                    <a:pt x="12" y="212"/>
                    <a:pt x="13" y="212"/>
                  </a:cubicBezTo>
                  <a:close/>
                  <a:moveTo>
                    <a:pt x="50" y="219"/>
                  </a:moveTo>
                  <a:cubicBezTo>
                    <a:pt x="49" y="219"/>
                    <a:pt x="48" y="219"/>
                    <a:pt x="46" y="218"/>
                  </a:cubicBezTo>
                  <a:cubicBezTo>
                    <a:pt x="43" y="217"/>
                    <a:pt x="42" y="212"/>
                    <a:pt x="43" y="208"/>
                  </a:cubicBezTo>
                  <a:cubicBezTo>
                    <a:pt x="43" y="204"/>
                    <a:pt x="45" y="199"/>
                    <a:pt x="48" y="198"/>
                  </a:cubicBezTo>
                  <a:cubicBezTo>
                    <a:pt x="51" y="198"/>
                    <a:pt x="53" y="198"/>
                    <a:pt x="55" y="198"/>
                  </a:cubicBezTo>
                  <a:cubicBezTo>
                    <a:pt x="58" y="197"/>
                    <a:pt x="61" y="197"/>
                    <a:pt x="62" y="195"/>
                  </a:cubicBezTo>
                  <a:cubicBezTo>
                    <a:pt x="63" y="192"/>
                    <a:pt x="66" y="191"/>
                    <a:pt x="69" y="191"/>
                  </a:cubicBezTo>
                  <a:cubicBezTo>
                    <a:pt x="73" y="191"/>
                    <a:pt x="77" y="193"/>
                    <a:pt x="77" y="196"/>
                  </a:cubicBezTo>
                  <a:cubicBezTo>
                    <a:pt x="77" y="199"/>
                    <a:pt x="76" y="203"/>
                    <a:pt x="75" y="205"/>
                  </a:cubicBezTo>
                  <a:cubicBezTo>
                    <a:pt x="73" y="208"/>
                    <a:pt x="71" y="210"/>
                    <a:pt x="68" y="210"/>
                  </a:cubicBezTo>
                  <a:cubicBezTo>
                    <a:pt x="68" y="210"/>
                    <a:pt x="68" y="210"/>
                    <a:pt x="68" y="210"/>
                  </a:cubicBezTo>
                  <a:cubicBezTo>
                    <a:pt x="67" y="210"/>
                    <a:pt x="67" y="210"/>
                    <a:pt x="67" y="210"/>
                  </a:cubicBezTo>
                  <a:cubicBezTo>
                    <a:pt x="66" y="209"/>
                    <a:pt x="64" y="209"/>
                    <a:pt x="63" y="209"/>
                  </a:cubicBezTo>
                  <a:cubicBezTo>
                    <a:pt x="60" y="209"/>
                    <a:pt x="56" y="211"/>
                    <a:pt x="55" y="214"/>
                  </a:cubicBezTo>
                  <a:cubicBezTo>
                    <a:pt x="54" y="218"/>
                    <a:pt x="53" y="219"/>
                    <a:pt x="50" y="219"/>
                  </a:cubicBezTo>
                  <a:close/>
                  <a:moveTo>
                    <a:pt x="69" y="192"/>
                  </a:moveTo>
                  <a:cubicBezTo>
                    <a:pt x="66" y="192"/>
                    <a:pt x="63" y="193"/>
                    <a:pt x="63" y="195"/>
                  </a:cubicBezTo>
                  <a:cubicBezTo>
                    <a:pt x="61" y="198"/>
                    <a:pt x="58" y="198"/>
                    <a:pt x="55" y="199"/>
                  </a:cubicBezTo>
                  <a:cubicBezTo>
                    <a:pt x="53" y="199"/>
                    <a:pt x="51" y="199"/>
                    <a:pt x="49" y="199"/>
                  </a:cubicBezTo>
                  <a:cubicBezTo>
                    <a:pt x="45" y="200"/>
                    <a:pt x="44" y="204"/>
                    <a:pt x="44" y="208"/>
                  </a:cubicBezTo>
                  <a:cubicBezTo>
                    <a:pt x="43" y="213"/>
                    <a:pt x="44" y="217"/>
                    <a:pt x="47" y="217"/>
                  </a:cubicBezTo>
                  <a:cubicBezTo>
                    <a:pt x="48" y="218"/>
                    <a:pt x="49" y="218"/>
                    <a:pt x="50" y="218"/>
                  </a:cubicBezTo>
                  <a:cubicBezTo>
                    <a:pt x="51" y="218"/>
                    <a:pt x="53" y="218"/>
                    <a:pt x="54" y="214"/>
                  </a:cubicBezTo>
                  <a:cubicBezTo>
                    <a:pt x="55" y="210"/>
                    <a:pt x="59" y="208"/>
                    <a:pt x="63" y="208"/>
                  </a:cubicBezTo>
                  <a:cubicBezTo>
                    <a:pt x="65" y="208"/>
                    <a:pt x="66" y="208"/>
                    <a:pt x="67" y="209"/>
                  </a:cubicBezTo>
                  <a:cubicBezTo>
                    <a:pt x="69" y="210"/>
                    <a:pt x="72" y="208"/>
                    <a:pt x="74" y="205"/>
                  </a:cubicBezTo>
                  <a:cubicBezTo>
                    <a:pt x="75" y="202"/>
                    <a:pt x="76" y="199"/>
                    <a:pt x="76" y="196"/>
                  </a:cubicBezTo>
                  <a:cubicBezTo>
                    <a:pt x="76" y="193"/>
                    <a:pt x="73" y="192"/>
                    <a:pt x="69" y="192"/>
                  </a:cubicBezTo>
                  <a:close/>
                  <a:moveTo>
                    <a:pt x="89" y="205"/>
                  </a:moveTo>
                  <a:cubicBezTo>
                    <a:pt x="86" y="205"/>
                    <a:pt x="83" y="203"/>
                    <a:pt x="83" y="199"/>
                  </a:cubicBezTo>
                  <a:cubicBezTo>
                    <a:pt x="83" y="197"/>
                    <a:pt x="83" y="195"/>
                    <a:pt x="84" y="193"/>
                  </a:cubicBezTo>
                  <a:cubicBezTo>
                    <a:pt x="84" y="191"/>
                    <a:pt x="85" y="189"/>
                    <a:pt x="84" y="188"/>
                  </a:cubicBezTo>
                  <a:cubicBezTo>
                    <a:pt x="83" y="187"/>
                    <a:pt x="82" y="187"/>
                    <a:pt x="79" y="187"/>
                  </a:cubicBezTo>
                  <a:cubicBezTo>
                    <a:pt x="78" y="187"/>
                    <a:pt x="78" y="187"/>
                    <a:pt x="77" y="187"/>
                  </a:cubicBezTo>
                  <a:cubicBezTo>
                    <a:pt x="64" y="187"/>
                    <a:pt x="43" y="192"/>
                    <a:pt x="41" y="196"/>
                  </a:cubicBezTo>
                  <a:cubicBezTo>
                    <a:pt x="40" y="198"/>
                    <a:pt x="36" y="198"/>
                    <a:pt x="33" y="199"/>
                  </a:cubicBezTo>
                  <a:cubicBezTo>
                    <a:pt x="30" y="199"/>
                    <a:pt x="27" y="199"/>
                    <a:pt x="25" y="200"/>
                  </a:cubicBezTo>
                  <a:cubicBezTo>
                    <a:pt x="24" y="200"/>
                    <a:pt x="24" y="200"/>
                    <a:pt x="24" y="200"/>
                  </a:cubicBezTo>
                  <a:cubicBezTo>
                    <a:pt x="22" y="200"/>
                    <a:pt x="21" y="198"/>
                    <a:pt x="20" y="195"/>
                  </a:cubicBezTo>
                  <a:cubicBezTo>
                    <a:pt x="20" y="193"/>
                    <a:pt x="22" y="191"/>
                    <a:pt x="25" y="190"/>
                  </a:cubicBezTo>
                  <a:cubicBezTo>
                    <a:pt x="32" y="189"/>
                    <a:pt x="40" y="180"/>
                    <a:pt x="46" y="175"/>
                  </a:cubicBezTo>
                  <a:cubicBezTo>
                    <a:pt x="47" y="174"/>
                    <a:pt x="47" y="174"/>
                    <a:pt x="47" y="174"/>
                  </a:cubicBezTo>
                  <a:cubicBezTo>
                    <a:pt x="48" y="172"/>
                    <a:pt x="50" y="172"/>
                    <a:pt x="52" y="172"/>
                  </a:cubicBezTo>
                  <a:cubicBezTo>
                    <a:pt x="53" y="172"/>
                    <a:pt x="55" y="172"/>
                    <a:pt x="57" y="172"/>
                  </a:cubicBezTo>
                  <a:cubicBezTo>
                    <a:pt x="59" y="173"/>
                    <a:pt x="61" y="173"/>
                    <a:pt x="63" y="173"/>
                  </a:cubicBezTo>
                  <a:cubicBezTo>
                    <a:pt x="65" y="173"/>
                    <a:pt x="67" y="173"/>
                    <a:pt x="69" y="172"/>
                  </a:cubicBezTo>
                  <a:cubicBezTo>
                    <a:pt x="79" y="168"/>
                    <a:pt x="85" y="167"/>
                    <a:pt x="86" y="169"/>
                  </a:cubicBezTo>
                  <a:cubicBezTo>
                    <a:pt x="87" y="169"/>
                    <a:pt x="87" y="170"/>
                    <a:pt x="87" y="171"/>
                  </a:cubicBezTo>
                  <a:cubicBezTo>
                    <a:pt x="87" y="171"/>
                    <a:pt x="87" y="171"/>
                    <a:pt x="87" y="171"/>
                  </a:cubicBezTo>
                  <a:cubicBezTo>
                    <a:pt x="87" y="172"/>
                    <a:pt x="88" y="172"/>
                    <a:pt x="89" y="172"/>
                  </a:cubicBezTo>
                  <a:cubicBezTo>
                    <a:pt x="92" y="172"/>
                    <a:pt x="94" y="171"/>
                    <a:pt x="95" y="170"/>
                  </a:cubicBezTo>
                  <a:cubicBezTo>
                    <a:pt x="95" y="169"/>
                    <a:pt x="95" y="168"/>
                    <a:pt x="95" y="168"/>
                  </a:cubicBezTo>
                  <a:cubicBezTo>
                    <a:pt x="93" y="166"/>
                    <a:pt x="96" y="164"/>
                    <a:pt x="98" y="162"/>
                  </a:cubicBezTo>
                  <a:cubicBezTo>
                    <a:pt x="101" y="160"/>
                    <a:pt x="104" y="158"/>
                    <a:pt x="104" y="153"/>
                  </a:cubicBezTo>
                  <a:cubicBezTo>
                    <a:pt x="104" y="149"/>
                    <a:pt x="106" y="146"/>
                    <a:pt x="108" y="144"/>
                  </a:cubicBezTo>
                  <a:cubicBezTo>
                    <a:pt x="110" y="141"/>
                    <a:pt x="113" y="140"/>
                    <a:pt x="115" y="140"/>
                  </a:cubicBezTo>
                  <a:cubicBezTo>
                    <a:pt x="116" y="140"/>
                    <a:pt x="116" y="140"/>
                    <a:pt x="116" y="140"/>
                  </a:cubicBezTo>
                  <a:cubicBezTo>
                    <a:pt x="116" y="141"/>
                    <a:pt x="116" y="141"/>
                    <a:pt x="116" y="142"/>
                  </a:cubicBezTo>
                  <a:cubicBezTo>
                    <a:pt x="115" y="143"/>
                    <a:pt x="115" y="145"/>
                    <a:pt x="116" y="146"/>
                  </a:cubicBezTo>
                  <a:cubicBezTo>
                    <a:pt x="117" y="147"/>
                    <a:pt x="118" y="148"/>
                    <a:pt x="119" y="148"/>
                  </a:cubicBezTo>
                  <a:cubicBezTo>
                    <a:pt x="121" y="148"/>
                    <a:pt x="123" y="147"/>
                    <a:pt x="124" y="146"/>
                  </a:cubicBezTo>
                  <a:cubicBezTo>
                    <a:pt x="127" y="143"/>
                    <a:pt x="130" y="142"/>
                    <a:pt x="132" y="141"/>
                  </a:cubicBezTo>
                  <a:cubicBezTo>
                    <a:pt x="135" y="140"/>
                    <a:pt x="137" y="139"/>
                    <a:pt x="138" y="136"/>
                  </a:cubicBezTo>
                  <a:cubicBezTo>
                    <a:pt x="138" y="133"/>
                    <a:pt x="140" y="131"/>
                    <a:pt x="142" y="130"/>
                  </a:cubicBezTo>
                  <a:cubicBezTo>
                    <a:pt x="144" y="128"/>
                    <a:pt x="147" y="126"/>
                    <a:pt x="147" y="122"/>
                  </a:cubicBezTo>
                  <a:cubicBezTo>
                    <a:pt x="146" y="117"/>
                    <a:pt x="149" y="114"/>
                    <a:pt x="152" y="110"/>
                  </a:cubicBezTo>
                  <a:cubicBezTo>
                    <a:pt x="154" y="107"/>
                    <a:pt x="156" y="104"/>
                    <a:pt x="154" y="103"/>
                  </a:cubicBezTo>
                  <a:cubicBezTo>
                    <a:pt x="152" y="101"/>
                    <a:pt x="151" y="97"/>
                    <a:pt x="152" y="93"/>
                  </a:cubicBezTo>
                  <a:cubicBezTo>
                    <a:pt x="152" y="89"/>
                    <a:pt x="154" y="84"/>
                    <a:pt x="157" y="82"/>
                  </a:cubicBezTo>
                  <a:cubicBezTo>
                    <a:pt x="158" y="82"/>
                    <a:pt x="159" y="81"/>
                    <a:pt x="160" y="80"/>
                  </a:cubicBezTo>
                  <a:cubicBezTo>
                    <a:pt x="164" y="78"/>
                    <a:pt x="170" y="74"/>
                    <a:pt x="173" y="74"/>
                  </a:cubicBezTo>
                  <a:cubicBezTo>
                    <a:pt x="174" y="74"/>
                    <a:pt x="176" y="75"/>
                    <a:pt x="176" y="78"/>
                  </a:cubicBezTo>
                  <a:cubicBezTo>
                    <a:pt x="176" y="80"/>
                    <a:pt x="178" y="85"/>
                    <a:pt x="179" y="90"/>
                  </a:cubicBezTo>
                  <a:cubicBezTo>
                    <a:pt x="183" y="101"/>
                    <a:pt x="187" y="113"/>
                    <a:pt x="183" y="117"/>
                  </a:cubicBezTo>
                  <a:cubicBezTo>
                    <a:pt x="181" y="118"/>
                    <a:pt x="179" y="120"/>
                    <a:pt x="177" y="121"/>
                  </a:cubicBezTo>
                  <a:cubicBezTo>
                    <a:pt x="172" y="125"/>
                    <a:pt x="167" y="128"/>
                    <a:pt x="169" y="132"/>
                  </a:cubicBezTo>
                  <a:cubicBezTo>
                    <a:pt x="173" y="139"/>
                    <a:pt x="169" y="150"/>
                    <a:pt x="166" y="155"/>
                  </a:cubicBezTo>
                  <a:cubicBezTo>
                    <a:pt x="164" y="157"/>
                    <a:pt x="165" y="160"/>
                    <a:pt x="165" y="164"/>
                  </a:cubicBezTo>
                  <a:cubicBezTo>
                    <a:pt x="165" y="168"/>
                    <a:pt x="165" y="172"/>
                    <a:pt x="162" y="176"/>
                  </a:cubicBezTo>
                  <a:cubicBezTo>
                    <a:pt x="159" y="179"/>
                    <a:pt x="155" y="181"/>
                    <a:pt x="152" y="181"/>
                  </a:cubicBezTo>
                  <a:cubicBezTo>
                    <a:pt x="152" y="181"/>
                    <a:pt x="152" y="181"/>
                    <a:pt x="152" y="181"/>
                  </a:cubicBezTo>
                  <a:cubicBezTo>
                    <a:pt x="149" y="181"/>
                    <a:pt x="148" y="180"/>
                    <a:pt x="147" y="178"/>
                  </a:cubicBezTo>
                  <a:cubicBezTo>
                    <a:pt x="147" y="177"/>
                    <a:pt x="147" y="177"/>
                    <a:pt x="147" y="177"/>
                  </a:cubicBezTo>
                  <a:cubicBezTo>
                    <a:pt x="147" y="178"/>
                    <a:pt x="147" y="178"/>
                    <a:pt x="146" y="179"/>
                  </a:cubicBezTo>
                  <a:cubicBezTo>
                    <a:pt x="145" y="182"/>
                    <a:pt x="143" y="186"/>
                    <a:pt x="139" y="187"/>
                  </a:cubicBezTo>
                  <a:cubicBezTo>
                    <a:pt x="137" y="187"/>
                    <a:pt x="135" y="185"/>
                    <a:pt x="134" y="184"/>
                  </a:cubicBezTo>
                  <a:cubicBezTo>
                    <a:pt x="133" y="184"/>
                    <a:pt x="133" y="183"/>
                    <a:pt x="132" y="183"/>
                  </a:cubicBezTo>
                  <a:cubicBezTo>
                    <a:pt x="131" y="183"/>
                    <a:pt x="130" y="184"/>
                    <a:pt x="129" y="185"/>
                  </a:cubicBezTo>
                  <a:cubicBezTo>
                    <a:pt x="127" y="189"/>
                    <a:pt x="123" y="191"/>
                    <a:pt x="119" y="191"/>
                  </a:cubicBezTo>
                  <a:cubicBezTo>
                    <a:pt x="115" y="191"/>
                    <a:pt x="111" y="189"/>
                    <a:pt x="110" y="187"/>
                  </a:cubicBezTo>
                  <a:cubicBezTo>
                    <a:pt x="109" y="185"/>
                    <a:pt x="107" y="184"/>
                    <a:pt x="106" y="184"/>
                  </a:cubicBezTo>
                  <a:cubicBezTo>
                    <a:pt x="105" y="184"/>
                    <a:pt x="105" y="185"/>
                    <a:pt x="104" y="185"/>
                  </a:cubicBezTo>
                  <a:cubicBezTo>
                    <a:pt x="104" y="186"/>
                    <a:pt x="105" y="187"/>
                    <a:pt x="106" y="188"/>
                  </a:cubicBezTo>
                  <a:cubicBezTo>
                    <a:pt x="108" y="190"/>
                    <a:pt x="108" y="190"/>
                    <a:pt x="108" y="191"/>
                  </a:cubicBezTo>
                  <a:cubicBezTo>
                    <a:pt x="108" y="192"/>
                    <a:pt x="107" y="193"/>
                    <a:pt x="106" y="194"/>
                  </a:cubicBezTo>
                  <a:cubicBezTo>
                    <a:pt x="105" y="195"/>
                    <a:pt x="103" y="197"/>
                    <a:pt x="101" y="199"/>
                  </a:cubicBezTo>
                  <a:cubicBezTo>
                    <a:pt x="98" y="202"/>
                    <a:pt x="93" y="205"/>
                    <a:pt x="89" y="205"/>
                  </a:cubicBezTo>
                  <a:close/>
                  <a:moveTo>
                    <a:pt x="79" y="186"/>
                  </a:moveTo>
                  <a:cubicBezTo>
                    <a:pt x="82" y="186"/>
                    <a:pt x="84" y="187"/>
                    <a:pt x="85" y="188"/>
                  </a:cubicBezTo>
                  <a:cubicBezTo>
                    <a:pt x="86" y="189"/>
                    <a:pt x="85" y="191"/>
                    <a:pt x="85" y="193"/>
                  </a:cubicBezTo>
                  <a:cubicBezTo>
                    <a:pt x="84" y="195"/>
                    <a:pt x="84" y="197"/>
                    <a:pt x="84" y="199"/>
                  </a:cubicBezTo>
                  <a:cubicBezTo>
                    <a:pt x="84" y="202"/>
                    <a:pt x="86" y="204"/>
                    <a:pt x="89" y="204"/>
                  </a:cubicBezTo>
                  <a:cubicBezTo>
                    <a:pt x="93" y="204"/>
                    <a:pt x="97" y="201"/>
                    <a:pt x="100" y="198"/>
                  </a:cubicBezTo>
                  <a:cubicBezTo>
                    <a:pt x="102" y="196"/>
                    <a:pt x="104" y="195"/>
                    <a:pt x="105" y="194"/>
                  </a:cubicBezTo>
                  <a:cubicBezTo>
                    <a:pt x="106" y="193"/>
                    <a:pt x="107" y="192"/>
                    <a:pt x="107" y="191"/>
                  </a:cubicBezTo>
                  <a:cubicBezTo>
                    <a:pt x="107" y="191"/>
                    <a:pt x="107" y="190"/>
                    <a:pt x="105" y="189"/>
                  </a:cubicBezTo>
                  <a:cubicBezTo>
                    <a:pt x="103" y="187"/>
                    <a:pt x="103" y="186"/>
                    <a:pt x="104" y="185"/>
                  </a:cubicBezTo>
                  <a:cubicBezTo>
                    <a:pt x="104" y="184"/>
                    <a:pt x="105" y="183"/>
                    <a:pt x="106" y="183"/>
                  </a:cubicBezTo>
                  <a:cubicBezTo>
                    <a:pt x="108" y="183"/>
                    <a:pt x="109" y="184"/>
                    <a:pt x="110" y="186"/>
                  </a:cubicBezTo>
                  <a:cubicBezTo>
                    <a:pt x="112" y="188"/>
                    <a:pt x="115" y="190"/>
                    <a:pt x="119" y="190"/>
                  </a:cubicBezTo>
                  <a:cubicBezTo>
                    <a:pt x="123" y="190"/>
                    <a:pt x="126" y="188"/>
                    <a:pt x="128" y="185"/>
                  </a:cubicBezTo>
                  <a:cubicBezTo>
                    <a:pt x="129" y="183"/>
                    <a:pt x="131" y="182"/>
                    <a:pt x="132" y="182"/>
                  </a:cubicBezTo>
                  <a:cubicBezTo>
                    <a:pt x="133" y="182"/>
                    <a:pt x="134" y="183"/>
                    <a:pt x="135" y="184"/>
                  </a:cubicBezTo>
                  <a:cubicBezTo>
                    <a:pt x="136" y="185"/>
                    <a:pt x="137" y="186"/>
                    <a:pt x="139" y="186"/>
                  </a:cubicBezTo>
                  <a:cubicBezTo>
                    <a:pt x="142" y="185"/>
                    <a:pt x="144" y="181"/>
                    <a:pt x="145" y="179"/>
                  </a:cubicBezTo>
                  <a:cubicBezTo>
                    <a:pt x="147" y="177"/>
                    <a:pt x="147" y="176"/>
                    <a:pt x="148" y="176"/>
                  </a:cubicBezTo>
                  <a:cubicBezTo>
                    <a:pt x="148" y="177"/>
                    <a:pt x="148" y="177"/>
                    <a:pt x="148" y="177"/>
                  </a:cubicBezTo>
                  <a:cubicBezTo>
                    <a:pt x="149" y="180"/>
                    <a:pt x="151" y="180"/>
                    <a:pt x="152" y="180"/>
                  </a:cubicBezTo>
                  <a:cubicBezTo>
                    <a:pt x="152" y="180"/>
                    <a:pt x="152" y="180"/>
                    <a:pt x="152" y="180"/>
                  </a:cubicBezTo>
                  <a:cubicBezTo>
                    <a:pt x="154" y="180"/>
                    <a:pt x="158" y="178"/>
                    <a:pt x="161" y="175"/>
                  </a:cubicBezTo>
                  <a:cubicBezTo>
                    <a:pt x="164" y="172"/>
                    <a:pt x="164" y="168"/>
                    <a:pt x="164" y="164"/>
                  </a:cubicBezTo>
                  <a:cubicBezTo>
                    <a:pt x="164" y="160"/>
                    <a:pt x="163" y="157"/>
                    <a:pt x="165" y="154"/>
                  </a:cubicBezTo>
                  <a:cubicBezTo>
                    <a:pt x="169" y="149"/>
                    <a:pt x="172" y="139"/>
                    <a:pt x="169" y="133"/>
                  </a:cubicBezTo>
                  <a:cubicBezTo>
                    <a:pt x="166" y="128"/>
                    <a:pt x="171" y="124"/>
                    <a:pt x="176" y="120"/>
                  </a:cubicBezTo>
                  <a:cubicBezTo>
                    <a:pt x="178" y="119"/>
                    <a:pt x="180" y="117"/>
                    <a:pt x="182" y="116"/>
                  </a:cubicBezTo>
                  <a:cubicBezTo>
                    <a:pt x="185" y="113"/>
                    <a:pt x="181" y="101"/>
                    <a:pt x="178" y="91"/>
                  </a:cubicBezTo>
                  <a:cubicBezTo>
                    <a:pt x="177" y="85"/>
                    <a:pt x="175" y="80"/>
                    <a:pt x="175" y="78"/>
                  </a:cubicBezTo>
                  <a:cubicBezTo>
                    <a:pt x="175" y="76"/>
                    <a:pt x="174" y="75"/>
                    <a:pt x="173" y="75"/>
                  </a:cubicBezTo>
                  <a:cubicBezTo>
                    <a:pt x="170" y="75"/>
                    <a:pt x="165" y="79"/>
                    <a:pt x="161" y="81"/>
                  </a:cubicBezTo>
                  <a:cubicBezTo>
                    <a:pt x="159" y="82"/>
                    <a:pt x="158" y="83"/>
                    <a:pt x="157" y="83"/>
                  </a:cubicBezTo>
                  <a:cubicBezTo>
                    <a:pt x="155" y="84"/>
                    <a:pt x="153" y="89"/>
                    <a:pt x="153" y="93"/>
                  </a:cubicBezTo>
                  <a:cubicBezTo>
                    <a:pt x="152" y="97"/>
                    <a:pt x="153" y="100"/>
                    <a:pt x="155" y="102"/>
                  </a:cubicBezTo>
                  <a:cubicBezTo>
                    <a:pt x="157" y="104"/>
                    <a:pt x="155" y="107"/>
                    <a:pt x="152" y="111"/>
                  </a:cubicBezTo>
                  <a:cubicBezTo>
                    <a:pt x="150" y="114"/>
                    <a:pt x="147" y="118"/>
                    <a:pt x="148" y="122"/>
                  </a:cubicBezTo>
                  <a:cubicBezTo>
                    <a:pt x="148" y="126"/>
                    <a:pt x="145" y="129"/>
                    <a:pt x="143" y="131"/>
                  </a:cubicBezTo>
                  <a:cubicBezTo>
                    <a:pt x="141" y="132"/>
                    <a:pt x="139" y="133"/>
                    <a:pt x="138" y="136"/>
                  </a:cubicBezTo>
                  <a:cubicBezTo>
                    <a:pt x="138" y="140"/>
                    <a:pt x="135" y="141"/>
                    <a:pt x="132" y="142"/>
                  </a:cubicBezTo>
                  <a:cubicBezTo>
                    <a:pt x="130" y="143"/>
                    <a:pt x="128" y="144"/>
                    <a:pt x="125" y="146"/>
                  </a:cubicBezTo>
                  <a:cubicBezTo>
                    <a:pt x="123" y="148"/>
                    <a:pt x="121" y="149"/>
                    <a:pt x="119" y="149"/>
                  </a:cubicBezTo>
                  <a:cubicBezTo>
                    <a:pt x="118" y="149"/>
                    <a:pt x="116" y="148"/>
                    <a:pt x="115" y="147"/>
                  </a:cubicBezTo>
                  <a:cubicBezTo>
                    <a:pt x="114" y="145"/>
                    <a:pt x="114" y="143"/>
                    <a:pt x="115" y="141"/>
                  </a:cubicBezTo>
                  <a:cubicBezTo>
                    <a:pt x="115" y="141"/>
                    <a:pt x="115" y="141"/>
                    <a:pt x="115" y="141"/>
                  </a:cubicBezTo>
                  <a:cubicBezTo>
                    <a:pt x="115" y="141"/>
                    <a:pt x="115" y="141"/>
                    <a:pt x="115" y="141"/>
                  </a:cubicBezTo>
                  <a:cubicBezTo>
                    <a:pt x="115" y="141"/>
                    <a:pt x="115" y="141"/>
                    <a:pt x="115" y="141"/>
                  </a:cubicBezTo>
                  <a:cubicBezTo>
                    <a:pt x="114" y="141"/>
                    <a:pt x="111" y="142"/>
                    <a:pt x="109" y="144"/>
                  </a:cubicBezTo>
                  <a:cubicBezTo>
                    <a:pt x="107" y="146"/>
                    <a:pt x="105" y="149"/>
                    <a:pt x="105" y="153"/>
                  </a:cubicBezTo>
                  <a:cubicBezTo>
                    <a:pt x="105" y="158"/>
                    <a:pt x="101" y="161"/>
                    <a:pt x="98" y="163"/>
                  </a:cubicBezTo>
                  <a:cubicBezTo>
                    <a:pt x="96" y="165"/>
                    <a:pt x="95" y="166"/>
                    <a:pt x="96" y="167"/>
                  </a:cubicBezTo>
                  <a:cubicBezTo>
                    <a:pt x="97" y="168"/>
                    <a:pt x="96" y="169"/>
                    <a:pt x="96" y="170"/>
                  </a:cubicBezTo>
                  <a:cubicBezTo>
                    <a:pt x="95" y="172"/>
                    <a:pt x="92" y="173"/>
                    <a:pt x="89" y="173"/>
                  </a:cubicBezTo>
                  <a:cubicBezTo>
                    <a:pt x="88" y="173"/>
                    <a:pt x="87" y="173"/>
                    <a:pt x="86" y="172"/>
                  </a:cubicBezTo>
                  <a:cubicBezTo>
                    <a:pt x="86" y="171"/>
                    <a:pt x="86" y="171"/>
                    <a:pt x="86" y="171"/>
                  </a:cubicBezTo>
                  <a:cubicBezTo>
                    <a:pt x="86" y="170"/>
                    <a:pt x="86" y="170"/>
                    <a:pt x="86" y="170"/>
                  </a:cubicBezTo>
                  <a:cubicBezTo>
                    <a:pt x="85" y="169"/>
                    <a:pt x="85" y="169"/>
                    <a:pt x="84" y="169"/>
                  </a:cubicBezTo>
                  <a:cubicBezTo>
                    <a:pt x="81" y="169"/>
                    <a:pt x="76" y="170"/>
                    <a:pt x="69" y="173"/>
                  </a:cubicBezTo>
                  <a:cubicBezTo>
                    <a:pt x="67" y="174"/>
                    <a:pt x="65" y="174"/>
                    <a:pt x="63" y="174"/>
                  </a:cubicBezTo>
                  <a:cubicBezTo>
                    <a:pt x="61" y="174"/>
                    <a:pt x="58" y="174"/>
                    <a:pt x="57" y="173"/>
                  </a:cubicBezTo>
                  <a:cubicBezTo>
                    <a:pt x="55" y="173"/>
                    <a:pt x="53" y="173"/>
                    <a:pt x="52" y="173"/>
                  </a:cubicBezTo>
                  <a:cubicBezTo>
                    <a:pt x="50" y="173"/>
                    <a:pt x="49" y="173"/>
                    <a:pt x="48" y="174"/>
                  </a:cubicBezTo>
                  <a:cubicBezTo>
                    <a:pt x="47" y="175"/>
                    <a:pt x="47" y="175"/>
                    <a:pt x="47" y="175"/>
                  </a:cubicBezTo>
                  <a:cubicBezTo>
                    <a:pt x="41" y="181"/>
                    <a:pt x="32" y="190"/>
                    <a:pt x="25" y="191"/>
                  </a:cubicBezTo>
                  <a:cubicBezTo>
                    <a:pt x="22" y="192"/>
                    <a:pt x="21" y="194"/>
                    <a:pt x="21" y="195"/>
                  </a:cubicBezTo>
                  <a:cubicBezTo>
                    <a:pt x="22" y="198"/>
                    <a:pt x="23" y="200"/>
                    <a:pt x="25" y="199"/>
                  </a:cubicBezTo>
                  <a:cubicBezTo>
                    <a:pt x="27" y="198"/>
                    <a:pt x="30" y="198"/>
                    <a:pt x="33" y="198"/>
                  </a:cubicBezTo>
                  <a:cubicBezTo>
                    <a:pt x="36" y="197"/>
                    <a:pt x="39" y="197"/>
                    <a:pt x="40" y="195"/>
                  </a:cubicBezTo>
                  <a:cubicBezTo>
                    <a:pt x="43" y="191"/>
                    <a:pt x="64" y="186"/>
                    <a:pt x="77" y="186"/>
                  </a:cubicBezTo>
                  <a:cubicBezTo>
                    <a:pt x="78" y="186"/>
                    <a:pt x="78" y="186"/>
                    <a:pt x="79" y="186"/>
                  </a:cubicBezTo>
                  <a:close/>
                  <a:moveTo>
                    <a:pt x="155" y="72"/>
                  </a:moveTo>
                  <a:cubicBezTo>
                    <a:pt x="155" y="72"/>
                    <a:pt x="155" y="72"/>
                    <a:pt x="154" y="72"/>
                  </a:cubicBezTo>
                  <a:cubicBezTo>
                    <a:pt x="154" y="71"/>
                    <a:pt x="154" y="71"/>
                    <a:pt x="154" y="70"/>
                  </a:cubicBezTo>
                  <a:cubicBezTo>
                    <a:pt x="154" y="69"/>
                    <a:pt x="155" y="68"/>
                    <a:pt x="155" y="68"/>
                  </a:cubicBezTo>
                  <a:cubicBezTo>
                    <a:pt x="156" y="64"/>
                    <a:pt x="157" y="60"/>
                    <a:pt x="155" y="59"/>
                  </a:cubicBezTo>
                  <a:cubicBezTo>
                    <a:pt x="153" y="58"/>
                    <a:pt x="152" y="57"/>
                    <a:pt x="152" y="55"/>
                  </a:cubicBezTo>
                  <a:cubicBezTo>
                    <a:pt x="152" y="54"/>
                    <a:pt x="153" y="52"/>
                    <a:pt x="157" y="50"/>
                  </a:cubicBezTo>
                  <a:cubicBezTo>
                    <a:pt x="160" y="49"/>
                    <a:pt x="160" y="47"/>
                    <a:pt x="160" y="45"/>
                  </a:cubicBezTo>
                  <a:cubicBezTo>
                    <a:pt x="160" y="43"/>
                    <a:pt x="160" y="42"/>
                    <a:pt x="163" y="41"/>
                  </a:cubicBezTo>
                  <a:cubicBezTo>
                    <a:pt x="164" y="41"/>
                    <a:pt x="165" y="41"/>
                    <a:pt x="167" y="41"/>
                  </a:cubicBezTo>
                  <a:cubicBezTo>
                    <a:pt x="170" y="40"/>
                    <a:pt x="173" y="40"/>
                    <a:pt x="174" y="39"/>
                  </a:cubicBezTo>
                  <a:cubicBezTo>
                    <a:pt x="175" y="38"/>
                    <a:pt x="175" y="37"/>
                    <a:pt x="175" y="36"/>
                  </a:cubicBezTo>
                  <a:cubicBezTo>
                    <a:pt x="174" y="34"/>
                    <a:pt x="175" y="32"/>
                    <a:pt x="176" y="31"/>
                  </a:cubicBezTo>
                  <a:cubicBezTo>
                    <a:pt x="177" y="29"/>
                    <a:pt x="179" y="27"/>
                    <a:pt x="179" y="23"/>
                  </a:cubicBezTo>
                  <a:cubicBezTo>
                    <a:pt x="179" y="20"/>
                    <a:pt x="180" y="18"/>
                    <a:pt x="180" y="16"/>
                  </a:cubicBezTo>
                  <a:cubicBezTo>
                    <a:pt x="181" y="14"/>
                    <a:pt x="182" y="12"/>
                    <a:pt x="180" y="9"/>
                  </a:cubicBezTo>
                  <a:cubicBezTo>
                    <a:pt x="178" y="7"/>
                    <a:pt x="178" y="5"/>
                    <a:pt x="179" y="3"/>
                  </a:cubicBezTo>
                  <a:cubicBezTo>
                    <a:pt x="180" y="1"/>
                    <a:pt x="182" y="0"/>
                    <a:pt x="184" y="0"/>
                  </a:cubicBezTo>
                  <a:cubicBezTo>
                    <a:pt x="186" y="0"/>
                    <a:pt x="188" y="1"/>
                    <a:pt x="190" y="4"/>
                  </a:cubicBezTo>
                  <a:cubicBezTo>
                    <a:pt x="195" y="11"/>
                    <a:pt x="214" y="27"/>
                    <a:pt x="221" y="27"/>
                  </a:cubicBezTo>
                  <a:cubicBezTo>
                    <a:pt x="221" y="27"/>
                    <a:pt x="221" y="27"/>
                    <a:pt x="221" y="27"/>
                  </a:cubicBezTo>
                  <a:cubicBezTo>
                    <a:pt x="224" y="26"/>
                    <a:pt x="226" y="25"/>
                    <a:pt x="228" y="24"/>
                  </a:cubicBezTo>
                  <a:cubicBezTo>
                    <a:pt x="230" y="23"/>
                    <a:pt x="232" y="22"/>
                    <a:pt x="234" y="22"/>
                  </a:cubicBezTo>
                  <a:cubicBezTo>
                    <a:pt x="235" y="22"/>
                    <a:pt x="236" y="23"/>
                    <a:pt x="236" y="24"/>
                  </a:cubicBezTo>
                  <a:cubicBezTo>
                    <a:pt x="237" y="24"/>
                    <a:pt x="237" y="24"/>
                    <a:pt x="238" y="24"/>
                  </a:cubicBezTo>
                  <a:cubicBezTo>
                    <a:pt x="240" y="24"/>
                    <a:pt x="242" y="23"/>
                    <a:pt x="244" y="21"/>
                  </a:cubicBezTo>
                  <a:cubicBezTo>
                    <a:pt x="246" y="20"/>
                    <a:pt x="248" y="19"/>
                    <a:pt x="249" y="19"/>
                  </a:cubicBezTo>
                  <a:cubicBezTo>
                    <a:pt x="249" y="19"/>
                    <a:pt x="250" y="19"/>
                    <a:pt x="250" y="20"/>
                  </a:cubicBezTo>
                  <a:cubicBezTo>
                    <a:pt x="250" y="22"/>
                    <a:pt x="247" y="25"/>
                    <a:pt x="242" y="29"/>
                  </a:cubicBezTo>
                  <a:cubicBezTo>
                    <a:pt x="238" y="32"/>
                    <a:pt x="234" y="36"/>
                    <a:pt x="234" y="38"/>
                  </a:cubicBezTo>
                  <a:cubicBezTo>
                    <a:pt x="234" y="38"/>
                    <a:pt x="234" y="38"/>
                    <a:pt x="234" y="38"/>
                  </a:cubicBezTo>
                  <a:cubicBezTo>
                    <a:pt x="235" y="39"/>
                    <a:pt x="236" y="40"/>
                    <a:pt x="235" y="42"/>
                  </a:cubicBezTo>
                  <a:cubicBezTo>
                    <a:pt x="235" y="43"/>
                    <a:pt x="233" y="46"/>
                    <a:pt x="226" y="46"/>
                  </a:cubicBezTo>
                  <a:cubicBezTo>
                    <a:pt x="217" y="46"/>
                    <a:pt x="206" y="48"/>
                    <a:pt x="205" y="55"/>
                  </a:cubicBezTo>
                  <a:cubicBezTo>
                    <a:pt x="204" y="59"/>
                    <a:pt x="203" y="62"/>
                    <a:pt x="201" y="62"/>
                  </a:cubicBezTo>
                  <a:cubicBezTo>
                    <a:pt x="201" y="62"/>
                    <a:pt x="201" y="62"/>
                    <a:pt x="201" y="62"/>
                  </a:cubicBezTo>
                  <a:cubicBezTo>
                    <a:pt x="199" y="62"/>
                    <a:pt x="197" y="61"/>
                    <a:pt x="195" y="59"/>
                  </a:cubicBezTo>
                  <a:cubicBezTo>
                    <a:pt x="191" y="55"/>
                    <a:pt x="184" y="53"/>
                    <a:pt x="179" y="53"/>
                  </a:cubicBezTo>
                  <a:cubicBezTo>
                    <a:pt x="177" y="53"/>
                    <a:pt x="175" y="53"/>
                    <a:pt x="173" y="54"/>
                  </a:cubicBezTo>
                  <a:cubicBezTo>
                    <a:pt x="172" y="54"/>
                    <a:pt x="171" y="54"/>
                    <a:pt x="170" y="54"/>
                  </a:cubicBezTo>
                  <a:cubicBezTo>
                    <a:pt x="168" y="54"/>
                    <a:pt x="167" y="54"/>
                    <a:pt x="166" y="54"/>
                  </a:cubicBezTo>
                  <a:cubicBezTo>
                    <a:pt x="165" y="53"/>
                    <a:pt x="164" y="53"/>
                    <a:pt x="163" y="53"/>
                  </a:cubicBezTo>
                  <a:cubicBezTo>
                    <a:pt x="162" y="53"/>
                    <a:pt x="162" y="53"/>
                    <a:pt x="162" y="55"/>
                  </a:cubicBezTo>
                  <a:cubicBezTo>
                    <a:pt x="162" y="56"/>
                    <a:pt x="164" y="58"/>
                    <a:pt x="166" y="59"/>
                  </a:cubicBezTo>
                  <a:cubicBezTo>
                    <a:pt x="168" y="61"/>
                    <a:pt x="171" y="63"/>
                    <a:pt x="170" y="65"/>
                  </a:cubicBezTo>
                  <a:cubicBezTo>
                    <a:pt x="170" y="66"/>
                    <a:pt x="170" y="67"/>
                    <a:pt x="169" y="67"/>
                  </a:cubicBezTo>
                  <a:cubicBezTo>
                    <a:pt x="168" y="67"/>
                    <a:pt x="168" y="67"/>
                    <a:pt x="167" y="67"/>
                  </a:cubicBezTo>
                  <a:cubicBezTo>
                    <a:pt x="166" y="66"/>
                    <a:pt x="166" y="66"/>
                    <a:pt x="165" y="66"/>
                  </a:cubicBezTo>
                  <a:cubicBezTo>
                    <a:pt x="164" y="66"/>
                    <a:pt x="163" y="66"/>
                    <a:pt x="162" y="67"/>
                  </a:cubicBezTo>
                  <a:cubicBezTo>
                    <a:pt x="160" y="70"/>
                    <a:pt x="157" y="72"/>
                    <a:pt x="155" y="72"/>
                  </a:cubicBezTo>
                  <a:close/>
                  <a:moveTo>
                    <a:pt x="184" y="1"/>
                  </a:moveTo>
                  <a:cubicBezTo>
                    <a:pt x="182" y="1"/>
                    <a:pt x="181" y="2"/>
                    <a:pt x="180" y="4"/>
                  </a:cubicBezTo>
                  <a:cubicBezTo>
                    <a:pt x="179" y="5"/>
                    <a:pt x="179" y="7"/>
                    <a:pt x="181" y="8"/>
                  </a:cubicBezTo>
                  <a:cubicBezTo>
                    <a:pt x="183" y="12"/>
                    <a:pt x="182" y="14"/>
                    <a:pt x="181" y="17"/>
                  </a:cubicBezTo>
                  <a:cubicBezTo>
                    <a:pt x="181" y="18"/>
                    <a:pt x="180" y="20"/>
                    <a:pt x="180" y="23"/>
                  </a:cubicBezTo>
                  <a:cubicBezTo>
                    <a:pt x="180" y="28"/>
                    <a:pt x="178" y="30"/>
                    <a:pt x="177" y="31"/>
                  </a:cubicBezTo>
                  <a:cubicBezTo>
                    <a:pt x="176" y="33"/>
                    <a:pt x="175" y="34"/>
                    <a:pt x="175" y="36"/>
                  </a:cubicBezTo>
                  <a:cubicBezTo>
                    <a:pt x="176" y="37"/>
                    <a:pt x="175" y="38"/>
                    <a:pt x="175" y="39"/>
                  </a:cubicBezTo>
                  <a:cubicBezTo>
                    <a:pt x="173" y="41"/>
                    <a:pt x="170" y="41"/>
                    <a:pt x="167" y="42"/>
                  </a:cubicBezTo>
                  <a:cubicBezTo>
                    <a:pt x="165" y="42"/>
                    <a:pt x="164" y="42"/>
                    <a:pt x="163" y="42"/>
                  </a:cubicBezTo>
                  <a:cubicBezTo>
                    <a:pt x="161" y="42"/>
                    <a:pt x="161" y="43"/>
                    <a:pt x="161" y="45"/>
                  </a:cubicBezTo>
                  <a:cubicBezTo>
                    <a:pt x="161" y="47"/>
                    <a:pt x="161" y="49"/>
                    <a:pt x="158" y="51"/>
                  </a:cubicBezTo>
                  <a:cubicBezTo>
                    <a:pt x="155" y="52"/>
                    <a:pt x="153" y="53"/>
                    <a:pt x="153" y="55"/>
                  </a:cubicBezTo>
                  <a:cubicBezTo>
                    <a:pt x="153" y="56"/>
                    <a:pt x="154" y="58"/>
                    <a:pt x="155" y="58"/>
                  </a:cubicBezTo>
                  <a:cubicBezTo>
                    <a:pt x="158" y="60"/>
                    <a:pt x="157" y="64"/>
                    <a:pt x="156" y="68"/>
                  </a:cubicBezTo>
                  <a:cubicBezTo>
                    <a:pt x="156" y="69"/>
                    <a:pt x="155" y="69"/>
                    <a:pt x="155" y="70"/>
                  </a:cubicBezTo>
                  <a:cubicBezTo>
                    <a:pt x="155" y="71"/>
                    <a:pt x="155" y="71"/>
                    <a:pt x="155" y="71"/>
                  </a:cubicBezTo>
                  <a:cubicBezTo>
                    <a:pt x="155" y="71"/>
                    <a:pt x="155" y="71"/>
                    <a:pt x="155" y="71"/>
                  </a:cubicBezTo>
                  <a:cubicBezTo>
                    <a:pt x="157" y="71"/>
                    <a:pt x="159" y="69"/>
                    <a:pt x="162" y="67"/>
                  </a:cubicBezTo>
                  <a:cubicBezTo>
                    <a:pt x="163" y="66"/>
                    <a:pt x="164" y="65"/>
                    <a:pt x="165" y="65"/>
                  </a:cubicBezTo>
                  <a:cubicBezTo>
                    <a:pt x="166" y="65"/>
                    <a:pt x="167" y="65"/>
                    <a:pt x="167" y="66"/>
                  </a:cubicBezTo>
                  <a:cubicBezTo>
                    <a:pt x="168" y="66"/>
                    <a:pt x="168" y="66"/>
                    <a:pt x="169" y="66"/>
                  </a:cubicBezTo>
                  <a:cubicBezTo>
                    <a:pt x="169" y="66"/>
                    <a:pt x="169" y="66"/>
                    <a:pt x="169" y="65"/>
                  </a:cubicBezTo>
                  <a:cubicBezTo>
                    <a:pt x="170" y="63"/>
                    <a:pt x="168" y="62"/>
                    <a:pt x="165" y="60"/>
                  </a:cubicBezTo>
                  <a:cubicBezTo>
                    <a:pt x="163" y="59"/>
                    <a:pt x="160" y="57"/>
                    <a:pt x="161" y="54"/>
                  </a:cubicBezTo>
                  <a:cubicBezTo>
                    <a:pt x="161" y="53"/>
                    <a:pt x="162" y="52"/>
                    <a:pt x="163" y="52"/>
                  </a:cubicBezTo>
                  <a:cubicBezTo>
                    <a:pt x="164" y="52"/>
                    <a:pt x="165" y="52"/>
                    <a:pt x="166" y="53"/>
                  </a:cubicBezTo>
                  <a:cubicBezTo>
                    <a:pt x="167" y="53"/>
                    <a:pt x="169" y="53"/>
                    <a:pt x="170" y="53"/>
                  </a:cubicBezTo>
                  <a:cubicBezTo>
                    <a:pt x="171" y="53"/>
                    <a:pt x="172" y="53"/>
                    <a:pt x="173" y="53"/>
                  </a:cubicBezTo>
                  <a:cubicBezTo>
                    <a:pt x="175" y="52"/>
                    <a:pt x="176" y="52"/>
                    <a:pt x="179" y="52"/>
                  </a:cubicBezTo>
                  <a:cubicBezTo>
                    <a:pt x="184" y="52"/>
                    <a:pt x="191" y="54"/>
                    <a:pt x="196" y="58"/>
                  </a:cubicBezTo>
                  <a:cubicBezTo>
                    <a:pt x="198" y="60"/>
                    <a:pt x="200" y="61"/>
                    <a:pt x="201" y="61"/>
                  </a:cubicBezTo>
                  <a:cubicBezTo>
                    <a:pt x="202" y="61"/>
                    <a:pt x="203" y="59"/>
                    <a:pt x="204" y="55"/>
                  </a:cubicBezTo>
                  <a:cubicBezTo>
                    <a:pt x="206" y="47"/>
                    <a:pt x="217" y="45"/>
                    <a:pt x="226" y="45"/>
                  </a:cubicBezTo>
                  <a:cubicBezTo>
                    <a:pt x="233" y="45"/>
                    <a:pt x="234" y="42"/>
                    <a:pt x="234" y="41"/>
                  </a:cubicBezTo>
                  <a:cubicBezTo>
                    <a:pt x="235" y="40"/>
                    <a:pt x="234" y="39"/>
                    <a:pt x="233" y="39"/>
                  </a:cubicBezTo>
                  <a:cubicBezTo>
                    <a:pt x="233" y="38"/>
                    <a:pt x="233" y="38"/>
                    <a:pt x="233" y="38"/>
                  </a:cubicBezTo>
                  <a:cubicBezTo>
                    <a:pt x="233" y="36"/>
                    <a:pt x="236" y="33"/>
                    <a:pt x="241" y="29"/>
                  </a:cubicBezTo>
                  <a:cubicBezTo>
                    <a:pt x="245" y="25"/>
                    <a:pt x="249" y="21"/>
                    <a:pt x="249" y="20"/>
                  </a:cubicBezTo>
                  <a:cubicBezTo>
                    <a:pt x="249" y="20"/>
                    <a:pt x="249" y="20"/>
                    <a:pt x="249" y="20"/>
                  </a:cubicBezTo>
                  <a:cubicBezTo>
                    <a:pt x="248" y="20"/>
                    <a:pt x="246" y="21"/>
                    <a:pt x="245" y="22"/>
                  </a:cubicBezTo>
                  <a:cubicBezTo>
                    <a:pt x="243" y="23"/>
                    <a:pt x="240" y="25"/>
                    <a:pt x="238" y="25"/>
                  </a:cubicBezTo>
                  <a:cubicBezTo>
                    <a:pt x="237" y="25"/>
                    <a:pt x="236" y="25"/>
                    <a:pt x="236" y="24"/>
                  </a:cubicBezTo>
                  <a:cubicBezTo>
                    <a:pt x="235" y="23"/>
                    <a:pt x="234" y="23"/>
                    <a:pt x="234" y="23"/>
                  </a:cubicBezTo>
                  <a:cubicBezTo>
                    <a:pt x="232" y="23"/>
                    <a:pt x="230" y="24"/>
                    <a:pt x="228" y="25"/>
                  </a:cubicBezTo>
                  <a:cubicBezTo>
                    <a:pt x="226" y="26"/>
                    <a:pt x="224" y="27"/>
                    <a:pt x="222" y="28"/>
                  </a:cubicBezTo>
                  <a:cubicBezTo>
                    <a:pt x="221" y="28"/>
                    <a:pt x="221" y="28"/>
                    <a:pt x="221" y="28"/>
                  </a:cubicBezTo>
                  <a:cubicBezTo>
                    <a:pt x="213" y="28"/>
                    <a:pt x="194" y="12"/>
                    <a:pt x="189" y="4"/>
                  </a:cubicBezTo>
                  <a:cubicBezTo>
                    <a:pt x="188" y="2"/>
                    <a:pt x="186" y="1"/>
                    <a:pt x="184"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0" name="Freeform 147"/>
            <p:cNvSpPr>
              <a:spLocks noEditPoints="1"/>
            </p:cNvSpPr>
            <p:nvPr/>
          </p:nvSpPr>
          <p:spPr>
            <a:xfrm>
              <a:off x="6602414" y="2338388"/>
              <a:ext cx="1482725" cy="1017588"/>
            </a:xfrm>
            <a:custGeom>
              <a:gdLst>
                <a:gd name="T0" fmla="*/ 502 w 874"/>
                <a:gd name="T1" fmla="*/ 599 h 600"/>
                <a:gd name="T2" fmla="*/ 481 w 874"/>
                <a:gd name="T3" fmla="*/ 550 h 600"/>
                <a:gd name="T4" fmla="*/ 422 w 874"/>
                <a:gd name="T5" fmla="*/ 532 h 600"/>
                <a:gd name="T6" fmla="*/ 381 w 874"/>
                <a:gd name="T7" fmla="*/ 551 h 600"/>
                <a:gd name="T8" fmla="*/ 345 w 874"/>
                <a:gd name="T9" fmla="*/ 512 h 600"/>
                <a:gd name="T10" fmla="*/ 315 w 874"/>
                <a:gd name="T11" fmla="*/ 439 h 600"/>
                <a:gd name="T12" fmla="*/ 254 w 874"/>
                <a:gd name="T13" fmla="*/ 453 h 600"/>
                <a:gd name="T14" fmla="*/ 202 w 874"/>
                <a:gd name="T15" fmla="*/ 452 h 600"/>
                <a:gd name="T16" fmla="*/ 95 w 874"/>
                <a:gd name="T17" fmla="*/ 408 h 600"/>
                <a:gd name="T18" fmla="*/ 81 w 874"/>
                <a:gd name="T19" fmla="*/ 350 h 600"/>
                <a:gd name="T20" fmla="*/ 17 w 874"/>
                <a:gd name="T21" fmla="*/ 280 h 600"/>
                <a:gd name="T22" fmla="*/ 36 w 874"/>
                <a:gd name="T23" fmla="*/ 242 h 600"/>
                <a:gd name="T24" fmla="*/ 96 w 874"/>
                <a:gd name="T25" fmla="*/ 177 h 600"/>
                <a:gd name="T26" fmla="*/ 158 w 874"/>
                <a:gd name="T27" fmla="*/ 125 h 600"/>
                <a:gd name="T28" fmla="*/ 208 w 874"/>
                <a:gd name="T29" fmla="*/ 96 h 600"/>
                <a:gd name="T30" fmla="*/ 318 w 874"/>
                <a:gd name="T31" fmla="*/ 203 h 600"/>
                <a:gd name="T32" fmla="*/ 446 w 874"/>
                <a:gd name="T33" fmla="*/ 217 h 600"/>
                <a:gd name="T34" fmla="*/ 600 w 874"/>
                <a:gd name="T35" fmla="*/ 148 h 600"/>
                <a:gd name="T36" fmla="*/ 594 w 874"/>
                <a:gd name="T37" fmla="*/ 109 h 600"/>
                <a:gd name="T38" fmla="*/ 665 w 874"/>
                <a:gd name="T39" fmla="*/ 17 h 600"/>
                <a:gd name="T40" fmla="*/ 749 w 874"/>
                <a:gd name="T41" fmla="*/ 23 h 600"/>
                <a:gd name="T42" fmla="*/ 829 w 874"/>
                <a:gd name="T43" fmla="*/ 112 h 600"/>
                <a:gd name="T44" fmla="*/ 847 w 874"/>
                <a:gd name="T45" fmla="*/ 161 h 600"/>
                <a:gd name="T46" fmla="*/ 815 w 874"/>
                <a:gd name="T47" fmla="*/ 203 h 600"/>
                <a:gd name="T48" fmla="*/ 753 w 874"/>
                <a:gd name="T49" fmla="*/ 229 h 600"/>
                <a:gd name="T50" fmla="*/ 681 w 874"/>
                <a:gd name="T51" fmla="*/ 236 h 600"/>
                <a:gd name="T52" fmla="*/ 669 w 874"/>
                <a:gd name="T53" fmla="*/ 286 h 600"/>
                <a:gd name="T54" fmla="*/ 660 w 874"/>
                <a:gd name="T55" fmla="*/ 347 h 600"/>
                <a:gd name="T56" fmla="*/ 669 w 874"/>
                <a:gd name="T57" fmla="*/ 411 h 600"/>
                <a:gd name="T58" fmla="*/ 661 w 874"/>
                <a:gd name="T59" fmla="*/ 464 h 600"/>
                <a:gd name="T60" fmla="*/ 610 w 874"/>
                <a:gd name="T61" fmla="*/ 521 h 600"/>
                <a:gd name="T62" fmla="*/ 510 w 874"/>
                <a:gd name="T63" fmla="*/ 567 h 600"/>
                <a:gd name="T64" fmla="*/ 631 w 874"/>
                <a:gd name="T65" fmla="*/ 502 h 600"/>
                <a:gd name="T66" fmla="*/ 682 w 874"/>
                <a:gd name="T67" fmla="*/ 428 h 600"/>
                <a:gd name="T68" fmla="*/ 684 w 874"/>
                <a:gd name="T69" fmla="*/ 402 h 600"/>
                <a:gd name="T70" fmla="*/ 646 w 874"/>
                <a:gd name="T71" fmla="*/ 339 h 600"/>
                <a:gd name="T72" fmla="*/ 660 w 874"/>
                <a:gd name="T73" fmla="*/ 293 h 600"/>
                <a:gd name="T74" fmla="*/ 689 w 874"/>
                <a:gd name="T75" fmla="*/ 241 h 600"/>
                <a:gd name="T76" fmla="*/ 773 w 874"/>
                <a:gd name="T77" fmla="*/ 225 h 600"/>
                <a:gd name="T78" fmla="*/ 821 w 874"/>
                <a:gd name="T79" fmla="*/ 187 h 600"/>
                <a:gd name="T80" fmla="*/ 871 w 874"/>
                <a:gd name="T81" fmla="*/ 115 h 600"/>
                <a:gd name="T82" fmla="*/ 790 w 874"/>
                <a:gd name="T83" fmla="*/ 82 h 600"/>
                <a:gd name="T84" fmla="*/ 703 w 874"/>
                <a:gd name="T85" fmla="*/ 2 h 600"/>
                <a:gd name="T86" fmla="*/ 632 w 874"/>
                <a:gd name="T87" fmla="*/ 74 h 600"/>
                <a:gd name="T88" fmla="*/ 638 w 874"/>
                <a:gd name="T89" fmla="*/ 109 h 600"/>
                <a:gd name="T90" fmla="*/ 534 w 874"/>
                <a:gd name="T91" fmla="*/ 175 h 600"/>
                <a:gd name="T92" fmla="*/ 400 w 874"/>
                <a:gd name="T93" fmla="*/ 213 h 600"/>
                <a:gd name="T94" fmla="*/ 239 w 874"/>
                <a:gd name="T95" fmla="*/ 154 h 600"/>
                <a:gd name="T96" fmla="*/ 179 w 874"/>
                <a:gd name="T97" fmla="*/ 98 h 600"/>
                <a:gd name="T98" fmla="*/ 102 w 874"/>
                <a:gd name="T99" fmla="*/ 159 h 600"/>
                <a:gd name="T100" fmla="*/ 56 w 874"/>
                <a:gd name="T101" fmla="*/ 233 h 600"/>
                <a:gd name="T102" fmla="*/ 21 w 874"/>
                <a:gd name="T103" fmla="*/ 300 h 600"/>
                <a:gd name="T104" fmla="*/ 74 w 874"/>
                <a:gd name="T105" fmla="*/ 356 h 600"/>
                <a:gd name="T106" fmla="*/ 110 w 874"/>
                <a:gd name="T107" fmla="*/ 412 h 600"/>
                <a:gd name="T108" fmla="*/ 223 w 874"/>
                <a:gd name="T109" fmla="*/ 447 h 600"/>
                <a:gd name="T110" fmla="*/ 302 w 874"/>
                <a:gd name="T111" fmla="*/ 430 h 600"/>
                <a:gd name="T112" fmla="*/ 337 w 874"/>
                <a:gd name="T113" fmla="*/ 509 h 600"/>
                <a:gd name="T114" fmla="*/ 382 w 874"/>
                <a:gd name="T115" fmla="*/ 550 h 600"/>
                <a:gd name="T116" fmla="*/ 422 w 874"/>
                <a:gd name="T117" fmla="*/ 531 h 600"/>
                <a:gd name="T118" fmla="*/ 489 w 874"/>
                <a:gd name="T119" fmla="*/ 545 h 600"/>
                <a:gd name="T120" fmla="*/ 667 w 874"/>
                <a:gd name="T121" fmla="*/ 539 h 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600">
                  <a:moveTo>
                    <a:pt x="502" y="600"/>
                  </a:moveTo>
                  <a:cubicBezTo>
                    <a:pt x="502" y="600"/>
                    <a:pt x="502" y="600"/>
                    <a:pt x="502" y="600"/>
                  </a:cubicBezTo>
                  <a:cubicBezTo>
                    <a:pt x="499" y="600"/>
                    <a:pt x="494" y="598"/>
                    <a:pt x="491" y="593"/>
                  </a:cubicBezTo>
                  <a:cubicBezTo>
                    <a:pt x="489" y="589"/>
                    <a:pt x="490" y="585"/>
                    <a:pt x="492" y="581"/>
                  </a:cubicBezTo>
                  <a:cubicBezTo>
                    <a:pt x="495" y="576"/>
                    <a:pt x="502" y="573"/>
                    <a:pt x="506" y="573"/>
                  </a:cubicBezTo>
                  <a:cubicBezTo>
                    <a:pt x="507" y="573"/>
                    <a:pt x="509" y="573"/>
                    <a:pt x="511" y="573"/>
                  </a:cubicBezTo>
                  <a:cubicBezTo>
                    <a:pt x="513" y="572"/>
                    <a:pt x="516" y="572"/>
                    <a:pt x="518" y="572"/>
                  </a:cubicBezTo>
                  <a:cubicBezTo>
                    <a:pt x="522" y="572"/>
                    <a:pt x="524" y="573"/>
                    <a:pt x="525" y="574"/>
                  </a:cubicBezTo>
                  <a:cubicBezTo>
                    <a:pt x="525" y="577"/>
                    <a:pt x="523" y="580"/>
                    <a:pt x="521" y="583"/>
                  </a:cubicBezTo>
                  <a:cubicBezTo>
                    <a:pt x="519" y="586"/>
                    <a:pt x="517" y="589"/>
                    <a:pt x="517" y="592"/>
                  </a:cubicBezTo>
                  <a:cubicBezTo>
                    <a:pt x="517" y="595"/>
                    <a:pt x="509" y="600"/>
                    <a:pt x="502" y="600"/>
                  </a:cubicBezTo>
                  <a:close/>
                  <a:moveTo>
                    <a:pt x="518" y="573"/>
                  </a:moveTo>
                  <a:cubicBezTo>
                    <a:pt x="516" y="573"/>
                    <a:pt x="513" y="573"/>
                    <a:pt x="511" y="574"/>
                  </a:cubicBezTo>
                  <a:cubicBezTo>
                    <a:pt x="509" y="574"/>
                    <a:pt x="507" y="574"/>
                    <a:pt x="506" y="574"/>
                  </a:cubicBezTo>
                  <a:cubicBezTo>
                    <a:pt x="503" y="574"/>
                    <a:pt x="496" y="577"/>
                    <a:pt x="493" y="582"/>
                  </a:cubicBezTo>
                  <a:cubicBezTo>
                    <a:pt x="491" y="585"/>
                    <a:pt x="490" y="589"/>
                    <a:pt x="492" y="593"/>
                  </a:cubicBezTo>
                  <a:cubicBezTo>
                    <a:pt x="495" y="598"/>
                    <a:pt x="499" y="599"/>
                    <a:pt x="502" y="599"/>
                  </a:cubicBezTo>
                  <a:cubicBezTo>
                    <a:pt x="502" y="599"/>
                    <a:pt x="502" y="599"/>
                    <a:pt x="502" y="599"/>
                  </a:cubicBezTo>
                  <a:cubicBezTo>
                    <a:pt x="509" y="599"/>
                    <a:pt x="516" y="595"/>
                    <a:pt x="516" y="592"/>
                  </a:cubicBezTo>
                  <a:cubicBezTo>
                    <a:pt x="516" y="589"/>
                    <a:pt x="518" y="586"/>
                    <a:pt x="520" y="583"/>
                  </a:cubicBezTo>
                  <a:cubicBezTo>
                    <a:pt x="522" y="580"/>
                    <a:pt x="524" y="577"/>
                    <a:pt x="524" y="575"/>
                  </a:cubicBezTo>
                  <a:cubicBezTo>
                    <a:pt x="523" y="574"/>
                    <a:pt x="522" y="573"/>
                    <a:pt x="518" y="573"/>
                  </a:cubicBezTo>
                  <a:close/>
                  <a:moveTo>
                    <a:pt x="511" y="569"/>
                  </a:moveTo>
                  <a:cubicBezTo>
                    <a:pt x="511" y="569"/>
                    <a:pt x="510" y="568"/>
                    <a:pt x="509" y="568"/>
                  </a:cubicBezTo>
                  <a:cubicBezTo>
                    <a:pt x="506" y="565"/>
                    <a:pt x="504" y="561"/>
                    <a:pt x="504" y="557"/>
                  </a:cubicBezTo>
                  <a:cubicBezTo>
                    <a:pt x="504" y="556"/>
                    <a:pt x="505" y="555"/>
                    <a:pt x="506" y="554"/>
                  </a:cubicBezTo>
                  <a:cubicBezTo>
                    <a:pt x="507" y="553"/>
                    <a:pt x="507" y="551"/>
                    <a:pt x="506" y="550"/>
                  </a:cubicBezTo>
                  <a:cubicBezTo>
                    <a:pt x="506" y="549"/>
                    <a:pt x="506" y="548"/>
                    <a:pt x="504" y="548"/>
                  </a:cubicBezTo>
                  <a:cubicBezTo>
                    <a:pt x="504" y="548"/>
                    <a:pt x="503" y="548"/>
                    <a:pt x="502" y="549"/>
                  </a:cubicBezTo>
                  <a:cubicBezTo>
                    <a:pt x="500" y="551"/>
                    <a:pt x="499" y="552"/>
                    <a:pt x="497" y="552"/>
                  </a:cubicBezTo>
                  <a:cubicBezTo>
                    <a:pt x="495" y="552"/>
                    <a:pt x="494" y="550"/>
                    <a:pt x="493" y="549"/>
                  </a:cubicBezTo>
                  <a:cubicBezTo>
                    <a:pt x="492" y="547"/>
                    <a:pt x="491" y="546"/>
                    <a:pt x="489" y="546"/>
                  </a:cubicBezTo>
                  <a:cubicBezTo>
                    <a:pt x="488" y="546"/>
                    <a:pt x="487" y="547"/>
                    <a:pt x="486" y="548"/>
                  </a:cubicBezTo>
                  <a:cubicBezTo>
                    <a:pt x="486" y="551"/>
                    <a:pt x="483" y="551"/>
                    <a:pt x="481" y="550"/>
                  </a:cubicBezTo>
                  <a:cubicBezTo>
                    <a:pt x="480" y="550"/>
                    <a:pt x="480" y="550"/>
                    <a:pt x="480" y="550"/>
                  </a:cubicBezTo>
                  <a:cubicBezTo>
                    <a:pt x="479" y="550"/>
                    <a:pt x="478" y="550"/>
                    <a:pt x="477" y="551"/>
                  </a:cubicBezTo>
                  <a:cubicBezTo>
                    <a:pt x="477" y="551"/>
                    <a:pt x="477" y="551"/>
                    <a:pt x="477" y="551"/>
                  </a:cubicBezTo>
                  <a:cubicBezTo>
                    <a:pt x="477" y="551"/>
                    <a:pt x="477" y="551"/>
                    <a:pt x="477" y="551"/>
                  </a:cubicBezTo>
                  <a:cubicBezTo>
                    <a:pt x="475" y="549"/>
                    <a:pt x="474" y="549"/>
                    <a:pt x="474" y="549"/>
                  </a:cubicBezTo>
                  <a:cubicBezTo>
                    <a:pt x="470" y="548"/>
                    <a:pt x="459" y="541"/>
                    <a:pt x="459" y="537"/>
                  </a:cubicBezTo>
                  <a:cubicBezTo>
                    <a:pt x="459" y="536"/>
                    <a:pt x="459" y="535"/>
                    <a:pt x="460" y="534"/>
                  </a:cubicBezTo>
                  <a:cubicBezTo>
                    <a:pt x="460" y="533"/>
                    <a:pt x="461" y="532"/>
                    <a:pt x="460" y="531"/>
                  </a:cubicBezTo>
                  <a:cubicBezTo>
                    <a:pt x="460" y="530"/>
                    <a:pt x="458" y="529"/>
                    <a:pt x="456" y="529"/>
                  </a:cubicBezTo>
                  <a:cubicBezTo>
                    <a:pt x="448" y="528"/>
                    <a:pt x="446" y="525"/>
                    <a:pt x="444" y="523"/>
                  </a:cubicBezTo>
                  <a:cubicBezTo>
                    <a:pt x="443" y="523"/>
                    <a:pt x="443" y="523"/>
                    <a:pt x="443" y="523"/>
                  </a:cubicBezTo>
                  <a:cubicBezTo>
                    <a:pt x="443" y="522"/>
                    <a:pt x="443" y="522"/>
                    <a:pt x="443" y="522"/>
                  </a:cubicBezTo>
                  <a:cubicBezTo>
                    <a:pt x="440" y="522"/>
                    <a:pt x="434" y="527"/>
                    <a:pt x="432" y="530"/>
                  </a:cubicBezTo>
                  <a:cubicBezTo>
                    <a:pt x="432" y="531"/>
                    <a:pt x="431" y="532"/>
                    <a:pt x="430" y="532"/>
                  </a:cubicBezTo>
                  <a:cubicBezTo>
                    <a:pt x="429" y="532"/>
                    <a:pt x="429" y="532"/>
                    <a:pt x="428" y="531"/>
                  </a:cubicBezTo>
                  <a:cubicBezTo>
                    <a:pt x="427" y="531"/>
                    <a:pt x="426" y="531"/>
                    <a:pt x="426" y="531"/>
                  </a:cubicBezTo>
                  <a:cubicBezTo>
                    <a:pt x="425" y="531"/>
                    <a:pt x="424" y="531"/>
                    <a:pt x="422" y="532"/>
                  </a:cubicBezTo>
                  <a:cubicBezTo>
                    <a:pt x="422" y="532"/>
                    <a:pt x="421" y="533"/>
                    <a:pt x="419" y="533"/>
                  </a:cubicBezTo>
                  <a:cubicBezTo>
                    <a:pt x="418" y="533"/>
                    <a:pt x="416" y="532"/>
                    <a:pt x="415" y="531"/>
                  </a:cubicBezTo>
                  <a:cubicBezTo>
                    <a:pt x="414" y="531"/>
                    <a:pt x="413" y="531"/>
                    <a:pt x="412" y="531"/>
                  </a:cubicBezTo>
                  <a:cubicBezTo>
                    <a:pt x="411" y="531"/>
                    <a:pt x="410" y="531"/>
                    <a:pt x="410" y="532"/>
                  </a:cubicBezTo>
                  <a:cubicBezTo>
                    <a:pt x="409" y="533"/>
                    <a:pt x="409" y="533"/>
                    <a:pt x="407" y="533"/>
                  </a:cubicBezTo>
                  <a:cubicBezTo>
                    <a:pt x="406" y="533"/>
                    <a:pt x="405" y="533"/>
                    <a:pt x="404" y="533"/>
                  </a:cubicBezTo>
                  <a:cubicBezTo>
                    <a:pt x="403" y="532"/>
                    <a:pt x="402" y="532"/>
                    <a:pt x="401" y="532"/>
                  </a:cubicBezTo>
                  <a:cubicBezTo>
                    <a:pt x="400" y="532"/>
                    <a:pt x="400" y="532"/>
                    <a:pt x="399" y="533"/>
                  </a:cubicBezTo>
                  <a:cubicBezTo>
                    <a:pt x="397" y="535"/>
                    <a:pt x="394" y="537"/>
                    <a:pt x="391" y="537"/>
                  </a:cubicBezTo>
                  <a:cubicBezTo>
                    <a:pt x="390" y="537"/>
                    <a:pt x="389" y="537"/>
                    <a:pt x="389" y="536"/>
                  </a:cubicBezTo>
                  <a:cubicBezTo>
                    <a:pt x="388" y="536"/>
                    <a:pt x="388" y="536"/>
                    <a:pt x="388" y="536"/>
                  </a:cubicBezTo>
                  <a:cubicBezTo>
                    <a:pt x="388" y="536"/>
                    <a:pt x="388" y="537"/>
                    <a:pt x="387" y="538"/>
                  </a:cubicBezTo>
                  <a:cubicBezTo>
                    <a:pt x="386" y="540"/>
                    <a:pt x="386" y="542"/>
                    <a:pt x="387" y="543"/>
                  </a:cubicBezTo>
                  <a:cubicBezTo>
                    <a:pt x="388" y="545"/>
                    <a:pt x="390" y="551"/>
                    <a:pt x="389" y="554"/>
                  </a:cubicBezTo>
                  <a:cubicBezTo>
                    <a:pt x="388" y="555"/>
                    <a:pt x="387" y="556"/>
                    <a:pt x="387" y="556"/>
                  </a:cubicBezTo>
                  <a:cubicBezTo>
                    <a:pt x="386" y="556"/>
                    <a:pt x="386" y="555"/>
                    <a:pt x="386" y="555"/>
                  </a:cubicBezTo>
                  <a:cubicBezTo>
                    <a:pt x="383" y="555"/>
                    <a:pt x="382" y="553"/>
                    <a:pt x="381" y="551"/>
                  </a:cubicBezTo>
                  <a:cubicBezTo>
                    <a:pt x="380" y="549"/>
                    <a:pt x="380" y="549"/>
                    <a:pt x="379" y="549"/>
                  </a:cubicBezTo>
                  <a:cubicBezTo>
                    <a:pt x="379" y="549"/>
                    <a:pt x="379" y="549"/>
                    <a:pt x="379" y="549"/>
                  </a:cubicBezTo>
                  <a:cubicBezTo>
                    <a:pt x="378" y="548"/>
                    <a:pt x="378" y="548"/>
                    <a:pt x="378" y="548"/>
                  </a:cubicBezTo>
                  <a:cubicBezTo>
                    <a:pt x="378" y="548"/>
                    <a:pt x="378" y="548"/>
                    <a:pt x="378" y="548"/>
                  </a:cubicBezTo>
                  <a:cubicBezTo>
                    <a:pt x="377" y="548"/>
                    <a:pt x="376" y="548"/>
                    <a:pt x="375" y="549"/>
                  </a:cubicBezTo>
                  <a:cubicBezTo>
                    <a:pt x="374" y="549"/>
                    <a:pt x="373" y="550"/>
                    <a:pt x="373" y="550"/>
                  </a:cubicBezTo>
                  <a:cubicBezTo>
                    <a:pt x="369" y="551"/>
                    <a:pt x="366" y="551"/>
                    <a:pt x="364" y="549"/>
                  </a:cubicBezTo>
                  <a:cubicBezTo>
                    <a:pt x="363" y="548"/>
                    <a:pt x="363" y="546"/>
                    <a:pt x="363" y="545"/>
                  </a:cubicBezTo>
                  <a:cubicBezTo>
                    <a:pt x="363" y="544"/>
                    <a:pt x="363" y="543"/>
                    <a:pt x="362" y="543"/>
                  </a:cubicBezTo>
                  <a:cubicBezTo>
                    <a:pt x="361" y="541"/>
                    <a:pt x="358" y="541"/>
                    <a:pt x="355" y="541"/>
                  </a:cubicBezTo>
                  <a:cubicBezTo>
                    <a:pt x="354" y="541"/>
                    <a:pt x="354" y="541"/>
                    <a:pt x="353" y="540"/>
                  </a:cubicBezTo>
                  <a:cubicBezTo>
                    <a:pt x="352" y="539"/>
                    <a:pt x="353" y="535"/>
                    <a:pt x="354" y="532"/>
                  </a:cubicBezTo>
                  <a:cubicBezTo>
                    <a:pt x="355" y="531"/>
                    <a:pt x="355" y="531"/>
                    <a:pt x="355" y="531"/>
                  </a:cubicBezTo>
                  <a:cubicBezTo>
                    <a:pt x="355" y="529"/>
                    <a:pt x="355" y="528"/>
                    <a:pt x="355" y="527"/>
                  </a:cubicBezTo>
                  <a:cubicBezTo>
                    <a:pt x="354" y="526"/>
                    <a:pt x="352" y="525"/>
                    <a:pt x="350" y="525"/>
                  </a:cubicBezTo>
                  <a:cubicBezTo>
                    <a:pt x="348" y="525"/>
                    <a:pt x="347" y="524"/>
                    <a:pt x="346" y="522"/>
                  </a:cubicBezTo>
                  <a:cubicBezTo>
                    <a:pt x="344" y="519"/>
                    <a:pt x="344" y="514"/>
                    <a:pt x="345" y="512"/>
                  </a:cubicBezTo>
                  <a:cubicBezTo>
                    <a:pt x="345" y="512"/>
                    <a:pt x="345" y="512"/>
                    <a:pt x="345" y="512"/>
                  </a:cubicBezTo>
                  <a:cubicBezTo>
                    <a:pt x="344" y="511"/>
                    <a:pt x="341" y="510"/>
                    <a:pt x="337" y="510"/>
                  </a:cubicBezTo>
                  <a:cubicBezTo>
                    <a:pt x="335" y="510"/>
                    <a:pt x="333" y="510"/>
                    <a:pt x="332" y="511"/>
                  </a:cubicBezTo>
                  <a:cubicBezTo>
                    <a:pt x="331" y="511"/>
                    <a:pt x="330" y="511"/>
                    <a:pt x="329" y="511"/>
                  </a:cubicBezTo>
                  <a:cubicBezTo>
                    <a:pt x="329" y="510"/>
                    <a:pt x="329" y="509"/>
                    <a:pt x="329" y="507"/>
                  </a:cubicBezTo>
                  <a:cubicBezTo>
                    <a:pt x="329" y="506"/>
                    <a:pt x="329" y="504"/>
                    <a:pt x="329" y="503"/>
                  </a:cubicBezTo>
                  <a:cubicBezTo>
                    <a:pt x="328" y="500"/>
                    <a:pt x="335" y="488"/>
                    <a:pt x="341" y="482"/>
                  </a:cubicBezTo>
                  <a:cubicBezTo>
                    <a:pt x="346" y="478"/>
                    <a:pt x="345" y="472"/>
                    <a:pt x="345" y="466"/>
                  </a:cubicBezTo>
                  <a:cubicBezTo>
                    <a:pt x="345" y="465"/>
                    <a:pt x="344" y="463"/>
                    <a:pt x="344" y="461"/>
                  </a:cubicBezTo>
                  <a:cubicBezTo>
                    <a:pt x="344" y="455"/>
                    <a:pt x="342" y="455"/>
                    <a:pt x="339" y="455"/>
                  </a:cubicBezTo>
                  <a:cubicBezTo>
                    <a:pt x="335" y="455"/>
                    <a:pt x="335" y="449"/>
                    <a:pt x="335" y="446"/>
                  </a:cubicBezTo>
                  <a:cubicBezTo>
                    <a:pt x="335" y="444"/>
                    <a:pt x="332" y="442"/>
                    <a:pt x="329" y="442"/>
                  </a:cubicBezTo>
                  <a:cubicBezTo>
                    <a:pt x="328" y="442"/>
                    <a:pt x="327" y="442"/>
                    <a:pt x="327" y="442"/>
                  </a:cubicBezTo>
                  <a:cubicBezTo>
                    <a:pt x="326" y="443"/>
                    <a:pt x="325" y="443"/>
                    <a:pt x="324" y="444"/>
                  </a:cubicBezTo>
                  <a:cubicBezTo>
                    <a:pt x="324" y="444"/>
                    <a:pt x="324" y="444"/>
                    <a:pt x="324" y="444"/>
                  </a:cubicBezTo>
                  <a:cubicBezTo>
                    <a:pt x="324" y="444"/>
                    <a:pt x="324" y="444"/>
                    <a:pt x="324" y="444"/>
                  </a:cubicBezTo>
                  <a:cubicBezTo>
                    <a:pt x="323" y="444"/>
                    <a:pt x="316" y="443"/>
                    <a:pt x="315" y="439"/>
                  </a:cubicBezTo>
                  <a:cubicBezTo>
                    <a:pt x="314" y="438"/>
                    <a:pt x="313" y="436"/>
                    <a:pt x="312" y="435"/>
                  </a:cubicBezTo>
                  <a:cubicBezTo>
                    <a:pt x="311" y="433"/>
                    <a:pt x="309" y="431"/>
                    <a:pt x="309" y="429"/>
                  </a:cubicBezTo>
                  <a:cubicBezTo>
                    <a:pt x="309" y="428"/>
                    <a:pt x="309" y="428"/>
                    <a:pt x="308" y="428"/>
                  </a:cubicBezTo>
                  <a:cubicBezTo>
                    <a:pt x="307" y="428"/>
                    <a:pt x="304" y="429"/>
                    <a:pt x="303" y="431"/>
                  </a:cubicBezTo>
                  <a:cubicBezTo>
                    <a:pt x="302" y="431"/>
                    <a:pt x="301" y="432"/>
                    <a:pt x="300" y="432"/>
                  </a:cubicBezTo>
                  <a:cubicBezTo>
                    <a:pt x="299" y="432"/>
                    <a:pt x="297" y="431"/>
                    <a:pt x="296" y="431"/>
                  </a:cubicBezTo>
                  <a:cubicBezTo>
                    <a:pt x="294" y="430"/>
                    <a:pt x="292" y="430"/>
                    <a:pt x="290" y="430"/>
                  </a:cubicBezTo>
                  <a:cubicBezTo>
                    <a:pt x="289" y="430"/>
                    <a:pt x="287" y="430"/>
                    <a:pt x="285" y="431"/>
                  </a:cubicBezTo>
                  <a:cubicBezTo>
                    <a:pt x="282" y="433"/>
                    <a:pt x="280" y="435"/>
                    <a:pt x="278" y="437"/>
                  </a:cubicBezTo>
                  <a:cubicBezTo>
                    <a:pt x="276" y="438"/>
                    <a:pt x="274" y="440"/>
                    <a:pt x="272" y="439"/>
                  </a:cubicBezTo>
                  <a:cubicBezTo>
                    <a:pt x="271" y="439"/>
                    <a:pt x="270" y="440"/>
                    <a:pt x="269" y="442"/>
                  </a:cubicBezTo>
                  <a:cubicBezTo>
                    <a:pt x="269" y="443"/>
                    <a:pt x="268" y="444"/>
                    <a:pt x="267" y="445"/>
                  </a:cubicBezTo>
                  <a:cubicBezTo>
                    <a:pt x="266" y="446"/>
                    <a:pt x="265" y="447"/>
                    <a:pt x="265" y="448"/>
                  </a:cubicBezTo>
                  <a:cubicBezTo>
                    <a:pt x="263" y="450"/>
                    <a:pt x="261" y="451"/>
                    <a:pt x="260" y="451"/>
                  </a:cubicBezTo>
                  <a:cubicBezTo>
                    <a:pt x="259" y="451"/>
                    <a:pt x="258" y="452"/>
                    <a:pt x="255" y="453"/>
                  </a:cubicBezTo>
                  <a:cubicBezTo>
                    <a:pt x="255" y="453"/>
                    <a:pt x="255" y="453"/>
                    <a:pt x="255" y="453"/>
                  </a:cubicBezTo>
                  <a:cubicBezTo>
                    <a:pt x="254" y="453"/>
                    <a:pt x="254" y="453"/>
                    <a:pt x="254" y="453"/>
                  </a:cubicBezTo>
                  <a:cubicBezTo>
                    <a:pt x="250" y="450"/>
                    <a:pt x="248" y="449"/>
                    <a:pt x="246" y="449"/>
                  </a:cubicBezTo>
                  <a:cubicBezTo>
                    <a:pt x="245" y="449"/>
                    <a:pt x="245" y="449"/>
                    <a:pt x="244" y="449"/>
                  </a:cubicBezTo>
                  <a:cubicBezTo>
                    <a:pt x="243" y="449"/>
                    <a:pt x="242" y="450"/>
                    <a:pt x="241" y="450"/>
                  </a:cubicBezTo>
                  <a:cubicBezTo>
                    <a:pt x="240" y="450"/>
                    <a:pt x="239" y="449"/>
                    <a:pt x="238" y="449"/>
                  </a:cubicBezTo>
                  <a:cubicBezTo>
                    <a:pt x="234" y="447"/>
                    <a:pt x="231" y="445"/>
                    <a:pt x="229" y="445"/>
                  </a:cubicBezTo>
                  <a:cubicBezTo>
                    <a:pt x="228" y="445"/>
                    <a:pt x="227" y="446"/>
                    <a:pt x="226" y="447"/>
                  </a:cubicBezTo>
                  <a:cubicBezTo>
                    <a:pt x="225" y="447"/>
                    <a:pt x="224" y="448"/>
                    <a:pt x="223" y="448"/>
                  </a:cubicBezTo>
                  <a:cubicBezTo>
                    <a:pt x="221" y="449"/>
                    <a:pt x="218" y="451"/>
                    <a:pt x="216" y="455"/>
                  </a:cubicBezTo>
                  <a:cubicBezTo>
                    <a:pt x="215" y="458"/>
                    <a:pt x="214" y="460"/>
                    <a:pt x="213" y="462"/>
                  </a:cubicBezTo>
                  <a:cubicBezTo>
                    <a:pt x="212" y="462"/>
                    <a:pt x="212" y="462"/>
                    <a:pt x="212" y="462"/>
                  </a:cubicBezTo>
                  <a:cubicBezTo>
                    <a:pt x="212" y="462"/>
                    <a:pt x="212" y="462"/>
                    <a:pt x="212" y="462"/>
                  </a:cubicBezTo>
                  <a:cubicBezTo>
                    <a:pt x="211" y="459"/>
                    <a:pt x="210" y="457"/>
                    <a:pt x="211" y="455"/>
                  </a:cubicBezTo>
                  <a:cubicBezTo>
                    <a:pt x="212" y="452"/>
                    <a:pt x="211" y="449"/>
                    <a:pt x="210" y="448"/>
                  </a:cubicBezTo>
                  <a:cubicBezTo>
                    <a:pt x="209" y="447"/>
                    <a:pt x="208" y="447"/>
                    <a:pt x="207" y="448"/>
                  </a:cubicBezTo>
                  <a:cubicBezTo>
                    <a:pt x="206" y="449"/>
                    <a:pt x="205" y="450"/>
                    <a:pt x="204" y="450"/>
                  </a:cubicBezTo>
                  <a:cubicBezTo>
                    <a:pt x="203" y="451"/>
                    <a:pt x="203" y="451"/>
                    <a:pt x="202" y="451"/>
                  </a:cubicBezTo>
                  <a:cubicBezTo>
                    <a:pt x="202" y="452"/>
                    <a:pt x="202" y="452"/>
                    <a:pt x="202" y="452"/>
                  </a:cubicBezTo>
                  <a:cubicBezTo>
                    <a:pt x="202" y="452"/>
                    <a:pt x="202" y="452"/>
                    <a:pt x="202" y="452"/>
                  </a:cubicBezTo>
                  <a:cubicBezTo>
                    <a:pt x="201" y="452"/>
                    <a:pt x="200" y="452"/>
                    <a:pt x="199" y="452"/>
                  </a:cubicBezTo>
                  <a:cubicBezTo>
                    <a:pt x="194" y="452"/>
                    <a:pt x="190" y="451"/>
                    <a:pt x="187" y="449"/>
                  </a:cubicBezTo>
                  <a:cubicBezTo>
                    <a:pt x="185" y="449"/>
                    <a:pt x="182" y="448"/>
                    <a:pt x="180" y="448"/>
                  </a:cubicBezTo>
                  <a:cubicBezTo>
                    <a:pt x="179" y="448"/>
                    <a:pt x="179" y="448"/>
                    <a:pt x="179" y="448"/>
                  </a:cubicBezTo>
                  <a:cubicBezTo>
                    <a:pt x="174" y="448"/>
                    <a:pt x="158" y="442"/>
                    <a:pt x="151" y="437"/>
                  </a:cubicBezTo>
                  <a:cubicBezTo>
                    <a:pt x="148" y="434"/>
                    <a:pt x="143" y="431"/>
                    <a:pt x="138" y="427"/>
                  </a:cubicBezTo>
                  <a:cubicBezTo>
                    <a:pt x="131" y="422"/>
                    <a:pt x="124" y="418"/>
                    <a:pt x="122" y="415"/>
                  </a:cubicBezTo>
                  <a:cubicBezTo>
                    <a:pt x="119" y="412"/>
                    <a:pt x="116" y="411"/>
                    <a:pt x="114" y="411"/>
                  </a:cubicBezTo>
                  <a:cubicBezTo>
                    <a:pt x="112" y="411"/>
                    <a:pt x="111" y="412"/>
                    <a:pt x="111" y="412"/>
                  </a:cubicBezTo>
                  <a:cubicBezTo>
                    <a:pt x="110" y="415"/>
                    <a:pt x="107" y="415"/>
                    <a:pt x="103" y="415"/>
                  </a:cubicBezTo>
                  <a:cubicBezTo>
                    <a:pt x="101" y="416"/>
                    <a:pt x="101" y="416"/>
                    <a:pt x="101" y="416"/>
                  </a:cubicBezTo>
                  <a:cubicBezTo>
                    <a:pt x="101" y="415"/>
                    <a:pt x="101" y="415"/>
                    <a:pt x="101" y="415"/>
                  </a:cubicBezTo>
                  <a:cubicBezTo>
                    <a:pt x="101" y="414"/>
                    <a:pt x="101" y="414"/>
                    <a:pt x="101" y="414"/>
                  </a:cubicBezTo>
                  <a:cubicBezTo>
                    <a:pt x="101" y="413"/>
                    <a:pt x="98" y="410"/>
                    <a:pt x="95" y="408"/>
                  </a:cubicBezTo>
                  <a:cubicBezTo>
                    <a:pt x="95" y="408"/>
                    <a:pt x="95" y="408"/>
                    <a:pt x="95" y="408"/>
                  </a:cubicBezTo>
                  <a:cubicBezTo>
                    <a:pt x="95" y="408"/>
                    <a:pt x="95" y="408"/>
                    <a:pt x="95" y="408"/>
                  </a:cubicBezTo>
                  <a:cubicBezTo>
                    <a:pt x="95" y="408"/>
                    <a:pt x="91" y="401"/>
                    <a:pt x="87" y="401"/>
                  </a:cubicBezTo>
                  <a:cubicBezTo>
                    <a:pt x="84" y="401"/>
                    <a:pt x="82" y="399"/>
                    <a:pt x="80" y="396"/>
                  </a:cubicBezTo>
                  <a:cubicBezTo>
                    <a:pt x="78" y="394"/>
                    <a:pt x="76" y="393"/>
                    <a:pt x="75" y="392"/>
                  </a:cubicBezTo>
                  <a:cubicBezTo>
                    <a:pt x="72" y="392"/>
                    <a:pt x="71" y="389"/>
                    <a:pt x="71" y="386"/>
                  </a:cubicBezTo>
                  <a:cubicBezTo>
                    <a:pt x="70" y="384"/>
                    <a:pt x="70" y="382"/>
                    <a:pt x="69" y="381"/>
                  </a:cubicBezTo>
                  <a:cubicBezTo>
                    <a:pt x="68" y="379"/>
                    <a:pt x="68" y="376"/>
                    <a:pt x="69" y="374"/>
                  </a:cubicBezTo>
                  <a:cubicBezTo>
                    <a:pt x="70" y="372"/>
                    <a:pt x="71" y="372"/>
                    <a:pt x="73" y="374"/>
                  </a:cubicBezTo>
                  <a:cubicBezTo>
                    <a:pt x="74" y="374"/>
                    <a:pt x="76" y="375"/>
                    <a:pt x="77" y="375"/>
                  </a:cubicBezTo>
                  <a:cubicBezTo>
                    <a:pt x="79" y="375"/>
                    <a:pt x="81" y="374"/>
                    <a:pt x="81" y="373"/>
                  </a:cubicBezTo>
                  <a:cubicBezTo>
                    <a:pt x="82" y="372"/>
                    <a:pt x="82" y="370"/>
                    <a:pt x="81" y="369"/>
                  </a:cubicBezTo>
                  <a:cubicBezTo>
                    <a:pt x="80" y="367"/>
                    <a:pt x="78" y="365"/>
                    <a:pt x="77" y="363"/>
                  </a:cubicBezTo>
                  <a:cubicBezTo>
                    <a:pt x="75" y="360"/>
                    <a:pt x="73" y="358"/>
                    <a:pt x="73" y="356"/>
                  </a:cubicBezTo>
                  <a:cubicBezTo>
                    <a:pt x="73" y="355"/>
                    <a:pt x="73" y="354"/>
                    <a:pt x="74" y="353"/>
                  </a:cubicBezTo>
                  <a:cubicBezTo>
                    <a:pt x="74" y="352"/>
                    <a:pt x="74" y="352"/>
                    <a:pt x="74" y="351"/>
                  </a:cubicBezTo>
                  <a:cubicBezTo>
                    <a:pt x="74" y="351"/>
                    <a:pt x="74" y="351"/>
                    <a:pt x="74" y="351"/>
                  </a:cubicBezTo>
                  <a:cubicBezTo>
                    <a:pt x="75" y="351"/>
                    <a:pt x="75" y="351"/>
                    <a:pt x="75" y="351"/>
                  </a:cubicBezTo>
                  <a:cubicBezTo>
                    <a:pt x="77" y="350"/>
                    <a:pt x="79" y="350"/>
                    <a:pt x="81" y="350"/>
                  </a:cubicBezTo>
                  <a:cubicBezTo>
                    <a:pt x="85" y="349"/>
                    <a:pt x="93" y="336"/>
                    <a:pt x="95" y="333"/>
                  </a:cubicBezTo>
                  <a:cubicBezTo>
                    <a:pt x="95" y="332"/>
                    <a:pt x="95" y="331"/>
                    <a:pt x="94" y="330"/>
                  </a:cubicBezTo>
                  <a:cubicBezTo>
                    <a:pt x="91" y="326"/>
                    <a:pt x="83" y="320"/>
                    <a:pt x="78" y="320"/>
                  </a:cubicBezTo>
                  <a:cubicBezTo>
                    <a:pt x="73" y="319"/>
                    <a:pt x="64" y="324"/>
                    <a:pt x="62" y="329"/>
                  </a:cubicBezTo>
                  <a:cubicBezTo>
                    <a:pt x="62" y="330"/>
                    <a:pt x="62" y="330"/>
                    <a:pt x="62" y="330"/>
                  </a:cubicBezTo>
                  <a:cubicBezTo>
                    <a:pt x="62" y="329"/>
                    <a:pt x="62" y="329"/>
                    <a:pt x="62" y="329"/>
                  </a:cubicBezTo>
                  <a:cubicBezTo>
                    <a:pt x="60" y="328"/>
                    <a:pt x="59" y="327"/>
                    <a:pt x="59" y="326"/>
                  </a:cubicBezTo>
                  <a:cubicBezTo>
                    <a:pt x="53" y="327"/>
                    <a:pt x="53" y="327"/>
                    <a:pt x="53" y="327"/>
                  </a:cubicBezTo>
                  <a:cubicBezTo>
                    <a:pt x="53" y="328"/>
                    <a:pt x="53" y="328"/>
                    <a:pt x="53" y="328"/>
                  </a:cubicBezTo>
                  <a:cubicBezTo>
                    <a:pt x="52" y="328"/>
                    <a:pt x="52" y="328"/>
                    <a:pt x="52" y="328"/>
                  </a:cubicBezTo>
                  <a:cubicBezTo>
                    <a:pt x="49" y="326"/>
                    <a:pt x="45" y="324"/>
                    <a:pt x="41" y="322"/>
                  </a:cubicBezTo>
                  <a:cubicBezTo>
                    <a:pt x="34" y="319"/>
                    <a:pt x="33" y="313"/>
                    <a:pt x="33" y="311"/>
                  </a:cubicBezTo>
                  <a:cubicBezTo>
                    <a:pt x="33" y="310"/>
                    <a:pt x="29" y="307"/>
                    <a:pt x="26" y="305"/>
                  </a:cubicBezTo>
                  <a:cubicBezTo>
                    <a:pt x="24" y="303"/>
                    <a:pt x="22" y="302"/>
                    <a:pt x="20" y="300"/>
                  </a:cubicBezTo>
                  <a:cubicBezTo>
                    <a:pt x="19" y="300"/>
                    <a:pt x="19" y="300"/>
                    <a:pt x="19" y="300"/>
                  </a:cubicBezTo>
                  <a:cubicBezTo>
                    <a:pt x="20" y="299"/>
                    <a:pt x="20" y="299"/>
                    <a:pt x="20" y="299"/>
                  </a:cubicBezTo>
                  <a:cubicBezTo>
                    <a:pt x="20" y="297"/>
                    <a:pt x="18" y="285"/>
                    <a:pt x="17" y="280"/>
                  </a:cubicBezTo>
                  <a:cubicBezTo>
                    <a:pt x="17" y="277"/>
                    <a:pt x="7" y="273"/>
                    <a:pt x="3" y="272"/>
                  </a:cubicBezTo>
                  <a:cubicBezTo>
                    <a:pt x="3" y="272"/>
                    <a:pt x="3" y="272"/>
                    <a:pt x="3" y="272"/>
                  </a:cubicBezTo>
                  <a:cubicBezTo>
                    <a:pt x="3" y="271"/>
                    <a:pt x="3" y="271"/>
                    <a:pt x="3" y="271"/>
                  </a:cubicBezTo>
                  <a:cubicBezTo>
                    <a:pt x="1" y="259"/>
                    <a:pt x="1" y="259"/>
                    <a:pt x="1" y="259"/>
                  </a:cubicBezTo>
                  <a:cubicBezTo>
                    <a:pt x="0" y="259"/>
                    <a:pt x="0" y="259"/>
                    <a:pt x="0" y="259"/>
                  </a:cubicBezTo>
                  <a:cubicBezTo>
                    <a:pt x="1" y="258"/>
                    <a:pt x="1" y="258"/>
                    <a:pt x="1" y="258"/>
                  </a:cubicBezTo>
                  <a:cubicBezTo>
                    <a:pt x="3" y="256"/>
                    <a:pt x="3" y="253"/>
                    <a:pt x="3" y="251"/>
                  </a:cubicBezTo>
                  <a:cubicBezTo>
                    <a:pt x="3" y="248"/>
                    <a:pt x="5" y="248"/>
                    <a:pt x="7" y="247"/>
                  </a:cubicBezTo>
                  <a:cubicBezTo>
                    <a:pt x="8" y="247"/>
                    <a:pt x="9" y="247"/>
                    <a:pt x="10" y="247"/>
                  </a:cubicBezTo>
                  <a:cubicBezTo>
                    <a:pt x="11" y="247"/>
                    <a:pt x="13" y="245"/>
                    <a:pt x="14" y="244"/>
                  </a:cubicBezTo>
                  <a:cubicBezTo>
                    <a:pt x="15" y="243"/>
                    <a:pt x="17" y="242"/>
                    <a:pt x="18" y="242"/>
                  </a:cubicBezTo>
                  <a:cubicBezTo>
                    <a:pt x="19" y="242"/>
                    <a:pt x="20" y="241"/>
                    <a:pt x="22" y="240"/>
                  </a:cubicBezTo>
                  <a:cubicBezTo>
                    <a:pt x="23" y="240"/>
                    <a:pt x="25" y="239"/>
                    <a:pt x="26" y="239"/>
                  </a:cubicBezTo>
                  <a:cubicBezTo>
                    <a:pt x="27" y="239"/>
                    <a:pt x="27" y="239"/>
                    <a:pt x="27" y="239"/>
                  </a:cubicBezTo>
                  <a:cubicBezTo>
                    <a:pt x="28" y="239"/>
                    <a:pt x="29" y="240"/>
                    <a:pt x="30" y="241"/>
                  </a:cubicBezTo>
                  <a:cubicBezTo>
                    <a:pt x="31" y="242"/>
                    <a:pt x="32" y="243"/>
                    <a:pt x="34" y="243"/>
                  </a:cubicBezTo>
                  <a:cubicBezTo>
                    <a:pt x="34" y="243"/>
                    <a:pt x="35" y="242"/>
                    <a:pt x="36" y="242"/>
                  </a:cubicBezTo>
                  <a:cubicBezTo>
                    <a:pt x="37" y="241"/>
                    <a:pt x="38" y="241"/>
                    <a:pt x="39" y="240"/>
                  </a:cubicBezTo>
                  <a:cubicBezTo>
                    <a:pt x="40" y="240"/>
                    <a:pt x="42" y="239"/>
                    <a:pt x="44" y="236"/>
                  </a:cubicBezTo>
                  <a:cubicBezTo>
                    <a:pt x="47" y="232"/>
                    <a:pt x="50" y="232"/>
                    <a:pt x="52" y="232"/>
                  </a:cubicBezTo>
                  <a:cubicBezTo>
                    <a:pt x="54" y="232"/>
                    <a:pt x="55" y="232"/>
                    <a:pt x="56" y="232"/>
                  </a:cubicBezTo>
                  <a:cubicBezTo>
                    <a:pt x="57" y="232"/>
                    <a:pt x="57" y="232"/>
                    <a:pt x="58" y="232"/>
                  </a:cubicBezTo>
                  <a:cubicBezTo>
                    <a:pt x="59" y="232"/>
                    <a:pt x="59" y="232"/>
                    <a:pt x="60" y="232"/>
                  </a:cubicBezTo>
                  <a:cubicBezTo>
                    <a:pt x="65" y="232"/>
                    <a:pt x="67" y="229"/>
                    <a:pt x="69" y="226"/>
                  </a:cubicBezTo>
                  <a:cubicBezTo>
                    <a:pt x="70" y="223"/>
                    <a:pt x="73" y="222"/>
                    <a:pt x="76" y="222"/>
                  </a:cubicBezTo>
                  <a:cubicBezTo>
                    <a:pt x="77" y="221"/>
                    <a:pt x="79" y="220"/>
                    <a:pt x="80" y="219"/>
                  </a:cubicBezTo>
                  <a:cubicBezTo>
                    <a:pt x="84" y="217"/>
                    <a:pt x="90" y="214"/>
                    <a:pt x="93" y="213"/>
                  </a:cubicBezTo>
                  <a:cubicBezTo>
                    <a:pt x="93" y="213"/>
                    <a:pt x="93" y="213"/>
                    <a:pt x="93" y="213"/>
                  </a:cubicBezTo>
                  <a:cubicBezTo>
                    <a:pt x="95" y="212"/>
                    <a:pt x="95" y="211"/>
                    <a:pt x="94" y="208"/>
                  </a:cubicBezTo>
                  <a:cubicBezTo>
                    <a:pt x="94" y="207"/>
                    <a:pt x="94" y="205"/>
                    <a:pt x="94" y="204"/>
                  </a:cubicBezTo>
                  <a:cubicBezTo>
                    <a:pt x="94" y="202"/>
                    <a:pt x="97" y="199"/>
                    <a:pt x="99" y="197"/>
                  </a:cubicBezTo>
                  <a:cubicBezTo>
                    <a:pt x="100" y="196"/>
                    <a:pt x="101" y="194"/>
                    <a:pt x="102" y="193"/>
                  </a:cubicBezTo>
                  <a:cubicBezTo>
                    <a:pt x="103" y="191"/>
                    <a:pt x="100" y="187"/>
                    <a:pt x="99" y="184"/>
                  </a:cubicBezTo>
                  <a:cubicBezTo>
                    <a:pt x="97" y="181"/>
                    <a:pt x="96" y="179"/>
                    <a:pt x="96" y="177"/>
                  </a:cubicBezTo>
                  <a:cubicBezTo>
                    <a:pt x="96" y="174"/>
                    <a:pt x="96" y="167"/>
                    <a:pt x="93" y="165"/>
                  </a:cubicBezTo>
                  <a:cubicBezTo>
                    <a:pt x="92" y="165"/>
                    <a:pt x="92" y="164"/>
                    <a:pt x="92" y="163"/>
                  </a:cubicBezTo>
                  <a:cubicBezTo>
                    <a:pt x="93" y="161"/>
                    <a:pt x="100" y="158"/>
                    <a:pt x="102" y="158"/>
                  </a:cubicBezTo>
                  <a:cubicBezTo>
                    <a:pt x="102" y="158"/>
                    <a:pt x="102" y="158"/>
                    <a:pt x="102" y="158"/>
                  </a:cubicBezTo>
                  <a:cubicBezTo>
                    <a:pt x="104" y="158"/>
                    <a:pt x="107" y="157"/>
                    <a:pt x="109" y="157"/>
                  </a:cubicBezTo>
                  <a:cubicBezTo>
                    <a:pt x="111" y="156"/>
                    <a:pt x="112" y="155"/>
                    <a:pt x="114" y="155"/>
                  </a:cubicBezTo>
                  <a:cubicBezTo>
                    <a:pt x="115" y="155"/>
                    <a:pt x="115" y="155"/>
                    <a:pt x="116" y="156"/>
                  </a:cubicBezTo>
                  <a:cubicBezTo>
                    <a:pt x="117" y="158"/>
                    <a:pt x="121" y="158"/>
                    <a:pt x="126" y="158"/>
                  </a:cubicBezTo>
                  <a:cubicBezTo>
                    <a:pt x="127" y="158"/>
                    <a:pt x="127" y="158"/>
                    <a:pt x="128" y="157"/>
                  </a:cubicBezTo>
                  <a:cubicBezTo>
                    <a:pt x="128" y="156"/>
                    <a:pt x="127" y="154"/>
                    <a:pt x="125" y="152"/>
                  </a:cubicBezTo>
                  <a:cubicBezTo>
                    <a:pt x="124" y="151"/>
                    <a:pt x="126" y="145"/>
                    <a:pt x="130" y="135"/>
                  </a:cubicBezTo>
                  <a:cubicBezTo>
                    <a:pt x="132" y="131"/>
                    <a:pt x="134" y="126"/>
                    <a:pt x="134" y="124"/>
                  </a:cubicBezTo>
                  <a:cubicBezTo>
                    <a:pt x="135" y="122"/>
                    <a:pt x="135" y="121"/>
                    <a:pt x="137" y="121"/>
                  </a:cubicBezTo>
                  <a:cubicBezTo>
                    <a:pt x="138" y="121"/>
                    <a:pt x="139" y="121"/>
                    <a:pt x="140" y="122"/>
                  </a:cubicBezTo>
                  <a:cubicBezTo>
                    <a:pt x="142" y="123"/>
                    <a:pt x="143" y="123"/>
                    <a:pt x="145" y="124"/>
                  </a:cubicBezTo>
                  <a:cubicBezTo>
                    <a:pt x="146" y="124"/>
                    <a:pt x="148" y="124"/>
                    <a:pt x="150" y="124"/>
                  </a:cubicBezTo>
                  <a:cubicBezTo>
                    <a:pt x="153" y="124"/>
                    <a:pt x="156" y="124"/>
                    <a:pt x="158" y="125"/>
                  </a:cubicBezTo>
                  <a:cubicBezTo>
                    <a:pt x="159" y="125"/>
                    <a:pt x="159" y="125"/>
                    <a:pt x="160" y="125"/>
                  </a:cubicBezTo>
                  <a:cubicBezTo>
                    <a:pt x="164" y="125"/>
                    <a:pt x="170" y="122"/>
                    <a:pt x="171" y="120"/>
                  </a:cubicBezTo>
                  <a:cubicBezTo>
                    <a:pt x="172" y="119"/>
                    <a:pt x="172" y="118"/>
                    <a:pt x="171" y="116"/>
                  </a:cubicBezTo>
                  <a:cubicBezTo>
                    <a:pt x="170" y="115"/>
                    <a:pt x="169" y="113"/>
                    <a:pt x="169" y="109"/>
                  </a:cubicBezTo>
                  <a:cubicBezTo>
                    <a:pt x="169" y="101"/>
                    <a:pt x="174" y="97"/>
                    <a:pt x="179" y="97"/>
                  </a:cubicBezTo>
                  <a:cubicBezTo>
                    <a:pt x="185" y="97"/>
                    <a:pt x="185" y="91"/>
                    <a:pt x="185" y="90"/>
                  </a:cubicBezTo>
                  <a:cubicBezTo>
                    <a:pt x="185" y="88"/>
                    <a:pt x="186" y="86"/>
                    <a:pt x="187" y="85"/>
                  </a:cubicBezTo>
                  <a:cubicBezTo>
                    <a:pt x="188" y="83"/>
                    <a:pt x="189" y="82"/>
                    <a:pt x="190" y="80"/>
                  </a:cubicBezTo>
                  <a:cubicBezTo>
                    <a:pt x="190" y="79"/>
                    <a:pt x="190" y="79"/>
                    <a:pt x="190" y="79"/>
                  </a:cubicBezTo>
                  <a:cubicBezTo>
                    <a:pt x="191" y="80"/>
                    <a:pt x="191" y="80"/>
                    <a:pt x="191" y="80"/>
                  </a:cubicBezTo>
                  <a:cubicBezTo>
                    <a:pt x="192" y="81"/>
                    <a:pt x="193" y="82"/>
                    <a:pt x="194" y="82"/>
                  </a:cubicBezTo>
                  <a:cubicBezTo>
                    <a:pt x="195" y="82"/>
                    <a:pt x="196" y="82"/>
                    <a:pt x="197" y="82"/>
                  </a:cubicBezTo>
                  <a:cubicBezTo>
                    <a:pt x="198" y="83"/>
                    <a:pt x="199" y="83"/>
                    <a:pt x="200" y="83"/>
                  </a:cubicBezTo>
                  <a:cubicBezTo>
                    <a:pt x="200" y="83"/>
                    <a:pt x="200" y="83"/>
                    <a:pt x="200" y="83"/>
                  </a:cubicBezTo>
                  <a:cubicBezTo>
                    <a:pt x="200" y="84"/>
                    <a:pt x="200" y="84"/>
                    <a:pt x="200" y="84"/>
                  </a:cubicBezTo>
                  <a:cubicBezTo>
                    <a:pt x="200" y="84"/>
                    <a:pt x="201" y="84"/>
                    <a:pt x="201" y="85"/>
                  </a:cubicBezTo>
                  <a:cubicBezTo>
                    <a:pt x="202" y="92"/>
                    <a:pt x="204" y="94"/>
                    <a:pt x="208" y="96"/>
                  </a:cubicBezTo>
                  <a:cubicBezTo>
                    <a:pt x="209" y="96"/>
                    <a:pt x="210" y="97"/>
                    <a:pt x="211" y="98"/>
                  </a:cubicBezTo>
                  <a:cubicBezTo>
                    <a:pt x="215" y="102"/>
                    <a:pt x="219" y="105"/>
                    <a:pt x="224" y="105"/>
                  </a:cubicBezTo>
                  <a:cubicBezTo>
                    <a:pt x="229" y="105"/>
                    <a:pt x="236" y="111"/>
                    <a:pt x="237" y="116"/>
                  </a:cubicBezTo>
                  <a:cubicBezTo>
                    <a:pt x="237" y="120"/>
                    <a:pt x="242" y="124"/>
                    <a:pt x="244" y="126"/>
                  </a:cubicBezTo>
                  <a:cubicBezTo>
                    <a:pt x="246" y="128"/>
                    <a:pt x="245" y="131"/>
                    <a:pt x="245" y="135"/>
                  </a:cubicBezTo>
                  <a:cubicBezTo>
                    <a:pt x="244" y="137"/>
                    <a:pt x="244" y="139"/>
                    <a:pt x="244" y="141"/>
                  </a:cubicBezTo>
                  <a:cubicBezTo>
                    <a:pt x="244" y="144"/>
                    <a:pt x="242" y="145"/>
                    <a:pt x="241" y="147"/>
                  </a:cubicBezTo>
                  <a:cubicBezTo>
                    <a:pt x="240" y="149"/>
                    <a:pt x="239" y="150"/>
                    <a:pt x="240" y="153"/>
                  </a:cubicBezTo>
                  <a:cubicBezTo>
                    <a:pt x="243" y="158"/>
                    <a:pt x="266" y="161"/>
                    <a:pt x="273" y="161"/>
                  </a:cubicBezTo>
                  <a:cubicBezTo>
                    <a:pt x="277" y="161"/>
                    <a:pt x="280" y="164"/>
                    <a:pt x="282" y="166"/>
                  </a:cubicBezTo>
                  <a:cubicBezTo>
                    <a:pt x="282" y="167"/>
                    <a:pt x="283" y="167"/>
                    <a:pt x="284" y="167"/>
                  </a:cubicBezTo>
                  <a:cubicBezTo>
                    <a:pt x="286" y="168"/>
                    <a:pt x="287" y="169"/>
                    <a:pt x="288" y="171"/>
                  </a:cubicBezTo>
                  <a:cubicBezTo>
                    <a:pt x="290" y="172"/>
                    <a:pt x="291" y="173"/>
                    <a:pt x="293" y="174"/>
                  </a:cubicBezTo>
                  <a:cubicBezTo>
                    <a:pt x="299" y="175"/>
                    <a:pt x="303" y="179"/>
                    <a:pt x="305" y="186"/>
                  </a:cubicBezTo>
                  <a:cubicBezTo>
                    <a:pt x="306" y="191"/>
                    <a:pt x="308" y="194"/>
                    <a:pt x="310" y="197"/>
                  </a:cubicBezTo>
                  <a:cubicBezTo>
                    <a:pt x="311" y="198"/>
                    <a:pt x="313" y="200"/>
                    <a:pt x="313" y="201"/>
                  </a:cubicBezTo>
                  <a:cubicBezTo>
                    <a:pt x="313" y="203"/>
                    <a:pt x="315" y="203"/>
                    <a:pt x="318" y="203"/>
                  </a:cubicBezTo>
                  <a:cubicBezTo>
                    <a:pt x="319" y="203"/>
                    <a:pt x="321" y="203"/>
                    <a:pt x="322" y="203"/>
                  </a:cubicBezTo>
                  <a:cubicBezTo>
                    <a:pt x="324" y="203"/>
                    <a:pt x="326" y="203"/>
                    <a:pt x="327" y="203"/>
                  </a:cubicBezTo>
                  <a:cubicBezTo>
                    <a:pt x="329" y="203"/>
                    <a:pt x="330" y="203"/>
                    <a:pt x="331" y="203"/>
                  </a:cubicBezTo>
                  <a:cubicBezTo>
                    <a:pt x="335" y="203"/>
                    <a:pt x="342" y="203"/>
                    <a:pt x="349" y="203"/>
                  </a:cubicBezTo>
                  <a:cubicBezTo>
                    <a:pt x="356" y="203"/>
                    <a:pt x="363" y="203"/>
                    <a:pt x="366" y="204"/>
                  </a:cubicBezTo>
                  <a:cubicBezTo>
                    <a:pt x="367" y="204"/>
                    <a:pt x="369" y="204"/>
                    <a:pt x="371" y="204"/>
                  </a:cubicBezTo>
                  <a:cubicBezTo>
                    <a:pt x="378" y="205"/>
                    <a:pt x="387" y="205"/>
                    <a:pt x="392" y="210"/>
                  </a:cubicBezTo>
                  <a:cubicBezTo>
                    <a:pt x="396" y="212"/>
                    <a:pt x="398" y="212"/>
                    <a:pt x="400" y="212"/>
                  </a:cubicBezTo>
                  <a:cubicBezTo>
                    <a:pt x="401" y="212"/>
                    <a:pt x="402" y="212"/>
                    <a:pt x="402" y="212"/>
                  </a:cubicBezTo>
                  <a:cubicBezTo>
                    <a:pt x="403" y="212"/>
                    <a:pt x="404" y="212"/>
                    <a:pt x="404" y="212"/>
                  </a:cubicBezTo>
                  <a:cubicBezTo>
                    <a:pt x="405" y="212"/>
                    <a:pt x="407" y="212"/>
                    <a:pt x="408" y="213"/>
                  </a:cubicBezTo>
                  <a:cubicBezTo>
                    <a:pt x="412" y="216"/>
                    <a:pt x="415" y="217"/>
                    <a:pt x="420" y="217"/>
                  </a:cubicBezTo>
                  <a:cubicBezTo>
                    <a:pt x="421" y="217"/>
                    <a:pt x="422" y="217"/>
                    <a:pt x="423" y="217"/>
                  </a:cubicBezTo>
                  <a:cubicBezTo>
                    <a:pt x="424" y="217"/>
                    <a:pt x="424" y="217"/>
                    <a:pt x="424" y="217"/>
                  </a:cubicBezTo>
                  <a:cubicBezTo>
                    <a:pt x="428" y="217"/>
                    <a:pt x="429" y="218"/>
                    <a:pt x="430" y="220"/>
                  </a:cubicBezTo>
                  <a:cubicBezTo>
                    <a:pt x="432" y="221"/>
                    <a:pt x="433" y="222"/>
                    <a:pt x="434" y="223"/>
                  </a:cubicBezTo>
                  <a:cubicBezTo>
                    <a:pt x="437" y="223"/>
                    <a:pt x="441" y="221"/>
                    <a:pt x="446" y="217"/>
                  </a:cubicBezTo>
                  <a:cubicBezTo>
                    <a:pt x="450" y="215"/>
                    <a:pt x="454" y="212"/>
                    <a:pt x="459" y="210"/>
                  </a:cubicBezTo>
                  <a:cubicBezTo>
                    <a:pt x="464" y="208"/>
                    <a:pt x="469" y="206"/>
                    <a:pt x="475" y="206"/>
                  </a:cubicBezTo>
                  <a:cubicBezTo>
                    <a:pt x="480" y="206"/>
                    <a:pt x="486" y="207"/>
                    <a:pt x="489" y="208"/>
                  </a:cubicBezTo>
                  <a:cubicBezTo>
                    <a:pt x="491" y="208"/>
                    <a:pt x="492" y="208"/>
                    <a:pt x="493" y="209"/>
                  </a:cubicBezTo>
                  <a:cubicBezTo>
                    <a:pt x="493" y="209"/>
                    <a:pt x="494" y="209"/>
                    <a:pt x="495" y="209"/>
                  </a:cubicBezTo>
                  <a:cubicBezTo>
                    <a:pt x="501" y="209"/>
                    <a:pt x="512" y="205"/>
                    <a:pt x="518" y="198"/>
                  </a:cubicBezTo>
                  <a:cubicBezTo>
                    <a:pt x="522" y="194"/>
                    <a:pt x="526" y="192"/>
                    <a:pt x="529" y="190"/>
                  </a:cubicBezTo>
                  <a:cubicBezTo>
                    <a:pt x="533" y="189"/>
                    <a:pt x="536" y="187"/>
                    <a:pt x="536" y="184"/>
                  </a:cubicBezTo>
                  <a:cubicBezTo>
                    <a:pt x="536" y="180"/>
                    <a:pt x="535" y="178"/>
                    <a:pt x="534" y="176"/>
                  </a:cubicBezTo>
                  <a:cubicBezTo>
                    <a:pt x="532" y="173"/>
                    <a:pt x="530" y="170"/>
                    <a:pt x="532" y="167"/>
                  </a:cubicBezTo>
                  <a:cubicBezTo>
                    <a:pt x="535" y="162"/>
                    <a:pt x="539" y="161"/>
                    <a:pt x="541" y="161"/>
                  </a:cubicBezTo>
                  <a:cubicBezTo>
                    <a:pt x="543" y="161"/>
                    <a:pt x="545" y="162"/>
                    <a:pt x="547" y="163"/>
                  </a:cubicBezTo>
                  <a:cubicBezTo>
                    <a:pt x="549" y="164"/>
                    <a:pt x="553" y="165"/>
                    <a:pt x="557" y="165"/>
                  </a:cubicBezTo>
                  <a:cubicBezTo>
                    <a:pt x="562" y="165"/>
                    <a:pt x="566" y="164"/>
                    <a:pt x="570" y="161"/>
                  </a:cubicBezTo>
                  <a:cubicBezTo>
                    <a:pt x="578" y="155"/>
                    <a:pt x="582" y="155"/>
                    <a:pt x="588" y="155"/>
                  </a:cubicBezTo>
                  <a:cubicBezTo>
                    <a:pt x="589" y="155"/>
                    <a:pt x="590" y="154"/>
                    <a:pt x="592" y="154"/>
                  </a:cubicBezTo>
                  <a:cubicBezTo>
                    <a:pt x="597" y="154"/>
                    <a:pt x="598" y="151"/>
                    <a:pt x="600" y="148"/>
                  </a:cubicBezTo>
                  <a:cubicBezTo>
                    <a:pt x="601" y="146"/>
                    <a:pt x="603" y="144"/>
                    <a:pt x="605" y="142"/>
                  </a:cubicBezTo>
                  <a:cubicBezTo>
                    <a:pt x="611" y="136"/>
                    <a:pt x="618" y="135"/>
                    <a:pt x="623" y="135"/>
                  </a:cubicBezTo>
                  <a:cubicBezTo>
                    <a:pt x="625" y="135"/>
                    <a:pt x="628" y="134"/>
                    <a:pt x="630" y="133"/>
                  </a:cubicBezTo>
                  <a:cubicBezTo>
                    <a:pt x="633" y="132"/>
                    <a:pt x="636" y="130"/>
                    <a:pt x="639" y="130"/>
                  </a:cubicBezTo>
                  <a:cubicBezTo>
                    <a:pt x="640" y="130"/>
                    <a:pt x="641" y="131"/>
                    <a:pt x="642" y="131"/>
                  </a:cubicBezTo>
                  <a:cubicBezTo>
                    <a:pt x="644" y="132"/>
                    <a:pt x="648" y="132"/>
                    <a:pt x="650" y="132"/>
                  </a:cubicBezTo>
                  <a:cubicBezTo>
                    <a:pt x="652" y="132"/>
                    <a:pt x="655" y="132"/>
                    <a:pt x="656" y="129"/>
                  </a:cubicBezTo>
                  <a:cubicBezTo>
                    <a:pt x="656" y="127"/>
                    <a:pt x="650" y="122"/>
                    <a:pt x="645" y="117"/>
                  </a:cubicBezTo>
                  <a:cubicBezTo>
                    <a:pt x="642" y="115"/>
                    <a:pt x="639" y="112"/>
                    <a:pt x="637" y="110"/>
                  </a:cubicBezTo>
                  <a:cubicBezTo>
                    <a:pt x="635" y="108"/>
                    <a:pt x="633" y="107"/>
                    <a:pt x="631" y="107"/>
                  </a:cubicBezTo>
                  <a:cubicBezTo>
                    <a:pt x="628" y="107"/>
                    <a:pt x="625" y="109"/>
                    <a:pt x="624" y="112"/>
                  </a:cubicBezTo>
                  <a:cubicBezTo>
                    <a:pt x="624" y="113"/>
                    <a:pt x="623" y="114"/>
                    <a:pt x="622" y="114"/>
                  </a:cubicBezTo>
                  <a:cubicBezTo>
                    <a:pt x="621" y="114"/>
                    <a:pt x="620" y="113"/>
                    <a:pt x="618" y="113"/>
                  </a:cubicBezTo>
                  <a:cubicBezTo>
                    <a:pt x="616" y="112"/>
                    <a:pt x="613" y="110"/>
                    <a:pt x="610" y="110"/>
                  </a:cubicBezTo>
                  <a:cubicBezTo>
                    <a:pt x="606" y="110"/>
                    <a:pt x="604" y="111"/>
                    <a:pt x="603" y="111"/>
                  </a:cubicBezTo>
                  <a:cubicBezTo>
                    <a:pt x="602" y="112"/>
                    <a:pt x="601" y="112"/>
                    <a:pt x="600" y="112"/>
                  </a:cubicBezTo>
                  <a:cubicBezTo>
                    <a:pt x="598" y="112"/>
                    <a:pt x="596" y="111"/>
                    <a:pt x="594" y="109"/>
                  </a:cubicBezTo>
                  <a:cubicBezTo>
                    <a:pt x="592" y="107"/>
                    <a:pt x="592" y="106"/>
                    <a:pt x="592" y="104"/>
                  </a:cubicBezTo>
                  <a:cubicBezTo>
                    <a:pt x="593" y="102"/>
                    <a:pt x="595" y="101"/>
                    <a:pt x="596" y="101"/>
                  </a:cubicBezTo>
                  <a:cubicBezTo>
                    <a:pt x="597" y="94"/>
                    <a:pt x="597" y="94"/>
                    <a:pt x="597" y="94"/>
                  </a:cubicBezTo>
                  <a:cubicBezTo>
                    <a:pt x="609" y="70"/>
                    <a:pt x="609" y="70"/>
                    <a:pt x="609" y="70"/>
                  </a:cubicBezTo>
                  <a:cubicBezTo>
                    <a:pt x="609" y="70"/>
                    <a:pt x="609" y="70"/>
                    <a:pt x="609" y="70"/>
                  </a:cubicBezTo>
                  <a:cubicBezTo>
                    <a:pt x="611" y="71"/>
                    <a:pt x="612" y="72"/>
                    <a:pt x="613" y="73"/>
                  </a:cubicBezTo>
                  <a:cubicBezTo>
                    <a:pt x="614" y="75"/>
                    <a:pt x="621" y="77"/>
                    <a:pt x="624" y="77"/>
                  </a:cubicBezTo>
                  <a:cubicBezTo>
                    <a:pt x="626" y="77"/>
                    <a:pt x="626" y="76"/>
                    <a:pt x="626" y="76"/>
                  </a:cubicBezTo>
                  <a:cubicBezTo>
                    <a:pt x="627" y="76"/>
                    <a:pt x="629" y="75"/>
                    <a:pt x="632" y="73"/>
                  </a:cubicBezTo>
                  <a:cubicBezTo>
                    <a:pt x="635" y="71"/>
                    <a:pt x="638" y="69"/>
                    <a:pt x="640" y="69"/>
                  </a:cubicBezTo>
                  <a:cubicBezTo>
                    <a:pt x="642" y="69"/>
                    <a:pt x="645" y="67"/>
                    <a:pt x="646" y="66"/>
                  </a:cubicBezTo>
                  <a:cubicBezTo>
                    <a:pt x="646" y="65"/>
                    <a:pt x="646" y="64"/>
                    <a:pt x="646" y="63"/>
                  </a:cubicBezTo>
                  <a:cubicBezTo>
                    <a:pt x="646" y="61"/>
                    <a:pt x="648" y="57"/>
                    <a:pt x="650" y="54"/>
                  </a:cubicBezTo>
                  <a:cubicBezTo>
                    <a:pt x="651" y="51"/>
                    <a:pt x="653" y="49"/>
                    <a:pt x="653" y="48"/>
                  </a:cubicBezTo>
                  <a:cubicBezTo>
                    <a:pt x="654" y="44"/>
                    <a:pt x="660" y="35"/>
                    <a:pt x="662" y="34"/>
                  </a:cubicBezTo>
                  <a:cubicBezTo>
                    <a:pt x="665" y="33"/>
                    <a:pt x="669" y="29"/>
                    <a:pt x="669" y="27"/>
                  </a:cubicBezTo>
                  <a:cubicBezTo>
                    <a:pt x="667" y="19"/>
                    <a:pt x="666" y="17"/>
                    <a:pt x="665" y="17"/>
                  </a:cubicBezTo>
                  <a:cubicBezTo>
                    <a:pt x="664" y="17"/>
                    <a:pt x="664" y="17"/>
                    <a:pt x="664" y="17"/>
                  </a:cubicBezTo>
                  <a:cubicBezTo>
                    <a:pt x="663" y="17"/>
                    <a:pt x="661" y="17"/>
                    <a:pt x="660" y="16"/>
                  </a:cubicBezTo>
                  <a:cubicBezTo>
                    <a:pt x="660" y="14"/>
                    <a:pt x="660" y="12"/>
                    <a:pt x="663" y="9"/>
                  </a:cubicBezTo>
                  <a:cubicBezTo>
                    <a:pt x="666" y="4"/>
                    <a:pt x="671" y="2"/>
                    <a:pt x="677" y="2"/>
                  </a:cubicBezTo>
                  <a:cubicBezTo>
                    <a:pt x="679" y="2"/>
                    <a:pt x="680" y="2"/>
                    <a:pt x="681" y="2"/>
                  </a:cubicBezTo>
                  <a:cubicBezTo>
                    <a:pt x="682" y="2"/>
                    <a:pt x="682" y="2"/>
                    <a:pt x="682" y="2"/>
                  </a:cubicBezTo>
                  <a:cubicBezTo>
                    <a:pt x="682" y="2"/>
                    <a:pt x="684" y="2"/>
                    <a:pt x="685" y="2"/>
                  </a:cubicBezTo>
                  <a:cubicBezTo>
                    <a:pt x="689" y="1"/>
                    <a:pt x="694" y="0"/>
                    <a:pt x="699" y="0"/>
                  </a:cubicBezTo>
                  <a:cubicBezTo>
                    <a:pt x="701" y="0"/>
                    <a:pt x="702" y="0"/>
                    <a:pt x="704" y="1"/>
                  </a:cubicBezTo>
                  <a:cubicBezTo>
                    <a:pt x="706" y="1"/>
                    <a:pt x="708" y="1"/>
                    <a:pt x="710" y="1"/>
                  </a:cubicBezTo>
                  <a:cubicBezTo>
                    <a:pt x="711" y="1"/>
                    <a:pt x="711" y="1"/>
                    <a:pt x="711" y="1"/>
                  </a:cubicBezTo>
                  <a:cubicBezTo>
                    <a:pt x="714" y="1"/>
                    <a:pt x="717" y="1"/>
                    <a:pt x="720" y="3"/>
                  </a:cubicBezTo>
                  <a:cubicBezTo>
                    <a:pt x="723" y="5"/>
                    <a:pt x="727" y="5"/>
                    <a:pt x="730" y="6"/>
                  </a:cubicBezTo>
                  <a:cubicBezTo>
                    <a:pt x="734" y="6"/>
                    <a:pt x="737" y="7"/>
                    <a:pt x="738" y="9"/>
                  </a:cubicBezTo>
                  <a:cubicBezTo>
                    <a:pt x="739" y="10"/>
                    <a:pt x="740" y="10"/>
                    <a:pt x="741" y="12"/>
                  </a:cubicBezTo>
                  <a:cubicBezTo>
                    <a:pt x="745" y="14"/>
                    <a:pt x="748" y="16"/>
                    <a:pt x="747" y="20"/>
                  </a:cubicBezTo>
                  <a:cubicBezTo>
                    <a:pt x="747" y="22"/>
                    <a:pt x="748" y="22"/>
                    <a:pt x="749" y="23"/>
                  </a:cubicBezTo>
                  <a:cubicBezTo>
                    <a:pt x="751" y="25"/>
                    <a:pt x="753" y="26"/>
                    <a:pt x="754" y="33"/>
                  </a:cubicBezTo>
                  <a:cubicBezTo>
                    <a:pt x="756" y="40"/>
                    <a:pt x="758" y="43"/>
                    <a:pt x="760" y="45"/>
                  </a:cubicBezTo>
                  <a:cubicBezTo>
                    <a:pt x="761" y="47"/>
                    <a:pt x="762" y="48"/>
                    <a:pt x="763" y="50"/>
                  </a:cubicBezTo>
                  <a:cubicBezTo>
                    <a:pt x="763" y="52"/>
                    <a:pt x="765" y="55"/>
                    <a:pt x="767" y="58"/>
                  </a:cubicBezTo>
                  <a:cubicBezTo>
                    <a:pt x="769" y="62"/>
                    <a:pt x="771" y="66"/>
                    <a:pt x="770" y="68"/>
                  </a:cubicBezTo>
                  <a:cubicBezTo>
                    <a:pt x="770" y="70"/>
                    <a:pt x="769" y="72"/>
                    <a:pt x="770" y="73"/>
                  </a:cubicBezTo>
                  <a:cubicBezTo>
                    <a:pt x="771" y="75"/>
                    <a:pt x="773" y="75"/>
                    <a:pt x="775" y="75"/>
                  </a:cubicBezTo>
                  <a:cubicBezTo>
                    <a:pt x="780" y="76"/>
                    <a:pt x="783" y="78"/>
                    <a:pt x="786" y="79"/>
                  </a:cubicBezTo>
                  <a:cubicBezTo>
                    <a:pt x="787" y="80"/>
                    <a:pt x="789" y="81"/>
                    <a:pt x="789" y="81"/>
                  </a:cubicBezTo>
                  <a:cubicBezTo>
                    <a:pt x="790" y="81"/>
                    <a:pt x="790" y="81"/>
                    <a:pt x="790" y="81"/>
                  </a:cubicBezTo>
                  <a:cubicBezTo>
                    <a:pt x="793" y="81"/>
                    <a:pt x="801" y="83"/>
                    <a:pt x="804" y="87"/>
                  </a:cubicBezTo>
                  <a:cubicBezTo>
                    <a:pt x="806" y="89"/>
                    <a:pt x="808" y="90"/>
                    <a:pt x="810" y="90"/>
                  </a:cubicBezTo>
                  <a:cubicBezTo>
                    <a:pt x="813" y="91"/>
                    <a:pt x="815" y="91"/>
                    <a:pt x="815" y="95"/>
                  </a:cubicBezTo>
                  <a:cubicBezTo>
                    <a:pt x="815" y="97"/>
                    <a:pt x="816" y="99"/>
                    <a:pt x="816" y="101"/>
                  </a:cubicBezTo>
                  <a:cubicBezTo>
                    <a:pt x="817" y="103"/>
                    <a:pt x="818" y="105"/>
                    <a:pt x="818" y="107"/>
                  </a:cubicBezTo>
                  <a:cubicBezTo>
                    <a:pt x="818" y="108"/>
                    <a:pt x="818" y="108"/>
                    <a:pt x="819" y="109"/>
                  </a:cubicBezTo>
                  <a:cubicBezTo>
                    <a:pt x="820" y="111"/>
                    <a:pt x="825" y="112"/>
                    <a:pt x="829" y="112"/>
                  </a:cubicBezTo>
                  <a:cubicBezTo>
                    <a:pt x="830" y="112"/>
                    <a:pt x="831" y="112"/>
                    <a:pt x="832" y="112"/>
                  </a:cubicBezTo>
                  <a:cubicBezTo>
                    <a:pt x="833" y="112"/>
                    <a:pt x="835" y="112"/>
                    <a:pt x="837" y="112"/>
                  </a:cubicBezTo>
                  <a:cubicBezTo>
                    <a:pt x="840" y="112"/>
                    <a:pt x="842" y="112"/>
                    <a:pt x="844" y="109"/>
                  </a:cubicBezTo>
                  <a:cubicBezTo>
                    <a:pt x="846" y="106"/>
                    <a:pt x="850" y="105"/>
                    <a:pt x="853" y="105"/>
                  </a:cubicBezTo>
                  <a:cubicBezTo>
                    <a:pt x="855" y="105"/>
                    <a:pt x="857" y="105"/>
                    <a:pt x="858" y="104"/>
                  </a:cubicBezTo>
                  <a:cubicBezTo>
                    <a:pt x="860" y="103"/>
                    <a:pt x="863" y="102"/>
                    <a:pt x="866" y="102"/>
                  </a:cubicBezTo>
                  <a:cubicBezTo>
                    <a:pt x="867" y="102"/>
                    <a:pt x="869" y="102"/>
                    <a:pt x="870" y="103"/>
                  </a:cubicBezTo>
                  <a:cubicBezTo>
                    <a:pt x="871" y="104"/>
                    <a:pt x="871" y="106"/>
                    <a:pt x="871" y="107"/>
                  </a:cubicBezTo>
                  <a:cubicBezTo>
                    <a:pt x="871" y="111"/>
                    <a:pt x="872" y="113"/>
                    <a:pt x="872" y="115"/>
                  </a:cubicBezTo>
                  <a:cubicBezTo>
                    <a:pt x="873" y="117"/>
                    <a:pt x="874" y="118"/>
                    <a:pt x="871" y="120"/>
                  </a:cubicBezTo>
                  <a:cubicBezTo>
                    <a:pt x="868" y="122"/>
                    <a:pt x="865" y="130"/>
                    <a:pt x="864" y="136"/>
                  </a:cubicBezTo>
                  <a:cubicBezTo>
                    <a:pt x="864" y="137"/>
                    <a:pt x="864" y="137"/>
                    <a:pt x="864" y="138"/>
                  </a:cubicBezTo>
                  <a:cubicBezTo>
                    <a:pt x="863" y="140"/>
                    <a:pt x="861" y="142"/>
                    <a:pt x="859" y="144"/>
                  </a:cubicBezTo>
                  <a:cubicBezTo>
                    <a:pt x="857" y="145"/>
                    <a:pt x="855" y="147"/>
                    <a:pt x="855" y="149"/>
                  </a:cubicBezTo>
                  <a:cubicBezTo>
                    <a:pt x="854" y="152"/>
                    <a:pt x="852" y="154"/>
                    <a:pt x="851" y="155"/>
                  </a:cubicBezTo>
                  <a:cubicBezTo>
                    <a:pt x="849" y="156"/>
                    <a:pt x="848" y="157"/>
                    <a:pt x="848" y="159"/>
                  </a:cubicBezTo>
                  <a:cubicBezTo>
                    <a:pt x="848" y="160"/>
                    <a:pt x="848" y="160"/>
                    <a:pt x="847" y="161"/>
                  </a:cubicBezTo>
                  <a:cubicBezTo>
                    <a:pt x="846" y="161"/>
                    <a:pt x="845" y="162"/>
                    <a:pt x="843" y="162"/>
                  </a:cubicBezTo>
                  <a:cubicBezTo>
                    <a:pt x="840" y="162"/>
                    <a:pt x="837" y="161"/>
                    <a:pt x="834" y="159"/>
                  </a:cubicBezTo>
                  <a:cubicBezTo>
                    <a:pt x="833" y="158"/>
                    <a:pt x="833" y="158"/>
                    <a:pt x="833" y="158"/>
                  </a:cubicBezTo>
                  <a:cubicBezTo>
                    <a:pt x="831" y="158"/>
                    <a:pt x="829" y="160"/>
                    <a:pt x="827" y="162"/>
                  </a:cubicBezTo>
                  <a:cubicBezTo>
                    <a:pt x="826" y="163"/>
                    <a:pt x="824" y="165"/>
                    <a:pt x="823" y="165"/>
                  </a:cubicBezTo>
                  <a:cubicBezTo>
                    <a:pt x="822" y="165"/>
                    <a:pt x="822" y="165"/>
                    <a:pt x="821" y="165"/>
                  </a:cubicBezTo>
                  <a:cubicBezTo>
                    <a:pt x="820" y="167"/>
                    <a:pt x="820" y="172"/>
                    <a:pt x="821" y="174"/>
                  </a:cubicBezTo>
                  <a:cubicBezTo>
                    <a:pt x="821" y="176"/>
                    <a:pt x="821" y="177"/>
                    <a:pt x="821" y="179"/>
                  </a:cubicBezTo>
                  <a:cubicBezTo>
                    <a:pt x="821" y="181"/>
                    <a:pt x="821" y="183"/>
                    <a:pt x="822" y="186"/>
                  </a:cubicBezTo>
                  <a:cubicBezTo>
                    <a:pt x="822" y="188"/>
                    <a:pt x="823" y="191"/>
                    <a:pt x="823" y="194"/>
                  </a:cubicBezTo>
                  <a:cubicBezTo>
                    <a:pt x="823" y="196"/>
                    <a:pt x="823" y="198"/>
                    <a:pt x="823" y="200"/>
                  </a:cubicBezTo>
                  <a:cubicBezTo>
                    <a:pt x="823" y="201"/>
                    <a:pt x="823" y="201"/>
                    <a:pt x="823" y="201"/>
                  </a:cubicBezTo>
                  <a:cubicBezTo>
                    <a:pt x="823" y="201"/>
                    <a:pt x="823" y="201"/>
                    <a:pt x="823" y="201"/>
                  </a:cubicBezTo>
                  <a:cubicBezTo>
                    <a:pt x="821" y="202"/>
                    <a:pt x="820" y="203"/>
                    <a:pt x="819" y="203"/>
                  </a:cubicBezTo>
                  <a:cubicBezTo>
                    <a:pt x="819" y="204"/>
                    <a:pt x="819" y="204"/>
                    <a:pt x="819" y="204"/>
                  </a:cubicBezTo>
                  <a:cubicBezTo>
                    <a:pt x="819" y="204"/>
                    <a:pt x="819" y="204"/>
                    <a:pt x="819" y="204"/>
                  </a:cubicBezTo>
                  <a:cubicBezTo>
                    <a:pt x="817" y="203"/>
                    <a:pt x="816" y="203"/>
                    <a:pt x="815" y="203"/>
                  </a:cubicBezTo>
                  <a:cubicBezTo>
                    <a:pt x="814" y="203"/>
                    <a:pt x="814" y="203"/>
                    <a:pt x="813" y="203"/>
                  </a:cubicBezTo>
                  <a:cubicBezTo>
                    <a:pt x="811" y="203"/>
                    <a:pt x="809" y="202"/>
                    <a:pt x="807" y="201"/>
                  </a:cubicBezTo>
                  <a:cubicBezTo>
                    <a:pt x="806" y="199"/>
                    <a:pt x="804" y="198"/>
                    <a:pt x="803" y="198"/>
                  </a:cubicBezTo>
                  <a:cubicBezTo>
                    <a:pt x="801" y="198"/>
                    <a:pt x="800" y="201"/>
                    <a:pt x="799" y="204"/>
                  </a:cubicBezTo>
                  <a:cubicBezTo>
                    <a:pt x="798" y="207"/>
                    <a:pt x="797" y="210"/>
                    <a:pt x="794" y="210"/>
                  </a:cubicBezTo>
                  <a:cubicBezTo>
                    <a:pt x="792" y="210"/>
                    <a:pt x="791" y="211"/>
                    <a:pt x="790" y="212"/>
                  </a:cubicBezTo>
                  <a:cubicBezTo>
                    <a:pt x="789" y="214"/>
                    <a:pt x="788" y="217"/>
                    <a:pt x="784" y="217"/>
                  </a:cubicBezTo>
                  <a:cubicBezTo>
                    <a:pt x="783" y="217"/>
                    <a:pt x="783" y="217"/>
                    <a:pt x="783" y="217"/>
                  </a:cubicBezTo>
                  <a:cubicBezTo>
                    <a:pt x="780" y="218"/>
                    <a:pt x="778" y="218"/>
                    <a:pt x="778" y="219"/>
                  </a:cubicBezTo>
                  <a:cubicBezTo>
                    <a:pt x="777" y="219"/>
                    <a:pt x="778" y="220"/>
                    <a:pt x="779" y="222"/>
                  </a:cubicBezTo>
                  <a:cubicBezTo>
                    <a:pt x="779" y="223"/>
                    <a:pt x="780" y="224"/>
                    <a:pt x="779" y="225"/>
                  </a:cubicBezTo>
                  <a:cubicBezTo>
                    <a:pt x="779" y="226"/>
                    <a:pt x="777" y="226"/>
                    <a:pt x="776" y="226"/>
                  </a:cubicBezTo>
                  <a:cubicBezTo>
                    <a:pt x="775" y="226"/>
                    <a:pt x="774" y="226"/>
                    <a:pt x="773" y="226"/>
                  </a:cubicBezTo>
                  <a:cubicBezTo>
                    <a:pt x="772" y="226"/>
                    <a:pt x="770" y="226"/>
                    <a:pt x="769" y="226"/>
                  </a:cubicBezTo>
                  <a:cubicBezTo>
                    <a:pt x="766" y="226"/>
                    <a:pt x="764" y="224"/>
                    <a:pt x="763" y="223"/>
                  </a:cubicBezTo>
                  <a:cubicBezTo>
                    <a:pt x="762" y="222"/>
                    <a:pt x="761" y="222"/>
                    <a:pt x="760" y="222"/>
                  </a:cubicBezTo>
                  <a:cubicBezTo>
                    <a:pt x="757" y="222"/>
                    <a:pt x="755" y="225"/>
                    <a:pt x="753" y="229"/>
                  </a:cubicBezTo>
                  <a:cubicBezTo>
                    <a:pt x="752" y="230"/>
                    <a:pt x="751" y="231"/>
                    <a:pt x="751" y="232"/>
                  </a:cubicBezTo>
                  <a:cubicBezTo>
                    <a:pt x="748" y="235"/>
                    <a:pt x="735" y="241"/>
                    <a:pt x="727" y="245"/>
                  </a:cubicBezTo>
                  <a:cubicBezTo>
                    <a:pt x="726" y="246"/>
                    <a:pt x="724" y="247"/>
                    <a:pt x="723" y="247"/>
                  </a:cubicBezTo>
                  <a:cubicBezTo>
                    <a:pt x="722" y="248"/>
                    <a:pt x="721" y="250"/>
                    <a:pt x="719" y="253"/>
                  </a:cubicBezTo>
                  <a:cubicBezTo>
                    <a:pt x="719" y="253"/>
                    <a:pt x="719" y="253"/>
                    <a:pt x="719" y="253"/>
                  </a:cubicBezTo>
                  <a:cubicBezTo>
                    <a:pt x="719" y="253"/>
                    <a:pt x="719" y="253"/>
                    <a:pt x="719" y="253"/>
                  </a:cubicBezTo>
                  <a:cubicBezTo>
                    <a:pt x="716" y="253"/>
                    <a:pt x="714" y="254"/>
                    <a:pt x="712" y="254"/>
                  </a:cubicBezTo>
                  <a:cubicBezTo>
                    <a:pt x="704" y="257"/>
                    <a:pt x="694" y="264"/>
                    <a:pt x="685" y="269"/>
                  </a:cubicBezTo>
                  <a:cubicBezTo>
                    <a:pt x="682" y="272"/>
                    <a:pt x="678" y="273"/>
                    <a:pt x="675" y="273"/>
                  </a:cubicBezTo>
                  <a:cubicBezTo>
                    <a:pt x="674" y="273"/>
                    <a:pt x="673" y="272"/>
                    <a:pt x="673" y="272"/>
                  </a:cubicBezTo>
                  <a:cubicBezTo>
                    <a:pt x="673" y="271"/>
                    <a:pt x="673" y="270"/>
                    <a:pt x="675" y="269"/>
                  </a:cubicBezTo>
                  <a:cubicBezTo>
                    <a:pt x="677" y="267"/>
                    <a:pt x="676" y="265"/>
                    <a:pt x="676" y="264"/>
                  </a:cubicBezTo>
                  <a:cubicBezTo>
                    <a:pt x="676" y="262"/>
                    <a:pt x="675" y="260"/>
                    <a:pt x="677" y="258"/>
                  </a:cubicBezTo>
                  <a:cubicBezTo>
                    <a:pt x="677" y="256"/>
                    <a:pt x="679" y="254"/>
                    <a:pt x="682" y="252"/>
                  </a:cubicBezTo>
                  <a:cubicBezTo>
                    <a:pt x="685" y="248"/>
                    <a:pt x="689" y="244"/>
                    <a:pt x="688" y="241"/>
                  </a:cubicBezTo>
                  <a:cubicBezTo>
                    <a:pt x="688" y="240"/>
                    <a:pt x="688" y="239"/>
                    <a:pt x="687" y="239"/>
                  </a:cubicBezTo>
                  <a:cubicBezTo>
                    <a:pt x="685" y="237"/>
                    <a:pt x="683" y="236"/>
                    <a:pt x="681" y="236"/>
                  </a:cubicBezTo>
                  <a:cubicBezTo>
                    <a:pt x="676" y="236"/>
                    <a:pt x="669" y="241"/>
                    <a:pt x="663" y="248"/>
                  </a:cubicBezTo>
                  <a:cubicBezTo>
                    <a:pt x="659" y="253"/>
                    <a:pt x="655" y="253"/>
                    <a:pt x="652" y="254"/>
                  </a:cubicBezTo>
                  <a:cubicBezTo>
                    <a:pt x="650" y="254"/>
                    <a:pt x="647" y="254"/>
                    <a:pt x="646" y="260"/>
                  </a:cubicBezTo>
                  <a:cubicBezTo>
                    <a:pt x="644" y="264"/>
                    <a:pt x="641" y="267"/>
                    <a:pt x="637" y="267"/>
                  </a:cubicBezTo>
                  <a:cubicBezTo>
                    <a:pt x="636" y="267"/>
                    <a:pt x="634" y="266"/>
                    <a:pt x="633" y="266"/>
                  </a:cubicBezTo>
                  <a:cubicBezTo>
                    <a:pt x="631" y="266"/>
                    <a:pt x="630" y="265"/>
                    <a:pt x="628" y="265"/>
                  </a:cubicBezTo>
                  <a:cubicBezTo>
                    <a:pt x="628" y="265"/>
                    <a:pt x="628" y="265"/>
                    <a:pt x="627" y="266"/>
                  </a:cubicBezTo>
                  <a:cubicBezTo>
                    <a:pt x="624" y="266"/>
                    <a:pt x="621" y="272"/>
                    <a:pt x="622" y="277"/>
                  </a:cubicBezTo>
                  <a:cubicBezTo>
                    <a:pt x="622" y="279"/>
                    <a:pt x="623" y="283"/>
                    <a:pt x="627" y="283"/>
                  </a:cubicBezTo>
                  <a:cubicBezTo>
                    <a:pt x="627" y="283"/>
                    <a:pt x="627" y="283"/>
                    <a:pt x="627" y="283"/>
                  </a:cubicBezTo>
                  <a:cubicBezTo>
                    <a:pt x="630" y="282"/>
                    <a:pt x="632" y="282"/>
                    <a:pt x="634" y="282"/>
                  </a:cubicBezTo>
                  <a:cubicBezTo>
                    <a:pt x="639" y="282"/>
                    <a:pt x="642" y="283"/>
                    <a:pt x="643" y="285"/>
                  </a:cubicBezTo>
                  <a:cubicBezTo>
                    <a:pt x="643" y="286"/>
                    <a:pt x="643" y="287"/>
                    <a:pt x="643" y="288"/>
                  </a:cubicBezTo>
                  <a:cubicBezTo>
                    <a:pt x="642" y="291"/>
                    <a:pt x="642" y="295"/>
                    <a:pt x="644" y="297"/>
                  </a:cubicBezTo>
                  <a:cubicBezTo>
                    <a:pt x="646" y="300"/>
                    <a:pt x="648" y="301"/>
                    <a:pt x="651" y="299"/>
                  </a:cubicBezTo>
                  <a:cubicBezTo>
                    <a:pt x="654" y="298"/>
                    <a:pt x="657" y="295"/>
                    <a:pt x="660" y="292"/>
                  </a:cubicBezTo>
                  <a:cubicBezTo>
                    <a:pt x="663" y="289"/>
                    <a:pt x="666" y="286"/>
                    <a:pt x="669" y="286"/>
                  </a:cubicBezTo>
                  <a:cubicBezTo>
                    <a:pt x="670" y="286"/>
                    <a:pt x="671" y="286"/>
                    <a:pt x="671" y="287"/>
                  </a:cubicBezTo>
                  <a:cubicBezTo>
                    <a:pt x="674" y="291"/>
                    <a:pt x="678" y="293"/>
                    <a:pt x="682" y="293"/>
                  </a:cubicBezTo>
                  <a:cubicBezTo>
                    <a:pt x="683" y="293"/>
                    <a:pt x="684" y="293"/>
                    <a:pt x="685" y="292"/>
                  </a:cubicBezTo>
                  <a:cubicBezTo>
                    <a:pt x="686" y="292"/>
                    <a:pt x="686" y="292"/>
                    <a:pt x="686" y="292"/>
                  </a:cubicBezTo>
                  <a:cubicBezTo>
                    <a:pt x="690" y="292"/>
                    <a:pt x="694" y="296"/>
                    <a:pt x="695" y="299"/>
                  </a:cubicBezTo>
                  <a:cubicBezTo>
                    <a:pt x="695" y="301"/>
                    <a:pt x="695" y="302"/>
                    <a:pt x="694" y="303"/>
                  </a:cubicBezTo>
                  <a:cubicBezTo>
                    <a:pt x="692" y="304"/>
                    <a:pt x="688" y="305"/>
                    <a:pt x="685" y="305"/>
                  </a:cubicBezTo>
                  <a:cubicBezTo>
                    <a:pt x="682" y="306"/>
                    <a:pt x="678" y="306"/>
                    <a:pt x="677" y="308"/>
                  </a:cubicBezTo>
                  <a:cubicBezTo>
                    <a:pt x="676" y="309"/>
                    <a:pt x="675" y="309"/>
                    <a:pt x="673" y="309"/>
                  </a:cubicBezTo>
                  <a:cubicBezTo>
                    <a:pt x="671" y="309"/>
                    <a:pt x="670" y="309"/>
                    <a:pt x="668" y="312"/>
                  </a:cubicBezTo>
                  <a:cubicBezTo>
                    <a:pt x="666" y="317"/>
                    <a:pt x="663" y="319"/>
                    <a:pt x="660" y="318"/>
                  </a:cubicBezTo>
                  <a:cubicBezTo>
                    <a:pt x="659" y="318"/>
                    <a:pt x="659" y="318"/>
                    <a:pt x="659" y="319"/>
                  </a:cubicBezTo>
                  <a:cubicBezTo>
                    <a:pt x="658" y="321"/>
                    <a:pt x="657" y="324"/>
                    <a:pt x="653" y="325"/>
                  </a:cubicBezTo>
                  <a:cubicBezTo>
                    <a:pt x="650" y="327"/>
                    <a:pt x="647" y="330"/>
                    <a:pt x="646" y="333"/>
                  </a:cubicBezTo>
                  <a:cubicBezTo>
                    <a:pt x="646" y="335"/>
                    <a:pt x="646" y="337"/>
                    <a:pt x="647" y="338"/>
                  </a:cubicBezTo>
                  <a:cubicBezTo>
                    <a:pt x="647" y="340"/>
                    <a:pt x="650" y="340"/>
                    <a:pt x="652" y="341"/>
                  </a:cubicBezTo>
                  <a:cubicBezTo>
                    <a:pt x="655" y="343"/>
                    <a:pt x="659" y="344"/>
                    <a:pt x="660" y="347"/>
                  </a:cubicBezTo>
                  <a:cubicBezTo>
                    <a:pt x="661" y="352"/>
                    <a:pt x="666" y="363"/>
                    <a:pt x="669" y="365"/>
                  </a:cubicBezTo>
                  <a:cubicBezTo>
                    <a:pt x="670" y="366"/>
                    <a:pt x="670" y="367"/>
                    <a:pt x="670" y="369"/>
                  </a:cubicBezTo>
                  <a:cubicBezTo>
                    <a:pt x="670" y="370"/>
                    <a:pt x="669" y="372"/>
                    <a:pt x="671" y="374"/>
                  </a:cubicBezTo>
                  <a:cubicBezTo>
                    <a:pt x="676" y="377"/>
                    <a:pt x="684" y="384"/>
                    <a:pt x="684" y="387"/>
                  </a:cubicBezTo>
                  <a:cubicBezTo>
                    <a:pt x="684" y="388"/>
                    <a:pt x="684" y="388"/>
                    <a:pt x="684" y="388"/>
                  </a:cubicBezTo>
                  <a:cubicBezTo>
                    <a:pt x="683" y="389"/>
                    <a:pt x="682" y="389"/>
                    <a:pt x="681" y="389"/>
                  </a:cubicBezTo>
                  <a:cubicBezTo>
                    <a:pt x="678" y="389"/>
                    <a:pt x="673" y="387"/>
                    <a:pt x="670" y="386"/>
                  </a:cubicBezTo>
                  <a:cubicBezTo>
                    <a:pt x="669" y="385"/>
                    <a:pt x="667" y="385"/>
                    <a:pt x="666" y="385"/>
                  </a:cubicBezTo>
                  <a:cubicBezTo>
                    <a:pt x="664" y="385"/>
                    <a:pt x="663" y="385"/>
                    <a:pt x="662" y="385"/>
                  </a:cubicBezTo>
                  <a:cubicBezTo>
                    <a:pt x="662" y="385"/>
                    <a:pt x="662" y="385"/>
                    <a:pt x="662" y="385"/>
                  </a:cubicBezTo>
                  <a:cubicBezTo>
                    <a:pt x="665" y="385"/>
                    <a:pt x="667" y="388"/>
                    <a:pt x="669" y="390"/>
                  </a:cubicBezTo>
                  <a:cubicBezTo>
                    <a:pt x="671" y="392"/>
                    <a:pt x="673" y="395"/>
                    <a:pt x="675" y="395"/>
                  </a:cubicBezTo>
                  <a:cubicBezTo>
                    <a:pt x="675" y="395"/>
                    <a:pt x="675" y="395"/>
                    <a:pt x="675" y="395"/>
                  </a:cubicBezTo>
                  <a:cubicBezTo>
                    <a:pt x="679" y="395"/>
                    <a:pt x="685" y="399"/>
                    <a:pt x="685" y="402"/>
                  </a:cubicBezTo>
                  <a:cubicBezTo>
                    <a:pt x="685" y="403"/>
                    <a:pt x="685" y="403"/>
                    <a:pt x="684" y="404"/>
                  </a:cubicBezTo>
                  <a:cubicBezTo>
                    <a:pt x="683" y="404"/>
                    <a:pt x="681" y="405"/>
                    <a:pt x="679" y="406"/>
                  </a:cubicBezTo>
                  <a:cubicBezTo>
                    <a:pt x="675" y="408"/>
                    <a:pt x="672" y="410"/>
                    <a:pt x="669" y="411"/>
                  </a:cubicBezTo>
                  <a:cubicBezTo>
                    <a:pt x="668" y="411"/>
                    <a:pt x="668" y="411"/>
                    <a:pt x="668" y="412"/>
                  </a:cubicBezTo>
                  <a:cubicBezTo>
                    <a:pt x="668" y="413"/>
                    <a:pt x="670" y="414"/>
                    <a:pt x="671" y="414"/>
                  </a:cubicBezTo>
                  <a:cubicBezTo>
                    <a:pt x="672" y="414"/>
                    <a:pt x="673" y="414"/>
                    <a:pt x="673" y="413"/>
                  </a:cubicBezTo>
                  <a:cubicBezTo>
                    <a:pt x="674" y="413"/>
                    <a:pt x="674" y="412"/>
                    <a:pt x="675" y="412"/>
                  </a:cubicBezTo>
                  <a:cubicBezTo>
                    <a:pt x="676" y="412"/>
                    <a:pt x="677" y="413"/>
                    <a:pt x="678" y="415"/>
                  </a:cubicBezTo>
                  <a:cubicBezTo>
                    <a:pt x="680" y="416"/>
                    <a:pt x="681" y="417"/>
                    <a:pt x="682" y="416"/>
                  </a:cubicBezTo>
                  <a:cubicBezTo>
                    <a:pt x="683" y="415"/>
                    <a:pt x="684" y="415"/>
                    <a:pt x="685" y="415"/>
                  </a:cubicBezTo>
                  <a:cubicBezTo>
                    <a:pt x="687" y="415"/>
                    <a:pt x="690" y="416"/>
                    <a:pt x="690" y="417"/>
                  </a:cubicBezTo>
                  <a:cubicBezTo>
                    <a:pt x="690" y="418"/>
                    <a:pt x="689" y="419"/>
                    <a:pt x="688" y="419"/>
                  </a:cubicBezTo>
                  <a:cubicBezTo>
                    <a:pt x="685" y="420"/>
                    <a:pt x="682" y="423"/>
                    <a:pt x="682" y="425"/>
                  </a:cubicBezTo>
                  <a:cubicBezTo>
                    <a:pt x="681" y="426"/>
                    <a:pt x="682" y="426"/>
                    <a:pt x="682" y="427"/>
                  </a:cubicBezTo>
                  <a:cubicBezTo>
                    <a:pt x="683" y="427"/>
                    <a:pt x="683" y="428"/>
                    <a:pt x="683" y="428"/>
                  </a:cubicBezTo>
                  <a:cubicBezTo>
                    <a:pt x="683" y="429"/>
                    <a:pt x="683" y="429"/>
                    <a:pt x="682" y="429"/>
                  </a:cubicBezTo>
                  <a:cubicBezTo>
                    <a:pt x="681" y="430"/>
                    <a:pt x="680" y="430"/>
                    <a:pt x="680" y="433"/>
                  </a:cubicBezTo>
                  <a:cubicBezTo>
                    <a:pt x="681" y="438"/>
                    <a:pt x="680" y="444"/>
                    <a:pt x="677" y="445"/>
                  </a:cubicBezTo>
                  <a:cubicBezTo>
                    <a:pt x="674" y="446"/>
                    <a:pt x="668" y="450"/>
                    <a:pt x="668" y="454"/>
                  </a:cubicBezTo>
                  <a:cubicBezTo>
                    <a:pt x="667" y="458"/>
                    <a:pt x="664" y="462"/>
                    <a:pt x="661" y="464"/>
                  </a:cubicBezTo>
                  <a:cubicBezTo>
                    <a:pt x="659" y="465"/>
                    <a:pt x="657" y="466"/>
                    <a:pt x="655" y="466"/>
                  </a:cubicBezTo>
                  <a:cubicBezTo>
                    <a:pt x="653" y="467"/>
                    <a:pt x="651" y="467"/>
                    <a:pt x="651" y="468"/>
                  </a:cubicBezTo>
                  <a:cubicBezTo>
                    <a:pt x="651" y="468"/>
                    <a:pt x="651" y="468"/>
                    <a:pt x="651" y="468"/>
                  </a:cubicBezTo>
                  <a:cubicBezTo>
                    <a:pt x="651" y="469"/>
                    <a:pt x="652" y="469"/>
                    <a:pt x="652" y="470"/>
                  </a:cubicBezTo>
                  <a:cubicBezTo>
                    <a:pt x="653" y="472"/>
                    <a:pt x="654" y="473"/>
                    <a:pt x="654" y="475"/>
                  </a:cubicBezTo>
                  <a:cubicBezTo>
                    <a:pt x="654" y="475"/>
                    <a:pt x="653" y="476"/>
                    <a:pt x="652" y="476"/>
                  </a:cubicBezTo>
                  <a:cubicBezTo>
                    <a:pt x="651" y="476"/>
                    <a:pt x="651" y="478"/>
                    <a:pt x="651" y="481"/>
                  </a:cubicBezTo>
                  <a:cubicBezTo>
                    <a:pt x="652" y="483"/>
                    <a:pt x="652" y="486"/>
                    <a:pt x="651" y="487"/>
                  </a:cubicBezTo>
                  <a:cubicBezTo>
                    <a:pt x="650" y="488"/>
                    <a:pt x="649" y="489"/>
                    <a:pt x="647" y="489"/>
                  </a:cubicBezTo>
                  <a:cubicBezTo>
                    <a:pt x="646" y="490"/>
                    <a:pt x="645" y="490"/>
                    <a:pt x="645" y="492"/>
                  </a:cubicBezTo>
                  <a:cubicBezTo>
                    <a:pt x="645" y="494"/>
                    <a:pt x="642" y="495"/>
                    <a:pt x="640" y="496"/>
                  </a:cubicBezTo>
                  <a:cubicBezTo>
                    <a:pt x="639" y="497"/>
                    <a:pt x="637" y="498"/>
                    <a:pt x="637" y="499"/>
                  </a:cubicBezTo>
                  <a:cubicBezTo>
                    <a:pt x="637" y="501"/>
                    <a:pt x="635" y="502"/>
                    <a:pt x="632" y="503"/>
                  </a:cubicBezTo>
                  <a:cubicBezTo>
                    <a:pt x="630" y="503"/>
                    <a:pt x="627" y="504"/>
                    <a:pt x="627" y="505"/>
                  </a:cubicBezTo>
                  <a:cubicBezTo>
                    <a:pt x="627" y="508"/>
                    <a:pt x="624" y="513"/>
                    <a:pt x="619" y="515"/>
                  </a:cubicBezTo>
                  <a:cubicBezTo>
                    <a:pt x="616" y="515"/>
                    <a:pt x="615" y="516"/>
                    <a:pt x="614" y="518"/>
                  </a:cubicBezTo>
                  <a:cubicBezTo>
                    <a:pt x="613" y="519"/>
                    <a:pt x="612" y="520"/>
                    <a:pt x="610" y="521"/>
                  </a:cubicBezTo>
                  <a:cubicBezTo>
                    <a:pt x="608" y="523"/>
                    <a:pt x="607" y="524"/>
                    <a:pt x="607" y="525"/>
                  </a:cubicBezTo>
                  <a:cubicBezTo>
                    <a:pt x="605" y="527"/>
                    <a:pt x="604" y="529"/>
                    <a:pt x="601" y="529"/>
                  </a:cubicBezTo>
                  <a:cubicBezTo>
                    <a:pt x="600" y="529"/>
                    <a:pt x="600" y="529"/>
                    <a:pt x="600" y="529"/>
                  </a:cubicBezTo>
                  <a:cubicBezTo>
                    <a:pt x="595" y="529"/>
                    <a:pt x="580" y="530"/>
                    <a:pt x="576" y="533"/>
                  </a:cubicBezTo>
                  <a:cubicBezTo>
                    <a:pt x="575" y="534"/>
                    <a:pt x="574" y="534"/>
                    <a:pt x="572" y="534"/>
                  </a:cubicBezTo>
                  <a:cubicBezTo>
                    <a:pt x="570" y="534"/>
                    <a:pt x="568" y="533"/>
                    <a:pt x="566" y="533"/>
                  </a:cubicBezTo>
                  <a:cubicBezTo>
                    <a:pt x="564" y="532"/>
                    <a:pt x="563" y="532"/>
                    <a:pt x="563" y="532"/>
                  </a:cubicBezTo>
                  <a:cubicBezTo>
                    <a:pt x="562" y="532"/>
                    <a:pt x="562" y="532"/>
                    <a:pt x="562" y="532"/>
                  </a:cubicBezTo>
                  <a:cubicBezTo>
                    <a:pt x="562" y="535"/>
                    <a:pt x="547" y="545"/>
                    <a:pt x="534" y="549"/>
                  </a:cubicBezTo>
                  <a:cubicBezTo>
                    <a:pt x="525" y="552"/>
                    <a:pt x="513" y="557"/>
                    <a:pt x="514" y="561"/>
                  </a:cubicBezTo>
                  <a:cubicBezTo>
                    <a:pt x="514" y="563"/>
                    <a:pt x="514" y="567"/>
                    <a:pt x="513" y="568"/>
                  </a:cubicBezTo>
                  <a:cubicBezTo>
                    <a:pt x="513" y="569"/>
                    <a:pt x="512" y="569"/>
                    <a:pt x="511" y="569"/>
                  </a:cubicBezTo>
                  <a:close/>
                  <a:moveTo>
                    <a:pt x="504" y="547"/>
                  </a:moveTo>
                  <a:cubicBezTo>
                    <a:pt x="506" y="547"/>
                    <a:pt x="507" y="548"/>
                    <a:pt x="507" y="549"/>
                  </a:cubicBezTo>
                  <a:cubicBezTo>
                    <a:pt x="508" y="551"/>
                    <a:pt x="508" y="554"/>
                    <a:pt x="506" y="555"/>
                  </a:cubicBezTo>
                  <a:cubicBezTo>
                    <a:pt x="506" y="556"/>
                    <a:pt x="505" y="557"/>
                    <a:pt x="505" y="558"/>
                  </a:cubicBezTo>
                  <a:cubicBezTo>
                    <a:pt x="505" y="560"/>
                    <a:pt x="507" y="564"/>
                    <a:pt x="510" y="567"/>
                  </a:cubicBezTo>
                  <a:cubicBezTo>
                    <a:pt x="511" y="568"/>
                    <a:pt x="511" y="568"/>
                    <a:pt x="511" y="568"/>
                  </a:cubicBezTo>
                  <a:cubicBezTo>
                    <a:pt x="512" y="568"/>
                    <a:pt x="512" y="568"/>
                    <a:pt x="512" y="568"/>
                  </a:cubicBezTo>
                  <a:cubicBezTo>
                    <a:pt x="513" y="566"/>
                    <a:pt x="513" y="563"/>
                    <a:pt x="513" y="561"/>
                  </a:cubicBezTo>
                  <a:cubicBezTo>
                    <a:pt x="512" y="557"/>
                    <a:pt x="518" y="553"/>
                    <a:pt x="533" y="548"/>
                  </a:cubicBezTo>
                  <a:cubicBezTo>
                    <a:pt x="547" y="544"/>
                    <a:pt x="561" y="534"/>
                    <a:pt x="561" y="532"/>
                  </a:cubicBezTo>
                  <a:cubicBezTo>
                    <a:pt x="561" y="532"/>
                    <a:pt x="562" y="531"/>
                    <a:pt x="563" y="531"/>
                  </a:cubicBezTo>
                  <a:cubicBezTo>
                    <a:pt x="563" y="531"/>
                    <a:pt x="565" y="531"/>
                    <a:pt x="566" y="532"/>
                  </a:cubicBezTo>
                  <a:cubicBezTo>
                    <a:pt x="568" y="532"/>
                    <a:pt x="570" y="533"/>
                    <a:pt x="572" y="533"/>
                  </a:cubicBezTo>
                  <a:cubicBezTo>
                    <a:pt x="574" y="533"/>
                    <a:pt x="575" y="533"/>
                    <a:pt x="576" y="532"/>
                  </a:cubicBezTo>
                  <a:cubicBezTo>
                    <a:pt x="580" y="529"/>
                    <a:pt x="594" y="528"/>
                    <a:pt x="600" y="528"/>
                  </a:cubicBezTo>
                  <a:cubicBezTo>
                    <a:pt x="601" y="528"/>
                    <a:pt x="601" y="528"/>
                    <a:pt x="601" y="528"/>
                  </a:cubicBezTo>
                  <a:cubicBezTo>
                    <a:pt x="604" y="528"/>
                    <a:pt x="604" y="527"/>
                    <a:pt x="606" y="525"/>
                  </a:cubicBezTo>
                  <a:cubicBezTo>
                    <a:pt x="607" y="524"/>
                    <a:pt x="608" y="522"/>
                    <a:pt x="610" y="521"/>
                  </a:cubicBezTo>
                  <a:cubicBezTo>
                    <a:pt x="611" y="519"/>
                    <a:pt x="612" y="518"/>
                    <a:pt x="613" y="517"/>
                  </a:cubicBezTo>
                  <a:cubicBezTo>
                    <a:pt x="614" y="516"/>
                    <a:pt x="615" y="515"/>
                    <a:pt x="618" y="514"/>
                  </a:cubicBezTo>
                  <a:cubicBezTo>
                    <a:pt x="623" y="512"/>
                    <a:pt x="626" y="508"/>
                    <a:pt x="626" y="505"/>
                  </a:cubicBezTo>
                  <a:cubicBezTo>
                    <a:pt x="626" y="504"/>
                    <a:pt x="629" y="503"/>
                    <a:pt x="631" y="502"/>
                  </a:cubicBezTo>
                  <a:cubicBezTo>
                    <a:pt x="634" y="501"/>
                    <a:pt x="636" y="500"/>
                    <a:pt x="636" y="499"/>
                  </a:cubicBezTo>
                  <a:cubicBezTo>
                    <a:pt x="636" y="497"/>
                    <a:pt x="638" y="496"/>
                    <a:pt x="640" y="495"/>
                  </a:cubicBezTo>
                  <a:cubicBezTo>
                    <a:pt x="642" y="494"/>
                    <a:pt x="644" y="493"/>
                    <a:pt x="644" y="492"/>
                  </a:cubicBezTo>
                  <a:cubicBezTo>
                    <a:pt x="644" y="490"/>
                    <a:pt x="645" y="489"/>
                    <a:pt x="647" y="488"/>
                  </a:cubicBezTo>
                  <a:cubicBezTo>
                    <a:pt x="648" y="488"/>
                    <a:pt x="649" y="487"/>
                    <a:pt x="650" y="486"/>
                  </a:cubicBezTo>
                  <a:cubicBezTo>
                    <a:pt x="651" y="485"/>
                    <a:pt x="650" y="483"/>
                    <a:pt x="650" y="481"/>
                  </a:cubicBezTo>
                  <a:cubicBezTo>
                    <a:pt x="650" y="479"/>
                    <a:pt x="650" y="476"/>
                    <a:pt x="652" y="475"/>
                  </a:cubicBezTo>
                  <a:cubicBezTo>
                    <a:pt x="653" y="475"/>
                    <a:pt x="653" y="474"/>
                    <a:pt x="653" y="474"/>
                  </a:cubicBezTo>
                  <a:cubicBezTo>
                    <a:pt x="653" y="473"/>
                    <a:pt x="652" y="472"/>
                    <a:pt x="651" y="471"/>
                  </a:cubicBezTo>
                  <a:cubicBezTo>
                    <a:pt x="651" y="470"/>
                    <a:pt x="650" y="469"/>
                    <a:pt x="650" y="468"/>
                  </a:cubicBezTo>
                  <a:cubicBezTo>
                    <a:pt x="650" y="468"/>
                    <a:pt x="650" y="468"/>
                    <a:pt x="650" y="467"/>
                  </a:cubicBezTo>
                  <a:cubicBezTo>
                    <a:pt x="650" y="467"/>
                    <a:pt x="652" y="466"/>
                    <a:pt x="654" y="465"/>
                  </a:cubicBezTo>
                  <a:cubicBezTo>
                    <a:pt x="656" y="465"/>
                    <a:pt x="659" y="464"/>
                    <a:pt x="660" y="463"/>
                  </a:cubicBezTo>
                  <a:cubicBezTo>
                    <a:pt x="664" y="461"/>
                    <a:pt x="666" y="457"/>
                    <a:pt x="667" y="453"/>
                  </a:cubicBezTo>
                  <a:cubicBezTo>
                    <a:pt x="667" y="449"/>
                    <a:pt x="673" y="445"/>
                    <a:pt x="676" y="444"/>
                  </a:cubicBezTo>
                  <a:cubicBezTo>
                    <a:pt x="679" y="443"/>
                    <a:pt x="680" y="438"/>
                    <a:pt x="679" y="433"/>
                  </a:cubicBezTo>
                  <a:cubicBezTo>
                    <a:pt x="679" y="430"/>
                    <a:pt x="681" y="429"/>
                    <a:pt x="682" y="428"/>
                  </a:cubicBezTo>
                  <a:cubicBezTo>
                    <a:pt x="682" y="428"/>
                    <a:pt x="682" y="428"/>
                    <a:pt x="682" y="428"/>
                  </a:cubicBezTo>
                  <a:cubicBezTo>
                    <a:pt x="682" y="428"/>
                    <a:pt x="682" y="428"/>
                    <a:pt x="682" y="428"/>
                  </a:cubicBezTo>
                  <a:cubicBezTo>
                    <a:pt x="681" y="427"/>
                    <a:pt x="680" y="426"/>
                    <a:pt x="681" y="425"/>
                  </a:cubicBezTo>
                  <a:cubicBezTo>
                    <a:pt x="681" y="422"/>
                    <a:pt x="684" y="419"/>
                    <a:pt x="688" y="418"/>
                  </a:cubicBezTo>
                  <a:cubicBezTo>
                    <a:pt x="689" y="418"/>
                    <a:pt x="689" y="417"/>
                    <a:pt x="689" y="417"/>
                  </a:cubicBezTo>
                  <a:cubicBezTo>
                    <a:pt x="689" y="417"/>
                    <a:pt x="688" y="416"/>
                    <a:pt x="685" y="416"/>
                  </a:cubicBezTo>
                  <a:cubicBezTo>
                    <a:pt x="684" y="416"/>
                    <a:pt x="683" y="417"/>
                    <a:pt x="682" y="417"/>
                  </a:cubicBezTo>
                  <a:cubicBezTo>
                    <a:pt x="682" y="417"/>
                    <a:pt x="682" y="418"/>
                    <a:pt x="681" y="418"/>
                  </a:cubicBezTo>
                  <a:cubicBezTo>
                    <a:pt x="680" y="418"/>
                    <a:pt x="679" y="416"/>
                    <a:pt x="678" y="415"/>
                  </a:cubicBezTo>
                  <a:cubicBezTo>
                    <a:pt x="677" y="414"/>
                    <a:pt x="676" y="413"/>
                    <a:pt x="675" y="413"/>
                  </a:cubicBezTo>
                  <a:cubicBezTo>
                    <a:pt x="674" y="414"/>
                    <a:pt x="674" y="414"/>
                    <a:pt x="674" y="414"/>
                  </a:cubicBezTo>
                  <a:cubicBezTo>
                    <a:pt x="674" y="415"/>
                    <a:pt x="673" y="415"/>
                    <a:pt x="671" y="415"/>
                  </a:cubicBezTo>
                  <a:cubicBezTo>
                    <a:pt x="669" y="415"/>
                    <a:pt x="667" y="414"/>
                    <a:pt x="667" y="412"/>
                  </a:cubicBezTo>
                  <a:cubicBezTo>
                    <a:pt x="667" y="412"/>
                    <a:pt x="667" y="411"/>
                    <a:pt x="668" y="410"/>
                  </a:cubicBezTo>
                  <a:cubicBezTo>
                    <a:pt x="671" y="410"/>
                    <a:pt x="675" y="407"/>
                    <a:pt x="678" y="406"/>
                  </a:cubicBezTo>
                  <a:cubicBezTo>
                    <a:pt x="680" y="404"/>
                    <a:pt x="682" y="403"/>
                    <a:pt x="684" y="403"/>
                  </a:cubicBezTo>
                  <a:cubicBezTo>
                    <a:pt x="684" y="402"/>
                    <a:pt x="684" y="402"/>
                    <a:pt x="684" y="402"/>
                  </a:cubicBezTo>
                  <a:cubicBezTo>
                    <a:pt x="684" y="400"/>
                    <a:pt x="678" y="396"/>
                    <a:pt x="675" y="396"/>
                  </a:cubicBezTo>
                  <a:cubicBezTo>
                    <a:pt x="675" y="396"/>
                    <a:pt x="675" y="396"/>
                    <a:pt x="675" y="396"/>
                  </a:cubicBezTo>
                  <a:cubicBezTo>
                    <a:pt x="673" y="396"/>
                    <a:pt x="671" y="393"/>
                    <a:pt x="668" y="391"/>
                  </a:cubicBezTo>
                  <a:cubicBezTo>
                    <a:pt x="666" y="389"/>
                    <a:pt x="664" y="386"/>
                    <a:pt x="662" y="386"/>
                  </a:cubicBezTo>
                  <a:cubicBezTo>
                    <a:pt x="661" y="386"/>
                    <a:pt x="661" y="386"/>
                    <a:pt x="661" y="386"/>
                  </a:cubicBezTo>
                  <a:cubicBezTo>
                    <a:pt x="660" y="386"/>
                    <a:pt x="660" y="386"/>
                    <a:pt x="660" y="385"/>
                  </a:cubicBezTo>
                  <a:cubicBezTo>
                    <a:pt x="660" y="384"/>
                    <a:pt x="664" y="384"/>
                    <a:pt x="666" y="384"/>
                  </a:cubicBezTo>
                  <a:cubicBezTo>
                    <a:pt x="667" y="384"/>
                    <a:pt x="669" y="384"/>
                    <a:pt x="671" y="385"/>
                  </a:cubicBezTo>
                  <a:cubicBezTo>
                    <a:pt x="674" y="386"/>
                    <a:pt x="678" y="388"/>
                    <a:pt x="681" y="388"/>
                  </a:cubicBezTo>
                  <a:cubicBezTo>
                    <a:pt x="682" y="388"/>
                    <a:pt x="682" y="388"/>
                    <a:pt x="683" y="387"/>
                  </a:cubicBezTo>
                  <a:cubicBezTo>
                    <a:pt x="683" y="387"/>
                    <a:pt x="683" y="387"/>
                    <a:pt x="683" y="387"/>
                  </a:cubicBezTo>
                  <a:cubicBezTo>
                    <a:pt x="683" y="385"/>
                    <a:pt x="677" y="379"/>
                    <a:pt x="671" y="374"/>
                  </a:cubicBezTo>
                  <a:cubicBezTo>
                    <a:pt x="668" y="373"/>
                    <a:pt x="668" y="370"/>
                    <a:pt x="669" y="369"/>
                  </a:cubicBezTo>
                  <a:cubicBezTo>
                    <a:pt x="669" y="367"/>
                    <a:pt x="669" y="366"/>
                    <a:pt x="668" y="366"/>
                  </a:cubicBezTo>
                  <a:cubicBezTo>
                    <a:pt x="666" y="364"/>
                    <a:pt x="660" y="353"/>
                    <a:pt x="659" y="348"/>
                  </a:cubicBezTo>
                  <a:cubicBezTo>
                    <a:pt x="658" y="345"/>
                    <a:pt x="655" y="344"/>
                    <a:pt x="651" y="342"/>
                  </a:cubicBezTo>
                  <a:cubicBezTo>
                    <a:pt x="649" y="341"/>
                    <a:pt x="647" y="340"/>
                    <a:pt x="646" y="339"/>
                  </a:cubicBezTo>
                  <a:cubicBezTo>
                    <a:pt x="645" y="337"/>
                    <a:pt x="645" y="335"/>
                    <a:pt x="645" y="333"/>
                  </a:cubicBezTo>
                  <a:cubicBezTo>
                    <a:pt x="647" y="329"/>
                    <a:pt x="649" y="326"/>
                    <a:pt x="653" y="325"/>
                  </a:cubicBezTo>
                  <a:cubicBezTo>
                    <a:pt x="657" y="323"/>
                    <a:pt x="657" y="321"/>
                    <a:pt x="658" y="319"/>
                  </a:cubicBezTo>
                  <a:cubicBezTo>
                    <a:pt x="658" y="318"/>
                    <a:pt x="658" y="316"/>
                    <a:pt x="660" y="317"/>
                  </a:cubicBezTo>
                  <a:cubicBezTo>
                    <a:pt x="661" y="317"/>
                    <a:pt x="661" y="317"/>
                    <a:pt x="661" y="317"/>
                  </a:cubicBezTo>
                  <a:cubicBezTo>
                    <a:pt x="664" y="317"/>
                    <a:pt x="666" y="315"/>
                    <a:pt x="668" y="311"/>
                  </a:cubicBezTo>
                  <a:cubicBezTo>
                    <a:pt x="669" y="308"/>
                    <a:pt x="671" y="308"/>
                    <a:pt x="673" y="308"/>
                  </a:cubicBezTo>
                  <a:cubicBezTo>
                    <a:pt x="674" y="308"/>
                    <a:pt x="676" y="308"/>
                    <a:pt x="676" y="307"/>
                  </a:cubicBezTo>
                  <a:cubicBezTo>
                    <a:pt x="678" y="305"/>
                    <a:pt x="681" y="305"/>
                    <a:pt x="685" y="304"/>
                  </a:cubicBezTo>
                  <a:cubicBezTo>
                    <a:pt x="688" y="304"/>
                    <a:pt x="691" y="303"/>
                    <a:pt x="693" y="302"/>
                  </a:cubicBezTo>
                  <a:cubicBezTo>
                    <a:pt x="694" y="301"/>
                    <a:pt x="694" y="300"/>
                    <a:pt x="694" y="299"/>
                  </a:cubicBezTo>
                  <a:cubicBezTo>
                    <a:pt x="693" y="297"/>
                    <a:pt x="689" y="293"/>
                    <a:pt x="686" y="293"/>
                  </a:cubicBezTo>
                  <a:cubicBezTo>
                    <a:pt x="685" y="293"/>
                    <a:pt x="685" y="293"/>
                    <a:pt x="685" y="293"/>
                  </a:cubicBezTo>
                  <a:cubicBezTo>
                    <a:pt x="684" y="294"/>
                    <a:pt x="683" y="294"/>
                    <a:pt x="682" y="294"/>
                  </a:cubicBezTo>
                  <a:cubicBezTo>
                    <a:pt x="677" y="294"/>
                    <a:pt x="673" y="291"/>
                    <a:pt x="670" y="287"/>
                  </a:cubicBezTo>
                  <a:cubicBezTo>
                    <a:pt x="669" y="287"/>
                    <a:pt x="669" y="287"/>
                    <a:pt x="669" y="287"/>
                  </a:cubicBezTo>
                  <a:cubicBezTo>
                    <a:pt x="667" y="287"/>
                    <a:pt x="664" y="290"/>
                    <a:pt x="660" y="293"/>
                  </a:cubicBezTo>
                  <a:cubicBezTo>
                    <a:pt x="657" y="296"/>
                    <a:pt x="654" y="299"/>
                    <a:pt x="652" y="300"/>
                  </a:cubicBezTo>
                  <a:cubicBezTo>
                    <a:pt x="648" y="302"/>
                    <a:pt x="645" y="301"/>
                    <a:pt x="643" y="298"/>
                  </a:cubicBezTo>
                  <a:cubicBezTo>
                    <a:pt x="641" y="295"/>
                    <a:pt x="641" y="291"/>
                    <a:pt x="642" y="288"/>
                  </a:cubicBezTo>
                  <a:cubicBezTo>
                    <a:pt x="642" y="287"/>
                    <a:pt x="642" y="286"/>
                    <a:pt x="642" y="285"/>
                  </a:cubicBezTo>
                  <a:cubicBezTo>
                    <a:pt x="641" y="284"/>
                    <a:pt x="637" y="283"/>
                    <a:pt x="634" y="283"/>
                  </a:cubicBezTo>
                  <a:cubicBezTo>
                    <a:pt x="632" y="283"/>
                    <a:pt x="630" y="283"/>
                    <a:pt x="627" y="284"/>
                  </a:cubicBezTo>
                  <a:cubicBezTo>
                    <a:pt x="627" y="284"/>
                    <a:pt x="627" y="284"/>
                    <a:pt x="627" y="284"/>
                  </a:cubicBezTo>
                  <a:cubicBezTo>
                    <a:pt x="623" y="284"/>
                    <a:pt x="621" y="281"/>
                    <a:pt x="621" y="277"/>
                  </a:cubicBezTo>
                  <a:cubicBezTo>
                    <a:pt x="620" y="272"/>
                    <a:pt x="623" y="265"/>
                    <a:pt x="627" y="265"/>
                  </a:cubicBezTo>
                  <a:cubicBezTo>
                    <a:pt x="629" y="264"/>
                    <a:pt x="631" y="265"/>
                    <a:pt x="633" y="265"/>
                  </a:cubicBezTo>
                  <a:cubicBezTo>
                    <a:pt x="634" y="265"/>
                    <a:pt x="636" y="266"/>
                    <a:pt x="637" y="266"/>
                  </a:cubicBezTo>
                  <a:cubicBezTo>
                    <a:pt x="640" y="266"/>
                    <a:pt x="643" y="265"/>
                    <a:pt x="645" y="259"/>
                  </a:cubicBezTo>
                  <a:cubicBezTo>
                    <a:pt x="647" y="254"/>
                    <a:pt x="649" y="253"/>
                    <a:pt x="652" y="253"/>
                  </a:cubicBezTo>
                  <a:cubicBezTo>
                    <a:pt x="655" y="252"/>
                    <a:pt x="658" y="252"/>
                    <a:pt x="662" y="247"/>
                  </a:cubicBezTo>
                  <a:cubicBezTo>
                    <a:pt x="667" y="242"/>
                    <a:pt x="674" y="235"/>
                    <a:pt x="681" y="235"/>
                  </a:cubicBezTo>
                  <a:cubicBezTo>
                    <a:pt x="683" y="235"/>
                    <a:pt x="685" y="236"/>
                    <a:pt x="687" y="238"/>
                  </a:cubicBezTo>
                  <a:cubicBezTo>
                    <a:pt x="689" y="239"/>
                    <a:pt x="689" y="240"/>
                    <a:pt x="689" y="241"/>
                  </a:cubicBezTo>
                  <a:cubicBezTo>
                    <a:pt x="690" y="245"/>
                    <a:pt x="686" y="249"/>
                    <a:pt x="682" y="252"/>
                  </a:cubicBezTo>
                  <a:cubicBezTo>
                    <a:pt x="680" y="254"/>
                    <a:pt x="678" y="256"/>
                    <a:pt x="677" y="258"/>
                  </a:cubicBezTo>
                  <a:cubicBezTo>
                    <a:pt x="676" y="260"/>
                    <a:pt x="677" y="262"/>
                    <a:pt x="677" y="263"/>
                  </a:cubicBezTo>
                  <a:cubicBezTo>
                    <a:pt x="677" y="265"/>
                    <a:pt x="678" y="267"/>
                    <a:pt x="675" y="269"/>
                  </a:cubicBezTo>
                  <a:cubicBezTo>
                    <a:pt x="674" y="271"/>
                    <a:pt x="674" y="271"/>
                    <a:pt x="674" y="272"/>
                  </a:cubicBezTo>
                  <a:cubicBezTo>
                    <a:pt x="675" y="272"/>
                    <a:pt x="675" y="272"/>
                    <a:pt x="675" y="272"/>
                  </a:cubicBezTo>
                  <a:cubicBezTo>
                    <a:pt x="677" y="272"/>
                    <a:pt x="681" y="271"/>
                    <a:pt x="685" y="268"/>
                  </a:cubicBezTo>
                  <a:cubicBezTo>
                    <a:pt x="693" y="263"/>
                    <a:pt x="704" y="257"/>
                    <a:pt x="712" y="253"/>
                  </a:cubicBezTo>
                  <a:cubicBezTo>
                    <a:pt x="714" y="253"/>
                    <a:pt x="716" y="252"/>
                    <a:pt x="719" y="252"/>
                  </a:cubicBezTo>
                  <a:cubicBezTo>
                    <a:pt x="720" y="249"/>
                    <a:pt x="721" y="247"/>
                    <a:pt x="723" y="246"/>
                  </a:cubicBezTo>
                  <a:cubicBezTo>
                    <a:pt x="724" y="246"/>
                    <a:pt x="725" y="245"/>
                    <a:pt x="727" y="244"/>
                  </a:cubicBezTo>
                  <a:cubicBezTo>
                    <a:pt x="734" y="241"/>
                    <a:pt x="748" y="234"/>
                    <a:pt x="750" y="231"/>
                  </a:cubicBezTo>
                  <a:cubicBezTo>
                    <a:pt x="750" y="230"/>
                    <a:pt x="751" y="229"/>
                    <a:pt x="752" y="228"/>
                  </a:cubicBezTo>
                  <a:cubicBezTo>
                    <a:pt x="754" y="224"/>
                    <a:pt x="756" y="221"/>
                    <a:pt x="760" y="221"/>
                  </a:cubicBezTo>
                  <a:cubicBezTo>
                    <a:pt x="761" y="221"/>
                    <a:pt x="762" y="222"/>
                    <a:pt x="763" y="222"/>
                  </a:cubicBezTo>
                  <a:cubicBezTo>
                    <a:pt x="765" y="223"/>
                    <a:pt x="766" y="225"/>
                    <a:pt x="769" y="225"/>
                  </a:cubicBezTo>
                  <a:cubicBezTo>
                    <a:pt x="770" y="225"/>
                    <a:pt x="772" y="225"/>
                    <a:pt x="773" y="225"/>
                  </a:cubicBezTo>
                  <a:cubicBezTo>
                    <a:pt x="774" y="225"/>
                    <a:pt x="775" y="225"/>
                    <a:pt x="776" y="225"/>
                  </a:cubicBezTo>
                  <a:cubicBezTo>
                    <a:pt x="777" y="225"/>
                    <a:pt x="778" y="225"/>
                    <a:pt x="778" y="224"/>
                  </a:cubicBezTo>
                  <a:cubicBezTo>
                    <a:pt x="779" y="224"/>
                    <a:pt x="778" y="223"/>
                    <a:pt x="778" y="222"/>
                  </a:cubicBezTo>
                  <a:cubicBezTo>
                    <a:pt x="777" y="221"/>
                    <a:pt x="776" y="219"/>
                    <a:pt x="777" y="218"/>
                  </a:cubicBezTo>
                  <a:cubicBezTo>
                    <a:pt x="777" y="217"/>
                    <a:pt x="779" y="217"/>
                    <a:pt x="783" y="216"/>
                  </a:cubicBezTo>
                  <a:cubicBezTo>
                    <a:pt x="784" y="216"/>
                    <a:pt x="784" y="216"/>
                    <a:pt x="784" y="216"/>
                  </a:cubicBezTo>
                  <a:cubicBezTo>
                    <a:pt x="787" y="216"/>
                    <a:pt x="788" y="214"/>
                    <a:pt x="790" y="212"/>
                  </a:cubicBezTo>
                  <a:cubicBezTo>
                    <a:pt x="791" y="210"/>
                    <a:pt x="792" y="209"/>
                    <a:pt x="794" y="209"/>
                  </a:cubicBezTo>
                  <a:cubicBezTo>
                    <a:pt x="796" y="209"/>
                    <a:pt x="797" y="206"/>
                    <a:pt x="798" y="203"/>
                  </a:cubicBezTo>
                  <a:cubicBezTo>
                    <a:pt x="799" y="200"/>
                    <a:pt x="800" y="197"/>
                    <a:pt x="803" y="197"/>
                  </a:cubicBezTo>
                  <a:cubicBezTo>
                    <a:pt x="805" y="197"/>
                    <a:pt x="806" y="199"/>
                    <a:pt x="808" y="200"/>
                  </a:cubicBezTo>
                  <a:cubicBezTo>
                    <a:pt x="809" y="201"/>
                    <a:pt x="811" y="202"/>
                    <a:pt x="813" y="202"/>
                  </a:cubicBezTo>
                  <a:cubicBezTo>
                    <a:pt x="813" y="202"/>
                    <a:pt x="814" y="202"/>
                    <a:pt x="815" y="202"/>
                  </a:cubicBezTo>
                  <a:cubicBezTo>
                    <a:pt x="816" y="202"/>
                    <a:pt x="817" y="202"/>
                    <a:pt x="819" y="203"/>
                  </a:cubicBezTo>
                  <a:cubicBezTo>
                    <a:pt x="820" y="202"/>
                    <a:pt x="821" y="201"/>
                    <a:pt x="822" y="200"/>
                  </a:cubicBezTo>
                  <a:cubicBezTo>
                    <a:pt x="822" y="198"/>
                    <a:pt x="822" y="196"/>
                    <a:pt x="822" y="194"/>
                  </a:cubicBezTo>
                  <a:cubicBezTo>
                    <a:pt x="822" y="191"/>
                    <a:pt x="822" y="188"/>
                    <a:pt x="821" y="187"/>
                  </a:cubicBezTo>
                  <a:cubicBezTo>
                    <a:pt x="820" y="184"/>
                    <a:pt x="820" y="181"/>
                    <a:pt x="820" y="178"/>
                  </a:cubicBezTo>
                  <a:cubicBezTo>
                    <a:pt x="820" y="177"/>
                    <a:pt x="820" y="176"/>
                    <a:pt x="820" y="175"/>
                  </a:cubicBezTo>
                  <a:cubicBezTo>
                    <a:pt x="819" y="172"/>
                    <a:pt x="819" y="167"/>
                    <a:pt x="820" y="165"/>
                  </a:cubicBezTo>
                  <a:cubicBezTo>
                    <a:pt x="821" y="164"/>
                    <a:pt x="822" y="164"/>
                    <a:pt x="823" y="164"/>
                  </a:cubicBezTo>
                  <a:cubicBezTo>
                    <a:pt x="824" y="164"/>
                    <a:pt x="825" y="162"/>
                    <a:pt x="827" y="161"/>
                  </a:cubicBezTo>
                  <a:cubicBezTo>
                    <a:pt x="829" y="159"/>
                    <a:pt x="831" y="157"/>
                    <a:pt x="833" y="157"/>
                  </a:cubicBezTo>
                  <a:cubicBezTo>
                    <a:pt x="833" y="157"/>
                    <a:pt x="834" y="158"/>
                    <a:pt x="835" y="158"/>
                  </a:cubicBezTo>
                  <a:cubicBezTo>
                    <a:pt x="837" y="160"/>
                    <a:pt x="840" y="161"/>
                    <a:pt x="843" y="161"/>
                  </a:cubicBezTo>
                  <a:cubicBezTo>
                    <a:pt x="844" y="161"/>
                    <a:pt x="845" y="160"/>
                    <a:pt x="846" y="160"/>
                  </a:cubicBezTo>
                  <a:cubicBezTo>
                    <a:pt x="847" y="160"/>
                    <a:pt x="847" y="159"/>
                    <a:pt x="847" y="159"/>
                  </a:cubicBezTo>
                  <a:cubicBezTo>
                    <a:pt x="847" y="156"/>
                    <a:pt x="849" y="155"/>
                    <a:pt x="850" y="154"/>
                  </a:cubicBezTo>
                  <a:cubicBezTo>
                    <a:pt x="852" y="153"/>
                    <a:pt x="854" y="152"/>
                    <a:pt x="854" y="149"/>
                  </a:cubicBezTo>
                  <a:cubicBezTo>
                    <a:pt x="854" y="146"/>
                    <a:pt x="856" y="144"/>
                    <a:pt x="859" y="143"/>
                  </a:cubicBezTo>
                  <a:cubicBezTo>
                    <a:pt x="860" y="141"/>
                    <a:pt x="862" y="140"/>
                    <a:pt x="863" y="138"/>
                  </a:cubicBezTo>
                  <a:cubicBezTo>
                    <a:pt x="863" y="137"/>
                    <a:pt x="863" y="136"/>
                    <a:pt x="863" y="135"/>
                  </a:cubicBezTo>
                  <a:cubicBezTo>
                    <a:pt x="865" y="130"/>
                    <a:pt x="867" y="121"/>
                    <a:pt x="871" y="119"/>
                  </a:cubicBezTo>
                  <a:cubicBezTo>
                    <a:pt x="872" y="118"/>
                    <a:pt x="872" y="117"/>
                    <a:pt x="871" y="115"/>
                  </a:cubicBezTo>
                  <a:cubicBezTo>
                    <a:pt x="871" y="113"/>
                    <a:pt x="870" y="111"/>
                    <a:pt x="870" y="107"/>
                  </a:cubicBezTo>
                  <a:cubicBezTo>
                    <a:pt x="870" y="106"/>
                    <a:pt x="870" y="105"/>
                    <a:pt x="869" y="104"/>
                  </a:cubicBezTo>
                  <a:cubicBezTo>
                    <a:pt x="868" y="103"/>
                    <a:pt x="867" y="103"/>
                    <a:pt x="866" y="103"/>
                  </a:cubicBezTo>
                  <a:cubicBezTo>
                    <a:pt x="863" y="103"/>
                    <a:pt x="860" y="104"/>
                    <a:pt x="859" y="105"/>
                  </a:cubicBezTo>
                  <a:cubicBezTo>
                    <a:pt x="858" y="106"/>
                    <a:pt x="856" y="106"/>
                    <a:pt x="854" y="106"/>
                  </a:cubicBezTo>
                  <a:cubicBezTo>
                    <a:pt x="850" y="106"/>
                    <a:pt x="846" y="107"/>
                    <a:pt x="845" y="110"/>
                  </a:cubicBezTo>
                  <a:cubicBezTo>
                    <a:pt x="843" y="113"/>
                    <a:pt x="841" y="113"/>
                    <a:pt x="839" y="113"/>
                  </a:cubicBezTo>
                  <a:cubicBezTo>
                    <a:pt x="839" y="113"/>
                    <a:pt x="838" y="113"/>
                    <a:pt x="837" y="113"/>
                  </a:cubicBezTo>
                  <a:cubicBezTo>
                    <a:pt x="835" y="113"/>
                    <a:pt x="833" y="113"/>
                    <a:pt x="832" y="113"/>
                  </a:cubicBezTo>
                  <a:cubicBezTo>
                    <a:pt x="831" y="113"/>
                    <a:pt x="830" y="113"/>
                    <a:pt x="829" y="113"/>
                  </a:cubicBezTo>
                  <a:cubicBezTo>
                    <a:pt x="825" y="113"/>
                    <a:pt x="820" y="112"/>
                    <a:pt x="818" y="110"/>
                  </a:cubicBezTo>
                  <a:cubicBezTo>
                    <a:pt x="817" y="109"/>
                    <a:pt x="817" y="108"/>
                    <a:pt x="817" y="107"/>
                  </a:cubicBezTo>
                  <a:cubicBezTo>
                    <a:pt x="817" y="105"/>
                    <a:pt x="816" y="103"/>
                    <a:pt x="816" y="101"/>
                  </a:cubicBezTo>
                  <a:cubicBezTo>
                    <a:pt x="815" y="99"/>
                    <a:pt x="814" y="97"/>
                    <a:pt x="814" y="94"/>
                  </a:cubicBezTo>
                  <a:cubicBezTo>
                    <a:pt x="814" y="92"/>
                    <a:pt x="813" y="92"/>
                    <a:pt x="810" y="91"/>
                  </a:cubicBezTo>
                  <a:cubicBezTo>
                    <a:pt x="808" y="91"/>
                    <a:pt x="806" y="90"/>
                    <a:pt x="804" y="88"/>
                  </a:cubicBezTo>
                  <a:cubicBezTo>
                    <a:pt x="800" y="84"/>
                    <a:pt x="793" y="82"/>
                    <a:pt x="790" y="82"/>
                  </a:cubicBezTo>
                  <a:cubicBezTo>
                    <a:pt x="790" y="82"/>
                    <a:pt x="790" y="82"/>
                    <a:pt x="790" y="82"/>
                  </a:cubicBezTo>
                  <a:cubicBezTo>
                    <a:pt x="789" y="82"/>
                    <a:pt x="787" y="81"/>
                    <a:pt x="785" y="80"/>
                  </a:cubicBezTo>
                  <a:cubicBezTo>
                    <a:pt x="783" y="79"/>
                    <a:pt x="779" y="77"/>
                    <a:pt x="775" y="76"/>
                  </a:cubicBezTo>
                  <a:cubicBezTo>
                    <a:pt x="772" y="76"/>
                    <a:pt x="771" y="76"/>
                    <a:pt x="769" y="74"/>
                  </a:cubicBezTo>
                  <a:cubicBezTo>
                    <a:pt x="768" y="72"/>
                    <a:pt x="769" y="70"/>
                    <a:pt x="769" y="68"/>
                  </a:cubicBezTo>
                  <a:cubicBezTo>
                    <a:pt x="770" y="66"/>
                    <a:pt x="768" y="62"/>
                    <a:pt x="766" y="59"/>
                  </a:cubicBezTo>
                  <a:cubicBezTo>
                    <a:pt x="764" y="56"/>
                    <a:pt x="762" y="53"/>
                    <a:pt x="762" y="50"/>
                  </a:cubicBezTo>
                  <a:cubicBezTo>
                    <a:pt x="761" y="48"/>
                    <a:pt x="760" y="47"/>
                    <a:pt x="759" y="46"/>
                  </a:cubicBezTo>
                  <a:cubicBezTo>
                    <a:pt x="757" y="43"/>
                    <a:pt x="755" y="40"/>
                    <a:pt x="753" y="33"/>
                  </a:cubicBezTo>
                  <a:cubicBezTo>
                    <a:pt x="752" y="27"/>
                    <a:pt x="750" y="25"/>
                    <a:pt x="748" y="24"/>
                  </a:cubicBezTo>
                  <a:cubicBezTo>
                    <a:pt x="747" y="23"/>
                    <a:pt x="746" y="22"/>
                    <a:pt x="746" y="20"/>
                  </a:cubicBezTo>
                  <a:cubicBezTo>
                    <a:pt x="747" y="16"/>
                    <a:pt x="744" y="14"/>
                    <a:pt x="741" y="12"/>
                  </a:cubicBezTo>
                  <a:cubicBezTo>
                    <a:pt x="739" y="11"/>
                    <a:pt x="738" y="10"/>
                    <a:pt x="737" y="9"/>
                  </a:cubicBezTo>
                  <a:cubicBezTo>
                    <a:pt x="736" y="8"/>
                    <a:pt x="733" y="7"/>
                    <a:pt x="730" y="7"/>
                  </a:cubicBezTo>
                  <a:cubicBezTo>
                    <a:pt x="727" y="6"/>
                    <a:pt x="723" y="6"/>
                    <a:pt x="720" y="4"/>
                  </a:cubicBezTo>
                  <a:cubicBezTo>
                    <a:pt x="716" y="2"/>
                    <a:pt x="713" y="2"/>
                    <a:pt x="710" y="2"/>
                  </a:cubicBezTo>
                  <a:cubicBezTo>
                    <a:pt x="708" y="2"/>
                    <a:pt x="706" y="2"/>
                    <a:pt x="703" y="2"/>
                  </a:cubicBezTo>
                  <a:cubicBezTo>
                    <a:pt x="702" y="1"/>
                    <a:pt x="701" y="1"/>
                    <a:pt x="699" y="1"/>
                  </a:cubicBezTo>
                  <a:cubicBezTo>
                    <a:pt x="695" y="1"/>
                    <a:pt x="689" y="2"/>
                    <a:pt x="685" y="3"/>
                  </a:cubicBezTo>
                  <a:cubicBezTo>
                    <a:pt x="684" y="3"/>
                    <a:pt x="682" y="3"/>
                    <a:pt x="682" y="3"/>
                  </a:cubicBezTo>
                  <a:cubicBezTo>
                    <a:pt x="681" y="3"/>
                    <a:pt x="681" y="3"/>
                    <a:pt x="681" y="3"/>
                  </a:cubicBezTo>
                  <a:cubicBezTo>
                    <a:pt x="680" y="3"/>
                    <a:pt x="679" y="3"/>
                    <a:pt x="677" y="3"/>
                  </a:cubicBezTo>
                  <a:cubicBezTo>
                    <a:pt x="671" y="3"/>
                    <a:pt x="667" y="5"/>
                    <a:pt x="664" y="9"/>
                  </a:cubicBezTo>
                  <a:cubicBezTo>
                    <a:pt x="661" y="13"/>
                    <a:pt x="661" y="15"/>
                    <a:pt x="661" y="15"/>
                  </a:cubicBezTo>
                  <a:cubicBezTo>
                    <a:pt x="661" y="16"/>
                    <a:pt x="663" y="16"/>
                    <a:pt x="664" y="16"/>
                  </a:cubicBezTo>
                  <a:cubicBezTo>
                    <a:pt x="665" y="16"/>
                    <a:pt x="665" y="16"/>
                    <a:pt x="665" y="16"/>
                  </a:cubicBezTo>
                  <a:cubicBezTo>
                    <a:pt x="667" y="16"/>
                    <a:pt x="669" y="22"/>
                    <a:pt x="670" y="27"/>
                  </a:cubicBezTo>
                  <a:cubicBezTo>
                    <a:pt x="670" y="30"/>
                    <a:pt x="665" y="34"/>
                    <a:pt x="663" y="35"/>
                  </a:cubicBezTo>
                  <a:cubicBezTo>
                    <a:pt x="661" y="35"/>
                    <a:pt x="655" y="45"/>
                    <a:pt x="654" y="48"/>
                  </a:cubicBezTo>
                  <a:cubicBezTo>
                    <a:pt x="654" y="50"/>
                    <a:pt x="652" y="52"/>
                    <a:pt x="651" y="54"/>
                  </a:cubicBezTo>
                  <a:cubicBezTo>
                    <a:pt x="649" y="57"/>
                    <a:pt x="647" y="61"/>
                    <a:pt x="647" y="63"/>
                  </a:cubicBezTo>
                  <a:cubicBezTo>
                    <a:pt x="647" y="64"/>
                    <a:pt x="647" y="65"/>
                    <a:pt x="647" y="66"/>
                  </a:cubicBezTo>
                  <a:cubicBezTo>
                    <a:pt x="645" y="68"/>
                    <a:pt x="642" y="70"/>
                    <a:pt x="640" y="70"/>
                  </a:cubicBezTo>
                  <a:cubicBezTo>
                    <a:pt x="639" y="70"/>
                    <a:pt x="635" y="72"/>
                    <a:pt x="632" y="74"/>
                  </a:cubicBezTo>
                  <a:cubicBezTo>
                    <a:pt x="630" y="76"/>
                    <a:pt x="628" y="77"/>
                    <a:pt x="627" y="77"/>
                  </a:cubicBezTo>
                  <a:cubicBezTo>
                    <a:pt x="626" y="77"/>
                    <a:pt x="625" y="78"/>
                    <a:pt x="624" y="78"/>
                  </a:cubicBezTo>
                  <a:cubicBezTo>
                    <a:pt x="621" y="78"/>
                    <a:pt x="613" y="76"/>
                    <a:pt x="612" y="73"/>
                  </a:cubicBezTo>
                  <a:cubicBezTo>
                    <a:pt x="612" y="72"/>
                    <a:pt x="611" y="72"/>
                    <a:pt x="609" y="71"/>
                  </a:cubicBezTo>
                  <a:cubicBezTo>
                    <a:pt x="598" y="94"/>
                    <a:pt x="598" y="94"/>
                    <a:pt x="598" y="94"/>
                  </a:cubicBezTo>
                  <a:cubicBezTo>
                    <a:pt x="597" y="102"/>
                    <a:pt x="597" y="102"/>
                    <a:pt x="597" y="102"/>
                  </a:cubicBezTo>
                  <a:cubicBezTo>
                    <a:pt x="597" y="102"/>
                    <a:pt x="597" y="102"/>
                    <a:pt x="597" y="102"/>
                  </a:cubicBezTo>
                  <a:cubicBezTo>
                    <a:pt x="597" y="102"/>
                    <a:pt x="594" y="103"/>
                    <a:pt x="593" y="104"/>
                  </a:cubicBezTo>
                  <a:cubicBezTo>
                    <a:pt x="593" y="106"/>
                    <a:pt x="593" y="107"/>
                    <a:pt x="595" y="108"/>
                  </a:cubicBezTo>
                  <a:cubicBezTo>
                    <a:pt x="597" y="110"/>
                    <a:pt x="598" y="111"/>
                    <a:pt x="600" y="111"/>
                  </a:cubicBezTo>
                  <a:cubicBezTo>
                    <a:pt x="600" y="111"/>
                    <a:pt x="601" y="111"/>
                    <a:pt x="602" y="110"/>
                  </a:cubicBezTo>
                  <a:cubicBezTo>
                    <a:pt x="604" y="110"/>
                    <a:pt x="606" y="109"/>
                    <a:pt x="610" y="109"/>
                  </a:cubicBezTo>
                  <a:cubicBezTo>
                    <a:pt x="614" y="109"/>
                    <a:pt x="617" y="111"/>
                    <a:pt x="619" y="112"/>
                  </a:cubicBezTo>
                  <a:cubicBezTo>
                    <a:pt x="620" y="112"/>
                    <a:pt x="621" y="113"/>
                    <a:pt x="622" y="113"/>
                  </a:cubicBezTo>
                  <a:cubicBezTo>
                    <a:pt x="622" y="113"/>
                    <a:pt x="623" y="113"/>
                    <a:pt x="623" y="111"/>
                  </a:cubicBezTo>
                  <a:cubicBezTo>
                    <a:pt x="624" y="108"/>
                    <a:pt x="628" y="106"/>
                    <a:pt x="631" y="106"/>
                  </a:cubicBezTo>
                  <a:cubicBezTo>
                    <a:pt x="633" y="106"/>
                    <a:pt x="636" y="107"/>
                    <a:pt x="638" y="109"/>
                  </a:cubicBezTo>
                  <a:cubicBezTo>
                    <a:pt x="640" y="111"/>
                    <a:pt x="643" y="114"/>
                    <a:pt x="646" y="117"/>
                  </a:cubicBezTo>
                  <a:cubicBezTo>
                    <a:pt x="652" y="122"/>
                    <a:pt x="658" y="126"/>
                    <a:pt x="657" y="130"/>
                  </a:cubicBezTo>
                  <a:cubicBezTo>
                    <a:pt x="656" y="132"/>
                    <a:pt x="654" y="133"/>
                    <a:pt x="650" y="133"/>
                  </a:cubicBezTo>
                  <a:cubicBezTo>
                    <a:pt x="647" y="133"/>
                    <a:pt x="644" y="133"/>
                    <a:pt x="641" y="132"/>
                  </a:cubicBezTo>
                  <a:cubicBezTo>
                    <a:pt x="641" y="132"/>
                    <a:pt x="640" y="131"/>
                    <a:pt x="639" y="131"/>
                  </a:cubicBezTo>
                  <a:cubicBezTo>
                    <a:pt x="636" y="131"/>
                    <a:pt x="633" y="132"/>
                    <a:pt x="631" y="134"/>
                  </a:cubicBezTo>
                  <a:cubicBezTo>
                    <a:pt x="628" y="135"/>
                    <a:pt x="625" y="136"/>
                    <a:pt x="623" y="136"/>
                  </a:cubicBezTo>
                  <a:cubicBezTo>
                    <a:pt x="618" y="136"/>
                    <a:pt x="611" y="137"/>
                    <a:pt x="605" y="143"/>
                  </a:cubicBezTo>
                  <a:cubicBezTo>
                    <a:pt x="603" y="145"/>
                    <a:pt x="602" y="147"/>
                    <a:pt x="601" y="149"/>
                  </a:cubicBezTo>
                  <a:cubicBezTo>
                    <a:pt x="599" y="152"/>
                    <a:pt x="598" y="155"/>
                    <a:pt x="592" y="155"/>
                  </a:cubicBezTo>
                  <a:cubicBezTo>
                    <a:pt x="590" y="155"/>
                    <a:pt x="589" y="156"/>
                    <a:pt x="588" y="156"/>
                  </a:cubicBezTo>
                  <a:cubicBezTo>
                    <a:pt x="582" y="156"/>
                    <a:pt x="578" y="156"/>
                    <a:pt x="570" y="162"/>
                  </a:cubicBezTo>
                  <a:cubicBezTo>
                    <a:pt x="567" y="164"/>
                    <a:pt x="562" y="166"/>
                    <a:pt x="557" y="166"/>
                  </a:cubicBezTo>
                  <a:cubicBezTo>
                    <a:pt x="553" y="166"/>
                    <a:pt x="549" y="165"/>
                    <a:pt x="547" y="164"/>
                  </a:cubicBezTo>
                  <a:cubicBezTo>
                    <a:pt x="546" y="163"/>
                    <a:pt x="544" y="162"/>
                    <a:pt x="541" y="162"/>
                  </a:cubicBezTo>
                  <a:cubicBezTo>
                    <a:pt x="539" y="162"/>
                    <a:pt x="535" y="163"/>
                    <a:pt x="533" y="167"/>
                  </a:cubicBezTo>
                  <a:cubicBezTo>
                    <a:pt x="531" y="170"/>
                    <a:pt x="533" y="173"/>
                    <a:pt x="534" y="175"/>
                  </a:cubicBezTo>
                  <a:cubicBezTo>
                    <a:pt x="536" y="178"/>
                    <a:pt x="537" y="180"/>
                    <a:pt x="537" y="184"/>
                  </a:cubicBezTo>
                  <a:cubicBezTo>
                    <a:pt x="536" y="188"/>
                    <a:pt x="533" y="190"/>
                    <a:pt x="529" y="191"/>
                  </a:cubicBezTo>
                  <a:cubicBezTo>
                    <a:pt x="526" y="193"/>
                    <a:pt x="522" y="194"/>
                    <a:pt x="519" y="198"/>
                  </a:cubicBezTo>
                  <a:cubicBezTo>
                    <a:pt x="512" y="207"/>
                    <a:pt x="499" y="211"/>
                    <a:pt x="492" y="210"/>
                  </a:cubicBezTo>
                  <a:cubicBezTo>
                    <a:pt x="491" y="209"/>
                    <a:pt x="490" y="209"/>
                    <a:pt x="489" y="209"/>
                  </a:cubicBezTo>
                  <a:cubicBezTo>
                    <a:pt x="485" y="208"/>
                    <a:pt x="480" y="207"/>
                    <a:pt x="475" y="207"/>
                  </a:cubicBezTo>
                  <a:cubicBezTo>
                    <a:pt x="469" y="207"/>
                    <a:pt x="464" y="208"/>
                    <a:pt x="460" y="210"/>
                  </a:cubicBezTo>
                  <a:cubicBezTo>
                    <a:pt x="455" y="213"/>
                    <a:pt x="450" y="216"/>
                    <a:pt x="446" y="218"/>
                  </a:cubicBezTo>
                  <a:cubicBezTo>
                    <a:pt x="441" y="222"/>
                    <a:pt x="437" y="224"/>
                    <a:pt x="434" y="224"/>
                  </a:cubicBezTo>
                  <a:cubicBezTo>
                    <a:pt x="432" y="223"/>
                    <a:pt x="431" y="222"/>
                    <a:pt x="430" y="221"/>
                  </a:cubicBezTo>
                  <a:cubicBezTo>
                    <a:pt x="428" y="219"/>
                    <a:pt x="427" y="218"/>
                    <a:pt x="424" y="218"/>
                  </a:cubicBezTo>
                  <a:cubicBezTo>
                    <a:pt x="424" y="218"/>
                    <a:pt x="424" y="218"/>
                    <a:pt x="423" y="218"/>
                  </a:cubicBezTo>
                  <a:cubicBezTo>
                    <a:pt x="422" y="218"/>
                    <a:pt x="421" y="218"/>
                    <a:pt x="420" y="218"/>
                  </a:cubicBezTo>
                  <a:cubicBezTo>
                    <a:pt x="415" y="218"/>
                    <a:pt x="412" y="216"/>
                    <a:pt x="408" y="214"/>
                  </a:cubicBezTo>
                  <a:cubicBezTo>
                    <a:pt x="407" y="214"/>
                    <a:pt x="406" y="213"/>
                    <a:pt x="404" y="213"/>
                  </a:cubicBezTo>
                  <a:cubicBezTo>
                    <a:pt x="404" y="213"/>
                    <a:pt x="403" y="213"/>
                    <a:pt x="402" y="213"/>
                  </a:cubicBezTo>
                  <a:cubicBezTo>
                    <a:pt x="402" y="213"/>
                    <a:pt x="401" y="213"/>
                    <a:pt x="400" y="213"/>
                  </a:cubicBezTo>
                  <a:cubicBezTo>
                    <a:pt x="398" y="213"/>
                    <a:pt x="395" y="213"/>
                    <a:pt x="392" y="210"/>
                  </a:cubicBezTo>
                  <a:cubicBezTo>
                    <a:pt x="386" y="206"/>
                    <a:pt x="378" y="206"/>
                    <a:pt x="371" y="205"/>
                  </a:cubicBezTo>
                  <a:cubicBezTo>
                    <a:pt x="369" y="205"/>
                    <a:pt x="367" y="205"/>
                    <a:pt x="366" y="205"/>
                  </a:cubicBezTo>
                  <a:cubicBezTo>
                    <a:pt x="363" y="204"/>
                    <a:pt x="356" y="204"/>
                    <a:pt x="349" y="204"/>
                  </a:cubicBezTo>
                  <a:cubicBezTo>
                    <a:pt x="342" y="204"/>
                    <a:pt x="335" y="204"/>
                    <a:pt x="331" y="204"/>
                  </a:cubicBezTo>
                  <a:cubicBezTo>
                    <a:pt x="330" y="204"/>
                    <a:pt x="329" y="204"/>
                    <a:pt x="327" y="204"/>
                  </a:cubicBezTo>
                  <a:cubicBezTo>
                    <a:pt x="326" y="204"/>
                    <a:pt x="324" y="204"/>
                    <a:pt x="322" y="204"/>
                  </a:cubicBezTo>
                  <a:cubicBezTo>
                    <a:pt x="321" y="204"/>
                    <a:pt x="319" y="204"/>
                    <a:pt x="318" y="204"/>
                  </a:cubicBezTo>
                  <a:cubicBezTo>
                    <a:pt x="315" y="204"/>
                    <a:pt x="313" y="204"/>
                    <a:pt x="312" y="202"/>
                  </a:cubicBezTo>
                  <a:cubicBezTo>
                    <a:pt x="312" y="200"/>
                    <a:pt x="311" y="199"/>
                    <a:pt x="309" y="197"/>
                  </a:cubicBezTo>
                  <a:cubicBezTo>
                    <a:pt x="307" y="195"/>
                    <a:pt x="305" y="192"/>
                    <a:pt x="304" y="187"/>
                  </a:cubicBezTo>
                  <a:cubicBezTo>
                    <a:pt x="302" y="180"/>
                    <a:pt x="299" y="176"/>
                    <a:pt x="293" y="175"/>
                  </a:cubicBezTo>
                  <a:cubicBezTo>
                    <a:pt x="290" y="174"/>
                    <a:pt x="289" y="173"/>
                    <a:pt x="287" y="171"/>
                  </a:cubicBezTo>
                  <a:cubicBezTo>
                    <a:pt x="286" y="170"/>
                    <a:pt x="285" y="169"/>
                    <a:pt x="283" y="168"/>
                  </a:cubicBezTo>
                  <a:cubicBezTo>
                    <a:pt x="283" y="168"/>
                    <a:pt x="282" y="167"/>
                    <a:pt x="281" y="166"/>
                  </a:cubicBezTo>
                  <a:cubicBezTo>
                    <a:pt x="279" y="164"/>
                    <a:pt x="277" y="162"/>
                    <a:pt x="273" y="162"/>
                  </a:cubicBezTo>
                  <a:cubicBezTo>
                    <a:pt x="266" y="162"/>
                    <a:pt x="243" y="159"/>
                    <a:pt x="239" y="154"/>
                  </a:cubicBezTo>
                  <a:cubicBezTo>
                    <a:pt x="237" y="150"/>
                    <a:pt x="239" y="148"/>
                    <a:pt x="240" y="146"/>
                  </a:cubicBezTo>
                  <a:cubicBezTo>
                    <a:pt x="241" y="145"/>
                    <a:pt x="243" y="143"/>
                    <a:pt x="243" y="141"/>
                  </a:cubicBezTo>
                  <a:cubicBezTo>
                    <a:pt x="243" y="139"/>
                    <a:pt x="243" y="137"/>
                    <a:pt x="244" y="135"/>
                  </a:cubicBezTo>
                  <a:cubicBezTo>
                    <a:pt x="244" y="131"/>
                    <a:pt x="245" y="128"/>
                    <a:pt x="244" y="127"/>
                  </a:cubicBezTo>
                  <a:cubicBezTo>
                    <a:pt x="241" y="125"/>
                    <a:pt x="236" y="120"/>
                    <a:pt x="236" y="116"/>
                  </a:cubicBezTo>
                  <a:cubicBezTo>
                    <a:pt x="235" y="112"/>
                    <a:pt x="228" y="106"/>
                    <a:pt x="224" y="106"/>
                  </a:cubicBezTo>
                  <a:cubicBezTo>
                    <a:pt x="219" y="106"/>
                    <a:pt x="215" y="103"/>
                    <a:pt x="210" y="99"/>
                  </a:cubicBezTo>
                  <a:cubicBezTo>
                    <a:pt x="209" y="98"/>
                    <a:pt x="208" y="97"/>
                    <a:pt x="207" y="96"/>
                  </a:cubicBezTo>
                  <a:cubicBezTo>
                    <a:pt x="204" y="94"/>
                    <a:pt x="201" y="93"/>
                    <a:pt x="200" y="85"/>
                  </a:cubicBezTo>
                  <a:cubicBezTo>
                    <a:pt x="200" y="85"/>
                    <a:pt x="200" y="84"/>
                    <a:pt x="199" y="84"/>
                  </a:cubicBezTo>
                  <a:cubicBezTo>
                    <a:pt x="199" y="84"/>
                    <a:pt x="199" y="84"/>
                    <a:pt x="199" y="84"/>
                  </a:cubicBezTo>
                  <a:cubicBezTo>
                    <a:pt x="199" y="84"/>
                    <a:pt x="198" y="84"/>
                    <a:pt x="197" y="83"/>
                  </a:cubicBezTo>
                  <a:cubicBezTo>
                    <a:pt x="196" y="83"/>
                    <a:pt x="195" y="83"/>
                    <a:pt x="194" y="83"/>
                  </a:cubicBezTo>
                  <a:cubicBezTo>
                    <a:pt x="193" y="83"/>
                    <a:pt x="192" y="82"/>
                    <a:pt x="191" y="81"/>
                  </a:cubicBezTo>
                  <a:cubicBezTo>
                    <a:pt x="190" y="83"/>
                    <a:pt x="189" y="84"/>
                    <a:pt x="188" y="85"/>
                  </a:cubicBezTo>
                  <a:cubicBezTo>
                    <a:pt x="187" y="87"/>
                    <a:pt x="186" y="88"/>
                    <a:pt x="186" y="90"/>
                  </a:cubicBezTo>
                  <a:cubicBezTo>
                    <a:pt x="186" y="93"/>
                    <a:pt x="184" y="98"/>
                    <a:pt x="179" y="98"/>
                  </a:cubicBezTo>
                  <a:cubicBezTo>
                    <a:pt x="175" y="98"/>
                    <a:pt x="170" y="101"/>
                    <a:pt x="170" y="109"/>
                  </a:cubicBezTo>
                  <a:cubicBezTo>
                    <a:pt x="170" y="112"/>
                    <a:pt x="171" y="114"/>
                    <a:pt x="172" y="116"/>
                  </a:cubicBezTo>
                  <a:cubicBezTo>
                    <a:pt x="173" y="117"/>
                    <a:pt x="173" y="119"/>
                    <a:pt x="172" y="120"/>
                  </a:cubicBezTo>
                  <a:cubicBezTo>
                    <a:pt x="170" y="123"/>
                    <a:pt x="164" y="126"/>
                    <a:pt x="160" y="126"/>
                  </a:cubicBezTo>
                  <a:cubicBezTo>
                    <a:pt x="159" y="126"/>
                    <a:pt x="158" y="126"/>
                    <a:pt x="158" y="126"/>
                  </a:cubicBezTo>
                  <a:cubicBezTo>
                    <a:pt x="156" y="125"/>
                    <a:pt x="153" y="125"/>
                    <a:pt x="150" y="125"/>
                  </a:cubicBezTo>
                  <a:cubicBezTo>
                    <a:pt x="148" y="125"/>
                    <a:pt x="146" y="125"/>
                    <a:pt x="144" y="125"/>
                  </a:cubicBezTo>
                  <a:cubicBezTo>
                    <a:pt x="143" y="124"/>
                    <a:pt x="141" y="123"/>
                    <a:pt x="140" y="123"/>
                  </a:cubicBezTo>
                  <a:cubicBezTo>
                    <a:pt x="139" y="122"/>
                    <a:pt x="138" y="122"/>
                    <a:pt x="137" y="122"/>
                  </a:cubicBezTo>
                  <a:cubicBezTo>
                    <a:pt x="137" y="122"/>
                    <a:pt x="136" y="122"/>
                    <a:pt x="135" y="124"/>
                  </a:cubicBezTo>
                  <a:cubicBezTo>
                    <a:pt x="135" y="127"/>
                    <a:pt x="133" y="131"/>
                    <a:pt x="131" y="135"/>
                  </a:cubicBezTo>
                  <a:cubicBezTo>
                    <a:pt x="129" y="142"/>
                    <a:pt x="125" y="151"/>
                    <a:pt x="126" y="152"/>
                  </a:cubicBezTo>
                  <a:cubicBezTo>
                    <a:pt x="128" y="153"/>
                    <a:pt x="129" y="156"/>
                    <a:pt x="129" y="158"/>
                  </a:cubicBezTo>
                  <a:cubicBezTo>
                    <a:pt x="128" y="159"/>
                    <a:pt x="128" y="159"/>
                    <a:pt x="126" y="159"/>
                  </a:cubicBezTo>
                  <a:cubicBezTo>
                    <a:pt x="120" y="159"/>
                    <a:pt x="117" y="158"/>
                    <a:pt x="115" y="157"/>
                  </a:cubicBezTo>
                  <a:cubicBezTo>
                    <a:pt x="114" y="156"/>
                    <a:pt x="112" y="157"/>
                    <a:pt x="109" y="158"/>
                  </a:cubicBezTo>
                  <a:cubicBezTo>
                    <a:pt x="107" y="158"/>
                    <a:pt x="104" y="159"/>
                    <a:pt x="102" y="159"/>
                  </a:cubicBezTo>
                  <a:cubicBezTo>
                    <a:pt x="102" y="159"/>
                    <a:pt x="102" y="159"/>
                    <a:pt x="102" y="159"/>
                  </a:cubicBezTo>
                  <a:cubicBezTo>
                    <a:pt x="100" y="159"/>
                    <a:pt x="94" y="162"/>
                    <a:pt x="93" y="164"/>
                  </a:cubicBezTo>
                  <a:cubicBezTo>
                    <a:pt x="93" y="164"/>
                    <a:pt x="93" y="164"/>
                    <a:pt x="94" y="164"/>
                  </a:cubicBezTo>
                  <a:cubicBezTo>
                    <a:pt x="97" y="166"/>
                    <a:pt x="97" y="174"/>
                    <a:pt x="97" y="177"/>
                  </a:cubicBezTo>
                  <a:cubicBezTo>
                    <a:pt x="97" y="178"/>
                    <a:pt x="98" y="181"/>
                    <a:pt x="100" y="184"/>
                  </a:cubicBezTo>
                  <a:cubicBezTo>
                    <a:pt x="102" y="187"/>
                    <a:pt x="104" y="191"/>
                    <a:pt x="103" y="193"/>
                  </a:cubicBezTo>
                  <a:cubicBezTo>
                    <a:pt x="102" y="195"/>
                    <a:pt x="101" y="196"/>
                    <a:pt x="99" y="198"/>
                  </a:cubicBezTo>
                  <a:cubicBezTo>
                    <a:pt x="97" y="200"/>
                    <a:pt x="95" y="202"/>
                    <a:pt x="95" y="204"/>
                  </a:cubicBezTo>
                  <a:cubicBezTo>
                    <a:pt x="95" y="205"/>
                    <a:pt x="95" y="207"/>
                    <a:pt x="95" y="208"/>
                  </a:cubicBezTo>
                  <a:cubicBezTo>
                    <a:pt x="96" y="210"/>
                    <a:pt x="96" y="213"/>
                    <a:pt x="94" y="214"/>
                  </a:cubicBezTo>
                  <a:cubicBezTo>
                    <a:pt x="93" y="214"/>
                    <a:pt x="93" y="214"/>
                    <a:pt x="93" y="214"/>
                  </a:cubicBezTo>
                  <a:cubicBezTo>
                    <a:pt x="90" y="215"/>
                    <a:pt x="84" y="218"/>
                    <a:pt x="81" y="220"/>
                  </a:cubicBezTo>
                  <a:cubicBezTo>
                    <a:pt x="80" y="221"/>
                    <a:pt x="78" y="222"/>
                    <a:pt x="76" y="222"/>
                  </a:cubicBezTo>
                  <a:cubicBezTo>
                    <a:pt x="73" y="223"/>
                    <a:pt x="71" y="224"/>
                    <a:pt x="70" y="226"/>
                  </a:cubicBezTo>
                  <a:cubicBezTo>
                    <a:pt x="68" y="230"/>
                    <a:pt x="66" y="233"/>
                    <a:pt x="60" y="233"/>
                  </a:cubicBezTo>
                  <a:cubicBezTo>
                    <a:pt x="59" y="233"/>
                    <a:pt x="58" y="233"/>
                    <a:pt x="58" y="233"/>
                  </a:cubicBezTo>
                  <a:cubicBezTo>
                    <a:pt x="57" y="233"/>
                    <a:pt x="57" y="233"/>
                    <a:pt x="56" y="233"/>
                  </a:cubicBezTo>
                  <a:cubicBezTo>
                    <a:pt x="55" y="233"/>
                    <a:pt x="54" y="233"/>
                    <a:pt x="52" y="233"/>
                  </a:cubicBezTo>
                  <a:cubicBezTo>
                    <a:pt x="50" y="233"/>
                    <a:pt x="48" y="233"/>
                    <a:pt x="45" y="237"/>
                  </a:cubicBezTo>
                  <a:cubicBezTo>
                    <a:pt x="42" y="240"/>
                    <a:pt x="41" y="241"/>
                    <a:pt x="39" y="241"/>
                  </a:cubicBezTo>
                  <a:cubicBezTo>
                    <a:pt x="38" y="242"/>
                    <a:pt x="37" y="242"/>
                    <a:pt x="36" y="243"/>
                  </a:cubicBezTo>
                  <a:cubicBezTo>
                    <a:pt x="35" y="243"/>
                    <a:pt x="35" y="244"/>
                    <a:pt x="34" y="244"/>
                  </a:cubicBezTo>
                  <a:cubicBezTo>
                    <a:pt x="32" y="244"/>
                    <a:pt x="30" y="242"/>
                    <a:pt x="29" y="241"/>
                  </a:cubicBezTo>
                  <a:cubicBezTo>
                    <a:pt x="28" y="241"/>
                    <a:pt x="27" y="240"/>
                    <a:pt x="27" y="240"/>
                  </a:cubicBezTo>
                  <a:cubicBezTo>
                    <a:pt x="26" y="239"/>
                    <a:pt x="24" y="240"/>
                    <a:pt x="22" y="241"/>
                  </a:cubicBezTo>
                  <a:cubicBezTo>
                    <a:pt x="21" y="242"/>
                    <a:pt x="19" y="243"/>
                    <a:pt x="18" y="243"/>
                  </a:cubicBezTo>
                  <a:cubicBezTo>
                    <a:pt x="17" y="243"/>
                    <a:pt x="16" y="244"/>
                    <a:pt x="15" y="245"/>
                  </a:cubicBezTo>
                  <a:cubicBezTo>
                    <a:pt x="13" y="246"/>
                    <a:pt x="12" y="247"/>
                    <a:pt x="10" y="248"/>
                  </a:cubicBezTo>
                  <a:cubicBezTo>
                    <a:pt x="9" y="248"/>
                    <a:pt x="8" y="248"/>
                    <a:pt x="8" y="248"/>
                  </a:cubicBezTo>
                  <a:cubicBezTo>
                    <a:pt x="5" y="249"/>
                    <a:pt x="4" y="249"/>
                    <a:pt x="4" y="251"/>
                  </a:cubicBezTo>
                  <a:cubicBezTo>
                    <a:pt x="4" y="253"/>
                    <a:pt x="4" y="256"/>
                    <a:pt x="2" y="259"/>
                  </a:cubicBezTo>
                  <a:cubicBezTo>
                    <a:pt x="4" y="271"/>
                    <a:pt x="4" y="271"/>
                    <a:pt x="4" y="271"/>
                  </a:cubicBezTo>
                  <a:cubicBezTo>
                    <a:pt x="6" y="272"/>
                    <a:pt x="18" y="276"/>
                    <a:pt x="18" y="280"/>
                  </a:cubicBezTo>
                  <a:cubicBezTo>
                    <a:pt x="19" y="285"/>
                    <a:pt x="21" y="300"/>
                    <a:pt x="21" y="300"/>
                  </a:cubicBezTo>
                  <a:cubicBezTo>
                    <a:pt x="21" y="300"/>
                    <a:pt x="21" y="300"/>
                    <a:pt x="21" y="300"/>
                  </a:cubicBezTo>
                  <a:cubicBezTo>
                    <a:pt x="23" y="301"/>
                    <a:pt x="25" y="303"/>
                    <a:pt x="26" y="304"/>
                  </a:cubicBezTo>
                  <a:cubicBezTo>
                    <a:pt x="31" y="307"/>
                    <a:pt x="34" y="309"/>
                    <a:pt x="34" y="311"/>
                  </a:cubicBezTo>
                  <a:cubicBezTo>
                    <a:pt x="34" y="312"/>
                    <a:pt x="35" y="318"/>
                    <a:pt x="41" y="321"/>
                  </a:cubicBezTo>
                  <a:cubicBezTo>
                    <a:pt x="45" y="323"/>
                    <a:pt x="49" y="325"/>
                    <a:pt x="52" y="327"/>
                  </a:cubicBezTo>
                  <a:cubicBezTo>
                    <a:pt x="53" y="326"/>
                    <a:pt x="53" y="326"/>
                    <a:pt x="53" y="326"/>
                  </a:cubicBezTo>
                  <a:cubicBezTo>
                    <a:pt x="59" y="325"/>
                    <a:pt x="59" y="325"/>
                    <a:pt x="59" y="325"/>
                  </a:cubicBezTo>
                  <a:cubicBezTo>
                    <a:pt x="59" y="325"/>
                    <a:pt x="59" y="325"/>
                    <a:pt x="59" y="325"/>
                  </a:cubicBezTo>
                  <a:cubicBezTo>
                    <a:pt x="59" y="325"/>
                    <a:pt x="60" y="326"/>
                    <a:pt x="62" y="328"/>
                  </a:cubicBezTo>
                  <a:cubicBezTo>
                    <a:pt x="64" y="323"/>
                    <a:pt x="73" y="319"/>
                    <a:pt x="78" y="319"/>
                  </a:cubicBezTo>
                  <a:cubicBezTo>
                    <a:pt x="78" y="319"/>
                    <a:pt x="78" y="319"/>
                    <a:pt x="78" y="319"/>
                  </a:cubicBezTo>
                  <a:cubicBezTo>
                    <a:pt x="83" y="319"/>
                    <a:pt x="92" y="325"/>
                    <a:pt x="95" y="330"/>
                  </a:cubicBezTo>
                  <a:cubicBezTo>
                    <a:pt x="96" y="331"/>
                    <a:pt x="96" y="332"/>
                    <a:pt x="96" y="333"/>
                  </a:cubicBezTo>
                  <a:cubicBezTo>
                    <a:pt x="95" y="336"/>
                    <a:pt x="85" y="350"/>
                    <a:pt x="81" y="351"/>
                  </a:cubicBezTo>
                  <a:cubicBezTo>
                    <a:pt x="80" y="351"/>
                    <a:pt x="78" y="351"/>
                    <a:pt x="75" y="352"/>
                  </a:cubicBezTo>
                  <a:cubicBezTo>
                    <a:pt x="75" y="353"/>
                    <a:pt x="75" y="353"/>
                    <a:pt x="75" y="353"/>
                  </a:cubicBezTo>
                  <a:cubicBezTo>
                    <a:pt x="74" y="354"/>
                    <a:pt x="74" y="356"/>
                    <a:pt x="74" y="356"/>
                  </a:cubicBezTo>
                  <a:cubicBezTo>
                    <a:pt x="74" y="358"/>
                    <a:pt x="76" y="360"/>
                    <a:pt x="78" y="362"/>
                  </a:cubicBezTo>
                  <a:cubicBezTo>
                    <a:pt x="79" y="364"/>
                    <a:pt x="81" y="366"/>
                    <a:pt x="82" y="369"/>
                  </a:cubicBezTo>
                  <a:cubicBezTo>
                    <a:pt x="83" y="370"/>
                    <a:pt x="83" y="372"/>
                    <a:pt x="82" y="373"/>
                  </a:cubicBezTo>
                  <a:cubicBezTo>
                    <a:pt x="81" y="375"/>
                    <a:pt x="79" y="376"/>
                    <a:pt x="77" y="376"/>
                  </a:cubicBezTo>
                  <a:cubicBezTo>
                    <a:pt x="75" y="376"/>
                    <a:pt x="74" y="375"/>
                    <a:pt x="73" y="374"/>
                  </a:cubicBezTo>
                  <a:cubicBezTo>
                    <a:pt x="72" y="374"/>
                    <a:pt x="72" y="374"/>
                    <a:pt x="71" y="374"/>
                  </a:cubicBezTo>
                  <a:cubicBezTo>
                    <a:pt x="70" y="374"/>
                    <a:pt x="70" y="374"/>
                    <a:pt x="70" y="375"/>
                  </a:cubicBezTo>
                  <a:cubicBezTo>
                    <a:pt x="69" y="376"/>
                    <a:pt x="69" y="379"/>
                    <a:pt x="70" y="380"/>
                  </a:cubicBezTo>
                  <a:cubicBezTo>
                    <a:pt x="71" y="381"/>
                    <a:pt x="71" y="383"/>
                    <a:pt x="72" y="385"/>
                  </a:cubicBezTo>
                  <a:cubicBezTo>
                    <a:pt x="72" y="388"/>
                    <a:pt x="73" y="391"/>
                    <a:pt x="75" y="391"/>
                  </a:cubicBezTo>
                  <a:cubicBezTo>
                    <a:pt x="77" y="392"/>
                    <a:pt x="79" y="394"/>
                    <a:pt x="81" y="396"/>
                  </a:cubicBezTo>
                  <a:cubicBezTo>
                    <a:pt x="83" y="398"/>
                    <a:pt x="85" y="400"/>
                    <a:pt x="87" y="400"/>
                  </a:cubicBezTo>
                  <a:cubicBezTo>
                    <a:pt x="91" y="400"/>
                    <a:pt x="95" y="407"/>
                    <a:pt x="96" y="408"/>
                  </a:cubicBezTo>
                  <a:cubicBezTo>
                    <a:pt x="97" y="408"/>
                    <a:pt x="102" y="412"/>
                    <a:pt x="102" y="414"/>
                  </a:cubicBezTo>
                  <a:cubicBezTo>
                    <a:pt x="102" y="414"/>
                    <a:pt x="102" y="414"/>
                    <a:pt x="102" y="415"/>
                  </a:cubicBezTo>
                  <a:cubicBezTo>
                    <a:pt x="102" y="415"/>
                    <a:pt x="102" y="415"/>
                    <a:pt x="102" y="415"/>
                  </a:cubicBezTo>
                  <a:cubicBezTo>
                    <a:pt x="107" y="414"/>
                    <a:pt x="109" y="414"/>
                    <a:pt x="110" y="412"/>
                  </a:cubicBezTo>
                  <a:cubicBezTo>
                    <a:pt x="110" y="411"/>
                    <a:pt x="112" y="410"/>
                    <a:pt x="114" y="410"/>
                  </a:cubicBezTo>
                  <a:cubicBezTo>
                    <a:pt x="116" y="410"/>
                    <a:pt x="120" y="411"/>
                    <a:pt x="122" y="414"/>
                  </a:cubicBezTo>
                  <a:cubicBezTo>
                    <a:pt x="125" y="417"/>
                    <a:pt x="132" y="422"/>
                    <a:pt x="139" y="426"/>
                  </a:cubicBezTo>
                  <a:cubicBezTo>
                    <a:pt x="144" y="430"/>
                    <a:pt x="149" y="433"/>
                    <a:pt x="152" y="436"/>
                  </a:cubicBezTo>
                  <a:cubicBezTo>
                    <a:pt x="159" y="441"/>
                    <a:pt x="174" y="447"/>
                    <a:pt x="179" y="447"/>
                  </a:cubicBezTo>
                  <a:cubicBezTo>
                    <a:pt x="180" y="447"/>
                    <a:pt x="180" y="447"/>
                    <a:pt x="180" y="447"/>
                  </a:cubicBezTo>
                  <a:cubicBezTo>
                    <a:pt x="182" y="447"/>
                    <a:pt x="185" y="448"/>
                    <a:pt x="188" y="449"/>
                  </a:cubicBezTo>
                  <a:cubicBezTo>
                    <a:pt x="191" y="450"/>
                    <a:pt x="194" y="451"/>
                    <a:pt x="199" y="451"/>
                  </a:cubicBezTo>
                  <a:cubicBezTo>
                    <a:pt x="200" y="451"/>
                    <a:pt x="201" y="451"/>
                    <a:pt x="202" y="451"/>
                  </a:cubicBezTo>
                  <a:cubicBezTo>
                    <a:pt x="202" y="450"/>
                    <a:pt x="203" y="450"/>
                    <a:pt x="204" y="450"/>
                  </a:cubicBezTo>
                  <a:cubicBezTo>
                    <a:pt x="205" y="449"/>
                    <a:pt x="206" y="449"/>
                    <a:pt x="206" y="447"/>
                  </a:cubicBezTo>
                  <a:cubicBezTo>
                    <a:pt x="207" y="446"/>
                    <a:pt x="208" y="446"/>
                    <a:pt x="208" y="446"/>
                  </a:cubicBezTo>
                  <a:cubicBezTo>
                    <a:pt x="209" y="446"/>
                    <a:pt x="210" y="446"/>
                    <a:pt x="210" y="447"/>
                  </a:cubicBezTo>
                  <a:cubicBezTo>
                    <a:pt x="212" y="449"/>
                    <a:pt x="213" y="452"/>
                    <a:pt x="212" y="455"/>
                  </a:cubicBezTo>
                  <a:cubicBezTo>
                    <a:pt x="212" y="457"/>
                    <a:pt x="212" y="459"/>
                    <a:pt x="212" y="460"/>
                  </a:cubicBezTo>
                  <a:cubicBezTo>
                    <a:pt x="213" y="459"/>
                    <a:pt x="214" y="457"/>
                    <a:pt x="215" y="455"/>
                  </a:cubicBezTo>
                  <a:cubicBezTo>
                    <a:pt x="217" y="450"/>
                    <a:pt x="220" y="448"/>
                    <a:pt x="223" y="447"/>
                  </a:cubicBezTo>
                  <a:cubicBezTo>
                    <a:pt x="224" y="447"/>
                    <a:pt x="225" y="446"/>
                    <a:pt x="226" y="446"/>
                  </a:cubicBezTo>
                  <a:cubicBezTo>
                    <a:pt x="229" y="443"/>
                    <a:pt x="232" y="444"/>
                    <a:pt x="238" y="448"/>
                  </a:cubicBezTo>
                  <a:cubicBezTo>
                    <a:pt x="239" y="448"/>
                    <a:pt x="240" y="449"/>
                    <a:pt x="241" y="449"/>
                  </a:cubicBezTo>
                  <a:cubicBezTo>
                    <a:pt x="242" y="449"/>
                    <a:pt x="243" y="448"/>
                    <a:pt x="244" y="448"/>
                  </a:cubicBezTo>
                  <a:cubicBezTo>
                    <a:pt x="244" y="448"/>
                    <a:pt x="245" y="448"/>
                    <a:pt x="246" y="448"/>
                  </a:cubicBezTo>
                  <a:cubicBezTo>
                    <a:pt x="248" y="448"/>
                    <a:pt x="251" y="449"/>
                    <a:pt x="255" y="452"/>
                  </a:cubicBezTo>
                  <a:cubicBezTo>
                    <a:pt x="257" y="451"/>
                    <a:pt x="259" y="450"/>
                    <a:pt x="260" y="450"/>
                  </a:cubicBezTo>
                  <a:cubicBezTo>
                    <a:pt x="261" y="450"/>
                    <a:pt x="262" y="449"/>
                    <a:pt x="264" y="447"/>
                  </a:cubicBezTo>
                  <a:cubicBezTo>
                    <a:pt x="265" y="446"/>
                    <a:pt x="265" y="445"/>
                    <a:pt x="266" y="444"/>
                  </a:cubicBezTo>
                  <a:cubicBezTo>
                    <a:pt x="267" y="443"/>
                    <a:pt x="268" y="442"/>
                    <a:pt x="268" y="441"/>
                  </a:cubicBezTo>
                  <a:cubicBezTo>
                    <a:pt x="269" y="440"/>
                    <a:pt x="270" y="438"/>
                    <a:pt x="272" y="438"/>
                  </a:cubicBezTo>
                  <a:cubicBezTo>
                    <a:pt x="274" y="439"/>
                    <a:pt x="275" y="438"/>
                    <a:pt x="277" y="436"/>
                  </a:cubicBezTo>
                  <a:cubicBezTo>
                    <a:pt x="279" y="434"/>
                    <a:pt x="281" y="432"/>
                    <a:pt x="285" y="430"/>
                  </a:cubicBezTo>
                  <a:cubicBezTo>
                    <a:pt x="287" y="429"/>
                    <a:pt x="288" y="429"/>
                    <a:pt x="290" y="429"/>
                  </a:cubicBezTo>
                  <a:cubicBezTo>
                    <a:pt x="293" y="429"/>
                    <a:pt x="295" y="429"/>
                    <a:pt x="296" y="430"/>
                  </a:cubicBezTo>
                  <a:cubicBezTo>
                    <a:pt x="298" y="430"/>
                    <a:pt x="299" y="431"/>
                    <a:pt x="300" y="431"/>
                  </a:cubicBezTo>
                  <a:cubicBezTo>
                    <a:pt x="301" y="431"/>
                    <a:pt x="301" y="430"/>
                    <a:pt x="302" y="430"/>
                  </a:cubicBezTo>
                  <a:cubicBezTo>
                    <a:pt x="304" y="428"/>
                    <a:pt x="306" y="427"/>
                    <a:pt x="308" y="427"/>
                  </a:cubicBezTo>
                  <a:cubicBezTo>
                    <a:pt x="309" y="427"/>
                    <a:pt x="310" y="428"/>
                    <a:pt x="310" y="429"/>
                  </a:cubicBezTo>
                  <a:cubicBezTo>
                    <a:pt x="310" y="431"/>
                    <a:pt x="311" y="432"/>
                    <a:pt x="313" y="434"/>
                  </a:cubicBezTo>
                  <a:cubicBezTo>
                    <a:pt x="314" y="436"/>
                    <a:pt x="315" y="437"/>
                    <a:pt x="316" y="439"/>
                  </a:cubicBezTo>
                  <a:cubicBezTo>
                    <a:pt x="317" y="442"/>
                    <a:pt x="323" y="443"/>
                    <a:pt x="324" y="443"/>
                  </a:cubicBezTo>
                  <a:cubicBezTo>
                    <a:pt x="325" y="442"/>
                    <a:pt x="326" y="442"/>
                    <a:pt x="326" y="442"/>
                  </a:cubicBezTo>
                  <a:cubicBezTo>
                    <a:pt x="327" y="441"/>
                    <a:pt x="328" y="441"/>
                    <a:pt x="329" y="441"/>
                  </a:cubicBezTo>
                  <a:cubicBezTo>
                    <a:pt x="333" y="441"/>
                    <a:pt x="336" y="443"/>
                    <a:pt x="336" y="446"/>
                  </a:cubicBezTo>
                  <a:cubicBezTo>
                    <a:pt x="336" y="450"/>
                    <a:pt x="337" y="454"/>
                    <a:pt x="339" y="454"/>
                  </a:cubicBezTo>
                  <a:cubicBezTo>
                    <a:pt x="342" y="454"/>
                    <a:pt x="345" y="454"/>
                    <a:pt x="345" y="461"/>
                  </a:cubicBezTo>
                  <a:cubicBezTo>
                    <a:pt x="345" y="463"/>
                    <a:pt x="346" y="465"/>
                    <a:pt x="346" y="466"/>
                  </a:cubicBezTo>
                  <a:cubicBezTo>
                    <a:pt x="346" y="472"/>
                    <a:pt x="347" y="478"/>
                    <a:pt x="342" y="483"/>
                  </a:cubicBezTo>
                  <a:cubicBezTo>
                    <a:pt x="336" y="489"/>
                    <a:pt x="329" y="500"/>
                    <a:pt x="330" y="503"/>
                  </a:cubicBezTo>
                  <a:cubicBezTo>
                    <a:pt x="330" y="504"/>
                    <a:pt x="330" y="506"/>
                    <a:pt x="330" y="507"/>
                  </a:cubicBezTo>
                  <a:cubicBezTo>
                    <a:pt x="330" y="508"/>
                    <a:pt x="330" y="510"/>
                    <a:pt x="330" y="510"/>
                  </a:cubicBezTo>
                  <a:cubicBezTo>
                    <a:pt x="330" y="510"/>
                    <a:pt x="330" y="510"/>
                    <a:pt x="332" y="510"/>
                  </a:cubicBezTo>
                  <a:cubicBezTo>
                    <a:pt x="333" y="509"/>
                    <a:pt x="336" y="509"/>
                    <a:pt x="337" y="509"/>
                  </a:cubicBezTo>
                  <a:cubicBezTo>
                    <a:pt x="341" y="509"/>
                    <a:pt x="345" y="510"/>
                    <a:pt x="346" y="511"/>
                  </a:cubicBezTo>
                  <a:cubicBezTo>
                    <a:pt x="346" y="512"/>
                    <a:pt x="346" y="512"/>
                    <a:pt x="346" y="513"/>
                  </a:cubicBezTo>
                  <a:cubicBezTo>
                    <a:pt x="345" y="514"/>
                    <a:pt x="345" y="518"/>
                    <a:pt x="347" y="521"/>
                  </a:cubicBezTo>
                  <a:cubicBezTo>
                    <a:pt x="347" y="522"/>
                    <a:pt x="348" y="524"/>
                    <a:pt x="350" y="524"/>
                  </a:cubicBezTo>
                  <a:cubicBezTo>
                    <a:pt x="352" y="524"/>
                    <a:pt x="354" y="525"/>
                    <a:pt x="355" y="527"/>
                  </a:cubicBezTo>
                  <a:cubicBezTo>
                    <a:pt x="356" y="528"/>
                    <a:pt x="356" y="529"/>
                    <a:pt x="356" y="531"/>
                  </a:cubicBezTo>
                  <a:cubicBezTo>
                    <a:pt x="355" y="532"/>
                    <a:pt x="355" y="532"/>
                    <a:pt x="355" y="532"/>
                  </a:cubicBezTo>
                  <a:cubicBezTo>
                    <a:pt x="355" y="535"/>
                    <a:pt x="353" y="539"/>
                    <a:pt x="354" y="540"/>
                  </a:cubicBezTo>
                  <a:cubicBezTo>
                    <a:pt x="355" y="540"/>
                    <a:pt x="355" y="540"/>
                    <a:pt x="355" y="540"/>
                  </a:cubicBezTo>
                  <a:cubicBezTo>
                    <a:pt x="358" y="540"/>
                    <a:pt x="362" y="540"/>
                    <a:pt x="363" y="542"/>
                  </a:cubicBezTo>
                  <a:cubicBezTo>
                    <a:pt x="364" y="543"/>
                    <a:pt x="364" y="544"/>
                    <a:pt x="364" y="545"/>
                  </a:cubicBezTo>
                  <a:cubicBezTo>
                    <a:pt x="364" y="546"/>
                    <a:pt x="364" y="547"/>
                    <a:pt x="365" y="548"/>
                  </a:cubicBezTo>
                  <a:cubicBezTo>
                    <a:pt x="366" y="550"/>
                    <a:pt x="369" y="550"/>
                    <a:pt x="372" y="549"/>
                  </a:cubicBezTo>
                  <a:cubicBezTo>
                    <a:pt x="373" y="549"/>
                    <a:pt x="374" y="548"/>
                    <a:pt x="374" y="548"/>
                  </a:cubicBezTo>
                  <a:cubicBezTo>
                    <a:pt x="376" y="547"/>
                    <a:pt x="377" y="547"/>
                    <a:pt x="378" y="547"/>
                  </a:cubicBezTo>
                  <a:cubicBezTo>
                    <a:pt x="378" y="547"/>
                    <a:pt x="379" y="547"/>
                    <a:pt x="379" y="548"/>
                  </a:cubicBezTo>
                  <a:cubicBezTo>
                    <a:pt x="380" y="548"/>
                    <a:pt x="381" y="549"/>
                    <a:pt x="382" y="550"/>
                  </a:cubicBezTo>
                  <a:cubicBezTo>
                    <a:pt x="383" y="552"/>
                    <a:pt x="384" y="554"/>
                    <a:pt x="386" y="554"/>
                  </a:cubicBezTo>
                  <a:cubicBezTo>
                    <a:pt x="386" y="555"/>
                    <a:pt x="387" y="555"/>
                    <a:pt x="387" y="555"/>
                  </a:cubicBezTo>
                  <a:cubicBezTo>
                    <a:pt x="388" y="554"/>
                    <a:pt x="388" y="554"/>
                    <a:pt x="388" y="554"/>
                  </a:cubicBezTo>
                  <a:cubicBezTo>
                    <a:pt x="389" y="551"/>
                    <a:pt x="387" y="545"/>
                    <a:pt x="386" y="544"/>
                  </a:cubicBezTo>
                  <a:cubicBezTo>
                    <a:pt x="385" y="543"/>
                    <a:pt x="386" y="539"/>
                    <a:pt x="386" y="537"/>
                  </a:cubicBezTo>
                  <a:cubicBezTo>
                    <a:pt x="387" y="536"/>
                    <a:pt x="387" y="535"/>
                    <a:pt x="388" y="535"/>
                  </a:cubicBezTo>
                  <a:cubicBezTo>
                    <a:pt x="389" y="535"/>
                    <a:pt x="389" y="535"/>
                    <a:pt x="389" y="536"/>
                  </a:cubicBezTo>
                  <a:cubicBezTo>
                    <a:pt x="390" y="536"/>
                    <a:pt x="390" y="536"/>
                    <a:pt x="391" y="536"/>
                  </a:cubicBezTo>
                  <a:cubicBezTo>
                    <a:pt x="393" y="536"/>
                    <a:pt x="396" y="535"/>
                    <a:pt x="398" y="532"/>
                  </a:cubicBezTo>
                  <a:cubicBezTo>
                    <a:pt x="399" y="531"/>
                    <a:pt x="400" y="531"/>
                    <a:pt x="401" y="531"/>
                  </a:cubicBezTo>
                  <a:cubicBezTo>
                    <a:pt x="402" y="531"/>
                    <a:pt x="403" y="531"/>
                    <a:pt x="404" y="532"/>
                  </a:cubicBezTo>
                  <a:cubicBezTo>
                    <a:pt x="405" y="532"/>
                    <a:pt x="406" y="532"/>
                    <a:pt x="407" y="532"/>
                  </a:cubicBezTo>
                  <a:cubicBezTo>
                    <a:pt x="408" y="532"/>
                    <a:pt x="409" y="532"/>
                    <a:pt x="409" y="531"/>
                  </a:cubicBezTo>
                  <a:cubicBezTo>
                    <a:pt x="410" y="530"/>
                    <a:pt x="411" y="530"/>
                    <a:pt x="412" y="530"/>
                  </a:cubicBezTo>
                  <a:cubicBezTo>
                    <a:pt x="413" y="530"/>
                    <a:pt x="414" y="530"/>
                    <a:pt x="415" y="531"/>
                  </a:cubicBezTo>
                  <a:cubicBezTo>
                    <a:pt x="416" y="531"/>
                    <a:pt x="418" y="532"/>
                    <a:pt x="419" y="532"/>
                  </a:cubicBezTo>
                  <a:cubicBezTo>
                    <a:pt x="420" y="532"/>
                    <a:pt x="421" y="531"/>
                    <a:pt x="422" y="531"/>
                  </a:cubicBezTo>
                  <a:cubicBezTo>
                    <a:pt x="423" y="530"/>
                    <a:pt x="424" y="530"/>
                    <a:pt x="426" y="530"/>
                  </a:cubicBezTo>
                  <a:cubicBezTo>
                    <a:pt x="427" y="530"/>
                    <a:pt x="427" y="530"/>
                    <a:pt x="428" y="530"/>
                  </a:cubicBezTo>
                  <a:cubicBezTo>
                    <a:pt x="429" y="531"/>
                    <a:pt x="429" y="531"/>
                    <a:pt x="430" y="531"/>
                  </a:cubicBezTo>
                  <a:cubicBezTo>
                    <a:pt x="430" y="531"/>
                    <a:pt x="431" y="531"/>
                    <a:pt x="432" y="529"/>
                  </a:cubicBezTo>
                  <a:cubicBezTo>
                    <a:pt x="434" y="526"/>
                    <a:pt x="440" y="521"/>
                    <a:pt x="443" y="521"/>
                  </a:cubicBezTo>
                  <a:cubicBezTo>
                    <a:pt x="444" y="522"/>
                    <a:pt x="444" y="522"/>
                    <a:pt x="444" y="522"/>
                  </a:cubicBezTo>
                  <a:cubicBezTo>
                    <a:pt x="444" y="522"/>
                    <a:pt x="444" y="522"/>
                    <a:pt x="445" y="523"/>
                  </a:cubicBezTo>
                  <a:cubicBezTo>
                    <a:pt x="446" y="525"/>
                    <a:pt x="448" y="527"/>
                    <a:pt x="456" y="528"/>
                  </a:cubicBezTo>
                  <a:cubicBezTo>
                    <a:pt x="459" y="528"/>
                    <a:pt x="460" y="529"/>
                    <a:pt x="461" y="530"/>
                  </a:cubicBezTo>
                  <a:cubicBezTo>
                    <a:pt x="462" y="532"/>
                    <a:pt x="461" y="533"/>
                    <a:pt x="461" y="535"/>
                  </a:cubicBezTo>
                  <a:cubicBezTo>
                    <a:pt x="460" y="536"/>
                    <a:pt x="460" y="536"/>
                    <a:pt x="460" y="537"/>
                  </a:cubicBezTo>
                  <a:cubicBezTo>
                    <a:pt x="460" y="540"/>
                    <a:pt x="470" y="547"/>
                    <a:pt x="474" y="548"/>
                  </a:cubicBezTo>
                  <a:cubicBezTo>
                    <a:pt x="475" y="548"/>
                    <a:pt x="476" y="548"/>
                    <a:pt x="477" y="550"/>
                  </a:cubicBezTo>
                  <a:cubicBezTo>
                    <a:pt x="478" y="549"/>
                    <a:pt x="480" y="549"/>
                    <a:pt x="481" y="549"/>
                  </a:cubicBezTo>
                  <a:cubicBezTo>
                    <a:pt x="482" y="549"/>
                    <a:pt x="482" y="549"/>
                    <a:pt x="482" y="549"/>
                  </a:cubicBezTo>
                  <a:cubicBezTo>
                    <a:pt x="484" y="549"/>
                    <a:pt x="485" y="549"/>
                    <a:pt x="485" y="548"/>
                  </a:cubicBezTo>
                  <a:cubicBezTo>
                    <a:pt x="486" y="546"/>
                    <a:pt x="487" y="545"/>
                    <a:pt x="489" y="545"/>
                  </a:cubicBezTo>
                  <a:cubicBezTo>
                    <a:pt x="491" y="545"/>
                    <a:pt x="493" y="546"/>
                    <a:pt x="494" y="548"/>
                  </a:cubicBezTo>
                  <a:cubicBezTo>
                    <a:pt x="495" y="550"/>
                    <a:pt x="496" y="551"/>
                    <a:pt x="497" y="551"/>
                  </a:cubicBezTo>
                  <a:cubicBezTo>
                    <a:pt x="498" y="551"/>
                    <a:pt x="500" y="550"/>
                    <a:pt x="502" y="548"/>
                  </a:cubicBezTo>
                  <a:cubicBezTo>
                    <a:pt x="503" y="547"/>
                    <a:pt x="504" y="547"/>
                    <a:pt x="504" y="547"/>
                  </a:cubicBezTo>
                  <a:close/>
                  <a:moveTo>
                    <a:pt x="667" y="540"/>
                  </a:moveTo>
                  <a:cubicBezTo>
                    <a:pt x="667" y="540"/>
                    <a:pt x="667" y="540"/>
                    <a:pt x="667" y="540"/>
                  </a:cubicBezTo>
                  <a:cubicBezTo>
                    <a:pt x="666" y="540"/>
                    <a:pt x="664" y="539"/>
                    <a:pt x="662" y="537"/>
                  </a:cubicBezTo>
                  <a:cubicBezTo>
                    <a:pt x="660" y="534"/>
                    <a:pt x="656" y="526"/>
                    <a:pt x="659" y="515"/>
                  </a:cubicBezTo>
                  <a:cubicBezTo>
                    <a:pt x="663" y="501"/>
                    <a:pt x="675" y="492"/>
                    <a:pt x="682" y="492"/>
                  </a:cubicBezTo>
                  <a:cubicBezTo>
                    <a:pt x="684" y="492"/>
                    <a:pt x="685" y="493"/>
                    <a:pt x="686" y="494"/>
                  </a:cubicBezTo>
                  <a:cubicBezTo>
                    <a:pt x="686" y="495"/>
                    <a:pt x="687" y="497"/>
                    <a:pt x="686" y="499"/>
                  </a:cubicBezTo>
                  <a:cubicBezTo>
                    <a:pt x="684" y="511"/>
                    <a:pt x="671" y="538"/>
                    <a:pt x="668" y="540"/>
                  </a:cubicBezTo>
                  <a:cubicBezTo>
                    <a:pt x="667" y="540"/>
                    <a:pt x="667" y="540"/>
                    <a:pt x="667" y="540"/>
                  </a:cubicBezTo>
                  <a:close/>
                  <a:moveTo>
                    <a:pt x="682" y="493"/>
                  </a:moveTo>
                  <a:cubicBezTo>
                    <a:pt x="675" y="493"/>
                    <a:pt x="664" y="502"/>
                    <a:pt x="660" y="515"/>
                  </a:cubicBezTo>
                  <a:cubicBezTo>
                    <a:pt x="657" y="526"/>
                    <a:pt x="661" y="533"/>
                    <a:pt x="663" y="536"/>
                  </a:cubicBezTo>
                  <a:cubicBezTo>
                    <a:pt x="665" y="538"/>
                    <a:pt x="666" y="539"/>
                    <a:pt x="667" y="539"/>
                  </a:cubicBezTo>
                  <a:cubicBezTo>
                    <a:pt x="667" y="539"/>
                    <a:pt x="667" y="539"/>
                    <a:pt x="667" y="539"/>
                  </a:cubicBezTo>
                  <a:cubicBezTo>
                    <a:pt x="667" y="539"/>
                    <a:pt x="667" y="539"/>
                    <a:pt x="667" y="539"/>
                  </a:cubicBezTo>
                  <a:cubicBezTo>
                    <a:pt x="671" y="537"/>
                    <a:pt x="683" y="511"/>
                    <a:pt x="685" y="499"/>
                  </a:cubicBezTo>
                  <a:cubicBezTo>
                    <a:pt x="686" y="496"/>
                    <a:pt x="685" y="495"/>
                    <a:pt x="685" y="495"/>
                  </a:cubicBezTo>
                  <a:cubicBezTo>
                    <a:pt x="684" y="494"/>
                    <a:pt x="683" y="493"/>
                    <a:pt x="682" y="49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1" name="Freeform 148"/>
            <p:cNvSpPr>
              <a:spLocks noEditPoints="1"/>
            </p:cNvSpPr>
            <p:nvPr/>
          </p:nvSpPr>
          <p:spPr>
            <a:xfrm>
              <a:off x="7645401" y="3349625"/>
              <a:ext cx="236538" cy="330200"/>
            </a:xfrm>
            <a:custGeom>
              <a:gdLst>
                <a:gd name="T0" fmla="*/ 94 w 139"/>
                <a:gd name="T1" fmla="*/ 162 h 195"/>
                <a:gd name="T2" fmla="*/ 70 w 139"/>
                <a:gd name="T3" fmla="*/ 173 h 195"/>
                <a:gd name="T4" fmla="*/ 93 w 139"/>
                <a:gd name="T5" fmla="*/ 147 h 195"/>
                <a:gd name="T6" fmla="*/ 109 w 139"/>
                <a:gd name="T7" fmla="*/ 147 h 195"/>
                <a:gd name="T8" fmla="*/ 121 w 139"/>
                <a:gd name="T9" fmla="*/ 132 h 195"/>
                <a:gd name="T10" fmla="*/ 126 w 139"/>
                <a:gd name="T11" fmla="*/ 174 h 195"/>
                <a:gd name="T12" fmla="*/ 92 w 139"/>
                <a:gd name="T13" fmla="*/ 161 h 195"/>
                <a:gd name="T14" fmla="*/ 121 w 139"/>
                <a:gd name="T15" fmla="*/ 194 h 195"/>
                <a:gd name="T16" fmla="*/ 135 w 139"/>
                <a:gd name="T17" fmla="*/ 169 h 195"/>
                <a:gd name="T18" fmla="*/ 122 w 139"/>
                <a:gd name="T19" fmla="*/ 136 h 195"/>
                <a:gd name="T20" fmla="*/ 106 w 139"/>
                <a:gd name="T21" fmla="*/ 149 h 195"/>
                <a:gd name="T22" fmla="*/ 84 w 139"/>
                <a:gd name="T23" fmla="*/ 152 h 195"/>
                <a:gd name="T24" fmla="*/ 82 w 139"/>
                <a:gd name="T25" fmla="*/ 165 h 195"/>
                <a:gd name="T26" fmla="*/ 3 w 139"/>
                <a:gd name="T27" fmla="*/ 153 h 195"/>
                <a:gd name="T28" fmla="*/ 31 w 139"/>
                <a:gd name="T29" fmla="*/ 110 h 195"/>
                <a:gd name="T30" fmla="*/ 31 w 139"/>
                <a:gd name="T31" fmla="*/ 111 h 195"/>
                <a:gd name="T32" fmla="*/ 3 w 139"/>
                <a:gd name="T33" fmla="*/ 152 h 195"/>
                <a:gd name="T34" fmla="*/ 83 w 139"/>
                <a:gd name="T35" fmla="*/ 143 h 195"/>
                <a:gd name="T36" fmla="*/ 80 w 139"/>
                <a:gd name="T37" fmla="*/ 115 h 195"/>
                <a:gd name="T38" fmla="*/ 70 w 139"/>
                <a:gd name="T39" fmla="*/ 99 h 195"/>
                <a:gd name="T40" fmla="*/ 96 w 139"/>
                <a:gd name="T41" fmla="*/ 117 h 195"/>
                <a:gd name="T42" fmla="*/ 81 w 139"/>
                <a:gd name="T43" fmla="*/ 115 h 195"/>
                <a:gd name="T44" fmla="*/ 97 w 139"/>
                <a:gd name="T45" fmla="*/ 119 h 195"/>
                <a:gd name="T46" fmla="*/ 92 w 139"/>
                <a:gd name="T47" fmla="*/ 116 h 195"/>
                <a:gd name="T48" fmla="*/ 71 w 139"/>
                <a:gd name="T49" fmla="*/ 119 h 195"/>
                <a:gd name="T50" fmla="*/ 97 w 139"/>
                <a:gd name="T51" fmla="*/ 136 h 195"/>
                <a:gd name="T52" fmla="*/ 100 w 139"/>
                <a:gd name="T53" fmla="*/ 138 h 195"/>
                <a:gd name="T54" fmla="*/ 108 w 139"/>
                <a:gd name="T55" fmla="*/ 132 h 195"/>
                <a:gd name="T56" fmla="*/ 105 w 139"/>
                <a:gd name="T57" fmla="*/ 116 h 195"/>
                <a:gd name="T58" fmla="*/ 93 w 139"/>
                <a:gd name="T59" fmla="*/ 99 h 195"/>
                <a:gd name="T60" fmla="*/ 73 w 139"/>
                <a:gd name="T61" fmla="*/ 74 h 195"/>
                <a:gd name="T62" fmla="*/ 53 w 139"/>
                <a:gd name="T63" fmla="*/ 71 h 195"/>
                <a:gd name="T64" fmla="*/ 41 w 139"/>
                <a:gd name="T65" fmla="*/ 53 h 195"/>
                <a:gd name="T66" fmla="*/ 46 w 139"/>
                <a:gd name="T67" fmla="*/ 23 h 195"/>
                <a:gd name="T68" fmla="*/ 73 w 139"/>
                <a:gd name="T69" fmla="*/ 2 h 195"/>
                <a:gd name="T70" fmla="*/ 64 w 139"/>
                <a:gd name="T71" fmla="*/ 52 h 195"/>
                <a:gd name="T72" fmla="*/ 92 w 139"/>
                <a:gd name="T73" fmla="*/ 69 h 195"/>
                <a:gd name="T74" fmla="*/ 120 w 139"/>
                <a:gd name="T75" fmla="*/ 98 h 195"/>
                <a:gd name="T76" fmla="*/ 112 w 139"/>
                <a:gd name="T77" fmla="*/ 128 h 195"/>
                <a:gd name="T78" fmla="*/ 110 w 139"/>
                <a:gd name="T79" fmla="*/ 124 h 195"/>
                <a:gd name="T80" fmla="*/ 121 w 139"/>
                <a:gd name="T81" fmla="*/ 111 h 195"/>
                <a:gd name="T82" fmla="*/ 95 w 139"/>
                <a:gd name="T83" fmla="*/ 74 h 195"/>
                <a:gd name="T84" fmla="*/ 66 w 139"/>
                <a:gd name="T85" fmla="*/ 62 h 195"/>
                <a:gd name="T86" fmla="*/ 72 w 139"/>
                <a:gd name="T87" fmla="*/ 8 h 195"/>
                <a:gd name="T88" fmla="*/ 49 w 139"/>
                <a:gd name="T89" fmla="*/ 2 h 195"/>
                <a:gd name="T90" fmla="*/ 40 w 139"/>
                <a:gd name="T91" fmla="*/ 33 h 195"/>
                <a:gd name="T92" fmla="*/ 47 w 139"/>
                <a:gd name="T93" fmla="*/ 65 h 195"/>
                <a:gd name="T94" fmla="*/ 64 w 139"/>
                <a:gd name="T95" fmla="*/ 68 h 195"/>
                <a:gd name="T96" fmla="*/ 93 w 139"/>
                <a:gd name="T97" fmla="*/ 87 h 195"/>
                <a:gd name="T98" fmla="*/ 58 w 139"/>
                <a:gd name="T99" fmla="*/ 94 h 195"/>
                <a:gd name="T100" fmla="*/ 64 w 139"/>
                <a:gd name="T101" fmla="*/ 90 h 195"/>
                <a:gd name="T102" fmla="*/ 58 w 139"/>
                <a:gd name="T103" fmla="*/ 93 h 195"/>
                <a:gd name="T104" fmla="*/ 48 w 139"/>
                <a:gd name="T105" fmla="*/ 77 h 1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95">
                  <a:moveTo>
                    <a:pt x="121" y="195"/>
                  </a:moveTo>
                  <a:cubicBezTo>
                    <a:pt x="118" y="195"/>
                    <a:pt x="117" y="194"/>
                    <a:pt x="116" y="192"/>
                  </a:cubicBezTo>
                  <a:cubicBezTo>
                    <a:pt x="114" y="190"/>
                    <a:pt x="111" y="188"/>
                    <a:pt x="106" y="187"/>
                  </a:cubicBezTo>
                  <a:cubicBezTo>
                    <a:pt x="100" y="186"/>
                    <a:pt x="99" y="179"/>
                    <a:pt x="98" y="173"/>
                  </a:cubicBezTo>
                  <a:cubicBezTo>
                    <a:pt x="97" y="168"/>
                    <a:pt x="97" y="163"/>
                    <a:pt x="94" y="162"/>
                  </a:cubicBezTo>
                  <a:cubicBezTo>
                    <a:pt x="93" y="162"/>
                    <a:pt x="92" y="162"/>
                    <a:pt x="92" y="162"/>
                  </a:cubicBezTo>
                  <a:cubicBezTo>
                    <a:pt x="89" y="162"/>
                    <a:pt x="88" y="163"/>
                    <a:pt x="87" y="164"/>
                  </a:cubicBezTo>
                  <a:cubicBezTo>
                    <a:pt x="86" y="165"/>
                    <a:pt x="85" y="166"/>
                    <a:pt x="83" y="166"/>
                  </a:cubicBezTo>
                  <a:cubicBezTo>
                    <a:pt x="80" y="166"/>
                    <a:pt x="78" y="168"/>
                    <a:pt x="76" y="169"/>
                  </a:cubicBezTo>
                  <a:cubicBezTo>
                    <a:pt x="75" y="171"/>
                    <a:pt x="73" y="173"/>
                    <a:pt x="70" y="173"/>
                  </a:cubicBezTo>
                  <a:cubicBezTo>
                    <a:pt x="69" y="173"/>
                    <a:pt x="68" y="172"/>
                    <a:pt x="68" y="171"/>
                  </a:cubicBezTo>
                  <a:cubicBezTo>
                    <a:pt x="67" y="166"/>
                    <a:pt x="70" y="158"/>
                    <a:pt x="75" y="157"/>
                  </a:cubicBezTo>
                  <a:cubicBezTo>
                    <a:pt x="78" y="156"/>
                    <a:pt x="81" y="154"/>
                    <a:pt x="83" y="151"/>
                  </a:cubicBezTo>
                  <a:cubicBezTo>
                    <a:pt x="86" y="149"/>
                    <a:pt x="88" y="147"/>
                    <a:pt x="91" y="147"/>
                  </a:cubicBezTo>
                  <a:cubicBezTo>
                    <a:pt x="91" y="147"/>
                    <a:pt x="92" y="147"/>
                    <a:pt x="93" y="147"/>
                  </a:cubicBezTo>
                  <a:cubicBezTo>
                    <a:pt x="96" y="150"/>
                    <a:pt x="101" y="152"/>
                    <a:pt x="103" y="152"/>
                  </a:cubicBezTo>
                  <a:cubicBezTo>
                    <a:pt x="104" y="152"/>
                    <a:pt x="104" y="152"/>
                    <a:pt x="104" y="152"/>
                  </a:cubicBezTo>
                  <a:cubicBezTo>
                    <a:pt x="105" y="152"/>
                    <a:pt x="105" y="151"/>
                    <a:pt x="105" y="151"/>
                  </a:cubicBezTo>
                  <a:cubicBezTo>
                    <a:pt x="105" y="150"/>
                    <a:pt x="105" y="149"/>
                    <a:pt x="105" y="148"/>
                  </a:cubicBezTo>
                  <a:cubicBezTo>
                    <a:pt x="106" y="148"/>
                    <a:pt x="107" y="147"/>
                    <a:pt x="109" y="147"/>
                  </a:cubicBezTo>
                  <a:cubicBezTo>
                    <a:pt x="111" y="147"/>
                    <a:pt x="113" y="147"/>
                    <a:pt x="113" y="144"/>
                  </a:cubicBezTo>
                  <a:cubicBezTo>
                    <a:pt x="114" y="141"/>
                    <a:pt x="117" y="140"/>
                    <a:pt x="119" y="140"/>
                  </a:cubicBezTo>
                  <a:cubicBezTo>
                    <a:pt x="121" y="140"/>
                    <a:pt x="122" y="139"/>
                    <a:pt x="122" y="139"/>
                  </a:cubicBezTo>
                  <a:cubicBezTo>
                    <a:pt x="122" y="139"/>
                    <a:pt x="122" y="138"/>
                    <a:pt x="122" y="137"/>
                  </a:cubicBezTo>
                  <a:cubicBezTo>
                    <a:pt x="121" y="135"/>
                    <a:pt x="121" y="134"/>
                    <a:pt x="121" y="132"/>
                  </a:cubicBezTo>
                  <a:cubicBezTo>
                    <a:pt x="122" y="131"/>
                    <a:pt x="124" y="130"/>
                    <a:pt x="126" y="130"/>
                  </a:cubicBezTo>
                  <a:cubicBezTo>
                    <a:pt x="130" y="130"/>
                    <a:pt x="133" y="132"/>
                    <a:pt x="133" y="137"/>
                  </a:cubicBezTo>
                  <a:cubicBezTo>
                    <a:pt x="133" y="141"/>
                    <a:pt x="134" y="146"/>
                    <a:pt x="135" y="151"/>
                  </a:cubicBezTo>
                  <a:cubicBezTo>
                    <a:pt x="137" y="159"/>
                    <a:pt x="139" y="166"/>
                    <a:pt x="136" y="170"/>
                  </a:cubicBezTo>
                  <a:cubicBezTo>
                    <a:pt x="133" y="173"/>
                    <a:pt x="129" y="173"/>
                    <a:pt x="126" y="174"/>
                  </a:cubicBezTo>
                  <a:cubicBezTo>
                    <a:pt x="123" y="174"/>
                    <a:pt x="121" y="174"/>
                    <a:pt x="121" y="176"/>
                  </a:cubicBezTo>
                  <a:cubicBezTo>
                    <a:pt x="121" y="178"/>
                    <a:pt x="121" y="180"/>
                    <a:pt x="122" y="183"/>
                  </a:cubicBezTo>
                  <a:cubicBezTo>
                    <a:pt x="123" y="188"/>
                    <a:pt x="124" y="192"/>
                    <a:pt x="122" y="194"/>
                  </a:cubicBezTo>
                  <a:cubicBezTo>
                    <a:pt x="122" y="195"/>
                    <a:pt x="121" y="195"/>
                    <a:pt x="121" y="195"/>
                  </a:cubicBezTo>
                  <a:close/>
                  <a:moveTo>
                    <a:pt x="92" y="161"/>
                  </a:moveTo>
                  <a:cubicBezTo>
                    <a:pt x="92" y="161"/>
                    <a:pt x="93" y="161"/>
                    <a:pt x="94" y="161"/>
                  </a:cubicBezTo>
                  <a:cubicBezTo>
                    <a:pt x="97" y="162"/>
                    <a:pt x="98" y="167"/>
                    <a:pt x="99" y="173"/>
                  </a:cubicBezTo>
                  <a:cubicBezTo>
                    <a:pt x="100" y="179"/>
                    <a:pt x="101" y="185"/>
                    <a:pt x="106" y="186"/>
                  </a:cubicBezTo>
                  <a:cubicBezTo>
                    <a:pt x="111" y="187"/>
                    <a:pt x="114" y="190"/>
                    <a:pt x="116" y="191"/>
                  </a:cubicBezTo>
                  <a:cubicBezTo>
                    <a:pt x="118" y="193"/>
                    <a:pt x="119" y="194"/>
                    <a:pt x="121" y="194"/>
                  </a:cubicBezTo>
                  <a:cubicBezTo>
                    <a:pt x="121" y="194"/>
                    <a:pt x="121" y="194"/>
                    <a:pt x="122" y="194"/>
                  </a:cubicBezTo>
                  <a:cubicBezTo>
                    <a:pt x="123" y="192"/>
                    <a:pt x="122" y="188"/>
                    <a:pt x="121" y="183"/>
                  </a:cubicBezTo>
                  <a:cubicBezTo>
                    <a:pt x="120" y="180"/>
                    <a:pt x="120" y="178"/>
                    <a:pt x="120" y="176"/>
                  </a:cubicBezTo>
                  <a:cubicBezTo>
                    <a:pt x="120" y="173"/>
                    <a:pt x="123" y="173"/>
                    <a:pt x="126" y="173"/>
                  </a:cubicBezTo>
                  <a:cubicBezTo>
                    <a:pt x="129" y="172"/>
                    <a:pt x="133" y="172"/>
                    <a:pt x="135" y="169"/>
                  </a:cubicBezTo>
                  <a:cubicBezTo>
                    <a:pt x="138" y="166"/>
                    <a:pt x="136" y="158"/>
                    <a:pt x="134" y="151"/>
                  </a:cubicBezTo>
                  <a:cubicBezTo>
                    <a:pt x="133" y="146"/>
                    <a:pt x="132" y="141"/>
                    <a:pt x="132" y="137"/>
                  </a:cubicBezTo>
                  <a:cubicBezTo>
                    <a:pt x="132" y="133"/>
                    <a:pt x="129" y="131"/>
                    <a:pt x="126" y="131"/>
                  </a:cubicBezTo>
                  <a:cubicBezTo>
                    <a:pt x="124" y="131"/>
                    <a:pt x="123" y="132"/>
                    <a:pt x="122" y="133"/>
                  </a:cubicBezTo>
                  <a:cubicBezTo>
                    <a:pt x="122" y="134"/>
                    <a:pt x="122" y="135"/>
                    <a:pt x="122" y="136"/>
                  </a:cubicBezTo>
                  <a:cubicBezTo>
                    <a:pt x="123" y="138"/>
                    <a:pt x="124" y="139"/>
                    <a:pt x="123" y="139"/>
                  </a:cubicBezTo>
                  <a:cubicBezTo>
                    <a:pt x="123" y="140"/>
                    <a:pt x="121" y="141"/>
                    <a:pt x="120" y="141"/>
                  </a:cubicBezTo>
                  <a:cubicBezTo>
                    <a:pt x="117" y="141"/>
                    <a:pt x="115" y="141"/>
                    <a:pt x="114" y="144"/>
                  </a:cubicBezTo>
                  <a:cubicBezTo>
                    <a:pt x="114" y="148"/>
                    <a:pt x="111" y="148"/>
                    <a:pt x="109" y="148"/>
                  </a:cubicBezTo>
                  <a:cubicBezTo>
                    <a:pt x="108" y="148"/>
                    <a:pt x="107" y="149"/>
                    <a:pt x="106" y="149"/>
                  </a:cubicBezTo>
                  <a:cubicBezTo>
                    <a:pt x="106" y="149"/>
                    <a:pt x="106" y="150"/>
                    <a:pt x="106" y="151"/>
                  </a:cubicBezTo>
                  <a:cubicBezTo>
                    <a:pt x="106" y="151"/>
                    <a:pt x="106" y="152"/>
                    <a:pt x="105" y="153"/>
                  </a:cubicBezTo>
                  <a:cubicBezTo>
                    <a:pt x="105" y="153"/>
                    <a:pt x="104" y="153"/>
                    <a:pt x="103" y="153"/>
                  </a:cubicBezTo>
                  <a:cubicBezTo>
                    <a:pt x="100" y="153"/>
                    <a:pt x="93" y="149"/>
                    <a:pt x="92" y="148"/>
                  </a:cubicBezTo>
                  <a:cubicBezTo>
                    <a:pt x="90" y="147"/>
                    <a:pt x="87" y="149"/>
                    <a:pt x="84" y="152"/>
                  </a:cubicBezTo>
                  <a:cubicBezTo>
                    <a:pt x="81" y="155"/>
                    <a:pt x="79" y="157"/>
                    <a:pt x="76" y="158"/>
                  </a:cubicBezTo>
                  <a:cubicBezTo>
                    <a:pt x="71" y="159"/>
                    <a:pt x="68" y="167"/>
                    <a:pt x="69" y="170"/>
                  </a:cubicBezTo>
                  <a:cubicBezTo>
                    <a:pt x="69" y="171"/>
                    <a:pt x="69" y="172"/>
                    <a:pt x="70" y="172"/>
                  </a:cubicBezTo>
                  <a:cubicBezTo>
                    <a:pt x="72" y="172"/>
                    <a:pt x="74" y="170"/>
                    <a:pt x="76" y="169"/>
                  </a:cubicBezTo>
                  <a:cubicBezTo>
                    <a:pt x="78" y="167"/>
                    <a:pt x="80" y="165"/>
                    <a:pt x="82" y="165"/>
                  </a:cubicBezTo>
                  <a:cubicBezTo>
                    <a:pt x="83" y="165"/>
                    <a:pt x="83" y="165"/>
                    <a:pt x="83" y="165"/>
                  </a:cubicBezTo>
                  <a:cubicBezTo>
                    <a:pt x="85" y="165"/>
                    <a:pt x="86" y="164"/>
                    <a:pt x="87" y="163"/>
                  </a:cubicBezTo>
                  <a:cubicBezTo>
                    <a:pt x="88" y="162"/>
                    <a:pt x="89" y="161"/>
                    <a:pt x="92" y="161"/>
                  </a:cubicBezTo>
                  <a:close/>
                  <a:moveTo>
                    <a:pt x="3" y="153"/>
                  </a:moveTo>
                  <a:cubicBezTo>
                    <a:pt x="3" y="153"/>
                    <a:pt x="3" y="153"/>
                    <a:pt x="3" y="153"/>
                  </a:cubicBezTo>
                  <a:cubicBezTo>
                    <a:pt x="2" y="153"/>
                    <a:pt x="2" y="152"/>
                    <a:pt x="2" y="152"/>
                  </a:cubicBezTo>
                  <a:cubicBezTo>
                    <a:pt x="0" y="149"/>
                    <a:pt x="5" y="144"/>
                    <a:pt x="12" y="136"/>
                  </a:cubicBezTo>
                  <a:cubicBezTo>
                    <a:pt x="15" y="132"/>
                    <a:pt x="18" y="130"/>
                    <a:pt x="20" y="127"/>
                  </a:cubicBezTo>
                  <a:cubicBezTo>
                    <a:pt x="22" y="124"/>
                    <a:pt x="24" y="120"/>
                    <a:pt x="26" y="117"/>
                  </a:cubicBezTo>
                  <a:cubicBezTo>
                    <a:pt x="28" y="112"/>
                    <a:pt x="29" y="110"/>
                    <a:pt x="31" y="110"/>
                  </a:cubicBezTo>
                  <a:cubicBezTo>
                    <a:pt x="32" y="110"/>
                    <a:pt x="32" y="110"/>
                    <a:pt x="33" y="111"/>
                  </a:cubicBezTo>
                  <a:cubicBezTo>
                    <a:pt x="35" y="116"/>
                    <a:pt x="37" y="121"/>
                    <a:pt x="29" y="127"/>
                  </a:cubicBezTo>
                  <a:cubicBezTo>
                    <a:pt x="25" y="130"/>
                    <a:pt x="21" y="135"/>
                    <a:pt x="17" y="140"/>
                  </a:cubicBezTo>
                  <a:cubicBezTo>
                    <a:pt x="11" y="147"/>
                    <a:pt x="6" y="153"/>
                    <a:pt x="3" y="153"/>
                  </a:cubicBezTo>
                  <a:close/>
                  <a:moveTo>
                    <a:pt x="31" y="111"/>
                  </a:moveTo>
                  <a:cubicBezTo>
                    <a:pt x="30" y="111"/>
                    <a:pt x="28" y="114"/>
                    <a:pt x="27" y="117"/>
                  </a:cubicBezTo>
                  <a:cubicBezTo>
                    <a:pt x="25" y="120"/>
                    <a:pt x="23" y="124"/>
                    <a:pt x="21" y="128"/>
                  </a:cubicBezTo>
                  <a:cubicBezTo>
                    <a:pt x="19" y="130"/>
                    <a:pt x="16" y="133"/>
                    <a:pt x="13" y="136"/>
                  </a:cubicBezTo>
                  <a:cubicBezTo>
                    <a:pt x="8" y="142"/>
                    <a:pt x="1" y="149"/>
                    <a:pt x="2" y="151"/>
                  </a:cubicBezTo>
                  <a:cubicBezTo>
                    <a:pt x="3" y="151"/>
                    <a:pt x="3" y="152"/>
                    <a:pt x="3" y="152"/>
                  </a:cubicBezTo>
                  <a:cubicBezTo>
                    <a:pt x="5" y="152"/>
                    <a:pt x="11" y="145"/>
                    <a:pt x="16" y="139"/>
                  </a:cubicBezTo>
                  <a:cubicBezTo>
                    <a:pt x="20" y="134"/>
                    <a:pt x="25" y="129"/>
                    <a:pt x="28" y="126"/>
                  </a:cubicBezTo>
                  <a:cubicBezTo>
                    <a:pt x="36" y="121"/>
                    <a:pt x="34" y="117"/>
                    <a:pt x="32" y="112"/>
                  </a:cubicBezTo>
                  <a:cubicBezTo>
                    <a:pt x="31" y="111"/>
                    <a:pt x="31" y="111"/>
                    <a:pt x="31" y="111"/>
                  </a:cubicBezTo>
                  <a:close/>
                  <a:moveTo>
                    <a:pt x="83" y="143"/>
                  </a:moveTo>
                  <a:cubicBezTo>
                    <a:pt x="83" y="143"/>
                    <a:pt x="83" y="143"/>
                    <a:pt x="82" y="143"/>
                  </a:cubicBezTo>
                  <a:cubicBezTo>
                    <a:pt x="80" y="142"/>
                    <a:pt x="78" y="141"/>
                    <a:pt x="78" y="138"/>
                  </a:cubicBezTo>
                  <a:cubicBezTo>
                    <a:pt x="76" y="134"/>
                    <a:pt x="77" y="129"/>
                    <a:pt x="80" y="126"/>
                  </a:cubicBezTo>
                  <a:cubicBezTo>
                    <a:pt x="81" y="125"/>
                    <a:pt x="82" y="123"/>
                    <a:pt x="81" y="120"/>
                  </a:cubicBezTo>
                  <a:cubicBezTo>
                    <a:pt x="81" y="117"/>
                    <a:pt x="80" y="115"/>
                    <a:pt x="80" y="115"/>
                  </a:cubicBezTo>
                  <a:cubicBezTo>
                    <a:pt x="79" y="115"/>
                    <a:pt x="79" y="115"/>
                    <a:pt x="79" y="115"/>
                  </a:cubicBezTo>
                  <a:cubicBezTo>
                    <a:pt x="79" y="119"/>
                    <a:pt x="75" y="119"/>
                    <a:pt x="73" y="119"/>
                  </a:cubicBezTo>
                  <a:cubicBezTo>
                    <a:pt x="72" y="120"/>
                    <a:pt x="72" y="120"/>
                    <a:pt x="71" y="120"/>
                  </a:cubicBezTo>
                  <a:cubicBezTo>
                    <a:pt x="68" y="120"/>
                    <a:pt x="67" y="115"/>
                    <a:pt x="66" y="111"/>
                  </a:cubicBezTo>
                  <a:cubicBezTo>
                    <a:pt x="66" y="105"/>
                    <a:pt x="67" y="100"/>
                    <a:pt x="70" y="99"/>
                  </a:cubicBezTo>
                  <a:cubicBezTo>
                    <a:pt x="75" y="98"/>
                    <a:pt x="86" y="105"/>
                    <a:pt x="91" y="111"/>
                  </a:cubicBezTo>
                  <a:cubicBezTo>
                    <a:pt x="92" y="113"/>
                    <a:pt x="93" y="115"/>
                    <a:pt x="93" y="117"/>
                  </a:cubicBezTo>
                  <a:cubicBezTo>
                    <a:pt x="92" y="118"/>
                    <a:pt x="93" y="118"/>
                    <a:pt x="93" y="118"/>
                  </a:cubicBezTo>
                  <a:cubicBezTo>
                    <a:pt x="93" y="118"/>
                    <a:pt x="93" y="118"/>
                    <a:pt x="94" y="118"/>
                  </a:cubicBezTo>
                  <a:cubicBezTo>
                    <a:pt x="95" y="118"/>
                    <a:pt x="95" y="117"/>
                    <a:pt x="96" y="117"/>
                  </a:cubicBezTo>
                  <a:cubicBezTo>
                    <a:pt x="97" y="117"/>
                    <a:pt x="98" y="118"/>
                    <a:pt x="98" y="119"/>
                  </a:cubicBezTo>
                  <a:cubicBezTo>
                    <a:pt x="99" y="121"/>
                    <a:pt x="96" y="129"/>
                    <a:pt x="93" y="134"/>
                  </a:cubicBezTo>
                  <a:cubicBezTo>
                    <a:pt x="91" y="138"/>
                    <a:pt x="87" y="143"/>
                    <a:pt x="83" y="143"/>
                  </a:cubicBezTo>
                  <a:close/>
                  <a:moveTo>
                    <a:pt x="79" y="113"/>
                  </a:moveTo>
                  <a:cubicBezTo>
                    <a:pt x="80" y="113"/>
                    <a:pt x="80" y="114"/>
                    <a:pt x="81" y="115"/>
                  </a:cubicBezTo>
                  <a:cubicBezTo>
                    <a:pt x="82" y="118"/>
                    <a:pt x="83" y="124"/>
                    <a:pt x="81" y="127"/>
                  </a:cubicBezTo>
                  <a:cubicBezTo>
                    <a:pt x="78" y="129"/>
                    <a:pt x="77" y="134"/>
                    <a:pt x="79" y="138"/>
                  </a:cubicBezTo>
                  <a:cubicBezTo>
                    <a:pt x="79" y="139"/>
                    <a:pt x="80" y="141"/>
                    <a:pt x="83" y="142"/>
                  </a:cubicBezTo>
                  <a:cubicBezTo>
                    <a:pt x="85" y="142"/>
                    <a:pt x="88" y="139"/>
                    <a:pt x="92" y="134"/>
                  </a:cubicBezTo>
                  <a:cubicBezTo>
                    <a:pt x="96" y="128"/>
                    <a:pt x="98" y="121"/>
                    <a:pt x="97" y="119"/>
                  </a:cubicBezTo>
                  <a:cubicBezTo>
                    <a:pt x="97" y="118"/>
                    <a:pt x="97" y="118"/>
                    <a:pt x="96" y="118"/>
                  </a:cubicBezTo>
                  <a:cubicBezTo>
                    <a:pt x="95" y="118"/>
                    <a:pt x="95" y="119"/>
                    <a:pt x="94" y="119"/>
                  </a:cubicBezTo>
                  <a:cubicBezTo>
                    <a:pt x="93" y="119"/>
                    <a:pt x="93" y="119"/>
                    <a:pt x="93" y="119"/>
                  </a:cubicBezTo>
                  <a:cubicBezTo>
                    <a:pt x="92" y="119"/>
                    <a:pt x="92" y="119"/>
                    <a:pt x="92" y="119"/>
                  </a:cubicBezTo>
                  <a:cubicBezTo>
                    <a:pt x="92" y="118"/>
                    <a:pt x="92" y="118"/>
                    <a:pt x="92" y="116"/>
                  </a:cubicBezTo>
                  <a:cubicBezTo>
                    <a:pt x="92" y="115"/>
                    <a:pt x="91" y="114"/>
                    <a:pt x="90" y="112"/>
                  </a:cubicBezTo>
                  <a:cubicBezTo>
                    <a:pt x="86" y="106"/>
                    <a:pt x="76" y="100"/>
                    <a:pt x="71" y="100"/>
                  </a:cubicBezTo>
                  <a:cubicBezTo>
                    <a:pt x="71" y="100"/>
                    <a:pt x="71" y="100"/>
                    <a:pt x="70" y="100"/>
                  </a:cubicBezTo>
                  <a:cubicBezTo>
                    <a:pt x="67" y="100"/>
                    <a:pt x="67" y="106"/>
                    <a:pt x="67" y="111"/>
                  </a:cubicBezTo>
                  <a:cubicBezTo>
                    <a:pt x="68" y="115"/>
                    <a:pt x="69" y="119"/>
                    <a:pt x="71" y="119"/>
                  </a:cubicBezTo>
                  <a:cubicBezTo>
                    <a:pt x="72" y="119"/>
                    <a:pt x="72" y="119"/>
                    <a:pt x="73" y="118"/>
                  </a:cubicBezTo>
                  <a:cubicBezTo>
                    <a:pt x="76" y="118"/>
                    <a:pt x="78" y="118"/>
                    <a:pt x="78" y="115"/>
                  </a:cubicBezTo>
                  <a:cubicBezTo>
                    <a:pt x="79" y="114"/>
                    <a:pt x="79" y="113"/>
                    <a:pt x="79" y="113"/>
                  </a:cubicBezTo>
                  <a:close/>
                  <a:moveTo>
                    <a:pt x="100" y="138"/>
                  </a:moveTo>
                  <a:cubicBezTo>
                    <a:pt x="98" y="138"/>
                    <a:pt x="97" y="137"/>
                    <a:pt x="97" y="136"/>
                  </a:cubicBezTo>
                  <a:cubicBezTo>
                    <a:pt x="96" y="135"/>
                    <a:pt x="97" y="134"/>
                    <a:pt x="98" y="132"/>
                  </a:cubicBezTo>
                  <a:cubicBezTo>
                    <a:pt x="99" y="130"/>
                    <a:pt x="102" y="127"/>
                    <a:pt x="105" y="127"/>
                  </a:cubicBezTo>
                  <a:cubicBezTo>
                    <a:pt x="106" y="127"/>
                    <a:pt x="107" y="128"/>
                    <a:pt x="108" y="129"/>
                  </a:cubicBezTo>
                  <a:cubicBezTo>
                    <a:pt x="109" y="130"/>
                    <a:pt x="109" y="131"/>
                    <a:pt x="108" y="132"/>
                  </a:cubicBezTo>
                  <a:cubicBezTo>
                    <a:pt x="107" y="135"/>
                    <a:pt x="103" y="138"/>
                    <a:pt x="100" y="138"/>
                  </a:cubicBezTo>
                  <a:close/>
                  <a:moveTo>
                    <a:pt x="105" y="128"/>
                  </a:moveTo>
                  <a:cubicBezTo>
                    <a:pt x="103" y="128"/>
                    <a:pt x="100" y="131"/>
                    <a:pt x="98" y="133"/>
                  </a:cubicBezTo>
                  <a:cubicBezTo>
                    <a:pt x="98" y="134"/>
                    <a:pt x="97" y="135"/>
                    <a:pt x="98" y="136"/>
                  </a:cubicBezTo>
                  <a:cubicBezTo>
                    <a:pt x="98" y="136"/>
                    <a:pt x="98" y="137"/>
                    <a:pt x="100" y="137"/>
                  </a:cubicBezTo>
                  <a:cubicBezTo>
                    <a:pt x="102" y="137"/>
                    <a:pt x="106" y="134"/>
                    <a:pt x="108" y="132"/>
                  </a:cubicBezTo>
                  <a:cubicBezTo>
                    <a:pt x="108" y="131"/>
                    <a:pt x="108" y="130"/>
                    <a:pt x="107" y="129"/>
                  </a:cubicBezTo>
                  <a:cubicBezTo>
                    <a:pt x="107" y="129"/>
                    <a:pt x="106" y="128"/>
                    <a:pt x="105" y="128"/>
                  </a:cubicBezTo>
                  <a:close/>
                  <a:moveTo>
                    <a:pt x="112" y="128"/>
                  </a:moveTo>
                  <a:cubicBezTo>
                    <a:pt x="111" y="128"/>
                    <a:pt x="110" y="127"/>
                    <a:pt x="109" y="124"/>
                  </a:cubicBezTo>
                  <a:cubicBezTo>
                    <a:pt x="109" y="121"/>
                    <a:pt x="107" y="119"/>
                    <a:pt x="105" y="116"/>
                  </a:cubicBezTo>
                  <a:cubicBezTo>
                    <a:pt x="102" y="113"/>
                    <a:pt x="100" y="109"/>
                    <a:pt x="102" y="106"/>
                  </a:cubicBezTo>
                  <a:cubicBezTo>
                    <a:pt x="103" y="104"/>
                    <a:pt x="104" y="102"/>
                    <a:pt x="103" y="101"/>
                  </a:cubicBezTo>
                  <a:cubicBezTo>
                    <a:pt x="102" y="99"/>
                    <a:pt x="101" y="99"/>
                    <a:pt x="100" y="99"/>
                  </a:cubicBezTo>
                  <a:cubicBezTo>
                    <a:pt x="99" y="99"/>
                    <a:pt x="98" y="99"/>
                    <a:pt x="97" y="100"/>
                  </a:cubicBezTo>
                  <a:cubicBezTo>
                    <a:pt x="96" y="101"/>
                    <a:pt x="94" y="101"/>
                    <a:pt x="93" y="99"/>
                  </a:cubicBezTo>
                  <a:cubicBezTo>
                    <a:pt x="91" y="96"/>
                    <a:pt x="91" y="89"/>
                    <a:pt x="92" y="86"/>
                  </a:cubicBezTo>
                  <a:cubicBezTo>
                    <a:pt x="92" y="85"/>
                    <a:pt x="92" y="84"/>
                    <a:pt x="91" y="83"/>
                  </a:cubicBezTo>
                  <a:cubicBezTo>
                    <a:pt x="88" y="79"/>
                    <a:pt x="82" y="74"/>
                    <a:pt x="76" y="74"/>
                  </a:cubicBezTo>
                  <a:cubicBezTo>
                    <a:pt x="75" y="74"/>
                    <a:pt x="75" y="74"/>
                    <a:pt x="75" y="74"/>
                  </a:cubicBezTo>
                  <a:cubicBezTo>
                    <a:pt x="74" y="74"/>
                    <a:pt x="74" y="74"/>
                    <a:pt x="73" y="74"/>
                  </a:cubicBezTo>
                  <a:cubicBezTo>
                    <a:pt x="70" y="74"/>
                    <a:pt x="69" y="73"/>
                    <a:pt x="68" y="71"/>
                  </a:cubicBezTo>
                  <a:cubicBezTo>
                    <a:pt x="67" y="70"/>
                    <a:pt x="66" y="69"/>
                    <a:pt x="64" y="69"/>
                  </a:cubicBezTo>
                  <a:cubicBezTo>
                    <a:pt x="64" y="69"/>
                    <a:pt x="63" y="69"/>
                    <a:pt x="62" y="70"/>
                  </a:cubicBezTo>
                  <a:cubicBezTo>
                    <a:pt x="59" y="71"/>
                    <a:pt x="56" y="71"/>
                    <a:pt x="53" y="71"/>
                  </a:cubicBezTo>
                  <a:cubicBezTo>
                    <a:pt x="53" y="71"/>
                    <a:pt x="53" y="71"/>
                    <a:pt x="53" y="71"/>
                  </a:cubicBezTo>
                  <a:cubicBezTo>
                    <a:pt x="50" y="71"/>
                    <a:pt x="48" y="71"/>
                    <a:pt x="47" y="69"/>
                  </a:cubicBezTo>
                  <a:cubicBezTo>
                    <a:pt x="46" y="68"/>
                    <a:pt x="46" y="66"/>
                    <a:pt x="46" y="64"/>
                  </a:cubicBezTo>
                  <a:cubicBezTo>
                    <a:pt x="47" y="61"/>
                    <a:pt x="47" y="57"/>
                    <a:pt x="46" y="55"/>
                  </a:cubicBezTo>
                  <a:cubicBezTo>
                    <a:pt x="45" y="54"/>
                    <a:pt x="44" y="54"/>
                    <a:pt x="43" y="54"/>
                  </a:cubicBezTo>
                  <a:cubicBezTo>
                    <a:pt x="42" y="54"/>
                    <a:pt x="42" y="53"/>
                    <a:pt x="41" y="53"/>
                  </a:cubicBezTo>
                  <a:cubicBezTo>
                    <a:pt x="38" y="49"/>
                    <a:pt x="37" y="37"/>
                    <a:pt x="39" y="33"/>
                  </a:cubicBezTo>
                  <a:cubicBezTo>
                    <a:pt x="39" y="33"/>
                    <a:pt x="39" y="32"/>
                    <a:pt x="40" y="32"/>
                  </a:cubicBezTo>
                  <a:cubicBezTo>
                    <a:pt x="40" y="32"/>
                    <a:pt x="41" y="33"/>
                    <a:pt x="42" y="34"/>
                  </a:cubicBezTo>
                  <a:cubicBezTo>
                    <a:pt x="43" y="35"/>
                    <a:pt x="45" y="36"/>
                    <a:pt x="46" y="35"/>
                  </a:cubicBezTo>
                  <a:cubicBezTo>
                    <a:pt x="46" y="34"/>
                    <a:pt x="46" y="28"/>
                    <a:pt x="46" y="23"/>
                  </a:cubicBezTo>
                  <a:cubicBezTo>
                    <a:pt x="46" y="14"/>
                    <a:pt x="45" y="3"/>
                    <a:pt x="49" y="1"/>
                  </a:cubicBezTo>
                  <a:cubicBezTo>
                    <a:pt x="50" y="0"/>
                    <a:pt x="51" y="0"/>
                    <a:pt x="53" y="0"/>
                  </a:cubicBezTo>
                  <a:cubicBezTo>
                    <a:pt x="56" y="0"/>
                    <a:pt x="60" y="1"/>
                    <a:pt x="63" y="2"/>
                  </a:cubicBezTo>
                  <a:cubicBezTo>
                    <a:pt x="66" y="2"/>
                    <a:pt x="69" y="3"/>
                    <a:pt x="70" y="3"/>
                  </a:cubicBezTo>
                  <a:cubicBezTo>
                    <a:pt x="71" y="2"/>
                    <a:pt x="72" y="2"/>
                    <a:pt x="73" y="2"/>
                  </a:cubicBezTo>
                  <a:cubicBezTo>
                    <a:pt x="74" y="3"/>
                    <a:pt x="74" y="5"/>
                    <a:pt x="73" y="8"/>
                  </a:cubicBezTo>
                  <a:cubicBezTo>
                    <a:pt x="73" y="10"/>
                    <a:pt x="74" y="13"/>
                    <a:pt x="74" y="15"/>
                  </a:cubicBezTo>
                  <a:cubicBezTo>
                    <a:pt x="76" y="21"/>
                    <a:pt x="78" y="28"/>
                    <a:pt x="74" y="32"/>
                  </a:cubicBezTo>
                  <a:cubicBezTo>
                    <a:pt x="73" y="33"/>
                    <a:pt x="72" y="34"/>
                    <a:pt x="71" y="35"/>
                  </a:cubicBezTo>
                  <a:cubicBezTo>
                    <a:pt x="66" y="41"/>
                    <a:pt x="60" y="48"/>
                    <a:pt x="64" y="52"/>
                  </a:cubicBezTo>
                  <a:cubicBezTo>
                    <a:pt x="66" y="55"/>
                    <a:pt x="67" y="59"/>
                    <a:pt x="67" y="62"/>
                  </a:cubicBezTo>
                  <a:cubicBezTo>
                    <a:pt x="67" y="64"/>
                    <a:pt x="67" y="66"/>
                    <a:pt x="68" y="66"/>
                  </a:cubicBezTo>
                  <a:cubicBezTo>
                    <a:pt x="69" y="66"/>
                    <a:pt x="70" y="66"/>
                    <a:pt x="71" y="65"/>
                  </a:cubicBezTo>
                  <a:cubicBezTo>
                    <a:pt x="73" y="64"/>
                    <a:pt x="76" y="63"/>
                    <a:pt x="79" y="63"/>
                  </a:cubicBezTo>
                  <a:cubicBezTo>
                    <a:pt x="85" y="63"/>
                    <a:pt x="91" y="66"/>
                    <a:pt x="92" y="69"/>
                  </a:cubicBezTo>
                  <a:cubicBezTo>
                    <a:pt x="92" y="71"/>
                    <a:pt x="93" y="72"/>
                    <a:pt x="95" y="73"/>
                  </a:cubicBezTo>
                  <a:cubicBezTo>
                    <a:pt x="98" y="75"/>
                    <a:pt x="101" y="78"/>
                    <a:pt x="101" y="82"/>
                  </a:cubicBezTo>
                  <a:cubicBezTo>
                    <a:pt x="101" y="85"/>
                    <a:pt x="105" y="86"/>
                    <a:pt x="108" y="87"/>
                  </a:cubicBezTo>
                  <a:cubicBezTo>
                    <a:pt x="112" y="89"/>
                    <a:pt x="116" y="90"/>
                    <a:pt x="118" y="94"/>
                  </a:cubicBezTo>
                  <a:cubicBezTo>
                    <a:pt x="119" y="95"/>
                    <a:pt x="119" y="97"/>
                    <a:pt x="120" y="98"/>
                  </a:cubicBezTo>
                  <a:cubicBezTo>
                    <a:pt x="123" y="104"/>
                    <a:pt x="126" y="109"/>
                    <a:pt x="121" y="112"/>
                  </a:cubicBezTo>
                  <a:cubicBezTo>
                    <a:pt x="120" y="113"/>
                    <a:pt x="119" y="113"/>
                    <a:pt x="118" y="114"/>
                  </a:cubicBezTo>
                  <a:cubicBezTo>
                    <a:pt x="115" y="116"/>
                    <a:pt x="115" y="116"/>
                    <a:pt x="115" y="120"/>
                  </a:cubicBezTo>
                  <a:cubicBezTo>
                    <a:pt x="116" y="123"/>
                    <a:pt x="115" y="125"/>
                    <a:pt x="114" y="127"/>
                  </a:cubicBezTo>
                  <a:cubicBezTo>
                    <a:pt x="113" y="127"/>
                    <a:pt x="113" y="128"/>
                    <a:pt x="112" y="128"/>
                  </a:cubicBezTo>
                  <a:close/>
                  <a:moveTo>
                    <a:pt x="100" y="98"/>
                  </a:moveTo>
                  <a:cubicBezTo>
                    <a:pt x="101" y="98"/>
                    <a:pt x="103" y="99"/>
                    <a:pt x="104" y="100"/>
                  </a:cubicBezTo>
                  <a:cubicBezTo>
                    <a:pt x="105" y="102"/>
                    <a:pt x="104" y="104"/>
                    <a:pt x="103" y="106"/>
                  </a:cubicBezTo>
                  <a:cubicBezTo>
                    <a:pt x="101" y="109"/>
                    <a:pt x="103" y="112"/>
                    <a:pt x="106" y="116"/>
                  </a:cubicBezTo>
                  <a:cubicBezTo>
                    <a:pt x="108" y="118"/>
                    <a:pt x="110" y="121"/>
                    <a:pt x="110" y="124"/>
                  </a:cubicBezTo>
                  <a:cubicBezTo>
                    <a:pt x="111" y="126"/>
                    <a:pt x="111" y="127"/>
                    <a:pt x="112" y="127"/>
                  </a:cubicBezTo>
                  <a:cubicBezTo>
                    <a:pt x="113" y="126"/>
                    <a:pt x="113" y="126"/>
                    <a:pt x="113" y="126"/>
                  </a:cubicBezTo>
                  <a:cubicBezTo>
                    <a:pt x="114" y="125"/>
                    <a:pt x="115" y="122"/>
                    <a:pt x="114" y="120"/>
                  </a:cubicBezTo>
                  <a:cubicBezTo>
                    <a:pt x="113" y="116"/>
                    <a:pt x="115" y="115"/>
                    <a:pt x="118" y="113"/>
                  </a:cubicBezTo>
                  <a:cubicBezTo>
                    <a:pt x="119" y="112"/>
                    <a:pt x="120" y="112"/>
                    <a:pt x="121" y="111"/>
                  </a:cubicBezTo>
                  <a:cubicBezTo>
                    <a:pt x="125" y="108"/>
                    <a:pt x="123" y="105"/>
                    <a:pt x="119" y="99"/>
                  </a:cubicBezTo>
                  <a:cubicBezTo>
                    <a:pt x="119" y="97"/>
                    <a:pt x="118" y="96"/>
                    <a:pt x="117" y="94"/>
                  </a:cubicBezTo>
                  <a:cubicBezTo>
                    <a:pt x="115" y="91"/>
                    <a:pt x="112" y="89"/>
                    <a:pt x="108" y="88"/>
                  </a:cubicBezTo>
                  <a:cubicBezTo>
                    <a:pt x="104" y="87"/>
                    <a:pt x="100" y="86"/>
                    <a:pt x="100" y="82"/>
                  </a:cubicBezTo>
                  <a:cubicBezTo>
                    <a:pt x="100" y="78"/>
                    <a:pt x="97" y="76"/>
                    <a:pt x="95" y="74"/>
                  </a:cubicBezTo>
                  <a:cubicBezTo>
                    <a:pt x="93" y="73"/>
                    <a:pt x="91" y="71"/>
                    <a:pt x="91" y="69"/>
                  </a:cubicBezTo>
                  <a:cubicBezTo>
                    <a:pt x="90" y="67"/>
                    <a:pt x="85" y="64"/>
                    <a:pt x="79" y="64"/>
                  </a:cubicBezTo>
                  <a:cubicBezTo>
                    <a:pt x="76" y="64"/>
                    <a:pt x="73" y="65"/>
                    <a:pt x="71" y="66"/>
                  </a:cubicBezTo>
                  <a:cubicBezTo>
                    <a:pt x="70" y="67"/>
                    <a:pt x="69" y="67"/>
                    <a:pt x="68" y="67"/>
                  </a:cubicBezTo>
                  <a:cubicBezTo>
                    <a:pt x="66" y="67"/>
                    <a:pt x="66" y="65"/>
                    <a:pt x="66" y="62"/>
                  </a:cubicBezTo>
                  <a:cubicBezTo>
                    <a:pt x="66" y="59"/>
                    <a:pt x="65" y="55"/>
                    <a:pt x="63" y="53"/>
                  </a:cubicBezTo>
                  <a:cubicBezTo>
                    <a:pt x="58" y="48"/>
                    <a:pt x="65" y="41"/>
                    <a:pt x="70" y="34"/>
                  </a:cubicBezTo>
                  <a:cubicBezTo>
                    <a:pt x="71" y="33"/>
                    <a:pt x="72" y="32"/>
                    <a:pt x="73" y="32"/>
                  </a:cubicBezTo>
                  <a:cubicBezTo>
                    <a:pt x="77" y="27"/>
                    <a:pt x="75" y="21"/>
                    <a:pt x="73" y="16"/>
                  </a:cubicBezTo>
                  <a:cubicBezTo>
                    <a:pt x="72" y="13"/>
                    <a:pt x="72" y="10"/>
                    <a:pt x="72" y="8"/>
                  </a:cubicBezTo>
                  <a:cubicBezTo>
                    <a:pt x="72" y="7"/>
                    <a:pt x="73" y="4"/>
                    <a:pt x="72" y="3"/>
                  </a:cubicBezTo>
                  <a:cubicBezTo>
                    <a:pt x="72" y="3"/>
                    <a:pt x="71" y="3"/>
                    <a:pt x="70" y="3"/>
                  </a:cubicBezTo>
                  <a:cubicBezTo>
                    <a:pt x="69" y="4"/>
                    <a:pt x="66" y="4"/>
                    <a:pt x="62" y="3"/>
                  </a:cubicBezTo>
                  <a:cubicBezTo>
                    <a:pt x="59" y="2"/>
                    <a:pt x="56" y="1"/>
                    <a:pt x="53" y="1"/>
                  </a:cubicBezTo>
                  <a:cubicBezTo>
                    <a:pt x="51" y="1"/>
                    <a:pt x="50" y="1"/>
                    <a:pt x="49" y="2"/>
                  </a:cubicBezTo>
                  <a:cubicBezTo>
                    <a:pt x="46" y="4"/>
                    <a:pt x="47" y="15"/>
                    <a:pt x="47" y="23"/>
                  </a:cubicBezTo>
                  <a:cubicBezTo>
                    <a:pt x="47" y="30"/>
                    <a:pt x="47" y="35"/>
                    <a:pt x="46" y="36"/>
                  </a:cubicBezTo>
                  <a:cubicBezTo>
                    <a:pt x="45" y="36"/>
                    <a:pt x="45" y="36"/>
                    <a:pt x="45" y="36"/>
                  </a:cubicBezTo>
                  <a:cubicBezTo>
                    <a:pt x="44" y="36"/>
                    <a:pt x="42" y="35"/>
                    <a:pt x="41" y="34"/>
                  </a:cubicBezTo>
                  <a:cubicBezTo>
                    <a:pt x="40" y="33"/>
                    <a:pt x="40" y="33"/>
                    <a:pt x="40" y="33"/>
                  </a:cubicBezTo>
                  <a:cubicBezTo>
                    <a:pt x="39" y="34"/>
                    <a:pt x="39" y="34"/>
                    <a:pt x="39" y="34"/>
                  </a:cubicBezTo>
                  <a:cubicBezTo>
                    <a:pt x="38" y="37"/>
                    <a:pt x="39" y="49"/>
                    <a:pt x="42" y="52"/>
                  </a:cubicBezTo>
                  <a:cubicBezTo>
                    <a:pt x="42" y="52"/>
                    <a:pt x="42" y="53"/>
                    <a:pt x="43" y="53"/>
                  </a:cubicBezTo>
                  <a:cubicBezTo>
                    <a:pt x="44" y="53"/>
                    <a:pt x="46" y="54"/>
                    <a:pt x="47" y="55"/>
                  </a:cubicBezTo>
                  <a:cubicBezTo>
                    <a:pt x="48" y="57"/>
                    <a:pt x="48" y="61"/>
                    <a:pt x="47" y="65"/>
                  </a:cubicBezTo>
                  <a:cubicBezTo>
                    <a:pt x="47" y="66"/>
                    <a:pt x="47" y="68"/>
                    <a:pt x="48" y="69"/>
                  </a:cubicBezTo>
                  <a:cubicBezTo>
                    <a:pt x="48" y="70"/>
                    <a:pt x="50" y="70"/>
                    <a:pt x="53" y="70"/>
                  </a:cubicBezTo>
                  <a:cubicBezTo>
                    <a:pt x="53" y="70"/>
                    <a:pt x="53" y="70"/>
                    <a:pt x="53" y="70"/>
                  </a:cubicBezTo>
                  <a:cubicBezTo>
                    <a:pt x="55" y="70"/>
                    <a:pt x="58" y="70"/>
                    <a:pt x="61" y="69"/>
                  </a:cubicBezTo>
                  <a:cubicBezTo>
                    <a:pt x="62" y="68"/>
                    <a:pt x="63" y="68"/>
                    <a:pt x="64" y="68"/>
                  </a:cubicBezTo>
                  <a:cubicBezTo>
                    <a:pt x="67" y="68"/>
                    <a:pt x="68" y="69"/>
                    <a:pt x="69" y="71"/>
                  </a:cubicBezTo>
                  <a:cubicBezTo>
                    <a:pt x="70" y="72"/>
                    <a:pt x="71" y="73"/>
                    <a:pt x="73" y="73"/>
                  </a:cubicBezTo>
                  <a:cubicBezTo>
                    <a:pt x="74" y="73"/>
                    <a:pt x="74" y="73"/>
                    <a:pt x="75" y="73"/>
                  </a:cubicBezTo>
                  <a:cubicBezTo>
                    <a:pt x="81" y="72"/>
                    <a:pt x="89" y="77"/>
                    <a:pt x="92" y="82"/>
                  </a:cubicBezTo>
                  <a:cubicBezTo>
                    <a:pt x="93" y="84"/>
                    <a:pt x="93" y="86"/>
                    <a:pt x="93" y="87"/>
                  </a:cubicBezTo>
                  <a:cubicBezTo>
                    <a:pt x="92" y="89"/>
                    <a:pt x="92" y="96"/>
                    <a:pt x="94" y="98"/>
                  </a:cubicBezTo>
                  <a:cubicBezTo>
                    <a:pt x="94" y="99"/>
                    <a:pt x="95" y="99"/>
                    <a:pt x="95" y="99"/>
                  </a:cubicBezTo>
                  <a:cubicBezTo>
                    <a:pt x="96" y="99"/>
                    <a:pt x="96" y="99"/>
                    <a:pt x="96" y="99"/>
                  </a:cubicBezTo>
                  <a:cubicBezTo>
                    <a:pt x="97" y="98"/>
                    <a:pt x="98" y="98"/>
                    <a:pt x="100" y="98"/>
                  </a:cubicBezTo>
                  <a:close/>
                  <a:moveTo>
                    <a:pt x="58" y="94"/>
                  </a:moveTo>
                  <a:cubicBezTo>
                    <a:pt x="58" y="94"/>
                    <a:pt x="58" y="94"/>
                    <a:pt x="58" y="94"/>
                  </a:cubicBezTo>
                  <a:cubicBezTo>
                    <a:pt x="50" y="94"/>
                    <a:pt x="48" y="82"/>
                    <a:pt x="47" y="78"/>
                  </a:cubicBezTo>
                  <a:cubicBezTo>
                    <a:pt x="47" y="77"/>
                    <a:pt x="47" y="77"/>
                    <a:pt x="47" y="77"/>
                  </a:cubicBezTo>
                  <a:cubicBezTo>
                    <a:pt x="47" y="76"/>
                    <a:pt x="47" y="76"/>
                    <a:pt x="48" y="76"/>
                  </a:cubicBezTo>
                  <a:cubicBezTo>
                    <a:pt x="51" y="76"/>
                    <a:pt x="63" y="85"/>
                    <a:pt x="64" y="90"/>
                  </a:cubicBezTo>
                  <a:cubicBezTo>
                    <a:pt x="64" y="91"/>
                    <a:pt x="63" y="93"/>
                    <a:pt x="61" y="93"/>
                  </a:cubicBezTo>
                  <a:cubicBezTo>
                    <a:pt x="60" y="94"/>
                    <a:pt x="59" y="94"/>
                    <a:pt x="58" y="94"/>
                  </a:cubicBezTo>
                  <a:close/>
                  <a:moveTo>
                    <a:pt x="48" y="77"/>
                  </a:moveTo>
                  <a:cubicBezTo>
                    <a:pt x="48" y="77"/>
                    <a:pt x="48" y="77"/>
                    <a:pt x="48" y="77"/>
                  </a:cubicBezTo>
                  <a:cubicBezTo>
                    <a:pt x="49" y="82"/>
                    <a:pt x="51" y="93"/>
                    <a:pt x="58" y="93"/>
                  </a:cubicBezTo>
                  <a:cubicBezTo>
                    <a:pt x="58" y="93"/>
                    <a:pt x="58" y="93"/>
                    <a:pt x="58" y="93"/>
                  </a:cubicBezTo>
                  <a:cubicBezTo>
                    <a:pt x="59" y="93"/>
                    <a:pt x="60" y="93"/>
                    <a:pt x="61" y="92"/>
                  </a:cubicBezTo>
                  <a:cubicBezTo>
                    <a:pt x="63" y="92"/>
                    <a:pt x="63" y="91"/>
                    <a:pt x="63" y="90"/>
                  </a:cubicBezTo>
                  <a:cubicBezTo>
                    <a:pt x="62" y="86"/>
                    <a:pt x="50" y="77"/>
                    <a:pt x="48" y="77"/>
                  </a:cubicBezTo>
                  <a:cubicBezTo>
                    <a:pt x="48" y="77"/>
                    <a:pt x="48" y="77"/>
                    <a:pt x="48" y="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2" name="Freeform 149"/>
            <p:cNvSpPr>
              <a:spLocks noEditPoints="1"/>
            </p:cNvSpPr>
            <p:nvPr/>
          </p:nvSpPr>
          <p:spPr>
            <a:xfrm>
              <a:off x="8234364" y="3881438"/>
              <a:ext cx="307975" cy="203200"/>
            </a:xfrm>
            <a:custGeom>
              <a:gdLst>
                <a:gd name="T0" fmla="*/ 122 w 182"/>
                <a:gd name="T1" fmla="*/ 116 h 119"/>
                <a:gd name="T2" fmla="*/ 105 w 182"/>
                <a:gd name="T3" fmla="*/ 113 h 119"/>
                <a:gd name="T4" fmla="*/ 84 w 182"/>
                <a:gd name="T5" fmla="*/ 97 h 119"/>
                <a:gd name="T6" fmla="*/ 49 w 182"/>
                <a:gd name="T7" fmla="*/ 76 h 119"/>
                <a:gd name="T8" fmla="*/ 39 w 182"/>
                <a:gd name="T9" fmla="*/ 83 h 119"/>
                <a:gd name="T10" fmla="*/ 33 w 182"/>
                <a:gd name="T11" fmla="*/ 91 h 119"/>
                <a:gd name="T12" fmla="*/ 1 w 182"/>
                <a:gd name="T13" fmla="*/ 93 h 119"/>
                <a:gd name="T14" fmla="*/ 0 w 182"/>
                <a:gd name="T15" fmla="*/ 0 h 119"/>
                <a:gd name="T16" fmla="*/ 12 w 182"/>
                <a:gd name="T17" fmla="*/ 4 h 119"/>
                <a:gd name="T18" fmla="*/ 85 w 182"/>
                <a:gd name="T19" fmla="*/ 45 h 119"/>
                <a:gd name="T20" fmla="*/ 102 w 182"/>
                <a:gd name="T21" fmla="*/ 59 h 119"/>
                <a:gd name="T22" fmla="*/ 95 w 182"/>
                <a:gd name="T23" fmla="*/ 62 h 119"/>
                <a:gd name="T24" fmla="*/ 98 w 182"/>
                <a:gd name="T25" fmla="*/ 73 h 119"/>
                <a:gd name="T26" fmla="*/ 109 w 182"/>
                <a:gd name="T27" fmla="*/ 92 h 119"/>
                <a:gd name="T28" fmla="*/ 123 w 182"/>
                <a:gd name="T29" fmla="*/ 99 h 119"/>
                <a:gd name="T30" fmla="*/ 140 w 182"/>
                <a:gd name="T31" fmla="*/ 116 h 119"/>
                <a:gd name="T32" fmla="*/ 135 w 182"/>
                <a:gd name="T33" fmla="*/ 119 h 119"/>
                <a:gd name="T34" fmla="*/ 122 w 182"/>
                <a:gd name="T35" fmla="*/ 115 h 119"/>
                <a:gd name="T36" fmla="*/ 139 w 182"/>
                <a:gd name="T37" fmla="*/ 116 h 119"/>
                <a:gd name="T38" fmla="*/ 122 w 182"/>
                <a:gd name="T39" fmla="*/ 99 h 119"/>
                <a:gd name="T40" fmla="*/ 108 w 182"/>
                <a:gd name="T41" fmla="*/ 93 h 119"/>
                <a:gd name="T42" fmla="*/ 98 w 182"/>
                <a:gd name="T43" fmla="*/ 74 h 119"/>
                <a:gd name="T44" fmla="*/ 94 w 182"/>
                <a:gd name="T45" fmla="*/ 61 h 119"/>
                <a:gd name="T46" fmla="*/ 101 w 182"/>
                <a:gd name="T47" fmla="*/ 59 h 119"/>
                <a:gd name="T48" fmla="*/ 85 w 182"/>
                <a:gd name="T49" fmla="*/ 46 h 119"/>
                <a:gd name="T50" fmla="*/ 11 w 182"/>
                <a:gd name="T51" fmla="*/ 5 h 119"/>
                <a:gd name="T52" fmla="*/ 1 w 182"/>
                <a:gd name="T53" fmla="*/ 93 h 119"/>
                <a:gd name="T54" fmla="*/ 32 w 182"/>
                <a:gd name="T55" fmla="*/ 90 h 119"/>
                <a:gd name="T56" fmla="*/ 39 w 182"/>
                <a:gd name="T57" fmla="*/ 83 h 119"/>
                <a:gd name="T58" fmla="*/ 49 w 182"/>
                <a:gd name="T59" fmla="*/ 75 h 119"/>
                <a:gd name="T60" fmla="*/ 85 w 182"/>
                <a:gd name="T61" fmla="*/ 96 h 119"/>
                <a:gd name="T62" fmla="*/ 105 w 182"/>
                <a:gd name="T63" fmla="*/ 112 h 119"/>
                <a:gd name="T64" fmla="*/ 133 w 182"/>
                <a:gd name="T65" fmla="*/ 56 h 119"/>
                <a:gd name="T66" fmla="*/ 109 w 182"/>
                <a:gd name="T67" fmla="*/ 44 h 119"/>
                <a:gd name="T68" fmla="*/ 121 w 182"/>
                <a:gd name="T69" fmla="*/ 42 h 119"/>
                <a:gd name="T70" fmla="*/ 140 w 182"/>
                <a:gd name="T71" fmla="*/ 43 h 119"/>
                <a:gd name="T72" fmla="*/ 157 w 182"/>
                <a:gd name="T73" fmla="*/ 33 h 119"/>
                <a:gd name="T74" fmla="*/ 168 w 182"/>
                <a:gd name="T75" fmla="*/ 27 h 119"/>
                <a:gd name="T76" fmla="*/ 163 w 182"/>
                <a:gd name="T77" fmla="*/ 40 h 119"/>
                <a:gd name="T78" fmla="*/ 113 w 182"/>
                <a:gd name="T79" fmla="*/ 43 h 119"/>
                <a:gd name="T80" fmla="*/ 111 w 182"/>
                <a:gd name="T81" fmla="*/ 47 h 119"/>
                <a:gd name="T82" fmla="*/ 162 w 182"/>
                <a:gd name="T83" fmla="*/ 40 h 119"/>
                <a:gd name="T84" fmla="*/ 167 w 182"/>
                <a:gd name="T85" fmla="*/ 27 h 119"/>
                <a:gd name="T86" fmla="*/ 158 w 182"/>
                <a:gd name="T87" fmla="*/ 33 h 119"/>
                <a:gd name="T88" fmla="*/ 140 w 182"/>
                <a:gd name="T89" fmla="*/ 43 h 119"/>
                <a:gd name="T90" fmla="*/ 121 w 182"/>
                <a:gd name="T91" fmla="*/ 43 h 119"/>
                <a:gd name="T92" fmla="*/ 176 w 182"/>
                <a:gd name="T93" fmla="*/ 32 h 119"/>
                <a:gd name="T94" fmla="*/ 174 w 182"/>
                <a:gd name="T95" fmla="*/ 28 h 119"/>
                <a:gd name="T96" fmla="*/ 163 w 182"/>
                <a:gd name="T97" fmla="*/ 12 h 119"/>
                <a:gd name="T98" fmla="*/ 173 w 182"/>
                <a:gd name="T99" fmla="*/ 16 h 119"/>
                <a:gd name="T100" fmla="*/ 177 w 182"/>
                <a:gd name="T101" fmla="*/ 31 h 119"/>
                <a:gd name="T102" fmla="*/ 165 w 182"/>
                <a:gd name="T103" fmla="*/ 13 h 119"/>
                <a:gd name="T104" fmla="*/ 175 w 182"/>
                <a:gd name="T105" fmla="*/ 28 h 119"/>
                <a:gd name="T106" fmla="*/ 176 w 182"/>
                <a:gd name="T107" fmla="*/ 31 h 119"/>
                <a:gd name="T108" fmla="*/ 181 w 182"/>
                <a:gd name="T109" fmla="*/ 28 h 119"/>
                <a:gd name="T110" fmla="*/ 165 w 182"/>
                <a:gd name="T111" fmla="*/ 13 h 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 h="119">
                  <a:moveTo>
                    <a:pt x="135" y="119"/>
                  </a:moveTo>
                  <a:cubicBezTo>
                    <a:pt x="131" y="119"/>
                    <a:pt x="126" y="117"/>
                    <a:pt x="122" y="116"/>
                  </a:cubicBezTo>
                  <a:cubicBezTo>
                    <a:pt x="118" y="114"/>
                    <a:pt x="113" y="113"/>
                    <a:pt x="109" y="113"/>
                  </a:cubicBezTo>
                  <a:cubicBezTo>
                    <a:pt x="107" y="113"/>
                    <a:pt x="106" y="113"/>
                    <a:pt x="105" y="113"/>
                  </a:cubicBezTo>
                  <a:cubicBezTo>
                    <a:pt x="104" y="113"/>
                    <a:pt x="104" y="113"/>
                    <a:pt x="104" y="113"/>
                  </a:cubicBezTo>
                  <a:cubicBezTo>
                    <a:pt x="97" y="113"/>
                    <a:pt x="90" y="105"/>
                    <a:pt x="84" y="97"/>
                  </a:cubicBezTo>
                  <a:cubicBezTo>
                    <a:pt x="80" y="92"/>
                    <a:pt x="76" y="87"/>
                    <a:pt x="73" y="85"/>
                  </a:cubicBezTo>
                  <a:cubicBezTo>
                    <a:pt x="66" y="80"/>
                    <a:pt x="56" y="76"/>
                    <a:pt x="49" y="76"/>
                  </a:cubicBezTo>
                  <a:cubicBezTo>
                    <a:pt x="46" y="76"/>
                    <a:pt x="44" y="77"/>
                    <a:pt x="43" y="78"/>
                  </a:cubicBezTo>
                  <a:cubicBezTo>
                    <a:pt x="42" y="79"/>
                    <a:pt x="40" y="81"/>
                    <a:pt x="39" y="83"/>
                  </a:cubicBezTo>
                  <a:cubicBezTo>
                    <a:pt x="38" y="86"/>
                    <a:pt x="36" y="89"/>
                    <a:pt x="34" y="89"/>
                  </a:cubicBezTo>
                  <a:cubicBezTo>
                    <a:pt x="33" y="89"/>
                    <a:pt x="33" y="89"/>
                    <a:pt x="33" y="91"/>
                  </a:cubicBezTo>
                  <a:cubicBezTo>
                    <a:pt x="32" y="94"/>
                    <a:pt x="30" y="99"/>
                    <a:pt x="16" y="99"/>
                  </a:cubicBezTo>
                  <a:cubicBezTo>
                    <a:pt x="11" y="98"/>
                    <a:pt x="5" y="97"/>
                    <a:pt x="1" y="93"/>
                  </a:cubicBezTo>
                  <a:cubicBezTo>
                    <a:pt x="0" y="93"/>
                    <a:pt x="0" y="93"/>
                    <a:pt x="0" y="93"/>
                  </a:cubicBezTo>
                  <a:cubicBezTo>
                    <a:pt x="0" y="0"/>
                    <a:pt x="0" y="0"/>
                    <a:pt x="0" y="0"/>
                  </a:cubicBezTo>
                  <a:cubicBezTo>
                    <a:pt x="1" y="1"/>
                    <a:pt x="1" y="1"/>
                    <a:pt x="1" y="1"/>
                  </a:cubicBezTo>
                  <a:cubicBezTo>
                    <a:pt x="6" y="2"/>
                    <a:pt x="9" y="3"/>
                    <a:pt x="12" y="4"/>
                  </a:cubicBezTo>
                  <a:cubicBezTo>
                    <a:pt x="30" y="8"/>
                    <a:pt x="68" y="27"/>
                    <a:pt x="69" y="36"/>
                  </a:cubicBezTo>
                  <a:cubicBezTo>
                    <a:pt x="70" y="40"/>
                    <a:pt x="78" y="43"/>
                    <a:pt x="85" y="45"/>
                  </a:cubicBezTo>
                  <a:cubicBezTo>
                    <a:pt x="90" y="47"/>
                    <a:pt x="95" y="49"/>
                    <a:pt x="98" y="51"/>
                  </a:cubicBezTo>
                  <a:cubicBezTo>
                    <a:pt x="101" y="54"/>
                    <a:pt x="102" y="57"/>
                    <a:pt x="102" y="59"/>
                  </a:cubicBezTo>
                  <a:cubicBezTo>
                    <a:pt x="101" y="60"/>
                    <a:pt x="100" y="62"/>
                    <a:pt x="96" y="62"/>
                  </a:cubicBezTo>
                  <a:cubicBezTo>
                    <a:pt x="95" y="62"/>
                    <a:pt x="95" y="62"/>
                    <a:pt x="95" y="62"/>
                  </a:cubicBezTo>
                  <a:cubicBezTo>
                    <a:pt x="93" y="61"/>
                    <a:pt x="91" y="62"/>
                    <a:pt x="91" y="63"/>
                  </a:cubicBezTo>
                  <a:cubicBezTo>
                    <a:pt x="91" y="66"/>
                    <a:pt x="94" y="71"/>
                    <a:pt x="98" y="73"/>
                  </a:cubicBezTo>
                  <a:cubicBezTo>
                    <a:pt x="102" y="74"/>
                    <a:pt x="103" y="79"/>
                    <a:pt x="104" y="83"/>
                  </a:cubicBezTo>
                  <a:cubicBezTo>
                    <a:pt x="105" y="86"/>
                    <a:pt x="106" y="90"/>
                    <a:pt x="109" y="92"/>
                  </a:cubicBezTo>
                  <a:cubicBezTo>
                    <a:pt x="111" y="94"/>
                    <a:pt x="114" y="95"/>
                    <a:pt x="117" y="95"/>
                  </a:cubicBezTo>
                  <a:cubicBezTo>
                    <a:pt x="121" y="96"/>
                    <a:pt x="124" y="97"/>
                    <a:pt x="123" y="99"/>
                  </a:cubicBezTo>
                  <a:cubicBezTo>
                    <a:pt x="123" y="102"/>
                    <a:pt x="130" y="107"/>
                    <a:pt x="133" y="109"/>
                  </a:cubicBezTo>
                  <a:cubicBezTo>
                    <a:pt x="135" y="110"/>
                    <a:pt x="141" y="114"/>
                    <a:pt x="140" y="116"/>
                  </a:cubicBezTo>
                  <a:cubicBezTo>
                    <a:pt x="140" y="118"/>
                    <a:pt x="138" y="119"/>
                    <a:pt x="135" y="119"/>
                  </a:cubicBezTo>
                  <a:cubicBezTo>
                    <a:pt x="135" y="119"/>
                    <a:pt x="135" y="119"/>
                    <a:pt x="135" y="119"/>
                  </a:cubicBezTo>
                  <a:close/>
                  <a:moveTo>
                    <a:pt x="109" y="112"/>
                  </a:moveTo>
                  <a:cubicBezTo>
                    <a:pt x="113" y="112"/>
                    <a:pt x="118" y="113"/>
                    <a:pt x="122" y="115"/>
                  </a:cubicBezTo>
                  <a:cubicBezTo>
                    <a:pt x="127" y="117"/>
                    <a:pt x="131" y="118"/>
                    <a:pt x="135" y="118"/>
                  </a:cubicBezTo>
                  <a:cubicBezTo>
                    <a:pt x="137" y="118"/>
                    <a:pt x="139" y="117"/>
                    <a:pt x="139" y="116"/>
                  </a:cubicBezTo>
                  <a:cubicBezTo>
                    <a:pt x="140" y="114"/>
                    <a:pt x="135" y="111"/>
                    <a:pt x="133" y="110"/>
                  </a:cubicBezTo>
                  <a:cubicBezTo>
                    <a:pt x="130" y="108"/>
                    <a:pt x="122" y="103"/>
                    <a:pt x="122" y="99"/>
                  </a:cubicBezTo>
                  <a:cubicBezTo>
                    <a:pt x="123" y="98"/>
                    <a:pt x="120" y="97"/>
                    <a:pt x="117" y="96"/>
                  </a:cubicBezTo>
                  <a:cubicBezTo>
                    <a:pt x="114" y="96"/>
                    <a:pt x="111" y="95"/>
                    <a:pt x="108" y="93"/>
                  </a:cubicBezTo>
                  <a:cubicBezTo>
                    <a:pt x="105" y="91"/>
                    <a:pt x="104" y="87"/>
                    <a:pt x="103" y="83"/>
                  </a:cubicBezTo>
                  <a:cubicBezTo>
                    <a:pt x="102" y="79"/>
                    <a:pt x="101" y="75"/>
                    <a:pt x="98" y="74"/>
                  </a:cubicBezTo>
                  <a:cubicBezTo>
                    <a:pt x="93" y="71"/>
                    <a:pt x="89" y="66"/>
                    <a:pt x="90" y="63"/>
                  </a:cubicBezTo>
                  <a:cubicBezTo>
                    <a:pt x="90" y="62"/>
                    <a:pt x="91" y="61"/>
                    <a:pt x="94" y="61"/>
                  </a:cubicBezTo>
                  <a:cubicBezTo>
                    <a:pt x="94" y="61"/>
                    <a:pt x="94" y="61"/>
                    <a:pt x="95" y="61"/>
                  </a:cubicBezTo>
                  <a:cubicBezTo>
                    <a:pt x="98" y="61"/>
                    <a:pt x="100" y="60"/>
                    <a:pt x="101" y="59"/>
                  </a:cubicBezTo>
                  <a:cubicBezTo>
                    <a:pt x="101" y="57"/>
                    <a:pt x="100" y="55"/>
                    <a:pt x="97" y="52"/>
                  </a:cubicBezTo>
                  <a:cubicBezTo>
                    <a:pt x="95" y="50"/>
                    <a:pt x="90" y="48"/>
                    <a:pt x="85" y="46"/>
                  </a:cubicBezTo>
                  <a:cubicBezTo>
                    <a:pt x="77" y="44"/>
                    <a:pt x="69" y="41"/>
                    <a:pt x="68" y="36"/>
                  </a:cubicBezTo>
                  <a:cubicBezTo>
                    <a:pt x="67" y="28"/>
                    <a:pt x="28" y="9"/>
                    <a:pt x="11" y="5"/>
                  </a:cubicBezTo>
                  <a:cubicBezTo>
                    <a:pt x="9" y="4"/>
                    <a:pt x="6" y="3"/>
                    <a:pt x="1" y="2"/>
                  </a:cubicBezTo>
                  <a:cubicBezTo>
                    <a:pt x="1" y="93"/>
                    <a:pt x="1" y="93"/>
                    <a:pt x="1" y="93"/>
                  </a:cubicBezTo>
                  <a:cubicBezTo>
                    <a:pt x="6" y="96"/>
                    <a:pt x="11" y="97"/>
                    <a:pt x="16" y="98"/>
                  </a:cubicBezTo>
                  <a:cubicBezTo>
                    <a:pt x="29" y="98"/>
                    <a:pt x="31" y="93"/>
                    <a:pt x="32" y="90"/>
                  </a:cubicBezTo>
                  <a:cubicBezTo>
                    <a:pt x="32" y="89"/>
                    <a:pt x="33" y="88"/>
                    <a:pt x="34" y="88"/>
                  </a:cubicBezTo>
                  <a:cubicBezTo>
                    <a:pt x="36" y="88"/>
                    <a:pt x="37" y="85"/>
                    <a:pt x="39" y="83"/>
                  </a:cubicBezTo>
                  <a:cubicBezTo>
                    <a:pt x="40" y="81"/>
                    <a:pt x="41" y="79"/>
                    <a:pt x="42" y="77"/>
                  </a:cubicBezTo>
                  <a:cubicBezTo>
                    <a:pt x="43" y="76"/>
                    <a:pt x="46" y="75"/>
                    <a:pt x="49" y="75"/>
                  </a:cubicBezTo>
                  <a:cubicBezTo>
                    <a:pt x="56" y="75"/>
                    <a:pt x="67" y="79"/>
                    <a:pt x="73" y="84"/>
                  </a:cubicBezTo>
                  <a:cubicBezTo>
                    <a:pt x="77" y="87"/>
                    <a:pt x="81" y="91"/>
                    <a:pt x="85" y="96"/>
                  </a:cubicBezTo>
                  <a:cubicBezTo>
                    <a:pt x="91" y="104"/>
                    <a:pt x="97" y="112"/>
                    <a:pt x="104" y="112"/>
                  </a:cubicBezTo>
                  <a:cubicBezTo>
                    <a:pt x="104" y="112"/>
                    <a:pt x="104" y="112"/>
                    <a:pt x="105" y="112"/>
                  </a:cubicBezTo>
                  <a:cubicBezTo>
                    <a:pt x="106" y="112"/>
                    <a:pt x="107" y="112"/>
                    <a:pt x="109" y="112"/>
                  </a:cubicBezTo>
                  <a:close/>
                  <a:moveTo>
                    <a:pt x="133" y="56"/>
                  </a:moveTo>
                  <a:cubicBezTo>
                    <a:pt x="124" y="56"/>
                    <a:pt x="114" y="51"/>
                    <a:pt x="110" y="47"/>
                  </a:cubicBezTo>
                  <a:cubicBezTo>
                    <a:pt x="109" y="46"/>
                    <a:pt x="109" y="45"/>
                    <a:pt x="109" y="44"/>
                  </a:cubicBezTo>
                  <a:cubicBezTo>
                    <a:pt x="109" y="42"/>
                    <a:pt x="112" y="42"/>
                    <a:pt x="113" y="42"/>
                  </a:cubicBezTo>
                  <a:cubicBezTo>
                    <a:pt x="115" y="42"/>
                    <a:pt x="118" y="42"/>
                    <a:pt x="121" y="42"/>
                  </a:cubicBezTo>
                  <a:cubicBezTo>
                    <a:pt x="125" y="43"/>
                    <a:pt x="129" y="44"/>
                    <a:pt x="133" y="44"/>
                  </a:cubicBezTo>
                  <a:cubicBezTo>
                    <a:pt x="136" y="44"/>
                    <a:pt x="138" y="43"/>
                    <a:pt x="140" y="43"/>
                  </a:cubicBezTo>
                  <a:cubicBezTo>
                    <a:pt x="141" y="42"/>
                    <a:pt x="143" y="42"/>
                    <a:pt x="144" y="41"/>
                  </a:cubicBezTo>
                  <a:cubicBezTo>
                    <a:pt x="152" y="38"/>
                    <a:pt x="157" y="36"/>
                    <a:pt x="157" y="33"/>
                  </a:cubicBezTo>
                  <a:cubicBezTo>
                    <a:pt x="157" y="29"/>
                    <a:pt x="161" y="25"/>
                    <a:pt x="165" y="25"/>
                  </a:cubicBezTo>
                  <a:cubicBezTo>
                    <a:pt x="166" y="25"/>
                    <a:pt x="167" y="26"/>
                    <a:pt x="168" y="27"/>
                  </a:cubicBezTo>
                  <a:cubicBezTo>
                    <a:pt x="170" y="29"/>
                    <a:pt x="168" y="32"/>
                    <a:pt x="166" y="35"/>
                  </a:cubicBezTo>
                  <a:cubicBezTo>
                    <a:pt x="165" y="37"/>
                    <a:pt x="163" y="39"/>
                    <a:pt x="163" y="40"/>
                  </a:cubicBezTo>
                  <a:cubicBezTo>
                    <a:pt x="163" y="44"/>
                    <a:pt x="144" y="56"/>
                    <a:pt x="133" y="56"/>
                  </a:cubicBezTo>
                  <a:close/>
                  <a:moveTo>
                    <a:pt x="113" y="43"/>
                  </a:moveTo>
                  <a:cubicBezTo>
                    <a:pt x="110" y="43"/>
                    <a:pt x="110" y="44"/>
                    <a:pt x="110" y="44"/>
                  </a:cubicBezTo>
                  <a:cubicBezTo>
                    <a:pt x="110" y="45"/>
                    <a:pt x="110" y="46"/>
                    <a:pt x="111" y="47"/>
                  </a:cubicBezTo>
                  <a:cubicBezTo>
                    <a:pt x="114" y="50"/>
                    <a:pt x="124" y="55"/>
                    <a:pt x="133" y="55"/>
                  </a:cubicBezTo>
                  <a:cubicBezTo>
                    <a:pt x="145" y="55"/>
                    <a:pt x="162" y="43"/>
                    <a:pt x="162" y="40"/>
                  </a:cubicBezTo>
                  <a:cubicBezTo>
                    <a:pt x="162" y="39"/>
                    <a:pt x="164" y="37"/>
                    <a:pt x="165" y="35"/>
                  </a:cubicBezTo>
                  <a:cubicBezTo>
                    <a:pt x="167" y="32"/>
                    <a:pt x="168" y="29"/>
                    <a:pt x="167" y="27"/>
                  </a:cubicBezTo>
                  <a:cubicBezTo>
                    <a:pt x="166" y="27"/>
                    <a:pt x="166" y="26"/>
                    <a:pt x="165" y="26"/>
                  </a:cubicBezTo>
                  <a:cubicBezTo>
                    <a:pt x="162" y="26"/>
                    <a:pt x="158" y="30"/>
                    <a:pt x="158" y="33"/>
                  </a:cubicBezTo>
                  <a:cubicBezTo>
                    <a:pt x="158" y="36"/>
                    <a:pt x="153" y="39"/>
                    <a:pt x="144" y="42"/>
                  </a:cubicBezTo>
                  <a:cubicBezTo>
                    <a:pt x="143" y="42"/>
                    <a:pt x="142" y="43"/>
                    <a:pt x="140" y="43"/>
                  </a:cubicBezTo>
                  <a:cubicBezTo>
                    <a:pt x="138" y="44"/>
                    <a:pt x="136" y="45"/>
                    <a:pt x="133" y="45"/>
                  </a:cubicBezTo>
                  <a:cubicBezTo>
                    <a:pt x="129" y="45"/>
                    <a:pt x="125" y="44"/>
                    <a:pt x="121" y="43"/>
                  </a:cubicBezTo>
                  <a:cubicBezTo>
                    <a:pt x="118" y="43"/>
                    <a:pt x="115" y="43"/>
                    <a:pt x="113" y="43"/>
                  </a:cubicBezTo>
                  <a:close/>
                  <a:moveTo>
                    <a:pt x="176" y="32"/>
                  </a:moveTo>
                  <a:cubicBezTo>
                    <a:pt x="176" y="32"/>
                    <a:pt x="176" y="32"/>
                    <a:pt x="176" y="32"/>
                  </a:cubicBezTo>
                  <a:cubicBezTo>
                    <a:pt x="174" y="32"/>
                    <a:pt x="174" y="30"/>
                    <a:pt x="174" y="28"/>
                  </a:cubicBezTo>
                  <a:cubicBezTo>
                    <a:pt x="173" y="26"/>
                    <a:pt x="172" y="22"/>
                    <a:pt x="168" y="18"/>
                  </a:cubicBezTo>
                  <a:cubicBezTo>
                    <a:pt x="163" y="13"/>
                    <a:pt x="163" y="13"/>
                    <a:pt x="163" y="12"/>
                  </a:cubicBezTo>
                  <a:cubicBezTo>
                    <a:pt x="164" y="12"/>
                    <a:pt x="164" y="12"/>
                    <a:pt x="164" y="12"/>
                  </a:cubicBezTo>
                  <a:cubicBezTo>
                    <a:pt x="165" y="12"/>
                    <a:pt x="168" y="13"/>
                    <a:pt x="173" y="16"/>
                  </a:cubicBezTo>
                  <a:cubicBezTo>
                    <a:pt x="178" y="19"/>
                    <a:pt x="182" y="24"/>
                    <a:pt x="182" y="28"/>
                  </a:cubicBezTo>
                  <a:cubicBezTo>
                    <a:pt x="181" y="29"/>
                    <a:pt x="180" y="31"/>
                    <a:pt x="177" y="31"/>
                  </a:cubicBezTo>
                  <a:cubicBezTo>
                    <a:pt x="177" y="32"/>
                    <a:pt x="176" y="32"/>
                    <a:pt x="176" y="32"/>
                  </a:cubicBezTo>
                  <a:close/>
                  <a:moveTo>
                    <a:pt x="165" y="13"/>
                  </a:moveTo>
                  <a:cubicBezTo>
                    <a:pt x="165" y="13"/>
                    <a:pt x="166" y="14"/>
                    <a:pt x="168" y="17"/>
                  </a:cubicBezTo>
                  <a:cubicBezTo>
                    <a:pt x="173" y="21"/>
                    <a:pt x="174" y="25"/>
                    <a:pt x="175" y="28"/>
                  </a:cubicBezTo>
                  <a:cubicBezTo>
                    <a:pt x="175" y="30"/>
                    <a:pt x="175" y="31"/>
                    <a:pt x="176" y="31"/>
                  </a:cubicBezTo>
                  <a:cubicBezTo>
                    <a:pt x="176" y="31"/>
                    <a:pt x="176" y="31"/>
                    <a:pt x="176" y="31"/>
                  </a:cubicBezTo>
                  <a:cubicBezTo>
                    <a:pt x="176" y="31"/>
                    <a:pt x="177" y="31"/>
                    <a:pt x="177" y="30"/>
                  </a:cubicBezTo>
                  <a:cubicBezTo>
                    <a:pt x="179" y="30"/>
                    <a:pt x="180" y="29"/>
                    <a:pt x="181" y="28"/>
                  </a:cubicBezTo>
                  <a:cubicBezTo>
                    <a:pt x="181" y="24"/>
                    <a:pt x="177" y="20"/>
                    <a:pt x="172" y="17"/>
                  </a:cubicBezTo>
                  <a:cubicBezTo>
                    <a:pt x="167" y="14"/>
                    <a:pt x="165" y="13"/>
                    <a:pt x="165"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3" name="Freeform 150"/>
            <p:cNvSpPr>
              <a:spLocks noEditPoints="1"/>
            </p:cNvSpPr>
            <p:nvPr/>
          </p:nvSpPr>
          <p:spPr>
            <a:xfrm>
              <a:off x="6745289" y="3573463"/>
              <a:ext cx="53975" cy="95250"/>
            </a:xfrm>
            <a:custGeom>
              <a:gdLst>
                <a:gd name="T0" fmla="*/ 13 w 32"/>
                <a:gd name="T1" fmla="*/ 56 h 56"/>
                <a:gd name="T2" fmla="*/ 13 w 32"/>
                <a:gd name="T3" fmla="*/ 56 h 56"/>
                <a:gd name="T4" fmla="*/ 8 w 32"/>
                <a:gd name="T5" fmla="*/ 55 h 56"/>
                <a:gd name="T6" fmla="*/ 1 w 32"/>
                <a:gd name="T7" fmla="*/ 37 h 56"/>
                <a:gd name="T8" fmla="*/ 1 w 32"/>
                <a:gd name="T9" fmla="*/ 33 h 56"/>
                <a:gd name="T10" fmla="*/ 2 w 32"/>
                <a:gd name="T11" fmla="*/ 14 h 56"/>
                <a:gd name="T12" fmla="*/ 3 w 32"/>
                <a:gd name="T13" fmla="*/ 7 h 56"/>
                <a:gd name="T14" fmla="*/ 7 w 32"/>
                <a:gd name="T15" fmla="*/ 0 h 56"/>
                <a:gd name="T16" fmla="*/ 7 w 32"/>
                <a:gd name="T17" fmla="*/ 0 h 56"/>
                <a:gd name="T18" fmla="*/ 15 w 32"/>
                <a:gd name="T19" fmla="*/ 6 h 56"/>
                <a:gd name="T20" fmla="*/ 32 w 32"/>
                <a:gd name="T21" fmla="*/ 34 h 56"/>
                <a:gd name="T22" fmla="*/ 13 w 32"/>
                <a:gd name="T23" fmla="*/ 56 h 56"/>
                <a:gd name="T24" fmla="*/ 7 w 32"/>
                <a:gd name="T25" fmla="*/ 1 h 56"/>
                <a:gd name="T26" fmla="*/ 4 w 32"/>
                <a:gd name="T27" fmla="*/ 7 h 56"/>
                <a:gd name="T28" fmla="*/ 3 w 32"/>
                <a:gd name="T29" fmla="*/ 14 h 56"/>
                <a:gd name="T30" fmla="*/ 2 w 32"/>
                <a:gd name="T31" fmla="*/ 33 h 56"/>
                <a:gd name="T32" fmla="*/ 2 w 32"/>
                <a:gd name="T33" fmla="*/ 37 h 56"/>
                <a:gd name="T34" fmla="*/ 9 w 32"/>
                <a:gd name="T35" fmla="*/ 54 h 56"/>
                <a:gd name="T36" fmla="*/ 13 w 32"/>
                <a:gd name="T37" fmla="*/ 55 h 56"/>
                <a:gd name="T38" fmla="*/ 31 w 32"/>
                <a:gd name="T39" fmla="*/ 34 h 56"/>
                <a:gd name="T40" fmla="*/ 15 w 32"/>
                <a:gd name="T41" fmla="*/ 6 h 56"/>
                <a:gd name="T42" fmla="*/ 7 w 32"/>
                <a:gd name="T43" fmla="*/ 1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56">
                  <a:moveTo>
                    <a:pt x="13" y="56"/>
                  </a:moveTo>
                  <a:cubicBezTo>
                    <a:pt x="13" y="56"/>
                    <a:pt x="13" y="56"/>
                    <a:pt x="13" y="56"/>
                  </a:cubicBezTo>
                  <a:cubicBezTo>
                    <a:pt x="11" y="56"/>
                    <a:pt x="10" y="56"/>
                    <a:pt x="8" y="55"/>
                  </a:cubicBezTo>
                  <a:cubicBezTo>
                    <a:pt x="2" y="51"/>
                    <a:pt x="2" y="44"/>
                    <a:pt x="1" y="37"/>
                  </a:cubicBezTo>
                  <a:cubicBezTo>
                    <a:pt x="1" y="36"/>
                    <a:pt x="1" y="35"/>
                    <a:pt x="1" y="33"/>
                  </a:cubicBezTo>
                  <a:cubicBezTo>
                    <a:pt x="0" y="25"/>
                    <a:pt x="0" y="19"/>
                    <a:pt x="2" y="14"/>
                  </a:cubicBezTo>
                  <a:cubicBezTo>
                    <a:pt x="3" y="12"/>
                    <a:pt x="3" y="9"/>
                    <a:pt x="3" y="7"/>
                  </a:cubicBezTo>
                  <a:cubicBezTo>
                    <a:pt x="4" y="3"/>
                    <a:pt x="4" y="0"/>
                    <a:pt x="7" y="0"/>
                  </a:cubicBezTo>
                  <a:cubicBezTo>
                    <a:pt x="7" y="0"/>
                    <a:pt x="7" y="0"/>
                    <a:pt x="7" y="0"/>
                  </a:cubicBezTo>
                  <a:cubicBezTo>
                    <a:pt x="9" y="0"/>
                    <a:pt x="14" y="4"/>
                    <a:pt x="15" y="6"/>
                  </a:cubicBezTo>
                  <a:cubicBezTo>
                    <a:pt x="23" y="14"/>
                    <a:pt x="32" y="26"/>
                    <a:pt x="32" y="34"/>
                  </a:cubicBezTo>
                  <a:cubicBezTo>
                    <a:pt x="31" y="44"/>
                    <a:pt x="21" y="56"/>
                    <a:pt x="13" y="56"/>
                  </a:cubicBezTo>
                  <a:close/>
                  <a:moveTo>
                    <a:pt x="7" y="1"/>
                  </a:moveTo>
                  <a:cubicBezTo>
                    <a:pt x="5" y="1"/>
                    <a:pt x="5" y="4"/>
                    <a:pt x="4" y="7"/>
                  </a:cubicBezTo>
                  <a:cubicBezTo>
                    <a:pt x="4" y="10"/>
                    <a:pt x="3" y="12"/>
                    <a:pt x="3" y="14"/>
                  </a:cubicBezTo>
                  <a:cubicBezTo>
                    <a:pt x="1" y="19"/>
                    <a:pt x="1" y="25"/>
                    <a:pt x="2" y="33"/>
                  </a:cubicBezTo>
                  <a:cubicBezTo>
                    <a:pt x="2" y="35"/>
                    <a:pt x="2" y="36"/>
                    <a:pt x="2" y="37"/>
                  </a:cubicBezTo>
                  <a:cubicBezTo>
                    <a:pt x="3" y="44"/>
                    <a:pt x="3" y="50"/>
                    <a:pt x="9" y="54"/>
                  </a:cubicBezTo>
                  <a:cubicBezTo>
                    <a:pt x="10" y="55"/>
                    <a:pt x="11" y="55"/>
                    <a:pt x="13" y="55"/>
                  </a:cubicBezTo>
                  <a:cubicBezTo>
                    <a:pt x="21" y="55"/>
                    <a:pt x="30" y="44"/>
                    <a:pt x="31" y="34"/>
                  </a:cubicBezTo>
                  <a:cubicBezTo>
                    <a:pt x="31" y="27"/>
                    <a:pt x="22" y="14"/>
                    <a:pt x="15" y="6"/>
                  </a:cubicBezTo>
                  <a:cubicBezTo>
                    <a:pt x="11" y="2"/>
                    <a:pt x="8" y="1"/>
                    <a:pt x="7"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4" name="Freeform 151"/>
            <p:cNvSpPr>
              <a:spLocks noEditPoints="1"/>
            </p:cNvSpPr>
            <p:nvPr/>
          </p:nvSpPr>
          <p:spPr>
            <a:xfrm>
              <a:off x="5827714" y="4106863"/>
              <a:ext cx="182563" cy="352425"/>
            </a:xfrm>
            <a:custGeom>
              <a:gdLst>
                <a:gd name="T0" fmla="*/ 14 w 108"/>
                <a:gd name="T1" fmla="*/ 200 h 208"/>
                <a:gd name="T2" fmla="*/ 4 w 108"/>
                <a:gd name="T3" fmla="*/ 172 h 208"/>
                <a:gd name="T4" fmla="*/ 13 w 108"/>
                <a:gd name="T5" fmla="*/ 107 h 208"/>
                <a:gd name="T6" fmla="*/ 14 w 108"/>
                <a:gd name="T7" fmla="*/ 69 h 208"/>
                <a:gd name="T8" fmla="*/ 19 w 108"/>
                <a:gd name="T9" fmla="*/ 61 h 208"/>
                <a:gd name="T10" fmla="*/ 35 w 108"/>
                <a:gd name="T11" fmla="*/ 58 h 208"/>
                <a:gd name="T12" fmla="*/ 47 w 108"/>
                <a:gd name="T13" fmla="*/ 52 h 208"/>
                <a:gd name="T14" fmla="*/ 67 w 108"/>
                <a:gd name="T15" fmla="*/ 42 h 208"/>
                <a:gd name="T16" fmla="*/ 67 w 108"/>
                <a:gd name="T17" fmla="*/ 35 h 208"/>
                <a:gd name="T18" fmla="*/ 68 w 108"/>
                <a:gd name="T19" fmla="*/ 27 h 208"/>
                <a:gd name="T20" fmla="*/ 82 w 108"/>
                <a:gd name="T21" fmla="*/ 21 h 208"/>
                <a:gd name="T22" fmla="*/ 86 w 108"/>
                <a:gd name="T23" fmla="*/ 7 h 208"/>
                <a:gd name="T24" fmla="*/ 90 w 108"/>
                <a:gd name="T25" fmla="*/ 0 h 208"/>
                <a:gd name="T26" fmla="*/ 95 w 108"/>
                <a:gd name="T27" fmla="*/ 10 h 208"/>
                <a:gd name="T28" fmla="*/ 105 w 108"/>
                <a:gd name="T29" fmla="*/ 41 h 208"/>
                <a:gd name="T30" fmla="*/ 103 w 108"/>
                <a:gd name="T31" fmla="*/ 61 h 208"/>
                <a:gd name="T32" fmla="*/ 98 w 108"/>
                <a:gd name="T33" fmla="*/ 57 h 208"/>
                <a:gd name="T34" fmla="*/ 95 w 108"/>
                <a:gd name="T35" fmla="*/ 56 h 208"/>
                <a:gd name="T36" fmla="*/ 94 w 108"/>
                <a:gd name="T37" fmla="*/ 75 h 208"/>
                <a:gd name="T38" fmla="*/ 77 w 108"/>
                <a:gd name="T39" fmla="*/ 139 h 208"/>
                <a:gd name="T40" fmla="*/ 55 w 108"/>
                <a:gd name="T41" fmla="*/ 200 h 208"/>
                <a:gd name="T42" fmla="*/ 40 w 108"/>
                <a:gd name="T43" fmla="*/ 206 h 208"/>
                <a:gd name="T44" fmla="*/ 17 w 108"/>
                <a:gd name="T45" fmla="*/ 62 h 208"/>
                <a:gd name="T46" fmla="*/ 12 w 108"/>
                <a:gd name="T47" fmla="*/ 81 h 208"/>
                <a:gd name="T48" fmla="*/ 11 w 108"/>
                <a:gd name="T49" fmla="*/ 137 h 208"/>
                <a:gd name="T50" fmla="*/ 9 w 108"/>
                <a:gd name="T51" fmla="*/ 183 h 208"/>
                <a:gd name="T52" fmla="*/ 34 w 108"/>
                <a:gd name="T53" fmla="*/ 207 h 208"/>
                <a:gd name="T54" fmla="*/ 47 w 108"/>
                <a:gd name="T55" fmla="*/ 203 h 208"/>
                <a:gd name="T56" fmla="*/ 69 w 108"/>
                <a:gd name="T57" fmla="*/ 161 h 208"/>
                <a:gd name="T58" fmla="*/ 92 w 108"/>
                <a:gd name="T59" fmla="*/ 82 h 208"/>
                <a:gd name="T60" fmla="*/ 94 w 108"/>
                <a:gd name="T61" fmla="*/ 66 h 208"/>
                <a:gd name="T62" fmla="*/ 96 w 108"/>
                <a:gd name="T63" fmla="*/ 55 h 208"/>
                <a:gd name="T64" fmla="*/ 103 w 108"/>
                <a:gd name="T65" fmla="*/ 60 h 208"/>
                <a:gd name="T66" fmla="*/ 107 w 108"/>
                <a:gd name="T67" fmla="*/ 55 h 208"/>
                <a:gd name="T68" fmla="*/ 101 w 108"/>
                <a:gd name="T69" fmla="*/ 28 h 208"/>
                <a:gd name="T70" fmla="*/ 91 w 108"/>
                <a:gd name="T71" fmla="*/ 4 h 208"/>
                <a:gd name="T72" fmla="*/ 88 w 108"/>
                <a:gd name="T73" fmla="*/ 5 h 208"/>
                <a:gd name="T74" fmla="*/ 84 w 108"/>
                <a:gd name="T75" fmla="*/ 18 h 208"/>
                <a:gd name="T76" fmla="*/ 75 w 108"/>
                <a:gd name="T77" fmla="*/ 25 h 208"/>
                <a:gd name="T78" fmla="*/ 69 w 108"/>
                <a:gd name="T79" fmla="*/ 27 h 208"/>
                <a:gd name="T80" fmla="*/ 68 w 108"/>
                <a:gd name="T81" fmla="*/ 36 h 208"/>
                <a:gd name="T82" fmla="*/ 68 w 108"/>
                <a:gd name="T83" fmla="*/ 42 h 208"/>
                <a:gd name="T84" fmla="*/ 48 w 108"/>
                <a:gd name="T85" fmla="*/ 53 h 208"/>
                <a:gd name="T86" fmla="*/ 35 w 108"/>
                <a:gd name="T87" fmla="*/ 59 h 208"/>
                <a:gd name="T88" fmla="*/ 19 w 108"/>
                <a:gd name="T89" fmla="*/ 62 h 208"/>
                <a:gd name="T90" fmla="*/ 17 w 108"/>
                <a:gd name="T91" fmla="*/ 62 h 20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208">
                  <a:moveTo>
                    <a:pt x="34" y="208"/>
                  </a:moveTo>
                  <a:cubicBezTo>
                    <a:pt x="27" y="208"/>
                    <a:pt x="18" y="204"/>
                    <a:pt x="14" y="200"/>
                  </a:cubicBezTo>
                  <a:cubicBezTo>
                    <a:pt x="10" y="196"/>
                    <a:pt x="9" y="190"/>
                    <a:pt x="8" y="184"/>
                  </a:cubicBezTo>
                  <a:cubicBezTo>
                    <a:pt x="7" y="180"/>
                    <a:pt x="6" y="175"/>
                    <a:pt x="4" y="172"/>
                  </a:cubicBezTo>
                  <a:cubicBezTo>
                    <a:pt x="0" y="163"/>
                    <a:pt x="0" y="149"/>
                    <a:pt x="10" y="137"/>
                  </a:cubicBezTo>
                  <a:cubicBezTo>
                    <a:pt x="20" y="124"/>
                    <a:pt x="17" y="117"/>
                    <a:pt x="13" y="107"/>
                  </a:cubicBezTo>
                  <a:cubicBezTo>
                    <a:pt x="10" y="99"/>
                    <a:pt x="7" y="89"/>
                    <a:pt x="12" y="81"/>
                  </a:cubicBezTo>
                  <a:cubicBezTo>
                    <a:pt x="13" y="77"/>
                    <a:pt x="14" y="73"/>
                    <a:pt x="14" y="69"/>
                  </a:cubicBezTo>
                  <a:cubicBezTo>
                    <a:pt x="14" y="65"/>
                    <a:pt x="14" y="60"/>
                    <a:pt x="18" y="61"/>
                  </a:cubicBezTo>
                  <a:cubicBezTo>
                    <a:pt x="19" y="61"/>
                    <a:pt x="19" y="61"/>
                    <a:pt x="19" y="61"/>
                  </a:cubicBezTo>
                  <a:cubicBezTo>
                    <a:pt x="22" y="61"/>
                    <a:pt x="24" y="60"/>
                    <a:pt x="27" y="59"/>
                  </a:cubicBezTo>
                  <a:cubicBezTo>
                    <a:pt x="29" y="59"/>
                    <a:pt x="32" y="58"/>
                    <a:pt x="35" y="58"/>
                  </a:cubicBezTo>
                  <a:cubicBezTo>
                    <a:pt x="36" y="58"/>
                    <a:pt x="36" y="58"/>
                    <a:pt x="37" y="58"/>
                  </a:cubicBezTo>
                  <a:cubicBezTo>
                    <a:pt x="40" y="58"/>
                    <a:pt x="44" y="55"/>
                    <a:pt x="47" y="52"/>
                  </a:cubicBezTo>
                  <a:cubicBezTo>
                    <a:pt x="51" y="50"/>
                    <a:pt x="54" y="48"/>
                    <a:pt x="57" y="47"/>
                  </a:cubicBezTo>
                  <a:cubicBezTo>
                    <a:pt x="61" y="47"/>
                    <a:pt x="65" y="45"/>
                    <a:pt x="67" y="42"/>
                  </a:cubicBezTo>
                  <a:cubicBezTo>
                    <a:pt x="68" y="41"/>
                    <a:pt x="68" y="40"/>
                    <a:pt x="67" y="39"/>
                  </a:cubicBezTo>
                  <a:cubicBezTo>
                    <a:pt x="66" y="37"/>
                    <a:pt x="67" y="36"/>
                    <a:pt x="67" y="35"/>
                  </a:cubicBezTo>
                  <a:cubicBezTo>
                    <a:pt x="68" y="34"/>
                    <a:pt x="68" y="33"/>
                    <a:pt x="67" y="31"/>
                  </a:cubicBezTo>
                  <a:cubicBezTo>
                    <a:pt x="67" y="30"/>
                    <a:pt x="67" y="28"/>
                    <a:pt x="68" y="27"/>
                  </a:cubicBezTo>
                  <a:cubicBezTo>
                    <a:pt x="69" y="25"/>
                    <a:pt x="73" y="24"/>
                    <a:pt x="75" y="24"/>
                  </a:cubicBezTo>
                  <a:cubicBezTo>
                    <a:pt x="77" y="24"/>
                    <a:pt x="81" y="23"/>
                    <a:pt x="82" y="21"/>
                  </a:cubicBezTo>
                  <a:cubicBezTo>
                    <a:pt x="83" y="20"/>
                    <a:pt x="83" y="19"/>
                    <a:pt x="83" y="18"/>
                  </a:cubicBezTo>
                  <a:cubicBezTo>
                    <a:pt x="83" y="15"/>
                    <a:pt x="84" y="9"/>
                    <a:pt x="86" y="7"/>
                  </a:cubicBezTo>
                  <a:cubicBezTo>
                    <a:pt x="86" y="7"/>
                    <a:pt x="87" y="6"/>
                    <a:pt x="87" y="4"/>
                  </a:cubicBezTo>
                  <a:cubicBezTo>
                    <a:pt x="88" y="2"/>
                    <a:pt x="89" y="0"/>
                    <a:pt x="90" y="0"/>
                  </a:cubicBezTo>
                  <a:cubicBezTo>
                    <a:pt x="91" y="0"/>
                    <a:pt x="91" y="1"/>
                    <a:pt x="92" y="3"/>
                  </a:cubicBezTo>
                  <a:cubicBezTo>
                    <a:pt x="92" y="5"/>
                    <a:pt x="93" y="7"/>
                    <a:pt x="95" y="10"/>
                  </a:cubicBezTo>
                  <a:cubicBezTo>
                    <a:pt x="98" y="15"/>
                    <a:pt x="102" y="21"/>
                    <a:pt x="102" y="28"/>
                  </a:cubicBezTo>
                  <a:cubicBezTo>
                    <a:pt x="102" y="32"/>
                    <a:pt x="104" y="37"/>
                    <a:pt x="105" y="41"/>
                  </a:cubicBezTo>
                  <a:cubicBezTo>
                    <a:pt x="107" y="47"/>
                    <a:pt x="108" y="51"/>
                    <a:pt x="108" y="55"/>
                  </a:cubicBezTo>
                  <a:cubicBezTo>
                    <a:pt x="107" y="59"/>
                    <a:pt x="105" y="61"/>
                    <a:pt x="103" y="61"/>
                  </a:cubicBezTo>
                  <a:cubicBezTo>
                    <a:pt x="103" y="61"/>
                    <a:pt x="103" y="61"/>
                    <a:pt x="103" y="61"/>
                  </a:cubicBezTo>
                  <a:cubicBezTo>
                    <a:pt x="101" y="61"/>
                    <a:pt x="99" y="60"/>
                    <a:pt x="98" y="57"/>
                  </a:cubicBezTo>
                  <a:cubicBezTo>
                    <a:pt x="97" y="56"/>
                    <a:pt x="97" y="56"/>
                    <a:pt x="96" y="56"/>
                  </a:cubicBezTo>
                  <a:cubicBezTo>
                    <a:pt x="96" y="56"/>
                    <a:pt x="96" y="56"/>
                    <a:pt x="95" y="56"/>
                  </a:cubicBezTo>
                  <a:cubicBezTo>
                    <a:pt x="94" y="58"/>
                    <a:pt x="94" y="62"/>
                    <a:pt x="95" y="66"/>
                  </a:cubicBezTo>
                  <a:cubicBezTo>
                    <a:pt x="97" y="69"/>
                    <a:pt x="95" y="72"/>
                    <a:pt x="94" y="75"/>
                  </a:cubicBezTo>
                  <a:cubicBezTo>
                    <a:pt x="93" y="77"/>
                    <a:pt x="92" y="80"/>
                    <a:pt x="92" y="82"/>
                  </a:cubicBezTo>
                  <a:cubicBezTo>
                    <a:pt x="93" y="88"/>
                    <a:pt x="85" y="115"/>
                    <a:pt x="77" y="139"/>
                  </a:cubicBezTo>
                  <a:cubicBezTo>
                    <a:pt x="74" y="146"/>
                    <a:pt x="72" y="154"/>
                    <a:pt x="70" y="161"/>
                  </a:cubicBezTo>
                  <a:cubicBezTo>
                    <a:pt x="64" y="179"/>
                    <a:pt x="59" y="196"/>
                    <a:pt x="55" y="200"/>
                  </a:cubicBezTo>
                  <a:cubicBezTo>
                    <a:pt x="52" y="204"/>
                    <a:pt x="49" y="204"/>
                    <a:pt x="47" y="204"/>
                  </a:cubicBezTo>
                  <a:cubicBezTo>
                    <a:pt x="44" y="204"/>
                    <a:pt x="42" y="204"/>
                    <a:pt x="40" y="206"/>
                  </a:cubicBezTo>
                  <a:cubicBezTo>
                    <a:pt x="39" y="207"/>
                    <a:pt x="37" y="208"/>
                    <a:pt x="34" y="208"/>
                  </a:cubicBezTo>
                  <a:close/>
                  <a:moveTo>
                    <a:pt x="17" y="62"/>
                  </a:moveTo>
                  <a:cubicBezTo>
                    <a:pt x="15" y="62"/>
                    <a:pt x="15" y="65"/>
                    <a:pt x="15" y="69"/>
                  </a:cubicBezTo>
                  <a:cubicBezTo>
                    <a:pt x="15" y="73"/>
                    <a:pt x="14" y="78"/>
                    <a:pt x="12" y="81"/>
                  </a:cubicBezTo>
                  <a:cubicBezTo>
                    <a:pt x="8" y="89"/>
                    <a:pt x="11" y="99"/>
                    <a:pt x="14" y="107"/>
                  </a:cubicBezTo>
                  <a:cubicBezTo>
                    <a:pt x="18" y="116"/>
                    <a:pt x="21" y="124"/>
                    <a:pt x="11" y="137"/>
                  </a:cubicBezTo>
                  <a:cubicBezTo>
                    <a:pt x="1" y="149"/>
                    <a:pt x="1" y="163"/>
                    <a:pt x="5" y="171"/>
                  </a:cubicBezTo>
                  <a:cubicBezTo>
                    <a:pt x="7" y="175"/>
                    <a:pt x="8" y="179"/>
                    <a:pt x="9" y="183"/>
                  </a:cubicBezTo>
                  <a:cubicBezTo>
                    <a:pt x="10" y="190"/>
                    <a:pt x="11" y="195"/>
                    <a:pt x="15" y="199"/>
                  </a:cubicBezTo>
                  <a:cubicBezTo>
                    <a:pt x="19" y="203"/>
                    <a:pt x="28" y="207"/>
                    <a:pt x="34" y="207"/>
                  </a:cubicBezTo>
                  <a:cubicBezTo>
                    <a:pt x="37" y="207"/>
                    <a:pt x="38" y="206"/>
                    <a:pt x="40" y="205"/>
                  </a:cubicBezTo>
                  <a:cubicBezTo>
                    <a:pt x="42" y="203"/>
                    <a:pt x="44" y="203"/>
                    <a:pt x="47" y="203"/>
                  </a:cubicBezTo>
                  <a:cubicBezTo>
                    <a:pt x="49" y="203"/>
                    <a:pt x="52" y="203"/>
                    <a:pt x="55" y="200"/>
                  </a:cubicBezTo>
                  <a:cubicBezTo>
                    <a:pt x="58" y="196"/>
                    <a:pt x="64" y="178"/>
                    <a:pt x="69" y="161"/>
                  </a:cubicBezTo>
                  <a:cubicBezTo>
                    <a:pt x="71" y="153"/>
                    <a:pt x="73" y="146"/>
                    <a:pt x="76" y="139"/>
                  </a:cubicBezTo>
                  <a:cubicBezTo>
                    <a:pt x="81" y="121"/>
                    <a:pt x="92" y="88"/>
                    <a:pt x="92" y="82"/>
                  </a:cubicBezTo>
                  <a:cubicBezTo>
                    <a:pt x="91" y="79"/>
                    <a:pt x="92" y="77"/>
                    <a:pt x="93" y="75"/>
                  </a:cubicBezTo>
                  <a:cubicBezTo>
                    <a:pt x="94" y="72"/>
                    <a:pt x="95" y="69"/>
                    <a:pt x="94" y="66"/>
                  </a:cubicBezTo>
                  <a:cubicBezTo>
                    <a:pt x="93" y="62"/>
                    <a:pt x="93" y="58"/>
                    <a:pt x="94" y="56"/>
                  </a:cubicBezTo>
                  <a:cubicBezTo>
                    <a:pt x="95" y="55"/>
                    <a:pt x="96" y="55"/>
                    <a:pt x="96" y="55"/>
                  </a:cubicBezTo>
                  <a:cubicBezTo>
                    <a:pt x="97" y="55"/>
                    <a:pt x="98" y="55"/>
                    <a:pt x="99" y="57"/>
                  </a:cubicBezTo>
                  <a:cubicBezTo>
                    <a:pt x="100" y="59"/>
                    <a:pt x="102" y="60"/>
                    <a:pt x="103" y="60"/>
                  </a:cubicBezTo>
                  <a:cubicBezTo>
                    <a:pt x="103" y="60"/>
                    <a:pt x="103" y="60"/>
                    <a:pt x="103" y="60"/>
                  </a:cubicBezTo>
                  <a:cubicBezTo>
                    <a:pt x="105" y="60"/>
                    <a:pt x="106" y="58"/>
                    <a:pt x="107" y="55"/>
                  </a:cubicBezTo>
                  <a:cubicBezTo>
                    <a:pt x="107" y="51"/>
                    <a:pt x="106" y="47"/>
                    <a:pt x="104" y="42"/>
                  </a:cubicBezTo>
                  <a:cubicBezTo>
                    <a:pt x="103" y="37"/>
                    <a:pt x="101" y="32"/>
                    <a:pt x="101" y="28"/>
                  </a:cubicBezTo>
                  <a:cubicBezTo>
                    <a:pt x="101" y="21"/>
                    <a:pt x="97" y="15"/>
                    <a:pt x="94" y="10"/>
                  </a:cubicBezTo>
                  <a:cubicBezTo>
                    <a:pt x="92" y="8"/>
                    <a:pt x="91" y="5"/>
                    <a:pt x="91" y="4"/>
                  </a:cubicBezTo>
                  <a:cubicBezTo>
                    <a:pt x="90" y="2"/>
                    <a:pt x="90" y="1"/>
                    <a:pt x="90" y="1"/>
                  </a:cubicBezTo>
                  <a:cubicBezTo>
                    <a:pt x="89" y="2"/>
                    <a:pt x="88" y="4"/>
                    <a:pt x="88" y="5"/>
                  </a:cubicBezTo>
                  <a:cubicBezTo>
                    <a:pt x="88" y="6"/>
                    <a:pt x="87" y="8"/>
                    <a:pt x="86" y="8"/>
                  </a:cubicBezTo>
                  <a:cubicBezTo>
                    <a:pt x="85" y="10"/>
                    <a:pt x="84" y="15"/>
                    <a:pt x="84" y="18"/>
                  </a:cubicBezTo>
                  <a:cubicBezTo>
                    <a:pt x="84" y="19"/>
                    <a:pt x="84" y="21"/>
                    <a:pt x="83" y="22"/>
                  </a:cubicBezTo>
                  <a:cubicBezTo>
                    <a:pt x="81" y="24"/>
                    <a:pt x="78" y="25"/>
                    <a:pt x="75" y="25"/>
                  </a:cubicBezTo>
                  <a:cubicBezTo>
                    <a:pt x="75" y="25"/>
                    <a:pt x="75" y="25"/>
                    <a:pt x="74" y="25"/>
                  </a:cubicBezTo>
                  <a:cubicBezTo>
                    <a:pt x="72" y="25"/>
                    <a:pt x="70" y="26"/>
                    <a:pt x="69" y="27"/>
                  </a:cubicBezTo>
                  <a:cubicBezTo>
                    <a:pt x="68" y="28"/>
                    <a:pt x="68" y="30"/>
                    <a:pt x="68" y="31"/>
                  </a:cubicBezTo>
                  <a:cubicBezTo>
                    <a:pt x="69" y="33"/>
                    <a:pt x="69" y="35"/>
                    <a:pt x="68" y="36"/>
                  </a:cubicBezTo>
                  <a:cubicBezTo>
                    <a:pt x="67" y="36"/>
                    <a:pt x="67" y="37"/>
                    <a:pt x="68" y="39"/>
                  </a:cubicBezTo>
                  <a:cubicBezTo>
                    <a:pt x="69" y="40"/>
                    <a:pt x="69" y="41"/>
                    <a:pt x="68" y="42"/>
                  </a:cubicBezTo>
                  <a:cubicBezTo>
                    <a:pt x="66" y="45"/>
                    <a:pt x="61" y="48"/>
                    <a:pt x="57" y="48"/>
                  </a:cubicBezTo>
                  <a:cubicBezTo>
                    <a:pt x="54" y="48"/>
                    <a:pt x="51" y="51"/>
                    <a:pt x="48" y="53"/>
                  </a:cubicBezTo>
                  <a:cubicBezTo>
                    <a:pt x="44" y="56"/>
                    <a:pt x="40" y="59"/>
                    <a:pt x="36" y="59"/>
                  </a:cubicBezTo>
                  <a:cubicBezTo>
                    <a:pt x="36" y="59"/>
                    <a:pt x="36" y="59"/>
                    <a:pt x="35" y="59"/>
                  </a:cubicBezTo>
                  <a:cubicBezTo>
                    <a:pt x="32" y="59"/>
                    <a:pt x="30" y="59"/>
                    <a:pt x="27" y="60"/>
                  </a:cubicBezTo>
                  <a:cubicBezTo>
                    <a:pt x="24" y="61"/>
                    <a:pt x="22" y="62"/>
                    <a:pt x="19" y="62"/>
                  </a:cubicBezTo>
                  <a:cubicBezTo>
                    <a:pt x="18" y="62"/>
                    <a:pt x="18" y="62"/>
                    <a:pt x="18" y="62"/>
                  </a:cubicBezTo>
                  <a:cubicBezTo>
                    <a:pt x="18" y="62"/>
                    <a:pt x="18" y="62"/>
                    <a:pt x="17" y="6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5" name="Freeform 152"/>
            <p:cNvSpPr>
              <a:spLocks noEditPoints="1"/>
            </p:cNvSpPr>
            <p:nvPr/>
          </p:nvSpPr>
          <p:spPr>
            <a:xfrm>
              <a:off x="5818189" y="3330575"/>
              <a:ext cx="296863" cy="176213"/>
            </a:xfrm>
            <a:custGeom>
              <a:gdLst>
                <a:gd name="T0" fmla="*/ 164 w 175"/>
                <a:gd name="T1" fmla="*/ 104 h 104"/>
                <a:gd name="T2" fmla="*/ 158 w 175"/>
                <a:gd name="T3" fmla="*/ 99 h 104"/>
                <a:gd name="T4" fmla="*/ 174 w 175"/>
                <a:gd name="T5" fmla="*/ 98 h 104"/>
                <a:gd name="T6" fmla="*/ 164 w 175"/>
                <a:gd name="T7" fmla="*/ 104 h 104"/>
                <a:gd name="T8" fmla="*/ 159 w 175"/>
                <a:gd name="T9" fmla="*/ 99 h 104"/>
                <a:gd name="T10" fmla="*/ 164 w 175"/>
                <a:gd name="T11" fmla="*/ 103 h 104"/>
                <a:gd name="T12" fmla="*/ 167 w 175"/>
                <a:gd name="T13" fmla="*/ 97 h 104"/>
                <a:gd name="T14" fmla="*/ 11 w 175"/>
                <a:gd name="T15" fmla="*/ 94 h 104"/>
                <a:gd name="T16" fmla="*/ 6 w 175"/>
                <a:gd name="T17" fmla="*/ 73 h 104"/>
                <a:gd name="T18" fmla="*/ 1 w 175"/>
                <a:gd name="T19" fmla="*/ 40 h 104"/>
                <a:gd name="T20" fmla="*/ 1 w 175"/>
                <a:gd name="T21" fmla="*/ 40 h 104"/>
                <a:gd name="T22" fmla="*/ 7 w 175"/>
                <a:gd name="T23" fmla="*/ 33 h 104"/>
                <a:gd name="T24" fmla="*/ 14 w 175"/>
                <a:gd name="T25" fmla="*/ 23 h 104"/>
                <a:gd name="T26" fmla="*/ 23 w 175"/>
                <a:gd name="T27" fmla="*/ 24 h 104"/>
                <a:gd name="T28" fmla="*/ 29 w 175"/>
                <a:gd name="T29" fmla="*/ 24 h 104"/>
                <a:gd name="T30" fmla="*/ 49 w 175"/>
                <a:gd name="T31" fmla="*/ 27 h 104"/>
                <a:gd name="T32" fmla="*/ 72 w 175"/>
                <a:gd name="T33" fmla="*/ 26 h 104"/>
                <a:gd name="T34" fmla="*/ 106 w 175"/>
                <a:gd name="T35" fmla="*/ 5 h 104"/>
                <a:gd name="T36" fmla="*/ 138 w 175"/>
                <a:gd name="T37" fmla="*/ 0 h 104"/>
                <a:gd name="T38" fmla="*/ 138 w 175"/>
                <a:gd name="T39" fmla="*/ 1 h 104"/>
                <a:gd name="T40" fmla="*/ 156 w 175"/>
                <a:gd name="T41" fmla="*/ 38 h 104"/>
                <a:gd name="T42" fmla="*/ 150 w 175"/>
                <a:gd name="T43" fmla="*/ 40 h 104"/>
                <a:gd name="T44" fmla="*/ 142 w 175"/>
                <a:gd name="T45" fmla="*/ 46 h 104"/>
                <a:gd name="T46" fmla="*/ 116 w 175"/>
                <a:gd name="T47" fmla="*/ 61 h 104"/>
                <a:gd name="T48" fmla="*/ 98 w 175"/>
                <a:gd name="T49" fmla="*/ 68 h 104"/>
                <a:gd name="T50" fmla="*/ 84 w 175"/>
                <a:gd name="T51" fmla="*/ 75 h 104"/>
                <a:gd name="T52" fmla="*/ 57 w 175"/>
                <a:gd name="T53" fmla="*/ 85 h 104"/>
                <a:gd name="T54" fmla="*/ 19 w 175"/>
                <a:gd name="T55" fmla="*/ 95 h 104"/>
                <a:gd name="T56" fmla="*/ 3 w 175"/>
                <a:gd name="T57" fmla="*/ 49 h 104"/>
                <a:gd name="T58" fmla="*/ 11 w 175"/>
                <a:gd name="T59" fmla="*/ 87 h 104"/>
                <a:gd name="T60" fmla="*/ 19 w 175"/>
                <a:gd name="T61" fmla="*/ 94 h 104"/>
                <a:gd name="T62" fmla="*/ 57 w 175"/>
                <a:gd name="T63" fmla="*/ 84 h 104"/>
                <a:gd name="T64" fmla="*/ 84 w 175"/>
                <a:gd name="T65" fmla="*/ 74 h 104"/>
                <a:gd name="T66" fmla="*/ 88 w 175"/>
                <a:gd name="T67" fmla="*/ 74 h 104"/>
                <a:gd name="T68" fmla="*/ 98 w 175"/>
                <a:gd name="T69" fmla="*/ 67 h 104"/>
                <a:gd name="T70" fmla="*/ 129 w 175"/>
                <a:gd name="T71" fmla="*/ 56 h 104"/>
                <a:gd name="T72" fmla="*/ 143 w 175"/>
                <a:gd name="T73" fmla="*/ 42 h 104"/>
                <a:gd name="T74" fmla="*/ 155 w 175"/>
                <a:gd name="T75" fmla="*/ 37 h 104"/>
                <a:gd name="T76" fmla="*/ 124 w 175"/>
                <a:gd name="T77" fmla="*/ 5 h 104"/>
                <a:gd name="T78" fmla="*/ 95 w 175"/>
                <a:gd name="T79" fmla="*/ 7 h 104"/>
                <a:gd name="T80" fmla="*/ 67 w 175"/>
                <a:gd name="T81" fmla="*/ 32 h 104"/>
                <a:gd name="T82" fmla="*/ 49 w 175"/>
                <a:gd name="T83" fmla="*/ 28 h 104"/>
                <a:gd name="T84" fmla="*/ 29 w 175"/>
                <a:gd name="T85" fmla="*/ 25 h 104"/>
                <a:gd name="T86" fmla="*/ 23 w 175"/>
                <a:gd name="T87" fmla="*/ 25 h 104"/>
                <a:gd name="T88" fmla="*/ 14 w 175"/>
                <a:gd name="T89" fmla="*/ 24 h 104"/>
                <a:gd name="T90" fmla="*/ 8 w 175"/>
                <a:gd name="T91" fmla="*/ 33 h 104"/>
                <a:gd name="T92" fmla="*/ 2 w 175"/>
                <a:gd name="T93" fmla="*/ 40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104">
                  <a:moveTo>
                    <a:pt x="164" y="104"/>
                  </a:moveTo>
                  <a:cubicBezTo>
                    <a:pt x="164" y="104"/>
                    <a:pt x="164" y="104"/>
                    <a:pt x="164" y="104"/>
                  </a:cubicBezTo>
                  <a:cubicBezTo>
                    <a:pt x="162" y="104"/>
                    <a:pt x="160" y="103"/>
                    <a:pt x="159" y="102"/>
                  </a:cubicBezTo>
                  <a:cubicBezTo>
                    <a:pt x="158" y="101"/>
                    <a:pt x="158" y="100"/>
                    <a:pt x="158" y="99"/>
                  </a:cubicBezTo>
                  <a:cubicBezTo>
                    <a:pt x="159" y="97"/>
                    <a:pt x="164" y="96"/>
                    <a:pt x="167" y="96"/>
                  </a:cubicBezTo>
                  <a:cubicBezTo>
                    <a:pt x="169" y="96"/>
                    <a:pt x="174" y="97"/>
                    <a:pt x="174" y="98"/>
                  </a:cubicBezTo>
                  <a:cubicBezTo>
                    <a:pt x="175" y="98"/>
                    <a:pt x="175" y="98"/>
                    <a:pt x="175" y="99"/>
                  </a:cubicBezTo>
                  <a:cubicBezTo>
                    <a:pt x="174" y="100"/>
                    <a:pt x="169" y="104"/>
                    <a:pt x="164" y="104"/>
                  </a:cubicBezTo>
                  <a:close/>
                  <a:moveTo>
                    <a:pt x="167" y="97"/>
                  </a:moveTo>
                  <a:cubicBezTo>
                    <a:pt x="163" y="97"/>
                    <a:pt x="159" y="98"/>
                    <a:pt x="159" y="99"/>
                  </a:cubicBezTo>
                  <a:cubicBezTo>
                    <a:pt x="159" y="100"/>
                    <a:pt x="159" y="100"/>
                    <a:pt x="160" y="101"/>
                  </a:cubicBezTo>
                  <a:cubicBezTo>
                    <a:pt x="161" y="102"/>
                    <a:pt x="162" y="103"/>
                    <a:pt x="164" y="103"/>
                  </a:cubicBezTo>
                  <a:cubicBezTo>
                    <a:pt x="169" y="103"/>
                    <a:pt x="173" y="100"/>
                    <a:pt x="174" y="98"/>
                  </a:cubicBezTo>
                  <a:cubicBezTo>
                    <a:pt x="173" y="98"/>
                    <a:pt x="171" y="97"/>
                    <a:pt x="167" y="97"/>
                  </a:cubicBezTo>
                  <a:close/>
                  <a:moveTo>
                    <a:pt x="19" y="95"/>
                  </a:moveTo>
                  <a:cubicBezTo>
                    <a:pt x="17" y="95"/>
                    <a:pt x="13" y="95"/>
                    <a:pt x="11" y="94"/>
                  </a:cubicBezTo>
                  <a:cubicBezTo>
                    <a:pt x="10" y="93"/>
                    <a:pt x="10" y="90"/>
                    <a:pt x="10" y="87"/>
                  </a:cubicBezTo>
                  <a:cubicBezTo>
                    <a:pt x="9" y="82"/>
                    <a:pt x="9" y="76"/>
                    <a:pt x="6" y="73"/>
                  </a:cubicBezTo>
                  <a:cubicBezTo>
                    <a:pt x="2" y="66"/>
                    <a:pt x="0" y="54"/>
                    <a:pt x="2" y="49"/>
                  </a:cubicBezTo>
                  <a:cubicBezTo>
                    <a:pt x="3" y="47"/>
                    <a:pt x="2" y="44"/>
                    <a:pt x="1" y="40"/>
                  </a:cubicBezTo>
                  <a:cubicBezTo>
                    <a:pt x="1" y="40"/>
                    <a:pt x="1" y="40"/>
                    <a:pt x="1" y="40"/>
                  </a:cubicBezTo>
                  <a:cubicBezTo>
                    <a:pt x="1" y="40"/>
                    <a:pt x="1" y="40"/>
                    <a:pt x="1" y="40"/>
                  </a:cubicBezTo>
                  <a:cubicBezTo>
                    <a:pt x="7" y="37"/>
                    <a:pt x="7" y="36"/>
                    <a:pt x="7" y="36"/>
                  </a:cubicBezTo>
                  <a:cubicBezTo>
                    <a:pt x="8" y="36"/>
                    <a:pt x="7" y="34"/>
                    <a:pt x="7" y="33"/>
                  </a:cubicBezTo>
                  <a:cubicBezTo>
                    <a:pt x="7" y="31"/>
                    <a:pt x="6" y="29"/>
                    <a:pt x="7" y="28"/>
                  </a:cubicBezTo>
                  <a:cubicBezTo>
                    <a:pt x="8" y="27"/>
                    <a:pt x="11" y="24"/>
                    <a:pt x="14" y="23"/>
                  </a:cubicBezTo>
                  <a:cubicBezTo>
                    <a:pt x="15" y="22"/>
                    <a:pt x="16" y="23"/>
                    <a:pt x="18" y="23"/>
                  </a:cubicBezTo>
                  <a:cubicBezTo>
                    <a:pt x="19" y="24"/>
                    <a:pt x="21" y="24"/>
                    <a:pt x="23" y="24"/>
                  </a:cubicBezTo>
                  <a:cubicBezTo>
                    <a:pt x="24" y="24"/>
                    <a:pt x="24" y="24"/>
                    <a:pt x="24" y="24"/>
                  </a:cubicBezTo>
                  <a:cubicBezTo>
                    <a:pt x="26" y="24"/>
                    <a:pt x="27" y="24"/>
                    <a:pt x="29" y="24"/>
                  </a:cubicBezTo>
                  <a:cubicBezTo>
                    <a:pt x="34" y="24"/>
                    <a:pt x="42" y="25"/>
                    <a:pt x="43" y="26"/>
                  </a:cubicBezTo>
                  <a:cubicBezTo>
                    <a:pt x="43" y="26"/>
                    <a:pt x="46" y="27"/>
                    <a:pt x="49" y="27"/>
                  </a:cubicBezTo>
                  <a:cubicBezTo>
                    <a:pt x="54" y="27"/>
                    <a:pt x="61" y="28"/>
                    <a:pt x="63" y="29"/>
                  </a:cubicBezTo>
                  <a:cubicBezTo>
                    <a:pt x="67" y="32"/>
                    <a:pt x="70" y="31"/>
                    <a:pt x="72" y="26"/>
                  </a:cubicBezTo>
                  <a:cubicBezTo>
                    <a:pt x="75" y="20"/>
                    <a:pt x="92" y="7"/>
                    <a:pt x="95" y="6"/>
                  </a:cubicBezTo>
                  <a:cubicBezTo>
                    <a:pt x="96" y="5"/>
                    <a:pt x="100" y="5"/>
                    <a:pt x="106" y="5"/>
                  </a:cubicBezTo>
                  <a:cubicBezTo>
                    <a:pt x="113" y="5"/>
                    <a:pt x="120" y="5"/>
                    <a:pt x="124" y="4"/>
                  </a:cubicBezTo>
                  <a:cubicBezTo>
                    <a:pt x="126" y="4"/>
                    <a:pt x="130" y="3"/>
                    <a:pt x="138" y="0"/>
                  </a:cubicBezTo>
                  <a:cubicBezTo>
                    <a:pt x="138" y="0"/>
                    <a:pt x="138" y="0"/>
                    <a:pt x="138" y="0"/>
                  </a:cubicBezTo>
                  <a:cubicBezTo>
                    <a:pt x="138" y="1"/>
                    <a:pt x="138" y="1"/>
                    <a:pt x="138" y="1"/>
                  </a:cubicBezTo>
                  <a:cubicBezTo>
                    <a:pt x="141" y="5"/>
                    <a:pt x="149" y="22"/>
                    <a:pt x="156" y="37"/>
                  </a:cubicBezTo>
                  <a:cubicBezTo>
                    <a:pt x="156" y="38"/>
                    <a:pt x="156" y="38"/>
                    <a:pt x="156" y="38"/>
                  </a:cubicBezTo>
                  <a:cubicBezTo>
                    <a:pt x="156" y="38"/>
                    <a:pt x="156" y="38"/>
                    <a:pt x="156" y="38"/>
                  </a:cubicBezTo>
                  <a:cubicBezTo>
                    <a:pt x="153" y="39"/>
                    <a:pt x="151" y="39"/>
                    <a:pt x="150" y="40"/>
                  </a:cubicBezTo>
                  <a:cubicBezTo>
                    <a:pt x="147" y="40"/>
                    <a:pt x="145" y="41"/>
                    <a:pt x="144" y="43"/>
                  </a:cubicBezTo>
                  <a:cubicBezTo>
                    <a:pt x="143" y="44"/>
                    <a:pt x="142" y="45"/>
                    <a:pt x="142" y="46"/>
                  </a:cubicBezTo>
                  <a:cubicBezTo>
                    <a:pt x="141" y="50"/>
                    <a:pt x="139" y="54"/>
                    <a:pt x="129" y="57"/>
                  </a:cubicBezTo>
                  <a:cubicBezTo>
                    <a:pt x="125" y="59"/>
                    <a:pt x="120" y="60"/>
                    <a:pt x="116" y="61"/>
                  </a:cubicBezTo>
                  <a:cubicBezTo>
                    <a:pt x="108" y="63"/>
                    <a:pt x="101" y="65"/>
                    <a:pt x="99" y="67"/>
                  </a:cubicBezTo>
                  <a:cubicBezTo>
                    <a:pt x="98" y="68"/>
                    <a:pt x="98" y="68"/>
                    <a:pt x="98" y="68"/>
                  </a:cubicBezTo>
                  <a:cubicBezTo>
                    <a:pt x="94" y="72"/>
                    <a:pt x="91" y="76"/>
                    <a:pt x="87" y="75"/>
                  </a:cubicBezTo>
                  <a:cubicBezTo>
                    <a:pt x="86" y="75"/>
                    <a:pt x="85" y="75"/>
                    <a:pt x="84" y="75"/>
                  </a:cubicBezTo>
                  <a:cubicBezTo>
                    <a:pt x="80" y="75"/>
                    <a:pt x="74" y="76"/>
                    <a:pt x="73" y="77"/>
                  </a:cubicBezTo>
                  <a:cubicBezTo>
                    <a:pt x="71" y="80"/>
                    <a:pt x="63" y="85"/>
                    <a:pt x="57" y="85"/>
                  </a:cubicBezTo>
                  <a:cubicBezTo>
                    <a:pt x="51" y="85"/>
                    <a:pt x="46" y="86"/>
                    <a:pt x="38" y="91"/>
                  </a:cubicBezTo>
                  <a:cubicBezTo>
                    <a:pt x="34" y="94"/>
                    <a:pt x="25" y="95"/>
                    <a:pt x="19" y="95"/>
                  </a:cubicBezTo>
                  <a:close/>
                  <a:moveTo>
                    <a:pt x="2" y="40"/>
                  </a:moveTo>
                  <a:cubicBezTo>
                    <a:pt x="3" y="44"/>
                    <a:pt x="4" y="47"/>
                    <a:pt x="3" y="49"/>
                  </a:cubicBezTo>
                  <a:cubicBezTo>
                    <a:pt x="1" y="54"/>
                    <a:pt x="3" y="66"/>
                    <a:pt x="7" y="72"/>
                  </a:cubicBezTo>
                  <a:cubicBezTo>
                    <a:pt x="10" y="76"/>
                    <a:pt x="10" y="82"/>
                    <a:pt x="11" y="87"/>
                  </a:cubicBezTo>
                  <a:cubicBezTo>
                    <a:pt x="11" y="90"/>
                    <a:pt x="11" y="92"/>
                    <a:pt x="12" y="93"/>
                  </a:cubicBezTo>
                  <a:cubicBezTo>
                    <a:pt x="13" y="94"/>
                    <a:pt x="15" y="94"/>
                    <a:pt x="19" y="94"/>
                  </a:cubicBezTo>
                  <a:cubicBezTo>
                    <a:pt x="25" y="94"/>
                    <a:pt x="33" y="93"/>
                    <a:pt x="38" y="90"/>
                  </a:cubicBezTo>
                  <a:cubicBezTo>
                    <a:pt x="45" y="85"/>
                    <a:pt x="50" y="84"/>
                    <a:pt x="57" y="84"/>
                  </a:cubicBezTo>
                  <a:cubicBezTo>
                    <a:pt x="62" y="84"/>
                    <a:pt x="70" y="79"/>
                    <a:pt x="72" y="77"/>
                  </a:cubicBezTo>
                  <a:cubicBezTo>
                    <a:pt x="74" y="74"/>
                    <a:pt x="81" y="74"/>
                    <a:pt x="84" y="74"/>
                  </a:cubicBezTo>
                  <a:cubicBezTo>
                    <a:pt x="85" y="74"/>
                    <a:pt x="86" y="74"/>
                    <a:pt x="87" y="74"/>
                  </a:cubicBezTo>
                  <a:cubicBezTo>
                    <a:pt x="87" y="74"/>
                    <a:pt x="87" y="74"/>
                    <a:pt x="88" y="74"/>
                  </a:cubicBezTo>
                  <a:cubicBezTo>
                    <a:pt x="91" y="74"/>
                    <a:pt x="94" y="71"/>
                    <a:pt x="97" y="68"/>
                  </a:cubicBezTo>
                  <a:cubicBezTo>
                    <a:pt x="98" y="67"/>
                    <a:pt x="98" y="67"/>
                    <a:pt x="98" y="67"/>
                  </a:cubicBezTo>
                  <a:cubicBezTo>
                    <a:pt x="101" y="64"/>
                    <a:pt x="107" y="62"/>
                    <a:pt x="116" y="60"/>
                  </a:cubicBezTo>
                  <a:cubicBezTo>
                    <a:pt x="120" y="59"/>
                    <a:pt x="124" y="58"/>
                    <a:pt x="129" y="56"/>
                  </a:cubicBezTo>
                  <a:cubicBezTo>
                    <a:pt x="139" y="53"/>
                    <a:pt x="140" y="49"/>
                    <a:pt x="141" y="46"/>
                  </a:cubicBezTo>
                  <a:cubicBezTo>
                    <a:pt x="141" y="44"/>
                    <a:pt x="142" y="43"/>
                    <a:pt x="143" y="42"/>
                  </a:cubicBezTo>
                  <a:cubicBezTo>
                    <a:pt x="145" y="40"/>
                    <a:pt x="147" y="39"/>
                    <a:pt x="149" y="39"/>
                  </a:cubicBezTo>
                  <a:cubicBezTo>
                    <a:pt x="151" y="38"/>
                    <a:pt x="153" y="38"/>
                    <a:pt x="155" y="37"/>
                  </a:cubicBezTo>
                  <a:cubicBezTo>
                    <a:pt x="148" y="22"/>
                    <a:pt x="140" y="7"/>
                    <a:pt x="138" y="1"/>
                  </a:cubicBezTo>
                  <a:cubicBezTo>
                    <a:pt x="130" y="4"/>
                    <a:pt x="126" y="5"/>
                    <a:pt x="124" y="5"/>
                  </a:cubicBezTo>
                  <a:cubicBezTo>
                    <a:pt x="120" y="6"/>
                    <a:pt x="113" y="6"/>
                    <a:pt x="106" y="6"/>
                  </a:cubicBezTo>
                  <a:cubicBezTo>
                    <a:pt x="101" y="6"/>
                    <a:pt x="96" y="6"/>
                    <a:pt x="95" y="7"/>
                  </a:cubicBezTo>
                  <a:cubicBezTo>
                    <a:pt x="93" y="8"/>
                    <a:pt x="76" y="21"/>
                    <a:pt x="73" y="26"/>
                  </a:cubicBezTo>
                  <a:cubicBezTo>
                    <a:pt x="71" y="31"/>
                    <a:pt x="69" y="32"/>
                    <a:pt x="67" y="32"/>
                  </a:cubicBezTo>
                  <a:cubicBezTo>
                    <a:pt x="65" y="32"/>
                    <a:pt x="64" y="31"/>
                    <a:pt x="62" y="30"/>
                  </a:cubicBezTo>
                  <a:cubicBezTo>
                    <a:pt x="60" y="29"/>
                    <a:pt x="54" y="28"/>
                    <a:pt x="49" y="28"/>
                  </a:cubicBezTo>
                  <a:cubicBezTo>
                    <a:pt x="45" y="28"/>
                    <a:pt x="43" y="27"/>
                    <a:pt x="42" y="27"/>
                  </a:cubicBezTo>
                  <a:cubicBezTo>
                    <a:pt x="41" y="26"/>
                    <a:pt x="35" y="25"/>
                    <a:pt x="29" y="25"/>
                  </a:cubicBezTo>
                  <a:cubicBezTo>
                    <a:pt x="27" y="25"/>
                    <a:pt x="26" y="25"/>
                    <a:pt x="25" y="25"/>
                  </a:cubicBezTo>
                  <a:cubicBezTo>
                    <a:pt x="24" y="25"/>
                    <a:pt x="23" y="25"/>
                    <a:pt x="23" y="25"/>
                  </a:cubicBezTo>
                  <a:cubicBezTo>
                    <a:pt x="20" y="25"/>
                    <a:pt x="19" y="25"/>
                    <a:pt x="17" y="24"/>
                  </a:cubicBezTo>
                  <a:cubicBezTo>
                    <a:pt x="16" y="24"/>
                    <a:pt x="15" y="23"/>
                    <a:pt x="14" y="24"/>
                  </a:cubicBezTo>
                  <a:cubicBezTo>
                    <a:pt x="11" y="24"/>
                    <a:pt x="9" y="28"/>
                    <a:pt x="8" y="29"/>
                  </a:cubicBezTo>
                  <a:cubicBezTo>
                    <a:pt x="7" y="30"/>
                    <a:pt x="8" y="31"/>
                    <a:pt x="8" y="33"/>
                  </a:cubicBezTo>
                  <a:cubicBezTo>
                    <a:pt x="8" y="34"/>
                    <a:pt x="9" y="36"/>
                    <a:pt x="8" y="37"/>
                  </a:cubicBezTo>
                  <a:cubicBezTo>
                    <a:pt x="8" y="37"/>
                    <a:pt x="8" y="37"/>
                    <a:pt x="2"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6" name="Freeform 153"/>
            <p:cNvSpPr>
              <a:spLocks noEditPoints="1"/>
            </p:cNvSpPr>
            <p:nvPr/>
          </p:nvSpPr>
          <p:spPr>
            <a:xfrm>
              <a:off x="6456364" y="5137150"/>
              <a:ext cx="53975" cy="33338"/>
            </a:xfrm>
            <a:custGeom>
              <a:gdLst>
                <a:gd name="T0" fmla="*/ 23 w 32"/>
                <a:gd name="T1" fmla="*/ 20 h 20"/>
                <a:gd name="T2" fmla="*/ 23 w 32"/>
                <a:gd name="T3" fmla="*/ 20 h 20"/>
                <a:gd name="T4" fmla="*/ 18 w 32"/>
                <a:gd name="T5" fmla="*/ 18 h 20"/>
                <a:gd name="T6" fmla="*/ 16 w 32"/>
                <a:gd name="T7" fmla="*/ 17 h 20"/>
                <a:gd name="T8" fmla="*/ 13 w 32"/>
                <a:gd name="T9" fmla="*/ 18 h 20"/>
                <a:gd name="T10" fmla="*/ 9 w 32"/>
                <a:gd name="T11" fmla="*/ 19 h 20"/>
                <a:gd name="T12" fmla="*/ 6 w 32"/>
                <a:gd name="T13" fmla="*/ 18 h 20"/>
                <a:gd name="T14" fmla="*/ 1 w 32"/>
                <a:gd name="T15" fmla="*/ 10 h 20"/>
                <a:gd name="T16" fmla="*/ 10 w 32"/>
                <a:gd name="T17" fmla="*/ 0 h 20"/>
                <a:gd name="T18" fmla="*/ 12 w 32"/>
                <a:gd name="T19" fmla="*/ 1 h 20"/>
                <a:gd name="T20" fmla="*/ 20 w 32"/>
                <a:gd name="T21" fmla="*/ 4 h 20"/>
                <a:gd name="T22" fmla="*/ 31 w 32"/>
                <a:gd name="T23" fmla="*/ 12 h 20"/>
                <a:gd name="T24" fmla="*/ 23 w 32"/>
                <a:gd name="T25" fmla="*/ 20 h 20"/>
                <a:gd name="T26" fmla="*/ 16 w 32"/>
                <a:gd name="T27" fmla="*/ 16 h 20"/>
                <a:gd name="T28" fmla="*/ 18 w 32"/>
                <a:gd name="T29" fmla="*/ 17 h 20"/>
                <a:gd name="T30" fmla="*/ 23 w 32"/>
                <a:gd name="T31" fmla="*/ 19 h 20"/>
                <a:gd name="T32" fmla="*/ 23 w 32"/>
                <a:gd name="T33" fmla="*/ 19 h 20"/>
                <a:gd name="T34" fmla="*/ 30 w 32"/>
                <a:gd name="T35" fmla="*/ 12 h 20"/>
                <a:gd name="T36" fmla="*/ 20 w 32"/>
                <a:gd name="T37" fmla="*/ 5 h 20"/>
                <a:gd name="T38" fmla="*/ 11 w 32"/>
                <a:gd name="T39" fmla="*/ 1 h 20"/>
                <a:gd name="T40" fmla="*/ 10 w 32"/>
                <a:gd name="T41" fmla="*/ 1 h 20"/>
                <a:gd name="T42" fmla="*/ 2 w 32"/>
                <a:gd name="T43" fmla="*/ 10 h 20"/>
                <a:gd name="T44" fmla="*/ 6 w 32"/>
                <a:gd name="T45" fmla="*/ 17 h 20"/>
                <a:gd name="T46" fmla="*/ 9 w 32"/>
                <a:gd name="T47" fmla="*/ 18 h 20"/>
                <a:gd name="T48" fmla="*/ 13 w 32"/>
                <a:gd name="T49" fmla="*/ 17 h 20"/>
                <a:gd name="T50" fmla="*/ 16 w 32"/>
                <a:gd name="T51" fmla="*/ 16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0">
                  <a:moveTo>
                    <a:pt x="23" y="20"/>
                  </a:moveTo>
                  <a:cubicBezTo>
                    <a:pt x="23" y="20"/>
                    <a:pt x="23" y="20"/>
                    <a:pt x="23" y="20"/>
                  </a:cubicBezTo>
                  <a:cubicBezTo>
                    <a:pt x="21" y="20"/>
                    <a:pt x="19" y="19"/>
                    <a:pt x="18" y="18"/>
                  </a:cubicBezTo>
                  <a:cubicBezTo>
                    <a:pt x="17" y="17"/>
                    <a:pt x="16" y="17"/>
                    <a:pt x="16" y="17"/>
                  </a:cubicBezTo>
                  <a:cubicBezTo>
                    <a:pt x="15" y="17"/>
                    <a:pt x="14" y="17"/>
                    <a:pt x="13" y="18"/>
                  </a:cubicBezTo>
                  <a:cubicBezTo>
                    <a:pt x="12" y="18"/>
                    <a:pt x="11" y="19"/>
                    <a:pt x="9" y="19"/>
                  </a:cubicBezTo>
                  <a:cubicBezTo>
                    <a:pt x="8" y="19"/>
                    <a:pt x="7" y="18"/>
                    <a:pt x="6" y="18"/>
                  </a:cubicBezTo>
                  <a:cubicBezTo>
                    <a:pt x="2" y="16"/>
                    <a:pt x="0" y="13"/>
                    <a:pt x="1" y="10"/>
                  </a:cubicBezTo>
                  <a:cubicBezTo>
                    <a:pt x="2" y="5"/>
                    <a:pt x="7" y="0"/>
                    <a:pt x="10" y="0"/>
                  </a:cubicBezTo>
                  <a:cubicBezTo>
                    <a:pt x="11" y="0"/>
                    <a:pt x="11" y="0"/>
                    <a:pt x="12" y="1"/>
                  </a:cubicBezTo>
                  <a:cubicBezTo>
                    <a:pt x="12" y="3"/>
                    <a:pt x="16" y="3"/>
                    <a:pt x="20" y="4"/>
                  </a:cubicBezTo>
                  <a:cubicBezTo>
                    <a:pt x="25" y="6"/>
                    <a:pt x="32" y="7"/>
                    <a:pt x="31" y="12"/>
                  </a:cubicBezTo>
                  <a:cubicBezTo>
                    <a:pt x="30" y="18"/>
                    <a:pt x="26" y="20"/>
                    <a:pt x="23" y="20"/>
                  </a:cubicBezTo>
                  <a:close/>
                  <a:moveTo>
                    <a:pt x="16" y="16"/>
                  </a:moveTo>
                  <a:cubicBezTo>
                    <a:pt x="17" y="16"/>
                    <a:pt x="18" y="16"/>
                    <a:pt x="18" y="17"/>
                  </a:cubicBezTo>
                  <a:cubicBezTo>
                    <a:pt x="20" y="18"/>
                    <a:pt x="21" y="19"/>
                    <a:pt x="23" y="19"/>
                  </a:cubicBezTo>
                  <a:cubicBezTo>
                    <a:pt x="23" y="19"/>
                    <a:pt x="23" y="19"/>
                    <a:pt x="23" y="19"/>
                  </a:cubicBezTo>
                  <a:cubicBezTo>
                    <a:pt x="26" y="19"/>
                    <a:pt x="29" y="17"/>
                    <a:pt x="30" y="12"/>
                  </a:cubicBezTo>
                  <a:cubicBezTo>
                    <a:pt x="31" y="8"/>
                    <a:pt x="25" y="7"/>
                    <a:pt x="20" y="5"/>
                  </a:cubicBezTo>
                  <a:cubicBezTo>
                    <a:pt x="15" y="4"/>
                    <a:pt x="12" y="3"/>
                    <a:pt x="11" y="1"/>
                  </a:cubicBezTo>
                  <a:cubicBezTo>
                    <a:pt x="10" y="1"/>
                    <a:pt x="10" y="1"/>
                    <a:pt x="10" y="1"/>
                  </a:cubicBezTo>
                  <a:cubicBezTo>
                    <a:pt x="8" y="1"/>
                    <a:pt x="3" y="5"/>
                    <a:pt x="2" y="10"/>
                  </a:cubicBezTo>
                  <a:cubicBezTo>
                    <a:pt x="1" y="13"/>
                    <a:pt x="3" y="16"/>
                    <a:pt x="6" y="17"/>
                  </a:cubicBezTo>
                  <a:cubicBezTo>
                    <a:pt x="7" y="18"/>
                    <a:pt x="8" y="18"/>
                    <a:pt x="9" y="18"/>
                  </a:cubicBezTo>
                  <a:cubicBezTo>
                    <a:pt x="10" y="18"/>
                    <a:pt x="12" y="17"/>
                    <a:pt x="13" y="17"/>
                  </a:cubicBezTo>
                  <a:cubicBezTo>
                    <a:pt x="14" y="16"/>
                    <a:pt x="15" y="16"/>
                    <a:pt x="16" y="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7" name="Freeform 154"/>
            <p:cNvSpPr>
              <a:spLocks noEditPoints="1"/>
            </p:cNvSpPr>
            <p:nvPr/>
          </p:nvSpPr>
          <p:spPr>
            <a:xfrm>
              <a:off x="7537451" y="4083050"/>
              <a:ext cx="1012825" cy="898525"/>
            </a:xfrm>
            <a:custGeom>
              <a:gdLst>
                <a:gd name="T0" fmla="*/ 511 w 597"/>
                <a:gd name="T1" fmla="*/ 477 h 530"/>
                <a:gd name="T2" fmla="*/ 502 w 597"/>
                <a:gd name="T3" fmla="*/ 519 h 530"/>
                <a:gd name="T4" fmla="*/ 491 w 597"/>
                <a:gd name="T5" fmla="*/ 529 h 530"/>
                <a:gd name="T6" fmla="*/ 513 w 597"/>
                <a:gd name="T7" fmla="*/ 502 h 530"/>
                <a:gd name="T8" fmla="*/ 485 w 597"/>
                <a:gd name="T9" fmla="*/ 445 h 530"/>
                <a:gd name="T10" fmla="*/ 448 w 597"/>
                <a:gd name="T11" fmla="*/ 445 h 530"/>
                <a:gd name="T12" fmla="*/ 369 w 597"/>
                <a:gd name="T13" fmla="*/ 388 h 530"/>
                <a:gd name="T14" fmla="*/ 365 w 597"/>
                <a:gd name="T15" fmla="*/ 346 h 530"/>
                <a:gd name="T16" fmla="*/ 310 w 597"/>
                <a:gd name="T17" fmla="*/ 345 h 530"/>
                <a:gd name="T18" fmla="*/ 253 w 597"/>
                <a:gd name="T19" fmla="*/ 323 h 530"/>
                <a:gd name="T20" fmla="*/ 98 w 597"/>
                <a:gd name="T21" fmla="*/ 363 h 530"/>
                <a:gd name="T22" fmla="*/ 30 w 597"/>
                <a:gd name="T23" fmla="*/ 356 h 530"/>
                <a:gd name="T24" fmla="*/ 7 w 597"/>
                <a:gd name="T25" fmla="*/ 235 h 530"/>
                <a:gd name="T26" fmla="*/ 10 w 597"/>
                <a:gd name="T27" fmla="*/ 186 h 530"/>
                <a:gd name="T28" fmla="*/ 63 w 597"/>
                <a:gd name="T29" fmla="*/ 151 h 530"/>
                <a:gd name="T30" fmla="*/ 147 w 597"/>
                <a:gd name="T31" fmla="*/ 88 h 530"/>
                <a:gd name="T32" fmla="*/ 163 w 597"/>
                <a:gd name="T33" fmla="*/ 84 h 530"/>
                <a:gd name="T34" fmla="*/ 179 w 597"/>
                <a:gd name="T35" fmla="*/ 58 h 530"/>
                <a:gd name="T36" fmla="*/ 224 w 597"/>
                <a:gd name="T37" fmla="*/ 62 h 530"/>
                <a:gd name="T38" fmla="*/ 248 w 597"/>
                <a:gd name="T39" fmla="*/ 46 h 530"/>
                <a:gd name="T40" fmla="*/ 287 w 597"/>
                <a:gd name="T41" fmla="*/ 16 h 530"/>
                <a:gd name="T42" fmla="*/ 335 w 597"/>
                <a:gd name="T43" fmla="*/ 18 h 530"/>
                <a:gd name="T44" fmla="*/ 335 w 597"/>
                <a:gd name="T45" fmla="*/ 42 h 530"/>
                <a:gd name="T46" fmla="*/ 357 w 597"/>
                <a:gd name="T47" fmla="*/ 79 h 530"/>
                <a:gd name="T48" fmla="*/ 418 w 597"/>
                <a:gd name="T49" fmla="*/ 65 h 530"/>
                <a:gd name="T50" fmla="*/ 449 w 597"/>
                <a:gd name="T51" fmla="*/ 42 h 530"/>
                <a:gd name="T52" fmla="*/ 485 w 597"/>
                <a:gd name="T53" fmla="*/ 101 h 530"/>
                <a:gd name="T54" fmla="*/ 548 w 597"/>
                <a:gd name="T55" fmla="*/ 179 h 530"/>
                <a:gd name="T56" fmla="*/ 585 w 597"/>
                <a:gd name="T57" fmla="*/ 228 h 530"/>
                <a:gd name="T58" fmla="*/ 592 w 597"/>
                <a:gd name="T59" fmla="*/ 293 h 530"/>
                <a:gd name="T60" fmla="*/ 541 w 597"/>
                <a:gd name="T61" fmla="*/ 426 h 530"/>
                <a:gd name="T62" fmla="*/ 489 w 597"/>
                <a:gd name="T63" fmla="*/ 449 h 530"/>
                <a:gd name="T64" fmla="*/ 580 w 597"/>
                <a:gd name="T65" fmla="*/ 332 h 530"/>
                <a:gd name="T66" fmla="*/ 591 w 597"/>
                <a:gd name="T67" fmla="*/ 255 h 530"/>
                <a:gd name="T68" fmla="*/ 565 w 597"/>
                <a:gd name="T69" fmla="*/ 206 h 530"/>
                <a:gd name="T70" fmla="*/ 542 w 597"/>
                <a:gd name="T71" fmla="*/ 179 h 530"/>
                <a:gd name="T72" fmla="*/ 475 w 597"/>
                <a:gd name="T73" fmla="*/ 86 h 530"/>
                <a:gd name="T74" fmla="*/ 436 w 597"/>
                <a:gd name="T75" fmla="*/ 8 h 530"/>
                <a:gd name="T76" fmla="*/ 411 w 597"/>
                <a:gd name="T77" fmla="*/ 94 h 530"/>
                <a:gd name="T78" fmla="*/ 346 w 597"/>
                <a:gd name="T79" fmla="*/ 78 h 530"/>
                <a:gd name="T80" fmla="*/ 347 w 597"/>
                <a:gd name="T81" fmla="*/ 32 h 530"/>
                <a:gd name="T82" fmla="*/ 326 w 597"/>
                <a:gd name="T83" fmla="*/ 25 h 530"/>
                <a:gd name="T84" fmla="*/ 263 w 597"/>
                <a:gd name="T85" fmla="*/ 23 h 530"/>
                <a:gd name="T86" fmla="*/ 248 w 597"/>
                <a:gd name="T87" fmla="*/ 67 h 530"/>
                <a:gd name="T88" fmla="*/ 200 w 597"/>
                <a:gd name="T89" fmla="*/ 49 h 530"/>
                <a:gd name="T90" fmla="*/ 175 w 597"/>
                <a:gd name="T91" fmla="*/ 67 h 530"/>
                <a:gd name="T92" fmla="*/ 157 w 597"/>
                <a:gd name="T93" fmla="*/ 100 h 530"/>
                <a:gd name="T94" fmla="*/ 90 w 597"/>
                <a:gd name="T95" fmla="*/ 141 h 530"/>
                <a:gd name="T96" fmla="*/ 17 w 597"/>
                <a:gd name="T97" fmla="*/ 177 h 530"/>
                <a:gd name="T98" fmla="*/ 10 w 597"/>
                <a:gd name="T99" fmla="*/ 233 h 530"/>
                <a:gd name="T100" fmla="*/ 41 w 597"/>
                <a:gd name="T101" fmla="*/ 332 h 530"/>
                <a:gd name="T102" fmla="*/ 78 w 597"/>
                <a:gd name="T103" fmla="*/ 375 h 530"/>
                <a:gd name="T104" fmla="*/ 203 w 597"/>
                <a:gd name="T105" fmla="*/ 334 h 530"/>
                <a:gd name="T106" fmla="*/ 301 w 597"/>
                <a:gd name="T107" fmla="*/ 332 h 530"/>
                <a:gd name="T108" fmla="*/ 338 w 597"/>
                <a:gd name="T109" fmla="*/ 369 h 530"/>
                <a:gd name="T110" fmla="*/ 363 w 597"/>
                <a:gd name="T111" fmla="*/ 376 h 530"/>
                <a:gd name="T112" fmla="*/ 401 w 597"/>
                <a:gd name="T113" fmla="*/ 426 h 530"/>
                <a:gd name="T114" fmla="*/ 471 w 597"/>
                <a:gd name="T115" fmla="*/ 439 h 530"/>
                <a:gd name="T116" fmla="*/ 344 w 597"/>
                <a:gd name="T117" fmla="*/ 394 h 530"/>
                <a:gd name="T118" fmla="*/ 267 w 597"/>
                <a:gd name="T119" fmla="*/ 11 h 530"/>
                <a:gd name="T120" fmla="*/ 267 w 597"/>
                <a:gd name="T121" fmla="*/ 12 h 5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7" h="530">
                  <a:moveTo>
                    <a:pt x="492" y="530"/>
                  </a:moveTo>
                  <a:cubicBezTo>
                    <a:pt x="491" y="530"/>
                    <a:pt x="491" y="530"/>
                    <a:pt x="491" y="530"/>
                  </a:cubicBezTo>
                  <a:cubicBezTo>
                    <a:pt x="485" y="529"/>
                    <a:pt x="474" y="519"/>
                    <a:pt x="471" y="512"/>
                  </a:cubicBezTo>
                  <a:cubicBezTo>
                    <a:pt x="470" y="510"/>
                    <a:pt x="470" y="508"/>
                    <a:pt x="471" y="506"/>
                  </a:cubicBezTo>
                  <a:cubicBezTo>
                    <a:pt x="473" y="503"/>
                    <a:pt x="470" y="494"/>
                    <a:pt x="467" y="488"/>
                  </a:cubicBezTo>
                  <a:cubicBezTo>
                    <a:pt x="464" y="482"/>
                    <a:pt x="463" y="479"/>
                    <a:pt x="464" y="478"/>
                  </a:cubicBezTo>
                  <a:cubicBezTo>
                    <a:pt x="464" y="477"/>
                    <a:pt x="464" y="477"/>
                    <a:pt x="464" y="477"/>
                  </a:cubicBezTo>
                  <a:cubicBezTo>
                    <a:pt x="466" y="477"/>
                    <a:pt x="469" y="478"/>
                    <a:pt x="472" y="480"/>
                  </a:cubicBezTo>
                  <a:cubicBezTo>
                    <a:pt x="478" y="482"/>
                    <a:pt x="484" y="485"/>
                    <a:pt x="489" y="484"/>
                  </a:cubicBezTo>
                  <a:cubicBezTo>
                    <a:pt x="493" y="484"/>
                    <a:pt x="497" y="482"/>
                    <a:pt x="501" y="481"/>
                  </a:cubicBezTo>
                  <a:cubicBezTo>
                    <a:pt x="505" y="479"/>
                    <a:pt x="509" y="477"/>
                    <a:pt x="511" y="477"/>
                  </a:cubicBezTo>
                  <a:cubicBezTo>
                    <a:pt x="513" y="477"/>
                    <a:pt x="514" y="478"/>
                    <a:pt x="514" y="479"/>
                  </a:cubicBezTo>
                  <a:cubicBezTo>
                    <a:pt x="515" y="481"/>
                    <a:pt x="520" y="497"/>
                    <a:pt x="517" y="501"/>
                  </a:cubicBezTo>
                  <a:cubicBezTo>
                    <a:pt x="516" y="502"/>
                    <a:pt x="515" y="502"/>
                    <a:pt x="515" y="502"/>
                  </a:cubicBezTo>
                  <a:cubicBezTo>
                    <a:pt x="514" y="502"/>
                    <a:pt x="514" y="502"/>
                    <a:pt x="513" y="503"/>
                  </a:cubicBezTo>
                  <a:cubicBezTo>
                    <a:pt x="512" y="504"/>
                    <a:pt x="512" y="507"/>
                    <a:pt x="512" y="510"/>
                  </a:cubicBezTo>
                  <a:cubicBezTo>
                    <a:pt x="512" y="514"/>
                    <a:pt x="513" y="517"/>
                    <a:pt x="511" y="518"/>
                  </a:cubicBezTo>
                  <a:cubicBezTo>
                    <a:pt x="510" y="518"/>
                    <a:pt x="510" y="518"/>
                    <a:pt x="509" y="518"/>
                  </a:cubicBezTo>
                  <a:cubicBezTo>
                    <a:pt x="507" y="518"/>
                    <a:pt x="506" y="517"/>
                    <a:pt x="505" y="517"/>
                  </a:cubicBezTo>
                  <a:cubicBezTo>
                    <a:pt x="504" y="516"/>
                    <a:pt x="503" y="516"/>
                    <a:pt x="503" y="516"/>
                  </a:cubicBezTo>
                  <a:cubicBezTo>
                    <a:pt x="503" y="516"/>
                    <a:pt x="503" y="516"/>
                    <a:pt x="503" y="516"/>
                  </a:cubicBezTo>
                  <a:cubicBezTo>
                    <a:pt x="502" y="517"/>
                    <a:pt x="502" y="518"/>
                    <a:pt x="502" y="519"/>
                  </a:cubicBezTo>
                  <a:cubicBezTo>
                    <a:pt x="502" y="521"/>
                    <a:pt x="502" y="524"/>
                    <a:pt x="499" y="524"/>
                  </a:cubicBezTo>
                  <a:cubicBezTo>
                    <a:pt x="499" y="524"/>
                    <a:pt x="499" y="524"/>
                    <a:pt x="499" y="524"/>
                  </a:cubicBezTo>
                  <a:cubicBezTo>
                    <a:pt x="497" y="524"/>
                    <a:pt x="497" y="525"/>
                    <a:pt x="496" y="526"/>
                  </a:cubicBezTo>
                  <a:cubicBezTo>
                    <a:pt x="495" y="528"/>
                    <a:pt x="495" y="530"/>
                    <a:pt x="492" y="530"/>
                  </a:cubicBezTo>
                  <a:close/>
                  <a:moveTo>
                    <a:pt x="465" y="478"/>
                  </a:moveTo>
                  <a:cubicBezTo>
                    <a:pt x="465" y="478"/>
                    <a:pt x="465" y="478"/>
                    <a:pt x="465" y="478"/>
                  </a:cubicBezTo>
                  <a:cubicBezTo>
                    <a:pt x="465" y="478"/>
                    <a:pt x="465" y="478"/>
                    <a:pt x="465" y="478"/>
                  </a:cubicBezTo>
                  <a:cubicBezTo>
                    <a:pt x="464" y="479"/>
                    <a:pt x="466" y="483"/>
                    <a:pt x="468" y="487"/>
                  </a:cubicBezTo>
                  <a:cubicBezTo>
                    <a:pt x="471" y="495"/>
                    <a:pt x="475" y="503"/>
                    <a:pt x="472" y="507"/>
                  </a:cubicBezTo>
                  <a:cubicBezTo>
                    <a:pt x="471" y="508"/>
                    <a:pt x="471" y="510"/>
                    <a:pt x="472" y="511"/>
                  </a:cubicBezTo>
                  <a:cubicBezTo>
                    <a:pt x="475" y="518"/>
                    <a:pt x="486" y="528"/>
                    <a:pt x="491" y="529"/>
                  </a:cubicBezTo>
                  <a:cubicBezTo>
                    <a:pt x="492" y="529"/>
                    <a:pt x="492" y="529"/>
                    <a:pt x="492" y="529"/>
                  </a:cubicBezTo>
                  <a:cubicBezTo>
                    <a:pt x="494" y="529"/>
                    <a:pt x="495" y="527"/>
                    <a:pt x="495" y="526"/>
                  </a:cubicBezTo>
                  <a:cubicBezTo>
                    <a:pt x="496" y="524"/>
                    <a:pt x="497" y="523"/>
                    <a:pt x="499" y="523"/>
                  </a:cubicBezTo>
                  <a:cubicBezTo>
                    <a:pt x="501" y="523"/>
                    <a:pt x="501" y="522"/>
                    <a:pt x="501" y="519"/>
                  </a:cubicBezTo>
                  <a:cubicBezTo>
                    <a:pt x="501" y="518"/>
                    <a:pt x="501" y="517"/>
                    <a:pt x="502" y="516"/>
                  </a:cubicBezTo>
                  <a:cubicBezTo>
                    <a:pt x="502" y="515"/>
                    <a:pt x="502" y="515"/>
                    <a:pt x="503" y="515"/>
                  </a:cubicBezTo>
                  <a:cubicBezTo>
                    <a:pt x="503" y="515"/>
                    <a:pt x="504" y="515"/>
                    <a:pt x="505" y="516"/>
                  </a:cubicBezTo>
                  <a:cubicBezTo>
                    <a:pt x="506" y="517"/>
                    <a:pt x="508" y="517"/>
                    <a:pt x="509" y="517"/>
                  </a:cubicBezTo>
                  <a:cubicBezTo>
                    <a:pt x="510" y="517"/>
                    <a:pt x="510" y="517"/>
                    <a:pt x="510" y="517"/>
                  </a:cubicBezTo>
                  <a:cubicBezTo>
                    <a:pt x="512" y="516"/>
                    <a:pt x="511" y="513"/>
                    <a:pt x="511" y="510"/>
                  </a:cubicBezTo>
                  <a:cubicBezTo>
                    <a:pt x="511" y="507"/>
                    <a:pt x="511" y="504"/>
                    <a:pt x="513" y="502"/>
                  </a:cubicBezTo>
                  <a:cubicBezTo>
                    <a:pt x="513" y="502"/>
                    <a:pt x="514" y="501"/>
                    <a:pt x="515" y="501"/>
                  </a:cubicBezTo>
                  <a:cubicBezTo>
                    <a:pt x="515" y="501"/>
                    <a:pt x="515" y="501"/>
                    <a:pt x="516" y="501"/>
                  </a:cubicBezTo>
                  <a:cubicBezTo>
                    <a:pt x="518" y="498"/>
                    <a:pt x="515" y="486"/>
                    <a:pt x="513" y="480"/>
                  </a:cubicBezTo>
                  <a:cubicBezTo>
                    <a:pt x="513" y="479"/>
                    <a:pt x="513" y="478"/>
                    <a:pt x="511" y="478"/>
                  </a:cubicBezTo>
                  <a:cubicBezTo>
                    <a:pt x="509" y="478"/>
                    <a:pt x="505" y="480"/>
                    <a:pt x="501" y="481"/>
                  </a:cubicBezTo>
                  <a:cubicBezTo>
                    <a:pt x="497" y="483"/>
                    <a:pt x="493" y="485"/>
                    <a:pt x="490" y="485"/>
                  </a:cubicBezTo>
                  <a:cubicBezTo>
                    <a:pt x="484" y="486"/>
                    <a:pt x="477" y="483"/>
                    <a:pt x="472" y="481"/>
                  </a:cubicBezTo>
                  <a:cubicBezTo>
                    <a:pt x="469" y="479"/>
                    <a:pt x="466" y="478"/>
                    <a:pt x="465" y="478"/>
                  </a:cubicBezTo>
                  <a:close/>
                  <a:moveTo>
                    <a:pt x="489" y="450"/>
                  </a:moveTo>
                  <a:cubicBezTo>
                    <a:pt x="489" y="450"/>
                    <a:pt x="489" y="450"/>
                    <a:pt x="489" y="450"/>
                  </a:cubicBezTo>
                  <a:cubicBezTo>
                    <a:pt x="488" y="450"/>
                    <a:pt x="486" y="447"/>
                    <a:pt x="485" y="445"/>
                  </a:cubicBezTo>
                  <a:cubicBezTo>
                    <a:pt x="484" y="444"/>
                    <a:pt x="482" y="443"/>
                    <a:pt x="481" y="442"/>
                  </a:cubicBezTo>
                  <a:cubicBezTo>
                    <a:pt x="478" y="441"/>
                    <a:pt x="476" y="439"/>
                    <a:pt x="475" y="436"/>
                  </a:cubicBezTo>
                  <a:cubicBezTo>
                    <a:pt x="475" y="435"/>
                    <a:pt x="474" y="435"/>
                    <a:pt x="474" y="435"/>
                  </a:cubicBezTo>
                  <a:cubicBezTo>
                    <a:pt x="473" y="435"/>
                    <a:pt x="472" y="436"/>
                    <a:pt x="472" y="439"/>
                  </a:cubicBezTo>
                  <a:cubicBezTo>
                    <a:pt x="472" y="441"/>
                    <a:pt x="471" y="441"/>
                    <a:pt x="471" y="441"/>
                  </a:cubicBezTo>
                  <a:cubicBezTo>
                    <a:pt x="469" y="441"/>
                    <a:pt x="468" y="440"/>
                    <a:pt x="467" y="438"/>
                  </a:cubicBezTo>
                  <a:cubicBezTo>
                    <a:pt x="467" y="436"/>
                    <a:pt x="467" y="435"/>
                    <a:pt x="469" y="434"/>
                  </a:cubicBezTo>
                  <a:cubicBezTo>
                    <a:pt x="470" y="434"/>
                    <a:pt x="470" y="433"/>
                    <a:pt x="470" y="432"/>
                  </a:cubicBezTo>
                  <a:cubicBezTo>
                    <a:pt x="469" y="431"/>
                    <a:pt x="468" y="430"/>
                    <a:pt x="466" y="430"/>
                  </a:cubicBezTo>
                  <a:cubicBezTo>
                    <a:pt x="465" y="430"/>
                    <a:pt x="464" y="431"/>
                    <a:pt x="463" y="433"/>
                  </a:cubicBezTo>
                  <a:cubicBezTo>
                    <a:pt x="462" y="439"/>
                    <a:pt x="453" y="445"/>
                    <a:pt x="448" y="445"/>
                  </a:cubicBezTo>
                  <a:cubicBezTo>
                    <a:pt x="447" y="445"/>
                    <a:pt x="445" y="444"/>
                    <a:pt x="444" y="443"/>
                  </a:cubicBezTo>
                  <a:cubicBezTo>
                    <a:pt x="440" y="440"/>
                    <a:pt x="423" y="433"/>
                    <a:pt x="415" y="433"/>
                  </a:cubicBezTo>
                  <a:cubicBezTo>
                    <a:pt x="410" y="433"/>
                    <a:pt x="410" y="433"/>
                    <a:pt x="408" y="431"/>
                  </a:cubicBezTo>
                  <a:cubicBezTo>
                    <a:pt x="407" y="430"/>
                    <a:pt x="405" y="429"/>
                    <a:pt x="400" y="427"/>
                  </a:cubicBezTo>
                  <a:cubicBezTo>
                    <a:pt x="389" y="421"/>
                    <a:pt x="391" y="415"/>
                    <a:pt x="392" y="409"/>
                  </a:cubicBezTo>
                  <a:cubicBezTo>
                    <a:pt x="392" y="408"/>
                    <a:pt x="392" y="408"/>
                    <a:pt x="392" y="408"/>
                  </a:cubicBezTo>
                  <a:cubicBezTo>
                    <a:pt x="393" y="404"/>
                    <a:pt x="391" y="398"/>
                    <a:pt x="387" y="393"/>
                  </a:cubicBezTo>
                  <a:cubicBezTo>
                    <a:pt x="385" y="390"/>
                    <a:pt x="382" y="388"/>
                    <a:pt x="380" y="388"/>
                  </a:cubicBezTo>
                  <a:cubicBezTo>
                    <a:pt x="379" y="388"/>
                    <a:pt x="378" y="389"/>
                    <a:pt x="376" y="389"/>
                  </a:cubicBezTo>
                  <a:cubicBezTo>
                    <a:pt x="375" y="390"/>
                    <a:pt x="373" y="390"/>
                    <a:pt x="372" y="390"/>
                  </a:cubicBezTo>
                  <a:cubicBezTo>
                    <a:pt x="371" y="390"/>
                    <a:pt x="370" y="389"/>
                    <a:pt x="369" y="388"/>
                  </a:cubicBezTo>
                  <a:cubicBezTo>
                    <a:pt x="369" y="387"/>
                    <a:pt x="370" y="385"/>
                    <a:pt x="371" y="384"/>
                  </a:cubicBezTo>
                  <a:cubicBezTo>
                    <a:pt x="372" y="380"/>
                    <a:pt x="375" y="377"/>
                    <a:pt x="371" y="372"/>
                  </a:cubicBezTo>
                  <a:cubicBezTo>
                    <a:pt x="369" y="369"/>
                    <a:pt x="368" y="369"/>
                    <a:pt x="367" y="369"/>
                  </a:cubicBezTo>
                  <a:cubicBezTo>
                    <a:pt x="365" y="369"/>
                    <a:pt x="364" y="372"/>
                    <a:pt x="364" y="376"/>
                  </a:cubicBezTo>
                  <a:cubicBezTo>
                    <a:pt x="364" y="380"/>
                    <a:pt x="360" y="382"/>
                    <a:pt x="357" y="382"/>
                  </a:cubicBezTo>
                  <a:cubicBezTo>
                    <a:pt x="354" y="382"/>
                    <a:pt x="351" y="381"/>
                    <a:pt x="350" y="380"/>
                  </a:cubicBezTo>
                  <a:cubicBezTo>
                    <a:pt x="350" y="379"/>
                    <a:pt x="349" y="378"/>
                    <a:pt x="350" y="378"/>
                  </a:cubicBezTo>
                  <a:cubicBezTo>
                    <a:pt x="350" y="376"/>
                    <a:pt x="351" y="376"/>
                    <a:pt x="352" y="376"/>
                  </a:cubicBezTo>
                  <a:cubicBezTo>
                    <a:pt x="354" y="376"/>
                    <a:pt x="357" y="376"/>
                    <a:pt x="359" y="366"/>
                  </a:cubicBezTo>
                  <a:cubicBezTo>
                    <a:pt x="360" y="359"/>
                    <a:pt x="363" y="355"/>
                    <a:pt x="364" y="352"/>
                  </a:cubicBezTo>
                  <a:cubicBezTo>
                    <a:pt x="366" y="349"/>
                    <a:pt x="367" y="348"/>
                    <a:pt x="365" y="346"/>
                  </a:cubicBezTo>
                  <a:cubicBezTo>
                    <a:pt x="364" y="346"/>
                    <a:pt x="364" y="345"/>
                    <a:pt x="363" y="345"/>
                  </a:cubicBezTo>
                  <a:cubicBezTo>
                    <a:pt x="359" y="345"/>
                    <a:pt x="354" y="352"/>
                    <a:pt x="353" y="359"/>
                  </a:cubicBezTo>
                  <a:cubicBezTo>
                    <a:pt x="353" y="363"/>
                    <a:pt x="351" y="363"/>
                    <a:pt x="348" y="364"/>
                  </a:cubicBezTo>
                  <a:cubicBezTo>
                    <a:pt x="345" y="365"/>
                    <a:pt x="342" y="365"/>
                    <a:pt x="339" y="370"/>
                  </a:cubicBezTo>
                  <a:cubicBezTo>
                    <a:pt x="335" y="375"/>
                    <a:pt x="333" y="378"/>
                    <a:pt x="330" y="378"/>
                  </a:cubicBezTo>
                  <a:cubicBezTo>
                    <a:pt x="329" y="378"/>
                    <a:pt x="328" y="377"/>
                    <a:pt x="326" y="374"/>
                  </a:cubicBezTo>
                  <a:cubicBezTo>
                    <a:pt x="325" y="371"/>
                    <a:pt x="325" y="369"/>
                    <a:pt x="325" y="367"/>
                  </a:cubicBezTo>
                  <a:cubicBezTo>
                    <a:pt x="326" y="365"/>
                    <a:pt x="326" y="363"/>
                    <a:pt x="323" y="358"/>
                  </a:cubicBezTo>
                  <a:cubicBezTo>
                    <a:pt x="320" y="354"/>
                    <a:pt x="316" y="352"/>
                    <a:pt x="313" y="350"/>
                  </a:cubicBezTo>
                  <a:cubicBezTo>
                    <a:pt x="311" y="349"/>
                    <a:pt x="309" y="349"/>
                    <a:pt x="309" y="347"/>
                  </a:cubicBezTo>
                  <a:cubicBezTo>
                    <a:pt x="309" y="347"/>
                    <a:pt x="309" y="346"/>
                    <a:pt x="310" y="345"/>
                  </a:cubicBezTo>
                  <a:cubicBezTo>
                    <a:pt x="312" y="342"/>
                    <a:pt x="312" y="340"/>
                    <a:pt x="312" y="339"/>
                  </a:cubicBezTo>
                  <a:cubicBezTo>
                    <a:pt x="311" y="338"/>
                    <a:pt x="310" y="337"/>
                    <a:pt x="309" y="337"/>
                  </a:cubicBezTo>
                  <a:cubicBezTo>
                    <a:pt x="307" y="336"/>
                    <a:pt x="306" y="335"/>
                    <a:pt x="305" y="334"/>
                  </a:cubicBezTo>
                  <a:cubicBezTo>
                    <a:pt x="304" y="333"/>
                    <a:pt x="303" y="332"/>
                    <a:pt x="301" y="333"/>
                  </a:cubicBezTo>
                  <a:cubicBezTo>
                    <a:pt x="299" y="333"/>
                    <a:pt x="297" y="332"/>
                    <a:pt x="295" y="332"/>
                  </a:cubicBezTo>
                  <a:cubicBezTo>
                    <a:pt x="293" y="331"/>
                    <a:pt x="290" y="330"/>
                    <a:pt x="287" y="330"/>
                  </a:cubicBezTo>
                  <a:cubicBezTo>
                    <a:pt x="286" y="330"/>
                    <a:pt x="285" y="330"/>
                    <a:pt x="284" y="330"/>
                  </a:cubicBezTo>
                  <a:cubicBezTo>
                    <a:pt x="279" y="331"/>
                    <a:pt x="276" y="328"/>
                    <a:pt x="274" y="325"/>
                  </a:cubicBezTo>
                  <a:cubicBezTo>
                    <a:pt x="272" y="323"/>
                    <a:pt x="270" y="321"/>
                    <a:pt x="268" y="321"/>
                  </a:cubicBezTo>
                  <a:cubicBezTo>
                    <a:pt x="267" y="321"/>
                    <a:pt x="267" y="322"/>
                    <a:pt x="266" y="322"/>
                  </a:cubicBezTo>
                  <a:cubicBezTo>
                    <a:pt x="263" y="322"/>
                    <a:pt x="258" y="323"/>
                    <a:pt x="253" y="323"/>
                  </a:cubicBezTo>
                  <a:cubicBezTo>
                    <a:pt x="247" y="323"/>
                    <a:pt x="240" y="324"/>
                    <a:pt x="235" y="326"/>
                  </a:cubicBezTo>
                  <a:cubicBezTo>
                    <a:pt x="234" y="326"/>
                    <a:pt x="232" y="327"/>
                    <a:pt x="230" y="328"/>
                  </a:cubicBezTo>
                  <a:cubicBezTo>
                    <a:pt x="223" y="331"/>
                    <a:pt x="213" y="335"/>
                    <a:pt x="203" y="335"/>
                  </a:cubicBezTo>
                  <a:cubicBezTo>
                    <a:pt x="200" y="335"/>
                    <a:pt x="197" y="335"/>
                    <a:pt x="195" y="335"/>
                  </a:cubicBezTo>
                  <a:cubicBezTo>
                    <a:pt x="188" y="335"/>
                    <a:pt x="185" y="336"/>
                    <a:pt x="182" y="339"/>
                  </a:cubicBezTo>
                  <a:cubicBezTo>
                    <a:pt x="180" y="341"/>
                    <a:pt x="176" y="342"/>
                    <a:pt x="173" y="343"/>
                  </a:cubicBezTo>
                  <a:cubicBezTo>
                    <a:pt x="168" y="345"/>
                    <a:pt x="164" y="346"/>
                    <a:pt x="162" y="350"/>
                  </a:cubicBezTo>
                  <a:cubicBezTo>
                    <a:pt x="159" y="358"/>
                    <a:pt x="150" y="362"/>
                    <a:pt x="135" y="361"/>
                  </a:cubicBezTo>
                  <a:cubicBezTo>
                    <a:pt x="132" y="361"/>
                    <a:pt x="132" y="361"/>
                    <a:pt x="132" y="361"/>
                  </a:cubicBezTo>
                  <a:cubicBezTo>
                    <a:pt x="125" y="361"/>
                    <a:pt x="119" y="360"/>
                    <a:pt x="113" y="360"/>
                  </a:cubicBezTo>
                  <a:cubicBezTo>
                    <a:pt x="108" y="360"/>
                    <a:pt x="100" y="361"/>
                    <a:pt x="98" y="363"/>
                  </a:cubicBezTo>
                  <a:cubicBezTo>
                    <a:pt x="97" y="364"/>
                    <a:pt x="97" y="365"/>
                    <a:pt x="96" y="366"/>
                  </a:cubicBezTo>
                  <a:cubicBezTo>
                    <a:pt x="94" y="369"/>
                    <a:pt x="93" y="370"/>
                    <a:pt x="87" y="371"/>
                  </a:cubicBezTo>
                  <a:cubicBezTo>
                    <a:pt x="83" y="371"/>
                    <a:pt x="81" y="373"/>
                    <a:pt x="79" y="375"/>
                  </a:cubicBezTo>
                  <a:cubicBezTo>
                    <a:pt x="77" y="377"/>
                    <a:pt x="75" y="379"/>
                    <a:pt x="73" y="379"/>
                  </a:cubicBezTo>
                  <a:cubicBezTo>
                    <a:pt x="72" y="379"/>
                    <a:pt x="70" y="379"/>
                    <a:pt x="69" y="380"/>
                  </a:cubicBezTo>
                  <a:cubicBezTo>
                    <a:pt x="67" y="380"/>
                    <a:pt x="64" y="380"/>
                    <a:pt x="62" y="380"/>
                  </a:cubicBezTo>
                  <a:cubicBezTo>
                    <a:pt x="53" y="380"/>
                    <a:pt x="47" y="379"/>
                    <a:pt x="44" y="376"/>
                  </a:cubicBezTo>
                  <a:cubicBezTo>
                    <a:pt x="41" y="374"/>
                    <a:pt x="40" y="372"/>
                    <a:pt x="39" y="371"/>
                  </a:cubicBezTo>
                  <a:cubicBezTo>
                    <a:pt x="37" y="369"/>
                    <a:pt x="37" y="367"/>
                    <a:pt x="34" y="367"/>
                  </a:cubicBezTo>
                  <a:cubicBezTo>
                    <a:pt x="29" y="367"/>
                    <a:pt x="26" y="363"/>
                    <a:pt x="26" y="359"/>
                  </a:cubicBezTo>
                  <a:cubicBezTo>
                    <a:pt x="27" y="358"/>
                    <a:pt x="28" y="356"/>
                    <a:pt x="30" y="356"/>
                  </a:cubicBezTo>
                  <a:cubicBezTo>
                    <a:pt x="32" y="356"/>
                    <a:pt x="35" y="356"/>
                    <a:pt x="36" y="354"/>
                  </a:cubicBezTo>
                  <a:cubicBezTo>
                    <a:pt x="38" y="352"/>
                    <a:pt x="38" y="349"/>
                    <a:pt x="38" y="345"/>
                  </a:cubicBezTo>
                  <a:cubicBezTo>
                    <a:pt x="37" y="340"/>
                    <a:pt x="39" y="336"/>
                    <a:pt x="40" y="332"/>
                  </a:cubicBezTo>
                  <a:cubicBezTo>
                    <a:pt x="41" y="329"/>
                    <a:pt x="42" y="327"/>
                    <a:pt x="41" y="326"/>
                  </a:cubicBezTo>
                  <a:cubicBezTo>
                    <a:pt x="41" y="326"/>
                    <a:pt x="27" y="305"/>
                    <a:pt x="28" y="292"/>
                  </a:cubicBezTo>
                  <a:cubicBezTo>
                    <a:pt x="28" y="286"/>
                    <a:pt x="25" y="281"/>
                    <a:pt x="21" y="276"/>
                  </a:cubicBezTo>
                  <a:cubicBezTo>
                    <a:pt x="18" y="272"/>
                    <a:pt x="16" y="269"/>
                    <a:pt x="16" y="265"/>
                  </a:cubicBezTo>
                  <a:cubicBezTo>
                    <a:pt x="16" y="261"/>
                    <a:pt x="11" y="252"/>
                    <a:pt x="7" y="245"/>
                  </a:cubicBezTo>
                  <a:cubicBezTo>
                    <a:pt x="3" y="238"/>
                    <a:pt x="0" y="233"/>
                    <a:pt x="1" y="232"/>
                  </a:cubicBezTo>
                  <a:cubicBezTo>
                    <a:pt x="1" y="231"/>
                    <a:pt x="2" y="231"/>
                    <a:pt x="2" y="231"/>
                  </a:cubicBezTo>
                  <a:cubicBezTo>
                    <a:pt x="3" y="231"/>
                    <a:pt x="5" y="233"/>
                    <a:pt x="7" y="235"/>
                  </a:cubicBezTo>
                  <a:cubicBezTo>
                    <a:pt x="8" y="237"/>
                    <a:pt x="10" y="240"/>
                    <a:pt x="11" y="240"/>
                  </a:cubicBezTo>
                  <a:cubicBezTo>
                    <a:pt x="11" y="240"/>
                    <a:pt x="11" y="240"/>
                    <a:pt x="11" y="240"/>
                  </a:cubicBezTo>
                  <a:cubicBezTo>
                    <a:pt x="12" y="238"/>
                    <a:pt x="10" y="236"/>
                    <a:pt x="9" y="234"/>
                  </a:cubicBezTo>
                  <a:cubicBezTo>
                    <a:pt x="7" y="232"/>
                    <a:pt x="6" y="230"/>
                    <a:pt x="7" y="229"/>
                  </a:cubicBezTo>
                  <a:cubicBezTo>
                    <a:pt x="8" y="229"/>
                    <a:pt x="8" y="229"/>
                    <a:pt x="8" y="229"/>
                  </a:cubicBezTo>
                  <a:cubicBezTo>
                    <a:pt x="9" y="229"/>
                    <a:pt x="10" y="230"/>
                    <a:pt x="11" y="233"/>
                  </a:cubicBezTo>
                  <a:cubicBezTo>
                    <a:pt x="12" y="235"/>
                    <a:pt x="14" y="237"/>
                    <a:pt x="15" y="237"/>
                  </a:cubicBezTo>
                  <a:cubicBezTo>
                    <a:pt x="16" y="237"/>
                    <a:pt x="16" y="237"/>
                    <a:pt x="16" y="237"/>
                  </a:cubicBezTo>
                  <a:cubicBezTo>
                    <a:pt x="18" y="232"/>
                    <a:pt x="14" y="226"/>
                    <a:pt x="7" y="218"/>
                  </a:cubicBezTo>
                  <a:cubicBezTo>
                    <a:pt x="0" y="208"/>
                    <a:pt x="5" y="201"/>
                    <a:pt x="10" y="194"/>
                  </a:cubicBezTo>
                  <a:cubicBezTo>
                    <a:pt x="12" y="190"/>
                    <a:pt x="11" y="188"/>
                    <a:pt x="10" y="186"/>
                  </a:cubicBezTo>
                  <a:cubicBezTo>
                    <a:pt x="9" y="183"/>
                    <a:pt x="8" y="181"/>
                    <a:pt x="9" y="178"/>
                  </a:cubicBezTo>
                  <a:cubicBezTo>
                    <a:pt x="11" y="172"/>
                    <a:pt x="15" y="166"/>
                    <a:pt x="17" y="166"/>
                  </a:cubicBezTo>
                  <a:cubicBezTo>
                    <a:pt x="18" y="167"/>
                    <a:pt x="18" y="167"/>
                    <a:pt x="18" y="167"/>
                  </a:cubicBezTo>
                  <a:cubicBezTo>
                    <a:pt x="18" y="168"/>
                    <a:pt x="18" y="168"/>
                    <a:pt x="18" y="169"/>
                  </a:cubicBezTo>
                  <a:cubicBezTo>
                    <a:pt x="17" y="173"/>
                    <a:pt x="18" y="176"/>
                    <a:pt x="18" y="176"/>
                  </a:cubicBezTo>
                  <a:cubicBezTo>
                    <a:pt x="18" y="176"/>
                    <a:pt x="18" y="176"/>
                    <a:pt x="18" y="176"/>
                  </a:cubicBezTo>
                  <a:cubicBezTo>
                    <a:pt x="19" y="175"/>
                    <a:pt x="20" y="174"/>
                    <a:pt x="20" y="172"/>
                  </a:cubicBezTo>
                  <a:cubicBezTo>
                    <a:pt x="21" y="169"/>
                    <a:pt x="23" y="165"/>
                    <a:pt x="26" y="165"/>
                  </a:cubicBezTo>
                  <a:cubicBezTo>
                    <a:pt x="32" y="165"/>
                    <a:pt x="39" y="161"/>
                    <a:pt x="44" y="155"/>
                  </a:cubicBezTo>
                  <a:cubicBezTo>
                    <a:pt x="48" y="152"/>
                    <a:pt x="54" y="149"/>
                    <a:pt x="58" y="149"/>
                  </a:cubicBezTo>
                  <a:cubicBezTo>
                    <a:pt x="61" y="149"/>
                    <a:pt x="62" y="150"/>
                    <a:pt x="63" y="151"/>
                  </a:cubicBezTo>
                  <a:cubicBezTo>
                    <a:pt x="63" y="152"/>
                    <a:pt x="63" y="152"/>
                    <a:pt x="64" y="152"/>
                  </a:cubicBezTo>
                  <a:cubicBezTo>
                    <a:pt x="66" y="152"/>
                    <a:pt x="72" y="148"/>
                    <a:pt x="75" y="145"/>
                  </a:cubicBezTo>
                  <a:cubicBezTo>
                    <a:pt x="76" y="145"/>
                    <a:pt x="76" y="145"/>
                    <a:pt x="76" y="145"/>
                  </a:cubicBezTo>
                  <a:cubicBezTo>
                    <a:pt x="78" y="143"/>
                    <a:pt x="80" y="143"/>
                    <a:pt x="83" y="143"/>
                  </a:cubicBezTo>
                  <a:cubicBezTo>
                    <a:pt x="85" y="143"/>
                    <a:pt x="87" y="142"/>
                    <a:pt x="89" y="140"/>
                  </a:cubicBezTo>
                  <a:cubicBezTo>
                    <a:pt x="91" y="139"/>
                    <a:pt x="95" y="139"/>
                    <a:pt x="99" y="138"/>
                  </a:cubicBezTo>
                  <a:cubicBezTo>
                    <a:pt x="105" y="138"/>
                    <a:pt x="111" y="138"/>
                    <a:pt x="115" y="133"/>
                  </a:cubicBezTo>
                  <a:cubicBezTo>
                    <a:pt x="122" y="126"/>
                    <a:pt x="134" y="114"/>
                    <a:pt x="136" y="113"/>
                  </a:cubicBezTo>
                  <a:cubicBezTo>
                    <a:pt x="137" y="112"/>
                    <a:pt x="136" y="110"/>
                    <a:pt x="136" y="109"/>
                  </a:cubicBezTo>
                  <a:cubicBezTo>
                    <a:pt x="135" y="105"/>
                    <a:pt x="133" y="100"/>
                    <a:pt x="137" y="96"/>
                  </a:cubicBezTo>
                  <a:cubicBezTo>
                    <a:pt x="142" y="90"/>
                    <a:pt x="145" y="88"/>
                    <a:pt x="147" y="88"/>
                  </a:cubicBezTo>
                  <a:cubicBezTo>
                    <a:pt x="148" y="88"/>
                    <a:pt x="149" y="88"/>
                    <a:pt x="149" y="90"/>
                  </a:cubicBezTo>
                  <a:cubicBezTo>
                    <a:pt x="149" y="92"/>
                    <a:pt x="150" y="95"/>
                    <a:pt x="151" y="97"/>
                  </a:cubicBezTo>
                  <a:cubicBezTo>
                    <a:pt x="152" y="100"/>
                    <a:pt x="153" y="101"/>
                    <a:pt x="153" y="101"/>
                  </a:cubicBezTo>
                  <a:cubicBezTo>
                    <a:pt x="154" y="101"/>
                    <a:pt x="154" y="101"/>
                    <a:pt x="154" y="101"/>
                  </a:cubicBezTo>
                  <a:cubicBezTo>
                    <a:pt x="155" y="100"/>
                    <a:pt x="155" y="100"/>
                    <a:pt x="156" y="99"/>
                  </a:cubicBezTo>
                  <a:cubicBezTo>
                    <a:pt x="158" y="98"/>
                    <a:pt x="159" y="97"/>
                    <a:pt x="158" y="94"/>
                  </a:cubicBezTo>
                  <a:cubicBezTo>
                    <a:pt x="158" y="92"/>
                    <a:pt x="157" y="90"/>
                    <a:pt x="156" y="88"/>
                  </a:cubicBezTo>
                  <a:cubicBezTo>
                    <a:pt x="155" y="87"/>
                    <a:pt x="154" y="85"/>
                    <a:pt x="155" y="84"/>
                  </a:cubicBezTo>
                  <a:cubicBezTo>
                    <a:pt x="155" y="83"/>
                    <a:pt x="155" y="83"/>
                    <a:pt x="156" y="82"/>
                  </a:cubicBezTo>
                  <a:cubicBezTo>
                    <a:pt x="157" y="82"/>
                    <a:pt x="157" y="82"/>
                    <a:pt x="158" y="82"/>
                  </a:cubicBezTo>
                  <a:cubicBezTo>
                    <a:pt x="159" y="82"/>
                    <a:pt x="162" y="83"/>
                    <a:pt x="163" y="84"/>
                  </a:cubicBezTo>
                  <a:cubicBezTo>
                    <a:pt x="165" y="84"/>
                    <a:pt x="166" y="85"/>
                    <a:pt x="166" y="85"/>
                  </a:cubicBezTo>
                  <a:cubicBezTo>
                    <a:pt x="167" y="85"/>
                    <a:pt x="167" y="85"/>
                    <a:pt x="167" y="85"/>
                  </a:cubicBezTo>
                  <a:cubicBezTo>
                    <a:pt x="167" y="85"/>
                    <a:pt x="167" y="85"/>
                    <a:pt x="167" y="84"/>
                  </a:cubicBezTo>
                  <a:cubicBezTo>
                    <a:pt x="166" y="80"/>
                    <a:pt x="166" y="73"/>
                    <a:pt x="168" y="70"/>
                  </a:cubicBezTo>
                  <a:cubicBezTo>
                    <a:pt x="168" y="69"/>
                    <a:pt x="169" y="69"/>
                    <a:pt x="170" y="69"/>
                  </a:cubicBezTo>
                  <a:cubicBezTo>
                    <a:pt x="172" y="69"/>
                    <a:pt x="173" y="68"/>
                    <a:pt x="174" y="66"/>
                  </a:cubicBezTo>
                  <a:cubicBezTo>
                    <a:pt x="175" y="65"/>
                    <a:pt x="175" y="64"/>
                    <a:pt x="177" y="64"/>
                  </a:cubicBezTo>
                  <a:cubicBezTo>
                    <a:pt x="177" y="64"/>
                    <a:pt x="177" y="64"/>
                    <a:pt x="177" y="64"/>
                  </a:cubicBezTo>
                  <a:cubicBezTo>
                    <a:pt x="177" y="64"/>
                    <a:pt x="177" y="63"/>
                    <a:pt x="177" y="62"/>
                  </a:cubicBezTo>
                  <a:cubicBezTo>
                    <a:pt x="177" y="61"/>
                    <a:pt x="176" y="60"/>
                    <a:pt x="177" y="59"/>
                  </a:cubicBezTo>
                  <a:cubicBezTo>
                    <a:pt x="178" y="58"/>
                    <a:pt x="178" y="58"/>
                    <a:pt x="179" y="58"/>
                  </a:cubicBezTo>
                  <a:cubicBezTo>
                    <a:pt x="181" y="57"/>
                    <a:pt x="184" y="58"/>
                    <a:pt x="186" y="59"/>
                  </a:cubicBezTo>
                  <a:cubicBezTo>
                    <a:pt x="188" y="59"/>
                    <a:pt x="190" y="60"/>
                    <a:pt x="190" y="59"/>
                  </a:cubicBezTo>
                  <a:cubicBezTo>
                    <a:pt x="190" y="58"/>
                    <a:pt x="190" y="58"/>
                    <a:pt x="190" y="58"/>
                  </a:cubicBezTo>
                  <a:cubicBezTo>
                    <a:pt x="190" y="55"/>
                    <a:pt x="190" y="53"/>
                    <a:pt x="191" y="52"/>
                  </a:cubicBezTo>
                  <a:cubicBezTo>
                    <a:pt x="192" y="51"/>
                    <a:pt x="193" y="51"/>
                    <a:pt x="195" y="51"/>
                  </a:cubicBezTo>
                  <a:cubicBezTo>
                    <a:pt x="197" y="51"/>
                    <a:pt x="198" y="50"/>
                    <a:pt x="199" y="48"/>
                  </a:cubicBezTo>
                  <a:cubicBezTo>
                    <a:pt x="200" y="47"/>
                    <a:pt x="201" y="46"/>
                    <a:pt x="204" y="46"/>
                  </a:cubicBezTo>
                  <a:cubicBezTo>
                    <a:pt x="204" y="46"/>
                    <a:pt x="204" y="46"/>
                    <a:pt x="204" y="46"/>
                  </a:cubicBezTo>
                  <a:cubicBezTo>
                    <a:pt x="208" y="46"/>
                    <a:pt x="215" y="52"/>
                    <a:pt x="216" y="55"/>
                  </a:cubicBezTo>
                  <a:cubicBezTo>
                    <a:pt x="217" y="56"/>
                    <a:pt x="218" y="57"/>
                    <a:pt x="220" y="57"/>
                  </a:cubicBezTo>
                  <a:cubicBezTo>
                    <a:pt x="222" y="58"/>
                    <a:pt x="225" y="58"/>
                    <a:pt x="224" y="62"/>
                  </a:cubicBezTo>
                  <a:cubicBezTo>
                    <a:pt x="224" y="65"/>
                    <a:pt x="225" y="66"/>
                    <a:pt x="226" y="67"/>
                  </a:cubicBezTo>
                  <a:cubicBezTo>
                    <a:pt x="226" y="68"/>
                    <a:pt x="227" y="68"/>
                    <a:pt x="228" y="68"/>
                  </a:cubicBezTo>
                  <a:cubicBezTo>
                    <a:pt x="228" y="67"/>
                    <a:pt x="228" y="66"/>
                    <a:pt x="228" y="65"/>
                  </a:cubicBezTo>
                  <a:cubicBezTo>
                    <a:pt x="228" y="64"/>
                    <a:pt x="229" y="62"/>
                    <a:pt x="229" y="62"/>
                  </a:cubicBezTo>
                  <a:cubicBezTo>
                    <a:pt x="230" y="61"/>
                    <a:pt x="231" y="61"/>
                    <a:pt x="232" y="61"/>
                  </a:cubicBezTo>
                  <a:cubicBezTo>
                    <a:pt x="234" y="61"/>
                    <a:pt x="236" y="62"/>
                    <a:pt x="238" y="64"/>
                  </a:cubicBezTo>
                  <a:cubicBezTo>
                    <a:pt x="242" y="68"/>
                    <a:pt x="246" y="68"/>
                    <a:pt x="247" y="67"/>
                  </a:cubicBezTo>
                  <a:cubicBezTo>
                    <a:pt x="247" y="67"/>
                    <a:pt x="247" y="66"/>
                    <a:pt x="245" y="63"/>
                  </a:cubicBezTo>
                  <a:cubicBezTo>
                    <a:pt x="242" y="60"/>
                    <a:pt x="241" y="57"/>
                    <a:pt x="241" y="55"/>
                  </a:cubicBezTo>
                  <a:cubicBezTo>
                    <a:pt x="241" y="53"/>
                    <a:pt x="242" y="52"/>
                    <a:pt x="245" y="50"/>
                  </a:cubicBezTo>
                  <a:cubicBezTo>
                    <a:pt x="247" y="49"/>
                    <a:pt x="247" y="48"/>
                    <a:pt x="248" y="46"/>
                  </a:cubicBezTo>
                  <a:cubicBezTo>
                    <a:pt x="248" y="44"/>
                    <a:pt x="248" y="42"/>
                    <a:pt x="250" y="40"/>
                  </a:cubicBezTo>
                  <a:cubicBezTo>
                    <a:pt x="252" y="38"/>
                    <a:pt x="253" y="36"/>
                    <a:pt x="254" y="34"/>
                  </a:cubicBezTo>
                  <a:cubicBezTo>
                    <a:pt x="256" y="30"/>
                    <a:pt x="257" y="26"/>
                    <a:pt x="261" y="26"/>
                  </a:cubicBezTo>
                  <a:cubicBezTo>
                    <a:pt x="261" y="26"/>
                    <a:pt x="261" y="26"/>
                    <a:pt x="261" y="26"/>
                  </a:cubicBezTo>
                  <a:cubicBezTo>
                    <a:pt x="262" y="27"/>
                    <a:pt x="262" y="26"/>
                    <a:pt x="262" y="26"/>
                  </a:cubicBezTo>
                  <a:cubicBezTo>
                    <a:pt x="263" y="26"/>
                    <a:pt x="263" y="25"/>
                    <a:pt x="262" y="24"/>
                  </a:cubicBezTo>
                  <a:cubicBezTo>
                    <a:pt x="262" y="24"/>
                    <a:pt x="262" y="23"/>
                    <a:pt x="262" y="22"/>
                  </a:cubicBezTo>
                  <a:cubicBezTo>
                    <a:pt x="263" y="22"/>
                    <a:pt x="264" y="22"/>
                    <a:pt x="265" y="22"/>
                  </a:cubicBezTo>
                  <a:cubicBezTo>
                    <a:pt x="266" y="23"/>
                    <a:pt x="268" y="23"/>
                    <a:pt x="270" y="23"/>
                  </a:cubicBezTo>
                  <a:cubicBezTo>
                    <a:pt x="277" y="23"/>
                    <a:pt x="286" y="21"/>
                    <a:pt x="288" y="18"/>
                  </a:cubicBezTo>
                  <a:cubicBezTo>
                    <a:pt x="288" y="18"/>
                    <a:pt x="288" y="17"/>
                    <a:pt x="287" y="16"/>
                  </a:cubicBezTo>
                  <a:cubicBezTo>
                    <a:pt x="286" y="15"/>
                    <a:pt x="285" y="14"/>
                    <a:pt x="284" y="13"/>
                  </a:cubicBezTo>
                  <a:cubicBezTo>
                    <a:pt x="281" y="11"/>
                    <a:pt x="280" y="9"/>
                    <a:pt x="280" y="8"/>
                  </a:cubicBezTo>
                  <a:cubicBezTo>
                    <a:pt x="280" y="7"/>
                    <a:pt x="281" y="6"/>
                    <a:pt x="282" y="6"/>
                  </a:cubicBezTo>
                  <a:cubicBezTo>
                    <a:pt x="283" y="6"/>
                    <a:pt x="283" y="6"/>
                    <a:pt x="283" y="6"/>
                  </a:cubicBezTo>
                  <a:cubicBezTo>
                    <a:pt x="285" y="6"/>
                    <a:pt x="286" y="7"/>
                    <a:pt x="288" y="9"/>
                  </a:cubicBezTo>
                  <a:cubicBezTo>
                    <a:pt x="290" y="11"/>
                    <a:pt x="292" y="14"/>
                    <a:pt x="296" y="14"/>
                  </a:cubicBezTo>
                  <a:cubicBezTo>
                    <a:pt x="302" y="15"/>
                    <a:pt x="321" y="19"/>
                    <a:pt x="324" y="23"/>
                  </a:cubicBezTo>
                  <a:cubicBezTo>
                    <a:pt x="325" y="24"/>
                    <a:pt x="325" y="24"/>
                    <a:pt x="326" y="24"/>
                  </a:cubicBezTo>
                  <a:cubicBezTo>
                    <a:pt x="328" y="24"/>
                    <a:pt x="331" y="22"/>
                    <a:pt x="332" y="20"/>
                  </a:cubicBezTo>
                  <a:cubicBezTo>
                    <a:pt x="334" y="19"/>
                    <a:pt x="334" y="19"/>
                    <a:pt x="335" y="18"/>
                  </a:cubicBezTo>
                  <a:cubicBezTo>
                    <a:pt x="335" y="18"/>
                    <a:pt x="335" y="18"/>
                    <a:pt x="335" y="18"/>
                  </a:cubicBezTo>
                  <a:cubicBezTo>
                    <a:pt x="336" y="18"/>
                    <a:pt x="337" y="20"/>
                    <a:pt x="338" y="22"/>
                  </a:cubicBezTo>
                  <a:cubicBezTo>
                    <a:pt x="338" y="24"/>
                    <a:pt x="340" y="26"/>
                    <a:pt x="340" y="26"/>
                  </a:cubicBezTo>
                  <a:cubicBezTo>
                    <a:pt x="341" y="26"/>
                    <a:pt x="341" y="25"/>
                    <a:pt x="341" y="24"/>
                  </a:cubicBezTo>
                  <a:cubicBezTo>
                    <a:pt x="342" y="23"/>
                    <a:pt x="342" y="20"/>
                    <a:pt x="345" y="20"/>
                  </a:cubicBezTo>
                  <a:cubicBezTo>
                    <a:pt x="346" y="20"/>
                    <a:pt x="346" y="20"/>
                    <a:pt x="346" y="20"/>
                  </a:cubicBezTo>
                  <a:cubicBezTo>
                    <a:pt x="349" y="21"/>
                    <a:pt x="352" y="23"/>
                    <a:pt x="352" y="25"/>
                  </a:cubicBezTo>
                  <a:cubicBezTo>
                    <a:pt x="352" y="26"/>
                    <a:pt x="352" y="27"/>
                    <a:pt x="349" y="28"/>
                  </a:cubicBezTo>
                  <a:cubicBezTo>
                    <a:pt x="347" y="29"/>
                    <a:pt x="348" y="30"/>
                    <a:pt x="348" y="32"/>
                  </a:cubicBezTo>
                  <a:cubicBezTo>
                    <a:pt x="348" y="34"/>
                    <a:pt x="348" y="36"/>
                    <a:pt x="345" y="38"/>
                  </a:cubicBezTo>
                  <a:cubicBezTo>
                    <a:pt x="342" y="39"/>
                    <a:pt x="340" y="40"/>
                    <a:pt x="338" y="41"/>
                  </a:cubicBezTo>
                  <a:cubicBezTo>
                    <a:pt x="336" y="41"/>
                    <a:pt x="335" y="42"/>
                    <a:pt x="335" y="42"/>
                  </a:cubicBezTo>
                  <a:cubicBezTo>
                    <a:pt x="335" y="43"/>
                    <a:pt x="335" y="43"/>
                    <a:pt x="335" y="44"/>
                  </a:cubicBezTo>
                  <a:cubicBezTo>
                    <a:pt x="339" y="50"/>
                    <a:pt x="338" y="54"/>
                    <a:pt x="334" y="57"/>
                  </a:cubicBezTo>
                  <a:cubicBezTo>
                    <a:pt x="333" y="58"/>
                    <a:pt x="333" y="58"/>
                    <a:pt x="332" y="58"/>
                  </a:cubicBezTo>
                  <a:cubicBezTo>
                    <a:pt x="331" y="59"/>
                    <a:pt x="330" y="60"/>
                    <a:pt x="330" y="61"/>
                  </a:cubicBezTo>
                  <a:cubicBezTo>
                    <a:pt x="330" y="61"/>
                    <a:pt x="331" y="62"/>
                    <a:pt x="333" y="63"/>
                  </a:cubicBezTo>
                  <a:cubicBezTo>
                    <a:pt x="333" y="64"/>
                    <a:pt x="334" y="64"/>
                    <a:pt x="334" y="64"/>
                  </a:cubicBezTo>
                  <a:cubicBezTo>
                    <a:pt x="338" y="67"/>
                    <a:pt x="340" y="69"/>
                    <a:pt x="342" y="75"/>
                  </a:cubicBezTo>
                  <a:cubicBezTo>
                    <a:pt x="343" y="77"/>
                    <a:pt x="344" y="77"/>
                    <a:pt x="346" y="77"/>
                  </a:cubicBezTo>
                  <a:cubicBezTo>
                    <a:pt x="347" y="77"/>
                    <a:pt x="347" y="77"/>
                    <a:pt x="348" y="77"/>
                  </a:cubicBezTo>
                  <a:cubicBezTo>
                    <a:pt x="348" y="77"/>
                    <a:pt x="349" y="77"/>
                    <a:pt x="350" y="77"/>
                  </a:cubicBezTo>
                  <a:cubicBezTo>
                    <a:pt x="352" y="77"/>
                    <a:pt x="354" y="77"/>
                    <a:pt x="357" y="79"/>
                  </a:cubicBezTo>
                  <a:cubicBezTo>
                    <a:pt x="360" y="82"/>
                    <a:pt x="362" y="84"/>
                    <a:pt x="364" y="86"/>
                  </a:cubicBezTo>
                  <a:cubicBezTo>
                    <a:pt x="367" y="89"/>
                    <a:pt x="369" y="91"/>
                    <a:pt x="371" y="91"/>
                  </a:cubicBezTo>
                  <a:cubicBezTo>
                    <a:pt x="374" y="90"/>
                    <a:pt x="381" y="91"/>
                    <a:pt x="383" y="94"/>
                  </a:cubicBezTo>
                  <a:cubicBezTo>
                    <a:pt x="384" y="95"/>
                    <a:pt x="385" y="96"/>
                    <a:pt x="384" y="97"/>
                  </a:cubicBezTo>
                  <a:cubicBezTo>
                    <a:pt x="384" y="98"/>
                    <a:pt x="385" y="99"/>
                    <a:pt x="386" y="100"/>
                  </a:cubicBezTo>
                  <a:cubicBezTo>
                    <a:pt x="388" y="103"/>
                    <a:pt x="393" y="105"/>
                    <a:pt x="397" y="105"/>
                  </a:cubicBezTo>
                  <a:cubicBezTo>
                    <a:pt x="399" y="105"/>
                    <a:pt x="400" y="105"/>
                    <a:pt x="402" y="104"/>
                  </a:cubicBezTo>
                  <a:cubicBezTo>
                    <a:pt x="407" y="102"/>
                    <a:pt x="409" y="98"/>
                    <a:pt x="410" y="93"/>
                  </a:cubicBezTo>
                  <a:cubicBezTo>
                    <a:pt x="411" y="91"/>
                    <a:pt x="412" y="89"/>
                    <a:pt x="414" y="87"/>
                  </a:cubicBezTo>
                  <a:cubicBezTo>
                    <a:pt x="416" y="83"/>
                    <a:pt x="417" y="77"/>
                    <a:pt x="417" y="71"/>
                  </a:cubicBezTo>
                  <a:cubicBezTo>
                    <a:pt x="418" y="69"/>
                    <a:pt x="418" y="67"/>
                    <a:pt x="418" y="65"/>
                  </a:cubicBezTo>
                  <a:cubicBezTo>
                    <a:pt x="418" y="62"/>
                    <a:pt x="418" y="58"/>
                    <a:pt x="418" y="54"/>
                  </a:cubicBezTo>
                  <a:cubicBezTo>
                    <a:pt x="417" y="48"/>
                    <a:pt x="417" y="42"/>
                    <a:pt x="419" y="39"/>
                  </a:cubicBezTo>
                  <a:cubicBezTo>
                    <a:pt x="421" y="37"/>
                    <a:pt x="421" y="34"/>
                    <a:pt x="421" y="30"/>
                  </a:cubicBezTo>
                  <a:cubicBezTo>
                    <a:pt x="420" y="27"/>
                    <a:pt x="420" y="24"/>
                    <a:pt x="421" y="23"/>
                  </a:cubicBezTo>
                  <a:cubicBezTo>
                    <a:pt x="424" y="20"/>
                    <a:pt x="425" y="16"/>
                    <a:pt x="425" y="12"/>
                  </a:cubicBezTo>
                  <a:cubicBezTo>
                    <a:pt x="425" y="9"/>
                    <a:pt x="427" y="6"/>
                    <a:pt x="429" y="3"/>
                  </a:cubicBezTo>
                  <a:cubicBezTo>
                    <a:pt x="430" y="3"/>
                    <a:pt x="432" y="0"/>
                    <a:pt x="434" y="0"/>
                  </a:cubicBezTo>
                  <a:cubicBezTo>
                    <a:pt x="434" y="0"/>
                    <a:pt x="435" y="0"/>
                    <a:pt x="435" y="1"/>
                  </a:cubicBezTo>
                  <a:cubicBezTo>
                    <a:pt x="436" y="2"/>
                    <a:pt x="437" y="4"/>
                    <a:pt x="437" y="7"/>
                  </a:cubicBezTo>
                  <a:cubicBezTo>
                    <a:pt x="438" y="11"/>
                    <a:pt x="439" y="17"/>
                    <a:pt x="442" y="19"/>
                  </a:cubicBezTo>
                  <a:cubicBezTo>
                    <a:pt x="447" y="22"/>
                    <a:pt x="450" y="34"/>
                    <a:pt x="449" y="42"/>
                  </a:cubicBezTo>
                  <a:cubicBezTo>
                    <a:pt x="449" y="47"/>
                    <a:pt x="448" y="53"/>
                    <a:pt x="450" y="55"/>
                  </a:cubicBezTo>
                  <a:cubicBezTo>
                    <a:pt x="451" y="56"/>
                    <a:pt x="452" y="56"/>
                    <a:pt x="453" y="56"/>
                  </a:cubicBezTo>
                  <a:cubicBezTo>
                    <a:pt x="455" y="56"/>
                    <a:pt x="456" y="55"/>
                    <a:pt x="458" y="55"/>
                  </a:cubicBezTo>
                  <a:cubicBezTo>
                    <a:pt x="460" y="55"/>
                    <a:pt x="461" y="54"/>
                    <a:pt x="462" y="54"/>
                  </a:cubicBezTo>
                  <a:cubicBezTo>
                    <a:pt x="464" y="54"/>
                    <a:pt x="465" y="55"/>
                    <a:pt x="465" y="56"/>
                  </a:cubicBezTo>
                  <a:cubicBezTo>
                    <a:pt x="465" y="57"/>
                    <a:pt x="467" y="59"/>
                    <a:pt x="468" y="60"/>
                  </a:cubicBezTo>
                  <a:cubicBezTo>
                    <a:pt x="471" y="62"/>
                    <a:pt x="475" y="64"/>
                    <a:pt x="474" y="68"/>
                  </a:cubicBezTo>
                  <a:cubicBezTo>
                    <a:pt x="474" y="71"/>
                    <a:pt x="475" y="74"/>
                    <a:pt x="475" y="78"/>
                  </a:cubicBezTo>
                  <a:cubicBezTo>
                    <a:pt x="476" y="80"/>
                    <a:pt x="477" y="83"/>
                    <a:pt x="476" y="86"/>
                  </a:cubicBezTo>
                  <a:cubicBezTo>
                    <a:pt x="476" y="88"/>
                    <a:pt x="478" y="90"/>
                    <a:pt x="480" y="92"/>
                  </a:cubicBezTo>
                  <a:cubicBezTo>
                    <a:pt x="483" y="94"/>
                    <a:pt x="485" y="97"/>
                    <a:pt x="485" y="101"/>
                  </a:cubicBezTo>
                  <a:cubicBezTo>
                    <a:pt x="485" y="107"/>
                    <a:pt x="486" y="116"/>
                    <a:pt x="488" y="118"/>
                  </a:cubicBezTo>
                  <a:cubicBezTo>
                    <a:pt x="490" y="119"/>
                    <a:pt x="489" y="121"/>
                    <a:pt x="489" y="123"/>
                  </a:cubicBezTo>
                  <a:cubicBezTo>
                    <a:pt x="489" y="125"/>
                    <a:pt x="489" y="127"/>
                    <a:pt x="492" y="128"/>
                  </a:cubicBezTo>
                  <a:cubicBezTo>
                    <a:pt x="498" y="129"/>
                    <a:pt x="526" y="144"/>
                    <a:pt x="526" y="148"/>
                  </a:cubicBezTo>
                  <a:cubicBezTo>
                    <a:pt x="525" y="152"/>
                    <a:pt x="526" y="155"/>
                    <a:pt x="530" y="158"/>
                  </a:cubicBezTo>
                  <a:cubicBezTo>
                    <a:pt x="535" y="162"/>
                    <a:pt x="537" y="166"/>
                    <a:pt x="536" y="170"/>
                  </a:cubicBezTo>
                  <a:cubicBezTo>
                    <a:pt x="535" y="172"/>
                    <a:pt x="536" y="177"/>
                    <a:pt x="537" y="178"/>
                  </a:cubicBezTo>
                  <a:cubicBezTo>
                    <a:pt x="538" y="179"/>
                    <a:pt x="538" y="179"/>
                    <a:pt x="539" y="179"/>
                  </a:cubicBezTo>
                  <a:cubicBezTo>
                    <a:pt x="540" y="179"/>
                    <a:pt x="541" y="178"/>
                    <a:pt x="541" y="178"/>
                  </a:cubicBezTo>
                  <a:cubicBezTo>
                    <a:pt x="543" y="177"/>
                    <a:pt x="544" y="177"/>
                    <a:pt x="545" y="177"/>
                  </a:cubicBezTo>
                  <a:cubicBezTo>
                    <a:pt x="546" y="177"/>
                    <a:pt x="547" y="177"/>
                    <a:pt x="548" y="179"/>
                  </a:cubicBezTo>
                  <a:cubicBezTo>
                    <a:pt x="548" y="179"/>
                    <a:pt x="549" y="179"/>
                    <a:pt x="550" y="179"/>
                  </a:cubicBezTo>
                  <a:cubicBezTo>
                    <a:pt x="550" y="179"/>
                    <a:pt x="550" y="179"/>
                    <a:pt x="551" y="179"/>
                  </a:cubicBezTo>
                  <a:cubicBezTo>
                    <a:pt x="552" y="179"/>
                    <a:pt x="553" y="179"/>
                    <a:pt x="553" y="180"/>
                  </a:cubicBezTo>
                  <a:cubicBezTo>
                    <a:pt x="554" y="180"/>
                    <a:pt x="554" y="182"/>
                    <a:pt x="554" y="184"/>
                  </a:cubicBezTo>
                  <a:cubicBezTo>
                    <a:pt x="553" y="190"/>
                    <a:pt x="554" y="195"/>
                    <a:pt x="556" y="197"/>
                  </a:cubicBezTo>
                  <a:cubicBezTo>
                    <a:pt x="556" y="198"/>
                    <a:pt x="557" y="199"/>
                    <a:pt x="558" y="198"/>
                  </a:cubicBezTo>
                  <a:cubicBezTo>
                    <a:pt x="561" y="198"/>
                    <a:pt x="562" y="200"/>
                    <a:pt x="562" y="202"/>
                  </a:cubicBezTo>
                  <a:cubicBezTo>
                    <a:pt x="563" y="204"/>
                    <a:pt x="563" y="206"/>
                    <a:pt x="565" y="205"/>
                  </a:cubicBezTo>
                  <a:cubicBezTo>
                    <a:pt x="566" y="205"/>
                    <a:pt x="566" y="205"/>
                    <a:pt x="567" y="205"/>
                  </a:cubicBezTo>
                  <a:cubicBezTo>
                    <a:pt x="572" y="205"/>
                    <a:pt x="576" y="214"/>
                    <a:pt x="577" y="217"/>
                  </a:cubicBezTo>
                  <a:cubicBezTo>
                    <a:pt x="579" y="220"/>
                    <a:pt x="582" y="228"/>
                    <a:pt x="585" y="228"/>
                  </a:cubicBezTo>
                  <a:cubicBezTo>
                    <a:pt x="586" y="228"/>
                    <a:pt x="586" y="228"/>
                    <a:pt x="586" y="228"/>
                  </a:cubicBezTo>
                  <a:cubicBezTo>
                    <a:pt x="589" y="225"/>
                    <a:pt x="590" y="224"/>
                    <a:pt x="590" y="224"/>
                  </a:cubicBezTo>
                  <a:cubicBezTo>
                    <a:pt x="591" y="224"/>
                    <a:pt x="591" y="224"/>
                    <a:pt x="591" y="225"/>
                  </a:cubicBezTo>
                  <a:cubicBezTo>
                    <a:pt x="591" y="225"/>
                    <a:pt x="592" y="226"/>
                    <a:pt x="591" y="231"/>
                  </a:cubicBezTo>
                  <a:cubicBezTo>
                    <a:pt x="589" y="239"/>
                    <a:pt x="589" y="254"/>
                    <a:pt x="591" y="255"/>
                  </a:cubicBezTo>
                  <a:cubicBezTo>
                    <a:pt x="591" y="254"/>
                    <a:pt x="591" y="254"/>
                    <a:pt x="591" y="254"/>
                  </a:cubicBezTo>
                  <a:cubicBezTo>
                    <a:pt x="593" y="254"/>
                    <a:pt x="594" y="257"/>
                    <a:pt x="595" y="259"/>
                  </a:cubicBezTo>
                  <a:cubicBezTo>
                    <a:pt x="596" y="262"/>
                    <a:pt x="596" y="265"/>
                    <a:pt x="595" y="266"/>
                  </a:cubicBezTo>
                  <a:cubicBezTo>
                    <a:pt x="594" y="267"/>
                    <a:pt x="594" y="268"/>
                    <a:pt x="595" y="270"/>
                  </a:cubicBezTo>
                  <a:cubicBezTo>
                    <a:pt x="596" y="272"/>
                    <a:pt x="597" y="276"/>
                    <a:pt x="594" y="279"/>
                  </a:cubicBezTo>
                  <a:cubicBezTo>
                    <a:pt x="590" y="284"/>
                    <a:pt x="592" y="290"/>
                    <a:pt x="592" y="293"/>
                  </a:cubicBezTo>
                  <a:cubicBezTo>
                    <a:pt x="593" y="293"/>
                    <a:pt x="593" y="293"/>
                    <a:pt x="593" y="293"/>
                  </a:cubicBezTo>
                  <a:cubicBezTo>
                    <a:pt x="593" y="294"/>
                    <a:pt x="592" y="297"/>
                    <a:pt x="591" y="300"/>
                  </a:cubicBezTo>
                  <a:cubicBezTo>
                    <a:pt x="590" y="303"/>
                    <a:pt x="589" y="308"/>
                    <a:pt x="589" y="312"/>
                  </a:cubicBezTo>
                  <a:cubicBezTo>
                    <a:pt x="589" y="316"/>
                    <a:pt x="587" y="320"/>
                    <a:pt x="585" y="323"/>
                  </a:cubicBezTo>
                  <a:cubicBezTo>
                    <a:pt x="583" y="327"/>
                    <a:pt x="581" y="329"/>
                    <a:pt x="581" y="332"/>
                  </a:cubicBezTo>
                  <a:cubicBezTo>
                    <a:pt x="581" y="339"/>
                    <a:pt x="574" y="342"/>
                    <a:pt x="572" y="343"/>
                  </a:cubicBezTo>
                  <a:cubicBezTo>
                    <a:pt x="570" y="343"/>
                    <a:pt x="558" y="363"/>
                    <a:pt x="557" y="373"/>
                  </a:cubicBezTo>
                  <a:cubicBezTo>
                    <a:pt x="556" y="379"/>
                    <a:pt x="554" y="382"/>
                    <a:pt x="551" y="385"/>
                  </a:cubicBezTo>
                  <a:cubicBezTo>
                    <a:pt x="549" y="388"/>
                    <a:pt x="547" y="391"/>
                    <a:pt x="546" y="396"/>
                  </a:cubicBezTo>
                  <a:cubicBezTo>
                    <a:pt x="546" y="398"/>
                    <a:pt x="545" y="401"/>
                    <a:pt x="545" y="404"/>
                  </a:cubicBezTo>
                  <a:cubicBezTo>
                    <a:pt x="543" y="420"/>
                    <a:pt x="543" y="426"/>
                    <a:pt x="541" y="426"/>
                  </a:cubicBezTo>
                  <a:cubicBezTo>
                    <a:pt x="538" y="426"/>
                    <a:pt x="516" y="427"/>
                    <a:pt x="511" y="431"/>
                  </a:cubicBezTo>
                  <a:cubicBezTo>
                    <a:pt x="509" y="432"/>
                    <a:pt x="508" y="433"/>
                    <a:pt x="507" y="434"/>
                  </a:cubicBezTo>
                  <a:cubicBezTo>
                    <a:pt x="504" y="437"/>
                    <a:pt x="501" y="439"/>
                    <a:pt x="497" y="441"/>
                  </a:cubicBezTo>
                  <a:cubicBezTo>
                    <a:pt x="491" y="443"/>
                    <a:pt x="491" y="446"/>
                    <a:pt x="491" y="449"/>
                  </a:cubicBezTo>
                  <a:cubicBezTo>
                    <a:pt x="491" y="449"/>
                    <a:pt x="491" y="450"/>
                    <a:pt x="490" y="450"/>
                  </a:cubicBezTo>
                  <a:cubicBezTo>
                    <a:pt x="490" y="450"/>
                    <a:pt x="490" y="450"/>
                    <a:pt x="489" y="450"/>
                  </a:cubicBezTo>
                  <a:close/>
                  <a:moveTo>
                    <a:pt x="474" y="434"/>
                  </a:moveTo>
                  <a:cubicBezTo>
                    <a:pt x="475" y="434"/>
                    <a:pt x="475" y="434"/>
                    <a:pt x="476" y="436"/>
                  </a:cubicBezTo>
                  <a:cubicBezTo>
                    <a:pt x="477" y="439"/>
                    <a:pt x="479" y="440"/>
                    <a:pt x="481" y="441"/>
                  </a:cubicBezTo>
                  <a:cubicBezTo>
                    <a:pt x="483" y="442"/>
                    <a:pt x="485" y="443"/>
                    <a:pt x="486" y="445"/>
                  </a:cubicBezTo>
                  <a:cubicBezTo>
                    <a:pt x="488" y="448"/>
                    <a:pt x="489" y="449"/>
                    <a:pt x="489" y="449"/>
                  </a:cubicBezTo>
                  <a:cubicBezTo>
                    <a:pt x="490" y="449"/>
                    <a:pt x="490" y="449"/>
                    <a:pt x="490" y="449"/>
                  </a:cubicBezTo>
                  <a:cubicBezTo>
                    <a:pt x="490" y="444"/>
                    <a:pt x="492" y="442"/>
                    <a:pt x="496" y="440"/>
                  </a:cubicBezTo>
                  <a:cubicBezTo>
                    <a:pt x="500" y="439"/>
                    <a:pt x="503" y="436"/>
                    <a:pt x="507" y="433"/>
                  </a:cubicBezTo>
                  <a:cubicBezTo>
                    <a:pt x="508" y="432"/>
                    <a:pt x="509" y="431"/>
                    <a:pt x="510" y="430"/>
                  </a:cubicBezTo>
                  <a:cubicBezTo>
                    <a:pt x="516" y="425"/>
                    <a:pt x="541" y="425"/>
                    <a:pt x="541" y="425"/>
                  </a:cubicBezTo>
                  <a:cubicBezTo>
                    <a:pt x="542" y="424"/>
                    <a:pt x="543" y="412"/>
                    <a:pt x="544" y="404"/>
                  </a:cubicBezTo>
                  <a:cubicBezTo>
                    <a:pt x="544" y="401"/>
                    <a:pt x="545" y="398"/>
                    <a:pt x="545" y="396"/>
                  </a:cubicBezTo>
                  <a:cubicBezTo>
                    <a:pt x="546" y="391"/>
                    <a:pt x="548" y="388"/>
                    <a:pt x="551" y="385"/>
                  </a:cubicBezTo>
                  <a:cubicBezTo>
                    <a:pt x="553" y="382"/>
                    <a:pt x="555" y="379"/>
                    <a:pt x="556" y="373"/>
                  </a:cubicBezTo>
                  <a:cubicBezTo>
                    <a:pt x="557" y="363"/>
                    <a:pt x="569" y="343"/>
                    <a:pt x="572" y="342"/>
                  </a:cubicBezTo>
                  <a:cubicBezTo>
                    <a:pt x="574" y="341"/>
                    <a:pt x="580" y="339"/>
                    <a:pt x="580" y="332"/>
                  </a:cubicBezTo>
                  <a:cubicBezTo>
                    <a:pt x="580" y="329"/>
                    <a:pt x="582" y="326"/>
                    <a:pt x="584" y="323"/>
                  </a:cubicBezTo>
                  <a:cubicBezTo>
                    <a:pt x="586" y="319"/>
                    <a:pt x="588" y="316"/>
                    <a:pt x="588" y="312"/>
                  </a:cubicBezTo>
                  <a:cubicBezTo>
                    <a:pt x="588" y="308"/>
                    <a:pt x="589" y="303"/>
                    <a:pt x="590" y="299"/>
                  </a:cubicBezTo>
                  <a:cubicBezTo>
                    <a:pt x="591" y="297"/>
                    <a:pt x="592" y="294"/>
                    <a:pt x="592" y="294"/>
                  </a:cubicBezTo>
                  <a:cubicBezTo>
                    <a:pt x="591" y="293"/>
                    <a:pt x="591" y="293"/>
                    <a:pt x="591" y="293"/>
                  </a:cubicBezTo>
                  <a:cubicBezTo>
                    <a:pt x="591" y="290"/>
                    <a:pt x="589" y="284"/>
                    <a:pt x="593" y="279"/>
                  </a:cubicBezTo>
                  <a:cubicBezTo>
                    <a:pt x="596" y="276"/>
                    <a:pt x="595" y="273"/>
                    <a:pt x="594" y="270"/>
                  </a:cubicBezTo>
                  <a:cubicBezTo>
                    <a:pt x="593" y="268"/>
                    <a:pt x="593" y="266"/>
                    <a:pt x="594" y="265"/>
                  </a:cubicBezTo>
                  <a:cubicBezTo>
                    <a:pt x="595" y="265"/>
                    <a:pt x="595" y="262"/>
                    <a:pt x="594" y="259"/>
                  </a:cubicBezTo>
                  <a:cubicBezTo>
                    <a:pt x="593" y="257"/>
                    <a:pt x="592" y="255"/>
                    <a:pt x="591" y="255"/>
                  </a:cubicBezTo>
                  <a:cubicBezTo>
                    <a:pt x="591" y="255"/>
                    <a:pt x="591" y="255"/>
                    <a:pt x="591" y="255"/>
                  </a:cubicBezTo>
                  <a:cubicBezTo>
                    <a:pt x="591" y="256"/>
                    <a:pt x="591" y="256"/>
                    <a:pt x="590" y="256"/>
                  </a:cubicBezTo>
                  <a:cubicBezTo>
                    <a:pt x="590" y="256"/>
                    <a:pt x="590" y="256"/>
                    <a:pt x="590" y="256"/>
                  </a:cubicBezTo>
                  <a:cubicBezTo>
                    <a:pt x="590" y="256"/>
                    <a:pt x="590" y="256"/>
                    <a:pt x="590" y="255"/>
                  </a:cubicBezTo>
                  <a:cubicBezTo>
                    <a:pt x="588" y="253"/>
                    <a:pt x="588" y="237"/>
                    <a:pt x="590" y="231"/>
                  </a:cubicBezTo>
                  <a:cubicBezTo>
                    <a:pt x="590" y="227"/>
                    <a:pt x="590" y="226"/>
                    <a:pt x="590" y="225"/>
                  </a:cubicBezTo>
                  <a:cubicBezTo>
                    <a:pt x="590" y="225"/>
                    <a:pt x="588" y="227"/>
                    <a:pt x="587" y="228"/>
                  </a:cubicBezTo>
                  <a:cubicBezTo>
                    <a:pt x="586" y="229"/>
                    <a:pt x="586" y="229"/>
                    <a:pt x="585" y="229"/>
                  </a:cubicBezTo>
                  <a:cubicBezTo>
                    <a:pt x="580" y="229"/>
                    <a:pt x="577" y="217"/>
                    <a:pt x="576" y="217"/>
                  </a:cubicBezTo>
                  <a:cubicBezTo>
                    <a:pt x="575" y="214"/>
                    <a:pt x="571" y="206"/>
                    <a:pt x="567" y="206"/>
                  </a:cubicBezTo>
                  <a:cubicBezTo>
                    <a:pt x="566" y="206"/>
                    <a:pt x="566" y="206"/>
                    <a:pt x="566" y="206"/>
                  </a:cubicBezTo>
                  <a:cubicBezTo>
                    <a:pt x="565" y="206"/>
                    <a:pt x="565" y="206"/>
                    <a:pt x="565" y="206"/>
                  </a:cubicBezTo>
                  <a:cubicBezTo>
                    <a:pt x="562" y="206"/>
                    <a:pt x="562" y="204"/>
                    <a:pt x="561" y="202"/>
                  </a:cubicBezTo>
                  <a:cubicBezTo>
                    <a:pt x="561" y="200"/>
                    <a:pt x="560" y="199"/>
                    <a:pt x="559" y="199"/>
                  </a:cubicBezTo>
                  <a:cubicBezTo>
                    <a:pt x="557" y="200"/>
                    <a:pt x="556" y="199"/>
                    <a:pt x="555" y="198"/>
                  </a:cubicBezTo>
                  <a:cubicBezTo>
                    <a:pt x="552" y="195"/>
                    <a:pt x="553" y="186"/>
                    <a:pt x="553" y="184"/>
                  </a:cubicBezTo>
                  <a:cubicBezTo>
                    <a:pt x="553" y="181"/>
                    <a:pt x="553" y="181"/>
                    <a:pt x="553" y="180"/>
                  </a:cubicBezTo>
                  <a:cubicBezTo>
                    <a:pt x="552" y="180"/>
                    <a:pt x="552" y="180"/>
                    <a:pt x="552" y="180"/>
                  </a:cubicBezTo>
                  <a:cubicBezTo>
                    <a:pt x="551" y="180"/>
                    <a:pt x="551" y="180"/>
                    <a:pt x="551" y="180"/>
                  </a:cubicBezTo>
                  <a:cubicBezTo>
                    <a:pt x="550" y="180"/>
                    <a:pt x="550" y="180"/>
                    <a:pt x="550" y="180"/>
                  </a:cubicBezTo>
                  <a:cubicBezTo>
                    <a:pt x="548" y="180"/>
                    <a:pt x="548" y="180"/>
                    <a:pt x="547" y="179"/>
                  </a:cubicBezTo>
                  <a:cubicBezTo>
                    <a:pt x="546" y="178"/>
                    <a:pt x="545" y="178"/>
                    <a:pt x="545" y="178"/>
                  </a:cubicBezTo>
                  <a:cubicBezTo>
                    <a:pt x="544" y="178"/>
                    <a:pt x="543" y="178"/>
                    <a:pt x="542" y="179"/>
                  </a:cubicBezTo>
                  <a:cubicBezTo>
                    <a:pt x="541" y="179"/>
                    <a:pt x="540" y="180"/>
                    <a:pt x="539" y="180"/>
                  </a:cubicBezTo>
                  <a:cubicBezTo>
                    <a:pt x="538" y="180"/>
                    <a:pt x="537" y="180"/>
                    <a:pt x="536" y="179"/>
                  </a:cubicBezTo>
                  <a:cubicBezTo>
                    <a:pt x="535" y="177"/>
                    <a:pt x="534" y="172"/>
                    <a:pt x="535" y="169"/>
                  </a:cubicBezTo>
                  <a:cubicBezTo>
                    <a:pt x="536" y="166"/>
                    <a:pt x="534" y="162"/>
                    <a:pt x="530" y="159"/>
                  </a:cubicBezTo>
                  <a:cubicBezTo>
                    <a:pt x="525" y="156"/>
                    <a:pt x="524" y="152"/>
                    <a:pt x="525" y="148"/>
                  </a:cubicBezTo>
                  <a:cubicBezTo>
                    <a:pt x="525" y="145"/>
                    <a:pt x="498" y="130"/>
                    <a:pt x="492" y="129"/>
                  </a:cubicBezTo>
                  <a:cubicBezTo>
                    <a:pt x="487" y="128"/>
                    <a:pt x="488" y="125"/>
                    <a:pt x="488" y="123"/>
                  </a:cubicBezTo>
                  <a:cubicBezTo>
                    <a:pt x="488" y="121"/>
                    <a:pt x="489" y="120"/>
                    <a:pt x="488" y="119"/>
                  </a:cubicBezTo>
                  <a:cubicBezTo>
                    <a:pt x="485" y="117"/>
                    <a:pt x="484" y="108"/>
                    <a:pt x="484" y="101"/>
                  </a:cubicBezTo>
                  <a:cubicBezTo>
                    <a:pt x="484" y="97"/>
                    <a:pt x="482" y="95"/>
                    <a:pt x="480" y="93"/>
                  </a:cubicBezTo>
                  <a:cubicBezTo>
                    <a:pt x="477" y="91"/>
                    <a:pt x="475" y="89"/>
                    <a:pt x="475" y="86"/>
                  </a:cubicBezTo>
                  <a:cubicBezTo>
                    <a:pt x="476" y="83"/>
                    <a:pt x="475" y="80"/>
                    <a:pt x="474" y="78"/>
                  </a:cubicBezTo>
                  <a:cubicBezTo>
                    <a:pt x="474" y="75"/>
                    <a:pt x="473" y="71"/>
                    <a:pt x="473" y="68"/>
                  </a:cubicBezTo>
                  <a:cubicBezTo>
                    <a:pt x="474" y="64"/>
                    <a:pt x="471" y="62"/>
                    <a:pt x="468" y="61"/>
                  </a:cubicBezTo>
                  <a:cubicBezTo>
                    <a:pt x="466" y="59"/>
                    <a:pt x="464" y="58"/>
                    <a:pt x="464" y="56"/>
                  </a:cubicBezTo>
                  <a:cubicBezTo>
                    <a:pt x="464" y="55"/>
                    <a:pt x="463" y="55"/>
                    <a:pt x="462" y="55"/>
                  </a:cubicBezTo>
                  <a:cubicBezTo>
                    <a:pt x="461" y="55"/>
                    <a:pt x="460" y="56"/>
                    <a:pt x="458" y="56"/>
                  </a:cubicBezTo>
                  <a:cubicBezTo>
                    <a:pt x="457" y="56"/>
                    <a:pt x="455" y="57"/>
                    <a:pt x="453" y="57"/>
                  </a:cubicBezTo>
                  <a:cubicBezTo>
                    <a:pt x="452" y="57"/>
                    <a:pt x="450" y="57"/>
                    <a:pt x="449" y="56"/>
                  </a:cubicBezTo>
                  <a:cubicBezTo>
                    <a:pt x="447" y="53"/>
                    <a:pt x="447" y="48"/>
                    <a:pt x="448" y="42"/>
                  </a:cubicBezTo>
                  <a:cubicBezTo>
                    <a:pt x="449" y="35"/>
                    <a:pt x="446" y="23"/>
                    <a:pt x="441" y="19"/>
                  </a:cubicBezTo>
                  <a:cubicBezTo>
                    <a:pt x="439" y="17"/>
                    <a:pt x="437" y="12"/>
                    <a:pt x="436" y="8"/>
                  </a:cubicBezTo>
                  <a:cubicBezTo>
                    <a:pt x="436" y="5"/>
                    <a:pt x="435" y="2"/>
                    <a:pt x="434" y="2"/>
                  </a:cubicBezTo>
                  <a:cubicBezTo>
                    <a:pt x="434" y="1"/>
                    <a:pt x="432" y="2"/>
                    <a:pt x="430" y="4"/>
                  </a:cubicBezTo>
                  <a:cubicBezTo>
                    <a:pt x="427" y="7"/>
                    <a:pt x="426" y="10"/>
                    <a:pt x="426" y="12"/>
                  </a:cubicBezTo>
                  <a:cubicBezTo>
                    <a:pt x="426" y="16"/>
                    <a:pt x="425" y="21"/>
                    <a:pt x="422" y="24"/>
                  </a:cubicBezTo>
                  <a:cubicBezTo>
                    <a:pt x="421" y="25"/>
                    <a:pt x="421" y="28"/>
                    <a:pt x="422" y="30"/>
                  </a:cubicBezTo>
                  <a:cubicBezTo>
                    <a:pt x="422" y="34"/>
                    <a:pt x="422" y="38"/>
                    <a:pt x="420" y="40"/>
                  </a:cubicBezTo>
                  <a:cubicBezTo>
                    <a:pt x="418" y="42"/>
                    <a:pt x="418" y="48"/>
                    <a:pt x="419" y="54"/>
                  </a:cubicBezTo>
                  <a:cubicBezTo>
                    <a:pt x="419" y="58"/>
                    <a:pt x="419" y="62"/>
                    <a:pt x="419" y="65"/>
                  </a:cubicBezTo>
                  <a:cubicBezTo>
                    <a:pt x="419" y="67"/>
                    <a:pt x="419" y="69"/>
                    <a:pt x="418" y="71"/>
                  </a:cubicBezTo>
                  <a:cubicBezTo>
                    <a:pt x="418" y="77"/>
                    <a:pt x="417" y="84"/>
                    <a:pt x="414" y="88"/>
                  </a:cubicBezTo>
                  <a:cubicBezTo>
                    <a:pt x="413" y="90"/>
                    <a:pt x="412" y="92"/>
                    <a:pt x="411" y="94"/>
                  </a:cubicBezTo>
                  <a:cubicBezTo>
                    <a:pt x="409" y="98"/>
                    <a:pt x="407" y="103"/>
                    <a:pt x="402" y="105"/>
                  </a:cubicBezTo>
                  <a:cubicBezTo>
                    <a:pt x="400" y="106"/>
                    <a:pt x="399" y="106"/>
                    <a:pt x="397" y="106"/>
                  </a:cubicBezTo>
                  <a:cubicBezTo>
                    <a:pt x="392" y="106"/>
                    <a:pt x="387" y="103"/>
                    <a:pt x="385" y="101"/>
                  </a:cubicBezTo>
                  <a:cubicBezTo>
                    <a:pt x="384" y="100"/>
                    <a:pt x="383" y="98"/>
                    <a:pt x="383" y="97"/>
                  </a:cubicBezTo>
                  <a:cubicBezTo>
                    <a:pt x="384" y="96"/>
                    <a:pt x="383" y="96"/>
                    <a:pt x="383" y="95"/>
                  </a:cubicBezTo>
                  <a:cubicBezTo>
                    <a:pt x="380" y="93"/>
                    <a:pt x="374" y="91"/>
                    <a:pt x="371" y="92"/>
                  </a:cubicBezTo>
                  <a:cubicBezTo>
                    <a:pt x="368" y="92"/>
                    <a:pt x="366" y="90"/>
                    <a:pt x="363" y="87"/>
                  </a:cubicBezTo>
                  <a:cubicBezTo>
                    <a:pt x="361" y="85"/>
                    <a:pt x="359" y="82"/>
                    <a:pt x="357" y="80"/>
                  </a:cubicBezTo>
                  <a:cubicBezTo>
                    <a:pt x="354" y="78"/>
                    <a:pt x="352" y="78"/>
                    <a:pt x="350" y="78"/>
                  </a:cubicBezTo>
                  <a:cubicBezTo>
                    <a:pt x="349" y="78"/>
                    <a:pt x="349" y="78"/>
                    <a:pt x="348" y="78"/>
                  </a:cubicBezTo>
                  <a:cubicBezTo>
                    <a:pt x="347" y="78"/>
                    <a:pt x="347" y="78"/>
                    <a:pt x="346" y="78"/>
                  </a:cubicBezTo>
                  <a:cubicBezTo>
                    <a:pt x="344" y="78"/>
                    <a:pt x="343" y="78"/>
                    <a:pt x="342" y="75"/>
                  </a:cubicBezTo>
                  <a:cubicBezTo>
                    <a:pt x="340" y="69"/>
                    <a:pt x="338" y="68"/>
                    <a:pt x="334" y="65"/>
                  </a:cubicBezTo>
                  <a:cubicBezTo>
                    <a:pt x="333" y="65"/>
                    <a:pt x="333" y="65"/>
                    <a:pt x="332" y="64"/>
                  </a:cubicBezTo>
                  <a:cubicBezTo>
                    <a:pt x="330" y="63"/>
                    <a:pt x="329" y="62"/>
                    <a:pt x="329" y="61"/>
                  </a:cubicBezTo>
                  <a:cubicBezTo>
                    <a:pt x="329" y="60"/>
                    <a:pt x="330" y="59"/>
                    <a:pt x="332" y="57"/>
                  </a:cubicBezTo>
                  <a:cubicBezTo>
                    <a:pt x="332" y="57"/>
                    <a:pt x="333" y="57"/>
                    <a:pt x="333" y="56"/>
                  </a:cubicBezTo>
                  <a:cubicBezTo>
                    <a:pt x="337" y="53"/>
                    <a:pt x="338" y="50"/>
                    <a:pt x="335" y="45"/>
                  </a:cubicBezTo>
                  <a:cubicBezTo>
                    <a:pt x="334" y="44"/>
                    <a:pt x="334" y="43"/>
                    <a:pt x="334" y="42"/>
                  </a:cubicBezTo>
                  <a:cubicBezTo>
                    <a:pt x="334" y="41"/>
                    <a:pt x="336" y="40"/>
                    <a:pt x="338" y="40"/>
                  </a:cubicBezTo>
                  <a:cubicBezTo>
                    <a:pt x="340" y="39"/>
                    <a:pt x="342" y="38"/>
                    <a:pt x="344" y="37"/>
                  </a:cubicBezTo>
                  <a:cubicBezTo>
                    <a:pt x="347" y="35"/>
                    <a:pt x="347" y="34"/>
                    <a:pt x="347" y="32"/>
                  </a:cubicBezTo>
                  <a:cubicBezTo>
                    <a:pt x="347" y="30"/>
                    <a:pt x="346" y="28"/>
                    <a:pt x="349" y="27"/>
                  </a:cubicBezTo>
                  <a:cubicBezTo>
                    <a:pt x="350" y="27"/>
                    <a:pt x="351" y="26"/>
                    <a:pt x="351" y="25"/>
                  </a:cubicBezTo>
                  <a:cubicBezTo>
                    <a:pt x="351" y="24"/>
                    <a:pt x="349" y="22"/>
                    <a:pt x="346" y="21"/>
                  </a:cubicBezTo>
                  <a:cubicBezTo>
                    <a:pt x="345" y="21"/>
                    <a:pt x="345" y="21"/>
                    <a:pt x="345" y="21"/>
                  </a:cubicBezTo>
                  <a:cubicBezTo>
                    <a:pt x="343" y="21"/>
                    <a:pt x="343" y="23"/>
                    <a:pt x="342" y="24"/>
                  </a:cubicBezTo>
                  <a:cubicBezTo>
                    <a:pt x="342" y="26"/>
                    <a:pt x="342" y="27"/>
                    <a:pt x="341" y="27"/>
                  </a:cubicBezTo>
                  <a:cubicBezTo>
                    <a:pt x="340" y="27"/>
                    <a:pt x="340" y="27"/>
                    <a:pt x="340" y="27"/>
                  </a:cubicBezTo>
                  <a:cubicBezTo>
                    <a:pt x="339" y="27"/>
                    <a:pt x="338" y="25"/>
                    <a:pt x="337" y="23"/>
                  </a:cubicBezTo>
                  <a:cubicBezTo>
                    <a:pt x="336" y="22"/>
                    <a:pt x="335" y="19"/>
                    <a:pt x="335" y="19"/>
                  </a:cubicBezTo>
                  <a:cubicBezTo>
                    <a:pt x="335" y="19"/>
                    <a:pt x="334" y="20"/>
                    <a:pt x="333" y="21"/>
                  </a:cubicBezTo>
                  <a:cubicBezTo>
                    <a:pt x="331" y="23"/>
                    <a:pt x="328" y="25"/>
                    <a:pt x="326" y="25"/>
                  </a:cubicBezTo>
                  <a:cubicBezTo>
                    <a:pt x="325" y="25"/>
                    <a:pt x="324" y="25"/>
                    <a:pt x="324" y="24"/>
                  </a:cubicBezTo>
                  <a:cubicBezTo>
                    <a:pt x="321" y="20"/>
                    <a:pt x="303" y="16"/>
                    <a:pt x="295" y="15"/>
                  </a:cubicBezTo>
                  <a:cubicBezTo>
                    <a:pt x="292" y="15"/>
                    <a:pt x="289" y="12"/>
                    <a:pt x="287" y="10"/>
                  </a:cubicBezTo>
                  <a:cubicBezTo>
                    <a:pt x="285" y="8"/>
                    <a:pt x="284" y="6"/>
                    <a:pt x="282" y="7"/>
                  </a:cubicBezTo>
                  <a:cubicBezTo>
                    <a:pt x="281" y="7"/>
                    <a:pt x="281" y="7"/>
                    <a:pt x="281" y="8"/>
                  </a:cubicBezTo>
                  <a:cubicBezTo>
                    <a:pt x="281" y="9"/>
                    <a:pt x="283" y="10"/>
                    <a:pt x="285" y="12"/>
                  </a:cubicBezTo>
                  <a:cubicBezTo>
                    <a:pt x="286" y="13"/>
                    <a:pt x="287" y="14"/>
                    <a:pt x="288" y="16"/>
                  </a:cubicBezTo>
                  <a:cubicBezTo>
                    <a:pt x="289" y="17"/>
                    <a:pt x="289" y="18"/>
                    <a:pt x="289" y="18"/>
                  </a:cubicBezTo>
                  <a:cubicBezTo>
                    <a:pt x="287" y="22"/>
                    <a:pt x="277" y="24"/>
                    <a:pt x="270" y="24"/>
                  </a:cubicBezTo>
                  <a:cubicBezTo>
                    <a:pt x="268" y="24"/>
                    <a:pt x="266" y="24"/>
                    <a:pt x="265" y="23"/>
                  </a:cubicBezTo>
                  <a:cubicBezTo>
                    <a:pt x="264" y="23"/>
                    <a:pt x="263" y="23"/>
                    <a:pt x="263" y="23"/>
                  </a:cubicBezTo>
                  <a:cubicBezTo>
                    <a:pt x="263" y="24"/>
                    <a:pt x="263" y="24"/>
                    <a:pt x="263" y="24"/>
                  </a:cubicBezTo>
                  <a:cubicBezTo>
                    <a:pt x="264" y="25"/>
                    <a:pt x="264" y="26"/>
                    <a:pt x="263" y="27"/>
                  </a:cubicBezTo>
                  <a:cubicBezTo>
                    <a:pt x="263" y="27"/>
                    <a:pt x="262" y="28"/>
                    <a:pt x="261" y="27"/>
                  </a:cubicBezTo>
                  <a:cubicBezTo>
                    <a:pt x="261" y="27"/>
                    <a:pt x="261" y="27"/>
                    <a:pt x="261" y="27"/>
                  </a:cubicBezTo>
                  <a:cubicBezTo>
                    <a:pt x="258" y="27"/>
                    <a:pt x="257" y="30"/>
                    <a:pt x="255" y="34"/>
                  </a:cubicBezTo>
                  <a:cubicBezTo>
                    <a:pt x="254" y="36"/>
                    <a:pt x="253" y="39"/>
                    <a:pt x="251" y="41"/>
                  </a:cubicBezTo>
                  <a:cubicBezTo>
                    <a:pt x="249" y="43"/>
                    <a:pt x="249" y="44"/>
                    <a:pt x="248" y="46"/>
                  </a:cubicBezTo>
                  <a:cubicBezTo>
                    <a:pt x="248" y="48"/>
                    <a:pt x="248" y="50"/>
                    <a:pt x="245" y="51"/>
                  </a:cubicBezTo>
                  <a:cubicBezTo>
                    <a:pt x="243" y="53"/>
                    <a:pt x="242" y="54"/>
                    <a:pt x="242" y="55"/>
                  </a:cubicBezTo>
                  <a:cubicBezTo>
                    <a:pt x="242" y="57"/>
                    <a:pt x="243" y="59"/>
                    <a:pt x="246" y="63"/>
                  </a:cubicBezTo>
                  <a:cubicBezTo>
                    <a:pt x="248" y="65"/>
                    <a:pt x="248" y="66"/>
                    <a:pt x="248" y="67"/>
                  </a:cubicBezTo>
                  <a:cubicBezTo>
                    <a:pt x="247" y="68"/>
                    <a:pt x="246" y="69"/>
                    <a:pt x="245" y="69"/>
                  </a:cubicBezTo>
                  <a:cubicBezTo>
                    <a:pt x="243" y="69"/>
                    <a:pt x="240" y="67"/>
                    <a:pt x="238" y="65"/>
                  </a:cubicBezTo>
                  <a:cubicBezTo>
                    <a:pt x="235" y="62"/>
                    <a:pt x="231" y="61"/>
                    <a:pt x="230" y="62"/>
                  </a:cubicBezTo>
                  <a:cubicBezTo>
                    <a:pt x="229" y="63"/>
                    <a:pt x="229" y="64"/>
                    <a:pt x="229" y="65"/>
                  </a:cubicBezTo>
                  <a:cubicBezTo>
                    <a:pt x="229" y="67"/>
                    <a:pt x="229" y="68"/>
                    <a:pt x="229" y="68"/>
                  </a:cubicBezTo>
                  <a:cubicBezTo>
                    <a:pt x="228" y="69"/>
                    <a:pt x="226" y="69"/>
                    <a:pt x="225" y="68"/>
                  </a:cubicBezTo>
                  <a:cubicBezTo>
                    <a:pt x="224" y="66"/>
                    <a:pt x="223" y="64"/>
                    <a:pt x="223" y="62"/>
                  </a:cubicBezTo>
                  <a:cubicBezTo>
                    <a:pt x="224" y="59"/>
                    <a:pt x="222" y="59"/>
                    <a:pt x="220" y="58"/>
                  </a:cubicBezTo>
                  <a:cubicBezTo>
                    <a:pt x="218" y="58"/>
                    <a:pt x="216" y="57"/>
                    <a:pt x="215" y="56"/>
                  </a:cubicBezTo>
                  <a:cubicBezTo>
                    <a:pt x="214" y="52"/>
                    <a:pt x="207" y="47"/>
                    <a:pt x="204" y="47"/>
                  </a:cubicBezTo>
                  <a:cubicBezTo>
                    <a:pt x="202" y="47"/>
                    <a:pt x="201" y="48"/>
                    <a:pt x="200" y="49"/>
                  </a:cubicBezTo>
                  <a:cubicBezTo>
                    <a:pt x="199" y="50"/>
                    <a:pt x="198" y="52"/>
                    <a:pt x="195" y="52"/>
                  </a:cubicBezTo>
                  <a:cubicBezTo>
                    <a:pt x="194" y="52"/>
                    <a:pt x="192" y="52"/>
                    <a:pt x="192" y="53"/>
                  </a:cubicBezTo>
                  <a:cubicBezTo>
                    <a:pt x="191" y="54"/>
                    <a:pt x="191" y="55"/>
                    <a:pt x="191" y="58"/>
                  </a:cubicBezTo>
                  <a:cubicBezTo>
                    <a:pt x="191" y="59"/>
                    <a:pt x="191" y="59"/>
                    <a:pt x="191" y="60"/>
                  </a:cubicBezTo>
                  <a:cubicBezTo>
                    <a:pt x="190" y="61"/>
                    <a:pt x="188" y="60"/>
                    <a:pt x="186" y="60"/>
                  </a:cubicBezTo>
                  <a:cubicBezTo>
                    <a:pt x="184" y="59"/>
                    <a:pt x="181" y="59"/>
                    <a:pt x="179" y="59"/>
                  </a:cubicBezTo>
                  <a:cubicBezTo>
                    <a:pt x="178" y="59"/>
                    <a:pt x="178" y="59"/>
                    <a:pt x="178" y="59"/>
                  </a:cubicBezTo>
                  <a:cubicBezTo>
                    <a:pt x="177" y="60"/>
                    <a:pt x="178" y="61"/>
                    <a:pt x="178" y="62"/>
                  </a:cubicBezTo>
                  <a:cubicBezTo>
                    <a:pt x="178" y="63"/>
                    <a:pt x="178" y="64"/>
                    <a:pt x="178" y="65"/>
                  </a:cubicBezTo>
                  <a:cubicBezTo>
                    <a:pt x="177" y="65"/>
                    <a:pt x="177" y="65"/>
                    <a:pt x="177" y="65"/>
                  </a:cubicBezTo>
                  <a:cubicBezTo>
                    <a:pt x="176" y="65"/>
                    <a:pt x="175" y="66"/>
                    <a:pt x="175" y="67"/>
                  </a:cubicBezTo>
                  <a:cubicBezTo>
                    <a:pt x="174" y="68"/>
                    <a:pt x="173" y="70"/>
                    <a:pt x="170" y="70"/>
                  </a:cubicBezTo>
                  <a:cubicBezTo>
                    <a:pt x="169" y="70"/>
                    <a:pt x="169" y="70"/>
                    <a:pt x="169" y="71"/>
                  </a:cubicBezTo>
                  <a:cubicBezTo>
                    <a:pt x="167" y="73"/>
                    <a:pt x="167" y="81"/>
                    <a:pt x="168" y="84"/>
                  </a:cubicBezTo>
                  <a:cubicBezTo>
                    <a:pt x="168" y="85"/>
                    <a:pt x="168" y="85"/>
                    <a:pt x="167" y="86"/>
                  </a:cubicBezTo>
                  <a:cubicBezTo>
                    <a:pt x="167" y="86"/>
                    <a:pt x="165" y="86"/>
                    <a:pt x="163" y="85"/>
                  </a:cubicBezTo>
                  <a:cubicBezTo>
                    <a:pt x="161" y="84"/>
                    <a:pt x="159" y="83"/>
                    <a:pt x="158" y="83"/>
                  </a:cubicBezTo>
                  <a:cubicBezTo>
                    <a:pt x="157" y="83"/>
                    <a:pt x="157" y="83"/>
                    <a:pt x="157" y="83"/>
                  </a:cubicBezTo>
                  <a:cubicBezTo>
                    <a:pt x="156" y="83"/>
                    <a:pt x="156" y="84"/>
                    <a:pt x="155" y="84"/>
                  </a:cubicBezTo>
                  <a:cubicBezTo>
                    <a:pt x="155" y="85"/>
                    <a:pt x="156" y="86"/>
                    <a:pt x="157" y="88"/>
                  </a:cubicBezTo>
                  <a:cubicBezTo>
                    <a:pt x="158" y="90"/>
                    <a:pt x="159" y="92"/>
                    <a:pt x="159" y="94"/>
                  </a:cubicBezTo>
                  <a:cubicBezTo>
                    <a:pt x="160" y="98"/>
                    <a:pt x="158" y="99"/>
                    <a:pt x="157" y="100"/>
                  </a:cubicBezTo>
                  <a:cubicBezTo>
                    <a:pt x="156" y="101"/>
                    <a:pt x="155" y="101"/>
                    <a:pt x="155" y="102"/>
                  </a:cubicBezTo>
                  <a:cubicBezTo>
                    <a:pt x="154" y="102"/>
                    <a:pt x="154" y="102"/>
                    <a:pt x="153" y="102"/>
                  </a:cubicBezTo>
                  <a:cubicBezTo>
                    <a:pt x="152" y="102"/>
                    <a:pt x="150" y="99"/>
                    <a:pt x="150" y="98"/>
                  </a:cubicBezTo>
                  <a:cubicBezTo>
                    <a:pt x="149" y="95"/>
                    <a:pt x="148" y="92"/>
                    <a:pt x="148" y="90"/>
                  </a:cubicBezTo>
                  <a:cubicBezTo>
                    <a:pt x="148" y="89"/>
                    <a:pt x="147" y="89"/>
                    <a:pt x="147" y="89"/>
                  </a:cubicBezTo>
                  <a:cubicBezTo>
                    <a:pt x="146" y="89"/>
                    <a:pt x="144" y="90"/>
                    <a:pt x="138" y="96"/>
                  </a:cubicBezTo>
                  <a:cubicBezTo>
                    <a:pt x="134" y="100"/>
                    <a:pt x="136" y="105"/>
                    <a:pt x="137" y="108"/>
                  </a:cubicBezTo>
                  <a:cubicBezTo>
                    <a:pt x="138" y="111"/>
                    <a:pt x="138" y="113"/>
                    <a:pt x="137" y="114"/>
                  </a:cubicBezTo>
                  <a:cubicBezTo>
                    <a:pt x="134" y="115"/>
                    <a:pt x="123" y="126"/>
                    <a:pt x="116" y="134"/>
                  </a:cubicBezTo>
                  <a:cubicBezTo>
                    <a:pt x="112" y="139"/>
                    <a:pt x="105" y="139"/>
                    <a:pt x="99" y="139"/>
                  </a:cubicBezTo>
                  <a:cubicBezTo>
                    <a:pt x="95" y="140"/>
                    <a:pt x="92" y="140"/>
                    <a:pt x="90" y="141"/>
                  </a:cubicBezTo>
                  <a:cubicBezTo>
                    <a:pt x="88" y="143"/>
                    <a:pt x="85" y="144"/>
                    <a:pt x="83" y="144"/>
                  </a:cubicBezTo>
                  <a:cubicBezTo>
                    <a:pt x="80" y="144"/>
                    <a:pt x="78" y="144"/>
                    <a:pt x="76" y="146"/>
                  </a:cubicBezTo>
                  <a:cubicBezTo>
                    <a:pt x="76" y="146"/>
                    <a:pt x="76" y="146"/>
                    <a:pt x="76" y="146"/>
                  </a:cubicBezTo>
                  <a:cubicBezTo>
                    <a:pt x="72" y="149"/>
                    <a:pt x="67" y="153"/>
                    <a:pt x="64" y="153"/>
                  </a:cubicBezTo>
                  <a:cubicBezTo>
                    <a:pt x="63" y="153"/>
                    <a:pt x="62" y="153"/>
                    <a:pt x="62" y="152"/>
                  </a:cubicBezTo>
                  <a:cubicBezTo>
                    <a:pt x="61" y="150"/>
                    <a:pt x="60" y="150"/>
                    <a:pt x="58" y="150"/>
                  </a:cubicBezTo>
                  <a:cubicBezTo>
                    <a:pt x="55" y="150"/>
                    <a:pt x="48" y="152"/>
                    <a:pt x="45" y="156"/>
                  </a:cubicBezTo>
                  <a:cubicBezTo>
                    <a:pt x="40" y="161"/>
                    <a:pt x="32" y="166"/>
                    <a:pt x="27" y="166"/>
                  </a:cubicBezTo>
                  <a:cubicBezTo>
                    <a:pt x="23" y="166"/>
                    <a:pt x="22" y="170"/>
                    <a:pt x="21" y="173"/>
                  </a:cubicBezTo>
                  <a:cubicBezTo>
                    <a:pt x="21" y="174"/>
                    <a:pt x="20" y="176"/>
                    <a:pt x="19" y="177"/>
                  </a:cubicBezTo>
                  <a:cubicBezTo>
                    <a:pt x="19" y="177"/>
                    <a:pt x="18" y="177"/>
                    <a:pt x="17" y="177"/>
                  </a:cubicBezTo>
                  <a:cubicBezTo>
                    <a:pt x="17" y="176"/>
                    <a:pt x="17" y="172"/>
                    <a:pt x="17" y="169"/>
                  </a:cubicBezTo>
                  <a:cubicBezTo>
                    <a:pt x="17" y="168"/>
                    <a:pt x="17" y="168"/>
                    <a:pt x="17" y="167"/>
                  </a:cubicBezTo>
                  <a:cubicBezTo>
                    <a:pt x="16" y="168"/>
                    <a:pt x="12" y="173"/>
                    <a:pt x="10" y="178"/>
                  </a:cubicBezTo>
                  <a:cubicBezTo>
                    <a:pt x="9" y="181"/>
                    <a:pt x="10" y="183"/>
                    <a:pt x="11" y="185"/>
                  </a:cubicBezTo>
                  <a:cubicBezTo>
                    <a:pt x="12" y="188"/>
                    <a:pt x="14" y="191"/>
                    <a:pt x="11" y="195"/>
                  </a:cubicBezTo>
                  <a:cubicBezTo>
                    <a:pt x="6" y="201"/>
                    <a:pt x="1" y="208"/>
                    <a:pt x="8" y="217"/>
                  </a:cubicBezTo>
                  <a:cubicBezTo>
                    <a:pt x="15" y="226"/>
                    <a:pt x="19" y="232"/>
                    <a:pt x="17" y="237"/>
                  </a:cubicBezTo>
                  <a:cubicBezTo>
                    <a:pt x="16" y="238"/>
                    <a:pt x="16" y="238"/>
                    <a:pt x="15" y="238"/>
                  </a:cubicBezTo>
                  <a:cubicBezTo>
                    <a:pt x="14" y="238"/>
                    <a:pt x="12" y="236"/>
                    <a:pt x="10" y="233"/>
                  </a:cubicBezTo>
                  <a:cubicBezTo>
                    <a:pt x="10" y="232"/>
                    <a:pt x="8" y="230"/>
                    <a:pt x="8" y="230"/>
                  </a:cubicBezTo>
                  <a:cubicBezTo>
                    <a:pt x="7" y="230"/>
                    <a:pt x="9" y="232"/>
                    <a:pt x="10" y="233"/>
                  </a:cubicBezTo>
                  <a:cubicBezTo>
                    <a:pt x="11" y="236"/>
                    <a:pt x="13" y="238"/>
                    <a:pt x="12" y="240"/>
                  </a:cubicBezTo>
                  <a:cubicBezTo>
                    <a:pt x="12" y="241"/>
                    <a:pt x="11" y="241"/>
                    <a:pt x="11" y="241"/>
                  </a:cubicBezTo>
                  <a:cubicBezTo>
                    <a:pt x="10" y="241"/>
                    <a:pt x="8" y="239"/>
                    <a:pt x="6" y="236"/>
                  </a:cubicBezTo>
                  <a:cubicBezTo>
                    <a:pt x="5" y="234"/>
                    <a:pt x="3" y="232"/>
                    <a:pt x="2" y="232"/>
                  </a:cubicBezTo>
                  <a:cubicBezTo>
                    <a:pt x="2" y="232"/>
                    <a:pt x="2" y="232"/>
                    <a:pt x="2" y="232"/>
                  </a:cubicBezTo>
                  <a:cubicBezTo>
                    <a:pt x="1" y="233"/>
                    <a:pt x="5" y="239"/>
                    <a:pt x="8" y="245"/>
                  </a:cubicBezTo>
                  <a:cubicBezTo>
                    <a:pt x="12" y="252"/>
                    <a:pt x="17" y="260"/>
                    <a:pt x="17" y="265"/>
                  </a:cubicBezTo>
                  <a:cubicBezTo>
                    <a:pt x="17" y="268"/>
                    <a:pt x="19" y="272"/>
                    <a:pt x="22" y="276"/>
                  </a:cubicBezTo>
                  <a:cubicBezTo>
                    <a:pt x="25" y="280"/>
                    <a:pt x="29" y="286"/>
                    <a:pt x="29" y="292"/>
                  </a:cubicBezTo>
                  <a:cubicBezTo>
                    <a:pt x="28" y="305"/>
                    <a:pt x="42" y="325"/>
                    <a:pt x="42" y="325"/>
                  </a:cubicBezTo>
                  <a:cubicBezTo>
                    <a:pt x="43" y="327"/>
                    <a:pt x="42" y="329"/>
                    <a:pt x="41" y="332"/>
                  </a:cubicBezTo>
                  <a:cubicBezTo>
                    <a:pt x="40" y="336"/>
                    <a:pt x="38" y="340"/>
                    <a:pt x="39" y="345"/>
                  </a:cubicBezTo>
                  <a:cubicBezTo>
                    <a:pt x="39" y="349"/>
                    <a:pt x="39" y="353"/>
                    <a:pt x="37" y="355"/>
                  </a:cubicBezTo>
                  <a:cubicBezTo>
                    <a:pt x="35" y="357"/>
                    <a:pt x="33" y="357"/>
                    <a:pt x="30" y="357"/>
                  </a:cubicBezTo>
                  <a:cubicBezTo>
                    <a:pt x="28" y="357"/>
                    <a:pt x="27" y="359"/>
                    <a:pt x="27" y="359"/>
                  </a:cubicBezTo>
                  <a:cubicBezTo>
                    <a:pt x="27" y="362"/>
                    <a:pt x="30" y="366"/>
                    <a:pt x="34" y="366"/>
                  </a:cubicBezTo>
                  <a:cubicBezTo>
                    <a:pt x="37" y="367"/>
                    <a:pt x="38" y="368"/>
                    <a:pt x="39" y="370"/>
                  </a:cubicBezTo>
                  <a:cubicBezTo>
                    <a:pt x="40" y="372"/>
                    <a:pt x="42" y="374"/>
                    <a:pt x="45" y="376"/>
                  </a:cubicBezTo>
                  <a:cubicBezTo>
                    <a:pt x="48" y="378"/>
                    <a:pt x="53" y="379"/>
                    <a:pt x="62" y="379"/>
                  </a:cubicBezTo>
                  <a:cubicBezTo>
                    <a:pt x="64" y="379"/>
                    <a:pt x="67" y="379"/>
                    <a:pt x="69" y="379"/>
                  </a:cubicBezTo>
                  <a:cubicBezTo>
                    <a:pt x="70" y="378"/>
                    <a:pt x="72" y="378"/>
                    <a:pt x="73" y="378"/>
                  </a:cubicBezTo>
                  <a:cubicBezTo>
                    <a:pt x="75" y="378"/>
                    <a:pt x="77" y="377"/>
                    <a:pt x="78" y="375"/>
                  </a:cubicBezTo>
                  <a:cubicBezTo>
                    <a:pt x="81" y="372"/>
                    <a:pt x="83" y="370"/>
                    <a:pt x="87" y="370"/>
                  </a:cubicBezTo>
                  <a:cubicBezTo>
                    <a:pt x="93" y="369"/>
                    <a:pt x="93" y="368"/>
                    <a:pt x="95" y="366"/>
                  </a:cubicBezTo>
                  <a:cubicBezTo>
                    <a:pt x="96" y="365"/>
                    <a:pt x="96" y="364"/>
                    <a:pt x="97" y="363"/>
                  </a:cubicBezTo>
                  <a:cubicBezTo>
                    <a:pt x="99" y="360"/>
                    <a:pt x="104" y="359"/>
                    <a:pt x="113" y="359"/>
                  </a:cubicBezTo>
                  <a:cubicBezTo>
                    <a:pt x="119" y="359"/>
                    <a:pt x="125" y="360"/>
                    <a:pt x="132" y="360"/>
                  </a:cubicBezTo>
                  <a:cubicBezTo>
                    <a:pt x="135" y="360"/>
                    <a:pt x="135" y="360"/>
                    <a:pt x="135" y="360"/>
                  </a:cubicBezTo>
                  <a:cubicBezTo>
                    <a:pt x="150" y="361"/>
                    <a:pt x="159" y="357"/>
                    <a:pt x="162" y="349"/>
                  </a:cubicBezTo>
                  <a:cubicBezTo>
                    <a:pt x="163" y="346"/>
                    <a:pt x="168" y="344"/>
                    <a:pt x="172" y="342"/>
                  </a:cubicBezTo>
                  <a:cubicBezTo>
                    <a:pt x="176" y="341"/>
                    <a:pt x="179" y="340"/>
                    <a:pt x="181" y="338"/>
                  </a:cubicBezTo>
                  <a:cubicBezTo>
                    <a:pt x="185" y="335"/>
                    <a:pt x="188" y="334"/>
                    <a:pt x="195" y="334"/>
                  </a:cubicBezTo>
                  <a:cubicBezTo>
                    <a:pt x="197" y="334"/>
                    <a:pt x="200" y="334"/>
                    <a:pt x="203" y="334"/>
                  </a:cubicBezTo>
                  <a:cubicBezTo>
                    <a:pt x="204" y="334"/>
                    <a:pt x="204" y="334"/>
                    <a:pt x="205" y="334"/>
                  </a:cubicBezTo>
                  <a:cubicBezTo>
                    <a:pt x="214" y="334"/>
                    <a:pt x="223" y="330"/>
                    <a:pt x="230" y="327"/>
                  </a:cubicBezTo>
                  <a:cubicBezTo>
                    <a:pt x="232" y="326"/>
                    <a:pt x="233" y="325"/>
                    <a:pt x="235" y="325"/>
                  </a:cubicBezTo>
                  <a:cubicBezTo>
                    <a:pt x="240" y="323"/>
                    <a:pt x="247" y="322"/>
                    <a:pt x="253" y="322"/>
                  </a:cubicBezTo>
                  <a:cubicBezTo>
                    <a:pt x="258" y="322"/>
                    <a:pt x="263" y="321"/>
                    <a:pt x="266" y="321"/>
                  </a:cubicBezTo>
                  <a:cubicBezTo>
                    <a:pt x="266" y="321"/>
                    <a:pt x="267" y="320"/>
                    <a:pt x="268" y="320"/>
                  </a:cubicBezTo>
                  <a:cubicBezTo>
                    <a:pt x="271" y="320"/>
                    <a:pt x="273" y="323"/>
                    <a:pt x="275" y="325"/>
                  </a:cubicBezTo>
                  <a:cubicBezTo>
                    <a:pt x="277" y="327"/>
                    <a:pt x="279" y="330"/>
                    <a:pt x="284" y="329"/>
                  </a:cubicBezTo>
                  <a:cubicBezTo>
                    <a:pt x="285" y="329"/>
                    <a:pt x="286" y="329"/>
                    <a:pt x="287" y="329"/>
                  </a:cubicBezTo>
                  <a:cubicBezTo>
                    <a:pt x="290" y="329"/>
                    <a:pt x="293" y="330"/>
                    <a:pt x="295" y="331"/>
                  </a:cubicBezTo>
                  <a:cubicBezTo>
                    <a:pt x="297" y="331"/>
                    <a:pt x="299" y="332"/>
                    <a:pt x="301" y="332"/>
                  </a:cubicBezTo>
                  <a:cubicBezTo>
                    <a:pt x="303" y="331"/>
                    <a:pt x="304" y="333"/>
                    <a:pt x="306" y="334"/>
                  </a:cubicBezTo>
                  <a:cubicBezTo>
                    <a:pt x="306" y="335"/>
                    <a:pt x="307" y="335"/>
                    <a:pt x="309" y="336"/>
                  </a:cubicBezTo>
                  <a:cubicBezTo>
                    <a:pt x="311" y="336"/>
                    <a:pt x="312" y="337"/>
                    <a:pt x="313" y="338"/>
                  </a:cubicBezTo>
                  <a:cubicBezTo>
                    <a:pt x="314" y="341"/>
                    <a:pt x="312" y="344"/>
                    <a:pt x="311" y="346"/>
                  </a:cubicBezTo>
                  <a:cubicBezTo>
                    <a:pt x="310" y="346"/>
                    <a:pt x="310" y="347"/>
                    <a:pt x="310" y="347"/>
                  </a:cubicBezTo>
                  <a:cubicBezTo>
                    <a:pt x="310" y="348"/>
                    <a:pt x="312" y="349"/>
                    <a:pt x="314" y="350"/>
                  </a:cubicBezTo>
                  <a:cubicBezTo>
                    <a:pt x="316" y="351"/>
                    <a:pt x="320" y="353"/>
                    <a:pt x="323" y="357"/>
                  </a:cubicBezTo>
                  <a:cubicBezTo>
                    <a:pt x="327" y="362"/>
                    <a:pt x="327" y="365"/>
                    <a:pt x="326" y="367"/>
                  </a:cubicBezTo>
                  <a:cubicBezTo>
                    <a:pt x="326" y="369"/>
                    <a:pt x="326" y="371"/>
                    <a:pt x="327" y="374"/>
                  </a:cubicBezTo>
                  <a:cubicBezTo>
                    <a:pt x="328" y="376"/>
                    <a:pt x="329" y="377"/>
                    <a:pt x="330" y="377"/>
                  </a:cubicBezTo>
                  <a:cubicBezTo>
                    <a:pt x="332" y="377"/>
                    <a:pt x="334" y="374"/>
                    <a:pt x="338" y="369"/>
                  </a:cubicBezTo>
                  <a:cubicBezTo>
                    <a:pt x="341" y="365"/>
                    <a:pt x="345" y="364"/>
                    <a:pt x="348" y="363"/>
                  </a:cubicBezTo>
                  <a:cubicBezTo>
                    <a:pt x="350" y="362"/>
                    <a:pt x="352" y="362"/>
                    <a:pt x="352" y="359"/>
                  </a:cubicBezTo>
                  <a:cubicBezTo>
                    <a:pt x="353" y="352"/>
                    <a:pt x="358" y="344"/>
                    <a:pt x="363" y="344"/>
                  </a:cubicBezTo>
                  <a:cubicBezTo>
                    <a:pt x="364" y="344"/>
                    <a:pt x="365" y="345"/>
                    <a:pt x="366" y="345"/>
                  </a:cubicBezTo>
                  <a:cubicBezTo>
                    <a:pt x="368" y="348"/>
                    <a:pt x="367" y="349"/>
                    <a:pt x="365" y="352"/>
                  </a:cubicBezTo>
                  <a:cubicBezTo>
                    <a:pt x="364" y="355"/>
                    <a:pt x="361" y="359"/>
                    <a:pt x="360" y="366"/>
                  </a:cubicBezTo>
                  <a:cubicBezTo>
                    <a:pt x="358" y="377"/>
                    <a:pt x="354" y="377"/>
                    <a:pt x="352" y="377"/>
                  </a:cubicBezTo>
                  <a:cubicBezTo>
                    <a:pt x="351" y="377"/>
                    <a:pt x="351" y="377"/>
                    <a:pt x="351" y="378"/>
                  </a:cubicBezTo>
                  <a:cubicBezTo>
                    <a:pt x="350" y="378"/>
                    <a:pt x="351" y="379"/>
                    <a:pt x="351" y="379"/>
                  </a:cubicBezTo>
                  <a:cubicBezTo>
                    <a:pt x="352" y="380"/>
                    <a:pt x="354" y="381"/>
                    <a:pt x="357" y="381"/>
                  </a:cubicBezTo>
                  <a:cubicBezTo>
                    <a:pt x="358" y="381"/>
                    <a:pt x="363" y="381"/>
                    <a:pt x="363" y="376"/>
                  </a:cubicBezTo>
                  <a:cubicBezTo>
                    <a:pt x="363" y="371"/>
                    <a:pt x="364" y="368"/>
                    <a:pt x="367" y="368"/>
                  </a:cubicBezTo>
                  <a:cubicBezTo>
                    <a:pt x="368" y="368"/>
                    <a:pt x="370" y="369"/>
                    <a:pt x="372" y="372"/>
                  </a:cubicBezTo>
                  <a:cubicBezTo>
                    <a:pt x="376" y="377"/>
                    <a:pt x="373" y="381"/>
                    <a:pt x="372" y="384"/>
                  </a:cubicBezTo>
                  <a:cubicBezTo>
                    <a:pt x="371" y="386"/>
                    <a:pt x="370" y="387"/>
                    <a:pt x="370" y="388"/>
                  </a:cubicBezTo>
                  <a:cubicBezTo>
                    <a:pt x="370" y="389"/>
                    <a:pt x="371" y="389"/>
                    <a:pt x="372" y="389"/>
                  </a:cubicBezTo>
                  <a:cubicBezTo>
                    <a:pt x="373" y="389"/>
                    <a:pt x="374" y="389"/>
                    <a:pt x="376" y="388"/>
                  </a:cubicBezTo>
                  <a:cubicBezTo>
                    <a:pt x="377" y="388"/>
                    <a:pt x="379" y="387"/>
                    <a:pt x="380" y="387"/>
                  </a:cubicBezTo>
                  <a:cubicBezTo>
                    <a:pt x="383" y="387"/>
                    <a:pt x="386" y="389"/>
                    <a:pt x="388" y="393"/>
                  </a:cubicBezTo>
                  <a:cubicBezTo>
                    <a:pt x="391" y="397"/>
                    <a:pt x="394" y="403"/>
                    <a:pt x="393" y="408"/>
                  </a:cubicBezTo>
                  <a:cubicBezTo>
                    <a:pt x="393" y="409"/>
                    <a:pt x="393" y="409"/>
                    <a:pt x="393" y="409"/>
                  </a:cubicBezTo>
                  <a:cubicBezTo>
                    <a:pt x="392" y="415"/>
                    <a:pt x="391" y="421"/>
                    <a:pt x="401" y="426"/>
                  </a:cubicBezTo>
                  <a:cubicBezTo>
                    <a:pt x="405" y="428"/>
                    <a:pt x="407" y="430"/>
                    <a:pt x="408" y="431"/>
                  </a:cubicBezTo>
                  <a:cubicBezTo>
                    <a:pt x="410" y="432"/>
                    <a:pt x="411" y="432"/>
                    <a:pt x="415" y="432"/>
                  </a:cubicBezTo>
                  <a:cubicBezTo>
                    <a:pt x="423" y="432"/>
                    <a:pt x="440" y="439"/>
                    <a:pt x="445" y="443"/>
                  </a:cubicBezTo>
                  <a:cubicBezTo>
                    <a:pt x="446" y="443"/>
                    <a:pt x="447" y="444"/>
                    <a:pt x="448" y="444"/>
                  </a:cubicBezTo>
                  <a:cubicBezTo>
                    <a:pt x="453" y="444"/>
                    <a:pt x="461" y="438"/>
                    <a:pt x="463" y="432"/>
                  </a:cubicBezTo>
                  <a:cubicBezTo>
                    <a:pt x="463" y="429"/>
                    <a:pt x="465" y="429"/>
                    <a:pt x="466" y="429"/>
                  </a:cubicBezTo>
                  <a:cubicBezTo>
                    <a:pt x="468" y="429"/>
                    <a:pt x="470" y="430"/>
                    <a:pt x="471" y="432"/>
                  </a:cubicBezTo>
                  <a:cubicBezTo>
                    <a:pt x="471" y="433"/>
                    <a:pt x="471" y="434"/>
                    <a:pt x="469" y="435"/>
                  </a:cubicBezTo>
                  <a:cubicBezTo>
                    <a:pt x="468" y="436"/>
                    <a:pt x="468" y="437"/>
                    <a:pt x="468" y="438"/>
                  </a:cubicBezTo>
                  <a:cubicBezTo>
                    <a:pt x="469" y="439"/>
                    <a:pt x="470" y="440"/>
                    <a:pt x="471" y="440"/>
                  </a:cubicBezTo>
                  <a:cubicBezTo>
                    <a:pt x="471" y="440"/>
                    <a:pt x="471" y="440"/>
                    <a:pt x="471" y="439"/>
                  </a:cubicBezTo>
                  <a:cubicBezTo>
                    <a:pt x="471" y="436"/>
                    <a:pt x="472" y="434"/>
                    <a:pt x="474" y="434"/>
                  </a:cubicBezTo>
                  <a:close/>
                  <a:moveTo>
                    <a:pt x="351" y="397"/>
                  </a:moveTo>
                  <a:cubicBezTo>
                    <a:pt x="351" y="397"/>
                    <a:pt x="351" y="397"/>
                    <a:pt x="351" y="397"/>
                  </a:cubicBezTo>
                  <a:cubicBezTo>
                    <a:pt x="347" y="397"/>
                    <a:pt x="345" y="397"/>
                    <a:pt x="343" y="395"/>
                  </a:cubicBezTo>
                  <a:cubicBezTo>
                    <a:pt x="343" y="394"/>
                    <a:pt x="343" y="394"/>
                    <a:pt x="343" y="394"/>
                  </a:cubicBezTo>
                  <a:cubicBezTo>
                    <a:pt x="344" y="392"/>
                    <a:pt x="352" y="390"/>
                    <a:pt x="357" y="390"/>
                  </a:cubicBezTo>
                  <a:cubicBezTo>
                    <a:pt x="359" y="390"/>
                    <a:pt x="361" y="391"/>
                    <a:pt x="361" y="391"/>
                  </a:cubicBezTo>
                  <a:cubicBezTo>
                    <a:pt x="362" y="392"/>
                    <a:pt x="362" y="392"/>
                    <a:pt x="362" y="393"/>
                  </a:cubicBezTo>
                  <a:cubicBezTo>
                    <a:pt x="360" y="396"/>
                    <a:pt x="355" y="397"/>
                    <a:pt x="351" y="397"/>
                  </a:cubicBezTo>
                  <a:close/>
                  <a:moveTo>
                    <a:pt x="357" y="391"/>
                  </a:moveTo>
                  <a:cubicBezTo>
                    <a:pt x="351" y="391"/>
                    <a:pt x="344" y="393"/>
                    <a:pt x="344" y="394"/>
                  </a:cubicBezTo>
                  <a:cubicBezTo>
                    <a:pt x="344" y="395"/>
                    <a:pt x="344" y="395"/>
                    <a:pt x="344" y="395"/>
                  </a:cubicBezTo>
                  <a:cubicBezTo>
                    <a:pt x="345" y="396"/>
                    <a:pt x="348" y="396"/>
                    <a:pt x="351" y="396"/>
                  </a:cubicBezTo>
                  <a:cubicBezTo>
                    <a:pt x="351" y="396"/>
                    <a:pt x="351" y="396"/>
                    <a:pt x="351" y="396"/>
                  </a:cubicBezTo>
                  <a:cubicBezTo>
                    <a:pt x="355" y="396"/>
                    <a:pt x="360" y="395"/>
                    <a:pt x="361" y="393"/>
                  </a:cubicBezTo>
                  <a:cubicBezTo>
                    <a:pt x="361" y="392"/>
                    <a:pt x="361" y="392"/>
                    <a:pt x="361" y="392"/>
                  </a:cubicBezTo>
                  <a:cubicBezTo>
                    <a:pt x="360" y="392"/>
                    <a:pt x="360" y="391"/>
                    <a:pt x="357" y="391"/>
                  </a:cubicBezTo>
                  <a:close/>
                  <a:moveTo>
                    <a:pt x="257" y="19"/>
                  </a:moveTo>
                  <a:cubicBezTo>
                    <a:pt x="257" y="19"/>
                    <a:pt x="257" y="19"/>
                    <a:pt x="257" y="19"/>
                  </a:cubicBezTo>
                  <a:cubicBezTo>
                    <a:pt x="254" y="19"/>
                    <a:pt x="253" y="19"/>
                    <a:pt x="252" y="18"/>
                  </a:cubicBezTo>
                  <a:cubicBezTo>
                    <a:pt x="251" y="17"/>
                    <a:pt x="251" y="16"/>
                    <a:pt x="251" y="16"/>
                  </a:cubicBezTo>
                  <a:cubicBezTo>
                    <a:pt x="252" y="13"/>
                    <a:pt x="261" y="11"/>
                    <a:pt x="267" y="11"/>
                  </a:cubicBezTo>
                  <a:cubicBezTo>
                    <a:pt x="270" y="11"/>
                    <a:pt x="271" y="12"/>
                    <a:pt x="272" y="13"/>
                  </a:cubicBezTo>
                  <a:cubicBezTo>
                    <a:pt x="272" y="14"/>
                    <a:pt x="271" y="14"/>
                    <a:pt x="271" y="15"/>
                  </a:cubicBezTo>
                  <a:cubicBezTo>
                    <a:pt x="269" y="17"/>
                    <a:pt x="262" y="19"/>
                    <a:pt x="257" y="19"/>
                  </a:cubicBezTo>
                  <a:close/>
                  <a:moveTo>
                    <a:pt x="267" y="12"/>
                  </a:moveTo>
                  <a:cubicBezTo>
                    <a:pt x="261" y="12"/>
                    <a:pt x="253" y="14"/>
                    <a:pt x="252" y="16"/>
                  </a:cubicBezTo>
                  <a:cubicBezTo>
                    <a:pt x="252" y="16"/>
                    <a:pt x="252" y="17"/>
                    <a:pt x="253" y="17"/>
                  </a:cubicBezTo>
                  <a:cubicBezTo>
                    <a:pt x="253" y="18"/>
                    <a:pt x="255" y="18"/>
                    <a:pt x="257" y="18"/>
                  </a:cubicBezTo>
                  <a:cubicBezTo>
                    <a:pt x="257" y="18"/>
                    <a:pt x="257" y="18"/>
                    <a:pt x="257" y="18"/>
                  </a:cubicBezTo>
                  <a:cubicBezTo>
                    <a:pt x="261" y="18"/>
                    <a:pt x="268" y="16"/>
                    <a:pt x="270" y="14"/>
                  </a:cubicBezTo>
                  <a:cubicBezTo>
                    <a:pt x="271" y="13"/>
                    <a:pt x="271" y="13"/>
                    <a:pt x="271" y="13"/>
                  </a:cubicBezTo>
                  <a:cubicBezTo>
                    <a:pt x="270" y="13"/>
                    <a:pt x="269" y="12"/>
                    <a:pt x="267"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8" name="Freeform 155"/>
            <p:cNvSpPr>
              <a:spLocks noEditPoints="1"/>
            </p:cNvSpPr>
            <p:nvPr/>
          </p:nvSpPr>
          <p:spPr>
            <a:xfrm>
              <a:off x="8867776" y="4721225"/>
              <a:ext cx="303213" cy="369888"/>
            </a:xfrm>
            <a:custGeom>
              <a:gdLst>
                <a:gd name="T0" fmla="*/ 18 w 179"/>
                <a:gd name="T1" fmla="*/ 218 h 218"/>
                <a:gd name="T2" fmla="*/ 24 w 179"/>
                <a:gd name="T3" fmla="*/ 210 h 218"/>
                <a:gd name="T4" fmla="*/ 21 w 179"/>
                <a:gd name="T5" fmla="*/ 210 h 218"/>
                <a:gd name="T6" fmla="*/ 19 w 179"/>
                <a:gd name="T7" fmla="*/ 217 h 218"/>
                <a:gd name="T8" fmla="*/ 21 w 179"/>
                <a:gd name="T9" fmla="*/ 210 h 218"/>
                <a:gd name="T10" fmla="*/ 27 w 179"/>
                <a:gd name="T11" fmla="*/ 206 h 218"/>
                <a:gd name="T12" fmla="*/ 10 w 179"/>
                <a:gd name="T13" fmla="*/ 200 h 218"/>
                <a:gd name="T14" fmla="*/ 7 w 179"/>
                <a:gd name="T15" fmla="*/ 180 h 218"/>
                <a:gd name="T16" fmla="*/ 40 w 179"/>
                <a:gd name="T17" fmla="*/ 153 h 218"/>
                <a:gd name="T18" fmla="*/ 77 w 179"/>
                <a:gd name="T19" fmla="*/ 116 h 218"/>
                <a:gd name="T20" fmla="*/ 88 w 179"/>
                <a:gd name="T21" fmla="*/ 102 h 218"/>
                <a:gd name="T22" fmla="*/ 103 w 179"/>
                <a:gd name="T23" fmla="*/ 107 h 218"/>
                <a:gd name="T24" fmla="*/ 113 w 179"/>
                <a:gd name="T25" fmla="*/ 111 h 218"/>
                <a:gd name="T26" fmla="*/ 102 w 179"/>
                <a:gd name="T27" fmla="*/ 137 h 218"/>
                <a:gd name="T28" fmla="*/ 94 w 179"/>
                <a:gd name="T29" fmla="*/ 154 h 218"/>
                <a:gd name="T30" fmla="*/ 72 w 179"/>
                <a:gd name="T31" fmla="*/ 167 h 218"/>
                <a:gd name="T32" fmla="*/ 64 w 179"/>
                <a:gd name="T33" fmla="*/ 184 h 218"/>
                <a:gd name="T34" fmla="*/ 34 w 179"/>
                <a:gd name="T35" fmla="*/ 209 h 218"/>
                <a:gd name="T36" fmla="*/ 82 w 179"/>
                <a:gd name="T37" fmla="*/ 109 h 218"/>
                <a:gd name="T38" fmla="*/ 66 w 179"/>
                <a:gd name="T39" fmla="*/ 137 h 218"/>
                <a:gd name="T40" fmla="*/ 16 w 179"/>
                <a:gd name="T41" fmla="*/ 172 h 218"/>
                <a:gd name="T42" fmla="*/ 4 w 179"/>
                <a:gd name="T43" fmla="*/ 196 h 218"/>
                <a:gd name="T44" fmla="*/ 23 w 179"/>
                <a:gd name="T45" fmla="*/ 204 h 218"/>
                <a:gd name="T46" fmla="*/ 34 w 179"/>
                <a:gd name="T47" fmla="*/ 208 h 218"/>
                <a:gd name="T48" fmla="*/ 63 w 179"/>
                <a:gd name="T49" fmla="*/ 183 h 218"/>
                <a:gd name="T50" fmla="*/ 71 w 179"/>
                <a:gd name="T51" fmla="*/ 167 h 218"/>
                <a:gd name="T52" fmla="*/ 93 w 179"/>
                <a:gd name="T53" fmla="*/ 155 h 218"/>
                <a:gd name="T54" fmla="*/ 101 w 179"/>
                <a:gd name="T55" fmla="*/ 137 h 218"/>
                <a:gd name="T56" fmla="*/ 112 w 179"/>
                <a:gd name="T57" fmla="*/ 111 h 218"/>
                <a:gd name="T58" fmla="*/ 103 w 179"/>
                <a:gd name="T59" fmla="*/ 107 h 218"/>
                <a:gd name="T60" fmla="*/ 93 w 179"/>
                <a:gd name="T61" fmla="*/ 107 h 218"/>
                <a:gd name="T62" fmla="*/ 123 w 179"/>
                <a:gd name="T63" fmla="*/ 114 h 218"/>
                <a:gd name="T64" fmla="*/ 119 w 179"/>
                <a:gd name="T65" fmla="*/ 86 h 218"/>
                <a:gd name="T66" fmla="*/ 114 w 179"/>
                <a:gd name="T67" fmla="*/ 68 h 218"/>
                <a:gd name="T68" fmla="*/ 122 w 179"/>
                <a:gd name="T69" fmla="*/ 39 h 218"/>
                <a:gd name="T70" fmla="*/ 103 w 179"/>
                <a:gd name="T71" fmla="*/ 17 h 218"/>
                <a:gd name="T72" fmla="*/ 118 w 179"/>
                <a:gd name="T73" fmla="*/ 14 h 218"/>
                <a:gd name="T74" fmla="*/ 128 w 179"/>
                <a:gd name="T75" fmla="*/ 37 h 218"/>
                <a:gd name="T76" fmla="*/ 133 w 179"/>
                <a:gd name="T77" fmla="*/ 40 h 218"/>
                <a:gd name="T78" fmla="*/ 134 w 179"/>
                <a:gd name="T79" fmla="*/ 32 h 218"/>
                <a:gd name="T80" fmla="*/ 149 w 179"/>
                <a:gd name="T81" fmla="*/ 52 h 218"/>
                <a:gd name="T82" fmla="*/ 163 w 179"/>
                <a:gd name="T83" fmla="*/ 54 h 218"/>
                <a:gd name="T84" fmla="*/ 178 w 179"/>
                <a:gd name="T85" fmla="*/ 53 h 218"/>
                <a:gd name="T86" fmla="*/ 170 w 179"/>
                <a:gd name="T87" fmla="*/ 71 h 218"/>
                <a:gd name="T88" fmla="*/ 157 w 179"/>
                <a:gd name="T89" fmla="*/ 78 h 218"/>
                <a:gd name="T90" fmla="*/ 147 w 179"/>
                <a:gd name="T91" fmla="*/ 103 h 218"/>
                <a:gd name="T92" fmla="*/ 99 w 179"/>
                <a:gd name="T93" fmla="*/ 1 h 218"/>
                <a:gd name="T94" fmla="*/ 109 w 179"/>
                <a:gd name="T95" fmla="*/ 20 h 218"/>
                <a:gd name="T96" fmla="*/ 123 w 179"/>
                <a:gd name="T97" fmla="*/ 48 h 218"/>
                <a:gd name="T98" fmla="*/ 108 w 179"/>
                <a:gd name="T99" fmla="*/ 74 h 218"/>
                <a:gd name="T100" fmla="*/ 128 w 179"/>
                <a:gd name="T101" fmla="*/ 90 h 218"/>
                <a:gd name="T102" fmla="*/ 131 w 179"/>
                <a:gd name="T103" fmla="*/ 116 h 218"/>
                <a:gd name="T104" fmla="*/ 152 w 179"/>
                <a:gd name="T105" fmla="*/ 93 h 218"/>
                <a:gd name="T106" fmla="*/ 165 w 179"/>
                <a:gd name="T107" fmla="*/ 74 h 218"/>
                <a:gd name="T108" fmla="*/ 173 w 179"/>
                <a:gd name="T109" fmla="*/ 66 h 218"/>
                <a:gd name="T110" fmla="*/ 177 w 179"/>
                <a:gd name="T111" fmla="*/ 51 h 218"/>
                <a:gd name="T112" fmla="*/ 160 w 179"/>
                <a:gd name="T113" fmla="*/ 56 h 218"/>
                <a:gd name="T114" fmla="*/ 140 w 179"/>
                <a:gd name="T115" fmla="*/ 44 h 218"/>
                <a:gd name="T116" fmla="*/ 133 w 179"/>
                <a:gd name="T117" fmla="*/ 33 h 218"/>
                <a:gd name="T118" fmla="*/ 133 w 179"/>
                <a:gd name="T119" fmla="*/ 42 h 218"/>
                <a:gd name="T120" fmla="*/ 122 w 179"/>
                <a:gd name="T121" fmla="*/ 27 h 218"/>
                <a:gd name="T122" fmla="*/ 99 w 179"/>
                <a:gd name="T123" fmla="*/ 1 h 2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 h="218">
                  <a:moveTo>
                    <a:pt x="19" y="218"/>
                  </a:moveTo>
                  <a:cubicBezTo>
                    <a:pt x="19" y="218"/>
                    <a:pt x="19" y="218"/>
                    <a:pt x="19" y="218"/>
                  </a:cubicBezTo>
                  <a:cubicBezTo>
                    <a:pt x="18" y="218"/>
                    <a:pt x="18" y="218"/>
                    <a:pt x="18" y="218"/>
                  </a:cubicBezTo>
                  <a:cubicBezTo>
                    <a:pt x="16" y="217"/>
                    <a:pt x="15" y="216"/>
                    <a:pt x="15" y="214"/>
                  </a:cubicBezTo>
                  <a:cubicBezTo>
                    <a:pt x="16" y="211"/>
                    <a:pt x="18" y="209"/>
                    <a:pt x="21" y="209"/>
                  </a:cubicBezTo>
                  <a:cubicBezTo>
                    <a:pt x="22" y="209"/>
                    <a:pt x="23" y="209"/>
                    <a:pt x="24" y="210"/>
                  </a:cubicBezTo>
                  <a:cubicBezTo>
                    <a:pt x="25" y="212"/>
                    <a:pt x="25" y="214"/>
                    <a:pt x="25" y="215"/>
                  </a:cubicBezTo>
                  <a:cubicBezTo>
                    <a:pt x="24" y="217"/>
                    <a:pt x="21" y="218"/>
                    <a:pt x="19" y="218"/>
                  </a:cubicBezTo>
                  <a:close/>
                  <a:moveTo>
                    <a:pt x="21" y="210"/>
                  </a:moveTo>
                  <a:cubicBezTo>
                    <a:pt x="18" y="210"/>
                    <a:pt x="17" y="212"/>
                    <a:pt x="16" y="214"/>
                  </a:cubicBezTo>
                  <a:cubicBezTo>
                    <a:pt x="16" y="215"/>
                    <a:pt x="16" y="216"/>
                    <a:pt x="18" y="217"/>
                  </a:cubicBezTo>
                  <a:cubicBezTo>
                    <a:pt x="18" y="217"/>
                    <a:pt x="18" y="217"/>
                    <a:pt x="19" y="217"/>
                  </a:cubicBezTo>
                  <a:cubicBezTo>
                    <a:pt x="20" y="217"/>
                    <a:pt x="23" y="216"/>
                    <a:pt x="24" y="214"/>
                  </a:cubicBezTo>
                  <a:cubicBezTo>
                    <a:pt x="24" y="213"/>
                    <a:pt x="24" y="212"/>
                    <a:pt x="23" y="211"/>
                  </a:cubicBezTo>
                  <a:cubicBezTo>
                    <a:pt x="22" y="210"/>
                    <a:pt x="21" y="210"/>
                    <a:pt x="21" y="210"/>
                  </a:cubicBezTo>
                  <a:close/>
                  <a:moveTo>
                    <a:pt x="34" y="209"/>
                  </a:moveTo>
                  <a:cubicBezTo>
                    <a:pt x="34" y="209"/>
                    <a:pt x="34" y="209"/>
                    <a:pt x="34" y="209"/>
                  </a:cubicBezTo>
                  <a:cubicBezTo>
                    <a:pt x="30" y="209"/>
                    <a:pt x="27" y="208"/>
                    <a:pt x="27" y="206"/>
                  </a:cubicBezTo>
                  <a:cubicBezTo>
                    <a:pt x="26" y="205"/>
                    <a:pt x="25" y="205"/>
                    <a:pt x="23" y="205"/>
                  </a:cubicBezTo>
                  <a:cubicBezTo>
                    <a:pt x="21" y="205"/>
                    <a:pt x="19" y="205"/>
                    <a:pt x="16" y="202"/>
                  </a:cubicBezTo>
                  <a:cubicBezTo>
                    <a:pt x="15" y="200"/>
                    <a:pt x="13" y="200"/>
                    <a:pt x="10" y="200"/>
                  </a:cubicBezTo>
                  <a:cubicBezTo>
                    <a:pt x="8" y="200"/>
                    <a:pt x="5" y="200"/>
                    <a:pt x="3" y="196"/>
                  </a:cubicBezTo>
                  <a:cubicBezTo>
                    <a:pt x="0" y="192"/>
                    <a:pt x="2" y="188"/>
                    <a:pt x="4" y="185"/>
                  </a:cubicBezTo>
                  <a:cubicBezTo>
                    <a:pt x="6" y="184"/>
                    <a:pt x="7" y="182"/>
                    <a:pt x="7" y="180"/>
                  </a:cubicBezTo>
                  <a:cubicBezTo>
                    <a:pt x="7" y="177"/>
                    <a:pt x="11" y="175"/>
                    <a:pt x="16" y="171"/>
                  </a:cubicBezTo>
                  <a:cubicBezTo>
                    <a:pt x="19" y="169"/>
                    <a:pt x="23" y="166"/>
                    <a:pt x="25" y="163"/>
                  </a:cubicBezTo>
                  <a:cubicBezTo>
                    <a:pt x="27" y="160"/>
                    <a:pt x="33" y="157"/>
                    <a:pt x="40" y="153"/>
                  </a:cubicBezTo>
                  <a:cubicBezTo>
                    <a:pt x="50" y="149"/>
                    <a:pt x="61" y="143"/>
                    <a:pt x="65" y="136"/>
                  </a:cubicBezTo>
                  <a:cubicBezTo>
                    <a:pt x="69" y="131"/>
                    <a:pt x="70" y="127"/>
                    <a:pt x="71" y="124"/>
                  </a:cubicBezTo>
                  <a:cubicBezTo>
                    <a:pt x="73" y="121"/>
                    <a:pt x="74" y="119"/>
                    <a:pt x="77" y="116"/>
                  </a:cubicBezTo>
                  <a:cubicBezTo>
                    <a:pt x="81" y="113"/>
                    <a:pt x="81" y="111"/>
                    <a:pt x="81" y="109"/>
                  </a:cubicBezTo>
                  <a:cubicBezTo>
                    <a:pt x="81" y="108"/>
                    <a:pt x="82" y="106"/>
                    <a:pt x="85" y="103"/>
                  </a:cubicBezTo>
                  <a:cubicBezTo>
                    <a:pt x="86" y="102"/>
                    <a:pt x="87" y="102"/>
                    <a:pt x="88" y="102"/>
                  </a:cubicBezTo>
                  <a:cubicBezTo>
                    <a:pt x="90" y="102"/>
                    <a:pt x="92" y="104"/>
                    <a:pt x="94" y="106"/>
                  </a:cubicBezTo>
                  <a:cubicBezTo>
                    <a:pt x="96" y="108"/>
                    <a:pt x="97" y="110"/>
                    <a:pt x="99" y="109"/>
                  </a:cubicBezTo>
                  <a:cubicBezTo>
                    <a:pt x="101" y="108"/>
                    <a:pt x="102" y="107"/>
                    <a:pt x="103" y="107"/>
                  </a:cubicBezTo>
                  <a:cubicBezTo>
                    <a:pt x="105" y="105"/>
                    <a:pt x="106" y="104"/>
                    <a:pt x="108" y="104"/>
                  </a:cubicBezTo>
                  <a:cubicBezTo>
                    <a:pt x="109" y="104"/>
                    <a:pt x="110" y="105"/>
                    <a:pt x="111" y="105"/>
                  </a:cubicBezTo>
                  <a:cubicBezTo>
                    <a:pt x="114" y="107"/>
                    <a:pt x="113" y="109"/>
                    <a:pt x="113" y="111"/>
                  </a:cubicBezTo>
                  <a:cubicBezTo>
                    <a:pt x="112" y="113"/>
                    <a:pt x="112" y="115"/>
                    <a:pt x="113" y="118"/>
                  </a:cubicBezTo>
                  <a:cubicBezTo>
                    <a:pt x="115" y="121"/>
                    <a:pt x="112" y="124"/>
                    <a:pt x="108" y="127"/>
                  </a:cubicBezTo>
                  <a:cubicBezTo>
                    <a:pt x="105" y="130"/>
                    <a:pt x="102" y="134"/>
                    <a:pt x="102" y="137"/>
                  </a:cubicBezTo>
                  <a:cubicBezTo>
                    <a:pt x="102" y="141"/>
                    <a:pt x="99" y="143"/>
                    <a:pt x="96" y="145"/>
                  </a:cubicBezTo>
                  <a:cubicBezTo>
                    <a:pt x="94" y="147"/>
                    <a:pt x="92" y="148"/>
                    <a:pt x="92" y="150"/>
                  </a:cubicBezTo>
                  <a:cubicBezTo>
                    <a:pt x="93" y="152"/>
                    <a:pt x="93" y="153"/>
                    <a:pt x="94" y="154"/>
                  </a:cubicBezTo>
                  <a:cubicBezTo>
                    <a:pt x="94" y="155"/>
                    <a:pt x="95" y="156"/>
                    <a:pt x="94" y="157"/>
                  </a:cubicBezTo>
                  <a:cubicBezTo>
                    <a:pt x="94" y="158"/>
                    <a:pt x="92" y="159"/>
                    <a:pt x="87" y="159"/>
                  </a:cubicBezTo>
                  <a:cubicBezTo>
                    <a:pt x="76" y="159"/>
                    <a:pt x="74" y="163"/>
                    <a:pt x="72" y="167"/>
                  </a:cubicBezTo>
                  <a:cubicBezTo>
                    <a:pt x="71" y="168"/>
                    <a:pt x="71" y="168"/>
                    <a:pt x="71" y="168"/>
                  </a:cubicBezTo>
                  <a:cubicBezTo>
                    <a:pt x="71" y="170"/>
                    <a:pt x="70" y="172"/>
                    <a:pt x="69" y="174"/>
                  </a:cubicBezTo>
                  <a:cubicBezTo>
                    <a:pt x="68" y="178"/>
                    <a:pt x="67" y="182"/>
                    <a:pt x="64" y="184"/>
                  </a:cubicBezTo>
                  <a:cubicBezTo>
                    <a:pt x="62" y="185"/>
                    <a:pt x="62" y="186"/>
                    <a:pt x="62" y="187"/>
                  </a:cubicBezTo>
                  <a:cubicBezTo>
                    <a:pt x="61" y="190"/>
                    <a:pt x="61" y="194"/>
                    <a:pt x="54" y="200"/>
                  </a:cubicBezTo>
                  <a:cubicBezTo>
                    <a:pt x="47" y="207"/>
                    <a:pt x="39" y="209"/>
                    <a:pt x="34" y="209"/>
                  </a:cubicBezTo>
                  <a:close/>
                  <a:moveTo>
                    <a:pt x="88" y="103"/>
                  </a:moveTo>
                  <a:cubicBezTo>
                    <a:pt x="87" y="103"/>
                    <a:pt x="86" y="103"/>
                    <a:pt x="85" y="104"/>
                  </a:cubicBezTo>
                  <a:cubicBezTo>
                    <a:pt x="83" y="106"/>
                    <a:pt x="82" y="108"/>
                    <a:pt x="82" y="109"/>
                  </a:cubicBezTo>
                  <a:cubicBezTo>
                    <a:pt x="82" y="111"/>
                    <a:pt x="82" y="113"/>
                    <a:pt x="78" y="117"/>
                  </a:cubicBezTo>
                  <a:cubicBezTo>
                    <a:pt x="74" y="120"/>
                    <a:pt x="74" y="122"/>
                    <a:pt x="72" y="125"/>
                  </a:cubicBezTo>
                  <a:cubicBezTo>
                    <a:pt x="71" y="127"/>
                    <a:pt x="70" y="131"/>
                    <a:pt x="66" y="137"/>
                  </a:cubicBezTo>
                  <a:cubicBezTo>
                    <a:pt x="62" y="144"/>
                    <a:pt x="51" y="149"/>
                    <a:pt x="41" y="154"/>
                  </a:cubicBezTo>
                  <a:cubicBezTo>
                    <a:pt x="34" y="158"/>
                    <a:pt x="28" y="160"/>
                    <a:pt x="26" y="163"/>
                  </a:cubicBezTo>
                  <a:cubicBezTo>
                    <a:pt x="24" y="166"/>
                    <a:pt x="20" y="169"/>
                    <a:pt x="16" y="172"/>
                  </a:cubicBezTo>
                  <a:cubicBezTo>
                    <a:pt x="12" y="175"/>
                    <a:pt x="8" y="178"/>
                    <a:pt x="8" y="180"/>
                  </a:cubicBezTo>
                  <a:cubicBezTo>
                    <a:pt x="8" y="182"/>
                    <a:pt x="6" y="184"/>
                    <a:pt x="5" y="186"/>
                  </a:cubicBezTo>
                  <a:cubicBezTo>
                    <a:pt x="3" y="189"/>
                    <a:pt x="1" y="192"/>
                    <a:pt x="4" y="196"/>
                  </a:cubicBezTo>
                  <a:cubicBezTo>
                    <a:pt x="6" y="199"/>
                    <a:pt x="8" y="199"/>
                    <a:pt x="11" y="199"/>
                  </a:cubicBezTo>
                  <a:cubicBezTo>
                    <a:pt x="13" y="199"/>
                    <a:pt x="15" y="200"/>
                    <a:pt x="17" y="202"/>
                  </a:cubicBezTo>
                  <a:cubicBezTo>
                    <a:pt x="19" y="204"/>
                    <a:pt x="21" y="204"/>
                    <a:pt x="23" y="204"/>
                  </a:cubicBezTo>
                  <a:cubicBezTo>
                    <a:pt x="25" y="204"/>
                    <a:pt x="26" y="204"/>
                    <a:pt x="28" y="206"/>
                  </a:cubicBezTo>
                  <a:cubicBezTo>
                    <a:pt x="28" y="207"/>
                    <a:pt x="31" y="208"/>
                    <a:pt x="34" y="208"/>
                  </a:cubicBezTo>
                  <a:cubicBezTo>
                    <a:pt x="34" y="208"/>
                    <a:pt x="34" y="208"/>
                    <a:pt x="34" y="208"/>
                  </a:cubicBezTo>
                  <a:cubicBezTo>
                    <a:pt x="39" y="208"/>
                    <a:pt x="47" y="206"/>
                    <a:pt x="54" y="200"/>
                  </a:cubicBezTo>
                  <a:cubicBezTo>
                    <a:pt x="60" y="194"/>
                    <a:pt x="60" y="190"/>
                    <a:pt x="61" y="187"/>
                  </a:cubicBezTo>
                  <a:cubicBezTo>
                    <a:pt x="61" y="185"/>
                    <a:pt x="61" y="184"/>
                    <a:pt x="63" y="183"/>
                  </a:cubicBezTo>
                  <a:cubicBezTo>
                    <a:pt x="66" y="181"/>
                    <a:pt x="67" y="177"/>
                    <a:pt x="68" y="174"/>
                  </a:cubicBezTo>
                  <a:cubicBezTo>
                    <a:pt x="69" y="172"/>
                    <a:pt x="70" y="170"/>
                    <a:pt x="71" y="168"/>
                  </a:cubicBezTo>
                  <a:cubicBezTo>
                    <a:pt x="71" y="167"/>
                    <a:pt x="71" y="167"/>
                    <a:pt x="71" y="167"/>
                  </a:cubicBezTo>
                  <a:cubicBezTo>
                    <a:pt x="73" y="162"/>
                    <a:pt x="76" y="158"/>
                    <a:pt x="87" y="158"/>
                  </a:cubicBezTo>
                  <a:cubicBezTo>
                    <a:pt x="89" y="158"/>
                    <a:pt x="93" y="158"/>
                    <a:pt x="94" y="157"/>
                  </a:cubicBezTo>
                  <a:cubicBezTo>
                    <a:pt x="94" y="156"/>
                    <a:pt x="93" y="156"/>
                    <a:pt x="93" y="155"/>
                  </a:cubicBezTo>
                  <a:cubicBezTo>
                    <a:pt x="92" y="154"/>
                    <a:pt x="92" y="152"/>
                    <a:pt x="91" y="150"/>
                  </a:cubicBezTo>
                  <a:cubicBezTo>
                    <a:pt x="91" y="147"/>
                    <a:pt x="93" y="146"/>
                    <a:pt x="96" y="144"/>
                  </a:cubicBezTo>
                  <a:cubicBezTo>
                    <a:pt x="98" y="142"/>
                    <a:pt x="101" y="140"/>
                    <a:pt x="101" y="137"/>
                  </a:cubicBezTo>
                  <a:cubicBezTo>
                    <a:pt x="101" y="133"/>
                    <a:pt x="104" y="130"/>
                    <a:pt x="108" y="127"/>
                  </a:cubicBezTo>
                  <a:cubicBezTo>
                    <a:pt x="111" y="124"/>
                    <a:pt x="114" y="121"/>
                    <a:pt x="112" y="118"/>
                  </a:cubicBezTo>
                  <a:cubicBezTo>
                    <a:pt x="111" y="115"/>
                    <a:pt x="112" y="113"/>
                    <a:pt x="112" y="111"/>
                  </a:cubicBezTo>
                  <a:cubicBezTo>
                    <a:pt x="112" y="109"/>
                    <a:pt x="113" y="108"/>
                    <a:pt x="111" y="106"/>
                  </a:cubicBezTo>
                  <a:cubicBezTo>
                    <a:pt x="110" y="106"/>
                    <a:pt x="109" y="105"/>
                    <a:pt x="108" y="105"/>
                  </a:cubicBezTo>
                  <a:cubicBezTo>
                    <a:pt x="106" y="105"/>
                    <a:pt x="105" y="106"/>
                    <a:pt x="103" y="107"/>
                  </a:cubicBezTo>
                  <a:cubicBezTo>
                    <a:pt x="102" y="108"/>
                    <a:pt x="101" y="109"/>
                    <a:pt x="100" y="110"/>
                  </a:cubicBezTo>
                  <a:cubicBezTo>
                    <a:pt x="99" y="110"/>
                    <a:pt x="99" y="110"/>
                    <a:pt x="98" y="110"/>
                  </a:cubicBezTo>
                  <a:cubicBezTo>
                    <a:pt x="96" y="110"/>
                    <a:pt x="95" y="108"/>
                    <a:pt x="93" y="107"/>
                  </a:cubicBezTo>
                  <a:cubicBezTo>
                    <a:pt x="91" y="105"/>
                    <a:pt x="90" y="103"/>
                    <a:pt x="88" y="103"/>
                  </a:cubicBezTo>
                  <a:close/>
                  <a:moveTo>
                    <a:pt x="131" y="117"/>
                  </a:moveTo>
                  <a:cubicBezTo>
                    <a:pt x="127" y="117"/>
                    <a:pt x="124" y="116"/>
                    <a:pt x="123" y="114"/>
                  </a:cubicBezTo>
                  <a:cubicBezTo>
                    <a:pt x="122" y="113"/>
                    <a:pt x="123" y="110"/>
                    <a:pt x="125" y="107"/>
                  </a:cubicBezTo>
                  <a:cubicBezTo>
                    <a:pt x="128" y="101"/>
                    <a:pt x="131" y="94"/>
                    <a:pt x="127" y="91"/>
                  </a:cubicBezTo>
                  <a:cubicBezTo>
                    <a:pt x="125" y="89"/>
                    <a:pt x="122" y="87"/>
                    <a:pt x="119" y="86"/>
                  </a:cubicBezTo>
                  <a:cubicBezTo>
                    <a:pt x="113" y="82"/>
                    <a:pt x="107" y="79"/>
                    <a:pt x="107" y="76"/>
                  </a:cubicBezTo>
                  <a:cubicBezTo>
                    <a:pt x="107" y="75"/>
                    <a:pt x="107" y="74"/>
                    <a:pt x="108" y="73"/>
                  </a:cubicBezTo>
                  <a:cubicBezTo>
                    <a:pt x="110" y="71"/>
                    <a:pt x="112" y="69"/>
                    <a:pt x="114" y="68"/>
                  </a:cubicBezTo>
                  <a:cubicBezTo>
                    <a:pt x="117" y="67"/>
                    <a:pt x="119" y="65"/>
                    <a:pt x="119" y="60"/>
                  </a:cubicBezTo>
                  <a:cubicBezTo>
                    <a:pt x="119" y="56"/>
                    <a:pt x="121" y="52"/>
                    <a:pt x="122" y="48"/>
                  </a:cubicBezTo>
                  <a:cubicBezTo>
                    <a:pt x="123" y="43"/>
                    <a:pt x="124" y="39"/>
                    <a:pt x="122" y="39"/>
                  </a:cubicBezTo>
                  <a:cubicBezTo>
                    <a:pt x="118" y="37"/>
                    <a:pt x="113" y="30"/>
                    <a:pt x="113" y="27"/>
                  </a:cubicBezTo>
                  <a:cubicBezTo>
                    <a:pt x="113" y="25"/>
                    <a:pt x="111" y="23"/>
                    <a:pt x="108" y="21"/>
                  </a:cubicBezTo>
                  <a:cubicBezTo>
                    <a:pt x="106" y="20"/>
                    <a:pt x="104" y="18"/>
                    <a:pt x="103" y="17"/>
                  </a:cubicBezTo>
                  <a:cubicBezTo>
                    <a:pt x="101" y="15"/>
                    <a:pt x="95" y="5"/>
                    <a:pt x="96" y="2"/>
                  </a:cubicBezTo>
                  <a:cubicBezTo>
                    <a:pt x="97" y="1"/>
                    <a:pt x="98" y="0"/>
                    <a:pt x="99" y="0"/>
                  </a:cubicBezTo>
                  <a:cubicBezTo>
                    <a:pt x="105" y="0"/>
                    <a:pt x="118" y="6"/>
                    <a:pt x="118" y="14"/>
                  </a:cubicBezTo>
                  <a:cubicBezTo>
                    <a:pt x="118" y="18"/>
                    <a:pt x="119" y="19"/>
                    <a:pt x="120" y="21"/>
                  </a:cubicBezTo>
                  <a:cubicBezTo>
                    <a:pt x="122" y="23"/>
                    <a:pt x="123" y="24"/>
                    <a:pt x="123" y="27"/>
                  </a:cubicBezTo>
                  <a:cubicBezTo>
                    <a:pt x="123" y="33"/>
                    <a:pt x="126" y="37"/>
                    <a:pt x="128" y="37"/>
                  </a:cubicBezTo>
                  <a:cubicBezTo>
                    <a:pt x="129" y="37"/>
                    <a:pt x="130" y="38"/>
                    <a:pt x="131" y="39"/>
                  </a:cubicBezTo>
                  <a:cubicBezTo>
                    <a:pt x="132" y="40"/>
                    <a:pt x="132" y="41"/>
                    <a:pt x="133" y="41"/>
                  </a:cubicBezTo>
                  <a:cubicBezTo>
                    <a:pt x="133" y="40"/>
                    <a:pt x="133" y="40"/>
                    <a:pt x="133" y="40"/>
                  </a:cubicBezTo>
                  <a:cubicBezTo>
                    <a:pt x="134" y="39"/>
                    <a:pt x="133" y="38"/>
                    <a:pt x="133" y="36"/>
                  </a:cubicBezTo>
                  <a:cubicBezTo>
                    <a:pt x="132" y="35"/>
                    <a:pt x="131" y="34"/>
                    <a:pt x="132" y="33"/>
                  </a:cubicBezTo>
                  <a:cubicBezTo>
                    <a:pt x="132" y="32"/>
                    <a:pt x="133" y="32"/>
                    <a:pt x="134" y="32"/>
                  </a:cubicBezTo>
                  <a:cubicBezTo>
                    <a:pt x="134" y="32"/>
                    <a:pt x="134" y="32"/>
                    <a:pt x="135" y="32"/>
                  </a:cubicBezTo>
                  <a:cubicBezTo>
                    <a:pt x="139" y="32"/>
                    <a:pt x="141" y="38"/>
                    <a:pt x="141" y="44"/>
                  </a:cubicBezTo>
                  <a:cubicBezTo>
                    <a:pt x="141" y="49"/>
                    <a:pt x="144" y="52"/>
                    <a:pt x="149" y="52"/>
                  </a:cubicBezTo>
                  <a:cubicBezTo>
                    <a:pt x="152" y="52"/>
                    <a:pt x="154" y="53"/>
                    <a:pt x="156" y="54"/>
                  </a:cubicBezTo>
                  <a:cubicBezTo>
                    <a:pt x="157" y="55"/>
                    <a:pt x="159" y="55"/>
                    <a:pt x="160" y="55"/>
                  </a:cubicBezTo>
                  <a:cubicBezTo>
                    <a:pt x="162" y="55"/>
                    <a:pt x="162" y="55"/>
                    <a:pt x="163" y="54"/>
                  </a:cubicBezTo>
                  <a:cubicBezTo>
                    <a:pt x="165" y="51"/>
                    <a:pt x="170" y="49"/>
                    <a:pt x="174" y="49"/>
                  </a:cubicBezTo>
                  <a:cubicBezTo>
                    <a:pt x="176" y="49"/>
                    <a:pt x="177" y="49"/>
                    <a:pt x="178" y="50"/>
                  </a:cubicBezTo>
                  <a:cubicBezTo>
                    <a:pt x="179" y="51"/>
                    <a:pt x="179" y="52"/>
                    <a:pt x="178" y="53"/>
                  </a:cubicBezTo>
                  <a:cubicBezTo>
                    <a:pt x="177" y="56"/>
                    <a:pt x="177" y="59"/>
                    <a:pt x="177" y="61"/>
                  </a:cubicBezTo>
                  <a:cubicBezTo>
                    <a:pt x="176" y="64"/>
                    <a:pt x="176" y="67"/>
                    <a:pt x="173" y="67"/>
                  </a:cubicBezTo>
                  <a:cubicBezTo>
                    <a:pt x="171" y="67"/>
                    <a:pt x="170" y="68"/>
                    <a:pt x="170" y="71"/>
                  </a:cubicBezTo>
                  <a:cubicBezTo>
                    <a:pt x="169" y="73"/>
                    <a:pt x="169" y="75"/>
                    <a:pt x="167" y="75"/>
                  </a:cubicBezTo>
                  <a:cubicBezTo>
                    <a:pt x="165" y="75"/>
                    <a:pt x="165" y="75"/>
                    <a:pt x="165" y="75"/>
                  </a:cubicBezTo>
                  <a:cubicBezTo>
                    <a:pt x="162" y="75"/>
                    <a:pt x="160" y="76"/>
                    <a:pt x="157" y="78"/>
                  </a:cubicBezTo>
                  <a:cubicBezTo>
                    <a:pt x="157" y="80"/>
                    <a:pt x="156" y="82"/>
                    <a:pt x="156" y="84"/>
                  </a:cubicBezTo>
                  <a:cubicBezTo>
                    <a:pt x="156" y="87"/>
                    <a:pt x="156" y="91"/>
                    <a:pt x="153" y="94"/>
                  </a:cubicBezTo>
                  <a:cubicBezTo>
                    <a:pt x="151" y="95"/>
                    <a:pt x="149" y="99"/>
                    <a:pt x="147" y="103"/>
                  </a:cubicBezTo>
                  <a:cubicBezTo>
                    <a:pt x="144" y="109"/>
                    <a:pt x="141" y="115"/>
                    <a:pt x="137" y="116"/>
                  </a:cubicBezTo>
                  <a:cubicBezTo>
                    <a:pt x="135" y="117"/>
                    <a:pt x="133" y="117"/>
                    <a:pt x="131" y="117"/>
                  </a:cubicBezTo>
                  <a:close/>
                  <a:moveTo>
                    <a:pt x="99" y="1"/>
                  </a:moveTo>
                  <a:cubicBezTo>
                    <a:pt x="98" y="1"/>
                    <a:pt x="97" y="2"/>
                    <a:pt x="97" y="2"/>
                  </a:cubicBezTo>
                  <a:cubicBezTo>
                    <a:pt x="96" y="5"/>
                    <a:pt x="101" y="13"/>
                    <a:pt x="104" y="16"/>
                  </a:cubicBezTo>
                  <a:cubicBezTo>
                    <a:pt x="105" y="18"/>
                    <a:pt x="107" y="19"/>
                    <a:pt x="109" y="20"/>
                  </a:cubicBezTo>
                  <a:cubicBezTo>
                    <a:pt x="112" y="23"/>
                    <a:pt x="114" y="25"/>
                    <a:pt x="114" y="27"/>
                  </a:cubicBezTo>
                  <a:cubicBezTo>
                    <a:pt x="114" y="30"/>
                    <a:pt x="119" y="37"/>
                    <a:pt x="122" y="38"/>
                  </a:cubicBezTo>
                  <a:cubicBezTo>
                    <a:pt x="125" y="39"/>
                    <a:pt x="124" y="43"/>
                    <a:pt x="123" y="48"/>
                  </a:cubicBezTo>
                  <a:cubicBezTo>
                    <a:pt x="122" y="52"/>
                    <a:pt x="120" y="56"/>
                    <a:pt x="120" y="60"/>
                  </a:cubicBezTo>
                  <a:cubicBezTo>
                    <a:pt x="120" y="66"/>
                    <a:pt x="117" y="68"/>
                    <a:pt x="114" y="69"/>
                  </a:cubicBezTo>
                  <a:cubicBezTo>
                    <a:pt x="112" y="70"/>
                    <a:pt x="110" y="71"/>
                    <a:pt x="108" y="74"/>
                  </a:cubicBezTo>
                  <a:cubicBezTo>
                    <a:pt x="108" y="74"/>
                    <a:pt x="108" y="75"/>
                    <a:pt x="108" y="76"/>
                  </a:cubicBezTo>
                  <a:cubicBezTo>
                    <a:pt x="108" y="79"/>
                    <a:pt x="114" y="82"/>
                    <a:pt x="119" y="85"/>
                  </a:cubicBezTo>
                  <a:cubicBezTo>
                    <a:pt x="122" y="87"/>
                    <a:pt x="125" y="88"/>
                    <a:pt x="128" y="90"/>
                  </a:cubicBezTo>
                  <a:cubicBezTo>
                    <a:pt x="133" y="94"/>
                    <a:pt x="129" y="101"/>
                    <a:pt x="126" y="107"/>
                  </a:cubicBezTo>
                  <a:cubicBezTo>
                    <a:pt x="125" y="110"/>
                    <a:pt x="123" y="113"/>
                    <a:pt x="124" y="114"/>
                  </a:cubicBezTo>
                  <a:cubicBezTo>
                    <a:pt x="124" y="115"/>
                    <a:pt x="127" y="116"/>
                    <a:pt x="131" y="116"/>
                  </a:cubicBezTo>
                  <a:cubicBezTo>
                    <a:pt x="133" y="116"/>
                    <a:pt x="134" y="116"/>
                    <a:pt x="136" y="115"/>
                  </a:cubicBezTo>
                  <a:cubicBezTo>
                    <a:pt x="141" y="114"/>
                    <a:pt x="144" y="108"/>
                    <a:pt x="146" y="102"/>
                  </a:cubicBezTo>
                  <a:cubicBezTo>
                    <a:pt x="148" y="98"/>
                    <a:pt x="150" y="95"/>
                    <a:pt x="152" y="93"/>
                  </a:cubicBezTo>
                  <a:cubicBezTo>
                    <a:pt x="155" y="90"/>
                    <a:pt x="155" y="87"/>
                    <a:pt x="155" y="84"/>
                  </a:cubicBezTo>
                  <a:cubicBezTo>
                    <a:pt x="155" y="82"/>
                    <a:pt x="156" y="79"/>
                    <a:pt x="157" y="78"/>
                  </a:cubicBezTo>
                  <a:cubicBezTo>
                    <a:pt x="159" y="75"/>
                    <a:pt x="162" y="74"/>
                    <a:pt x="165" y="74"/>
                  </a:cubicBezTo>
                  <a:cubicBezTo>
                    <a:pt x="167" y="74"/>
                    <a:pt x="167" y="74"/>
                    <a:pt x="167" y="74"/>
                  </a:cubicBezTo>
                  <a:cubicBezTo>
                    <a:pt x="168" y="74"/>
                    <a:pt x="168" y="73"/>
                    <a:pt x="169" y="71"/>
                  </a:cubicBezTo>
                  <a:cubicBezTo>
                    <a:pt x="169" y="68"/>
                    <a:pt x="170" y="66"/>
                    <a:pt x="173" y="66"/>
                  </a:cubicBezTo>
                  <a:cubicBezTo>
                    <a:pt x="175" y="66"/>
                    <a:pt x="175" y="64"/>
                    <a:pt x="176" y="61"/>
                  </a:cubicBezTo>
                  <a:cubicBezTo>
                    <a:pt x="176" y="58"/>
                    <a:pt x="176" y="56"/>
                    <a:pt x="177" y="53"/>
                  </a:cubicBezTo>
                  <a:cubicBezTo>
                    <a:pt x="178" y="52"/>
                    <a:pt x="178" y="51"/>
                    <a:pt x="177" y="51"/>
                  </a:cubicBezTo>
                  <a:cubicBezTo>
                    <a:pt x="177" y="50"/>
                    <a:pt x="176" y="50"/>
                    <a:pt x="174" y="50"/>
                  </a:cubicBezTo>
                  <a:cubicBezTo>
                    <a:pt x="171" y="50"/>
                    <a:pt x="166" y="52"/>
                    <a:pt x="164" y="54"/>
                  </a:cubicBezTo>
                  <a:cubicBezTo>
                    <a:pt x="163" y="56"/>
                    <a:pt x="162" y="56"/>
                    <a:pt x="160" y="56"/>
                  </a:cubicBezTo>
                  <a:cubicBezTo>
                    <a:pt x="159" y="56"/>
                    <a:pt x="157" y="56"/>
                    <a:pt x="155" y="55"/>
                  </a:cubicBezTo>
                  <a:cubicBezTo>
                    <a:pt x="153" y="54"/>
                    <a:pt x="151" y="53"/>
                    <a:pt x="149" y="53"/>
                  </a:cubicBezTo>
                  <a:cubicBezTo>
                    <a:pt x="144" y="53"/>
                    <a:pt x="140" y="49"/>
                    <a:pt x="140" y="44"/>
                  </a:cubicBezTo>
                  <a:cubicBezTo>
                    <a:pt x="140" y="42"/>
                    <a:pt x="140" y="33"/>
                    <a:pt x="135" y="33"/>
                  </a:cubicBezTo>
                  <a:cubicBezTo>
                    <a:pt x="134" y="33"/>
                    <a:pt x="134" y="33"/>
                    <a:pt x="134" y="33"/>
                  </a:cubicBezTo>
                  <a:cubicBezTo>
                    <a:pt x="133" y="33"/>
                    <a:pt x="133" y="33"/>
                    <a:pt x="133" y="33"/>
                  </a:cubicBezTo>
                  <a:cubicBezTo>
                    <a:pt x="132" y="34"/>
                    <a:pt x="133" y="35"/>
                    <a:pt x="134" y="36"/>
                  </a:cubicBezTo>
                  <a:cubicBezTo>
                    <a:pt x="134" y="37"/>
                    <a:pt x="135" y="39"/>
                    <a:pt x="134" y="41"/>
                  </a:cubicBezTo>
                  <a:cubicBezTo>
                    <a:pt x="133" y="42"/>
                    <a:pt x="133" y="42"/>
                    <a:pt x="133" y="42"/>
                  </a:cubicBezTo>
                  <a:cubicBezTo>
                    <a:pt x="132" y="42"/>
                    <a:pt x="131" y="41"/>
                    <a:pt x="131" y="40"/>
                  </a:cubicBezTo>
                  <a:cubicBezTo>
                    <a:pt x="130" y="39"/>
                    <a:pt x="129" y="38"/>
                    <a:pt x="128" y="38"/>
                  </a:cubicBezTo>
                  <a:cubicBezTo>
                    <a:pt x="125" y="38"/>
                    <a:pt x="122" y="34"/>
                    <a:pt x="122" y="27"/>
                  </a:cubicBezTo>
                  <a:cubicBezTo>
                    <a:pt x="122" y="25"/>
                    <a:pt x="121" y="23"/>
                    <a:pt x="120" y="22"/>
                  </a:cubicBezTo>
                  <a:cubicBezTo>
                    <a:pt x="118" y="20"/>
                    <a:pt x="117" y="18"/>
                    <a:pt x="117" y="14"/>
                  </a:cubicBezTo>
                  <a:cubicBezTo>
                    <a:pt x="117" y="7"/>
                    <a:pt x="106" y="1"/>
                    <a:pt x="9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29" name="Freeform 156"/>
            <p:cNvSpPr>
              <a:spLocks noEditPoints="1"/>
            </p:cNvSpPr>
            <p:nvPr/>
          </p:nvSpPr>
          <p:spPr>
            <a:xfrm>
              <a:off x="9140826" y="4229100"/>
              <a:ext cx="61913" cy="52388"/>
            </a:xfrm>
            <a:custGeom>
              <a:gdLst>
                <a:gd name="T0" fmla="*/ 10 w 37"/>
                <a:gd name="T1" fmla="*/ 31 h 31"/>
                <a:gd name="T2" fmla="*/ 10 w 37"/>
                <a:gd name="T3" fmla="*/ 31 h 31"/>
                <a:gd name="T4" fmla="*/ 1 w 37"/>
                <a:gd name="T5" fmla="*/ 28 h 31"/>
                <a:gd name="T6" fmla="*/ 1 w 37"/>
                <a:gd name="T7" fmla="*/ 25 h 31"/>
                <a:gd name="T8" fmla="*/ 14 w 37"/>
                <a:gd name="T9" fmla="*/ 18 h 31"/>
                <a:gd name="T10" fmla="*/ 18 w 37"/>
                <a:gd name="T11" fmla="*/ 20 h 31"/>
                <a:gd name="T12" fmla="*/ 19 w 37"/>
                <a:gd name="T13" fmla="*/ 23 h 31"/>
                <a:gd name="T14" fmla="*/ 10 w 37"/>
                <a:gd name="T15" fmla="*/ 31 h 31"/>
                <a:gd name="T16" fmla="*/ 14 w 37"/>
                <a:gd name="T17" fmla="*/ 19 h 31"/>
                <a:gd name="T18" fmla="*/ 2 w 37"/>
                <a:gd name="T19" fmla="*/ 25 h 31"/>
                <a:gd name="T20" fmla="*/ 2 w 37"/>
                <a:gd name="T21" fmla="*/ 27 h 31"/>
                <a:gd name="T22" fmla="*/ 10 w 37"/>
                <a:gd name="T23" fmla="*/ 30 h 31"/>
                <a:gd name="T24" fmla="*/ 10 w 37"/>
                <a:gd name="T25" fmla="*/ 30 h 31"/>
                <a:gd name="T26" fmla="*/ 18 w 37"/>
                <a:gd name="T27" fmla="*/ 23 h 31"/>
                <a:gd name="T28" fmla="*/ 17 w 37"/>
                <a:gd name="T29" fmla="*/ 20 h 31"/>
                <a:gd name="T30" fmla="*/ 14 w 37"/>
                <a:gd name="T31" fmla="*/ 19 h 31"/>
                <a:gd name="T32" fmla="*/ 23 w 37"/>
                <a:gd name="T33" fmla="*/ 11 h 31"/>
                <a:gd name="T34" fmla="*/ 23 w 37"/>
                <a:gd name="T35" fmla="*/ 11 h 31"/>
                <a:gd name="T36" fmla="*/ 21 w 37"/>
                <a:gd name="T37" fmla="*/ 11 h 31"/>
                <a:gd name="T38" fmla="*/ 20 w 37"/>
                <a:gd name="T39" fmla="*/ 9 h 31"/>
                <a:gd name="T40" fmla="*/ 35 w 37"/>
                <a:gd name="T41" fmla="*/ 0 h 31"/>
                <a:gd name="T42" fmla="*/ 37 w 37"/>
                <a:gd name="T43" fmla="*/ 2 h 31"/>
                <a:gd name="T44" fmla="*/ 32 w 37"/>
                <a:gd name="T45" fmla="*/ 9 h 31"/>
                <a:gd name="T46" fmla="*/ 23 w 37"/>
                <a:gd name="T47" fmla="*/ 11 h 31"/>
                <a:gd name="T48" fmla="*/ 35 w 37"/>
                <a:gd name="T49" fmla="*/ 1 h 31"/>
                <a:gd name="T50" fmla="*/ 21 w 37"/>
                <a:gd name="T51" fmla="*/ 9 h 31"/>
                <a:gd name="T52" fmla="*/ 22 w 37"/>
                <a:gd name="T53" fmla="*/ 10 h 31"/>
                <a:gd name="T54" fmla="*/ 23 w 37"/>
                <a:gd name="T55" fmla="*/ 10 h 31"/>
                <a:gd name="T56" fmla="*/ 23 w 37"/>
                <a:gd name="T57" fmla="*/ 10 h 31"/>
                <a:gd name="T58" fmla="*/ 32 w 37"/>
                <a:gd name="T59" fmla="*/ 8 h 31"/>
                <a:gd name="T60" fmla="*/ 36 w 37"/>
                <a:gd name="T61" fmla="*/ 2 h 31"/>
                <a:gd name="T62" fmla="*/ 35 w 37"/>
                <a:gd name="T63" fmla="*/ 1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1">
                  <a:moveTo>
                    <a:pt x="10" y="31"/>
                  </a:moveTo>
                  <a:cubicBezTo>
                    <a:pt x="10" y="31"/>
                    <a:pt x="10" y="31"/>
                    <a:pt x="10" y="31"/>
                  </a:cubicBezTo>
                  <a:cubicBezTo>
                    <a:pt x="7" y="31"/>
                    <a:pt x="4" y="30"/>
                    <a:pt x="1" y="28"/>
                  </a:cubicBezTo>
                  <a:cubicBezTo>
                    <a:pt x="0" y="27"/>
                    <a:pt x="0" y="26"/>
                    <a:pt x="1" y="25"/>
                  </a:cubicBezTo>
                  <a:cubicBezTo>
                    <a:pt x="2" y="22"/>
                    <a:pt x="9" y="18"/>
                    <a:pt x="14" y="18"/>
                  </a:cubicBezTo>
                  <a:cubicBezTo>
                    <a:pt x="15" y="18"/>
                    <a:pt x="17" y="19"/>
                    <a:pt x="18" y="20"/>
                  </a:cubicBezTo>
                  <a:cubicBezTo>
                    <a:pt x="19" y="21"/>
                    <a:pt x="19" y="22"/>
                    <a:pt x="19" y="23"/>
                  </a:cubicBezTo>
                  <a:cubicBezTo>
                    <a:pt x="19" y="29"/>
                    <a:pt x="14" y="31"/>
                    <a:pt x="10" y="31"/>
                  </a:cubicBezTo>
                  <a:close/>
                  <a:moveTo>
                    <a:pt x="14" y="19"/>
                  </a:moveTo>
                  <a:cubicBezTo>
                    <a:pt x="9" y="19"/>
                    <a:pt x="3" y="23"/>
                    <a:pt x="2" y="25"/>
                  </a:cubicBezTo>
                  <a:cubicBezTo>
                    <a:pt x="1" y="26"/>
                    <a:pt x="1" y="27"/>
                    <a:pt x="2" y="27"/>
                  </a:cubicBezTo>
                  <a:cubicBezTo>
                    <a:pt x="4" y="29"/>
                    <a:pt x="7" y="30"/>
                    <a:pt x="10" y="30"/>
                  </a:cubicBezTo>
                  <a:cubicBezTo>
                    <a:pt x="10" y="30"/>
                    <a:pt x="10" y="30"/>
                    <a:pt x="10" y="30"/>
                  </a:cubicBezTo>
                  <a:cubicBezTo>
                    <a:pt x="14" y="30"/>
                    <a:pt x="18" y="28"/>
                    <a:pt x="18" y="23"/>
                  </a:cubicBezTo>
                  <a:cubicBezTo>
                    <a:pt x="18" y="22"/>
                    <a:pt x="18" y="21"/>
                    <a:pt x="17" y="20"/>
                  </a:cubicBezTo>
                  <a:cubicBezTo>
                    <a:pt x="16" y="20"/>
                    <a:pt x="15" y="19"/>
                    <a:pt x="14" y="19"/>
                  </a:cubicBezTo>
                  <a:close/>
                  <a:moveTo>
                    <a:pt x="23" y="11"/>
                  </a:moveTo>
                  <a:cubicBezTo>
                    <a:pt x="23" y="11"/>
                    <a:pt x="23" y="11"/>
                    <a:pt x="23" y="11"/>
                  </a:cubicBezTo>
                  <a:cubicBezTo>
                    <a:pt x="23" y="11"/>
                    <a:pt x="22" y="11"/>
                    <a:pt x="21" y="11"/>
                  </a:cubicBezTo>
                  <a:cubicBezTo>
                    <a:pt x="20" y="10"/>
                    <a:pt x="20" y="9"/>
                    <a:pt x="20" y="9"/>
                  </a:cubicBezTo>
                  <a:cubicBezTo>
                    <a:pt x="21" y="6"/>
                    <a:pt x="31" y="0"/>
                    <a:pt x="35" y="0"/>
                  </a:cubicBezTo>
                  <a:cubicBezTo>
                    <a:pt x="37" y="0"/>
                    <a:pt x="37" y="2"/>
                    <a:pt x="37" y="2"/>
                  </a:cubicBezTo>
                  <a:cubicBezTo>
                    <a:pt x="37" y="5"/>
                    <a:pt x="35" y="7"/>
                    <a:pt x="32" y="9"/>
                  </a:cubicBezTo>
                  <a:cubicBezTo>
                    <a:pt x="29" y="10"/>
                    <a:pt x="26" y="11"/>
                    <a:pt x="23" y="11"/>
                  </a:cubicBezTo>
                  <a:close/>
                  <a:moveTo>
                    <a:pt x="35" y="1"/>
                  </a:moveTo>
                  <a:cubicBezTo>
                    <a:pt x="31" y="1"/>
                    <a:pt x="22" y="7"/>
                    <a:pt x="21" y="9"/>
                  </a:cubicBezTo>
                  <a:cubicBezTo>
                    <a:pt x="21" y="9"/>
                    <a:pt x="21" y="10"/>
                    <a:pt x="22" y="10"/>
                  </a:cubicBezTo>
                  <a:cubicBezTo>
                    <a:pt x="23" y="10"/>
                    <a:pt x="23" y="10"/>
                    <a:pt x="23" y="10"/>
                  </a:cubicBezTo>
                  <a:cubicBezTo>
                    <a:pt x="23" y="10"/>
                    <a:pt x="23" y="10"/>
                    <a:pt x="23" y="10"/>
                  </a:cubicBezTo>
                  <a:cubicBezTo>
                    <a:pt x="26" y="10"/>
                    <a:pt x="29" y="9"/>
                    <a:pt x="32" y="8"/>
                  </a:cubicBezTo>
                  <a:cubicBezTo>
                    <a:pt x="33" y="7"/>
                    <a:pt x="36" y="5"/>
                    <a:pt x="36" y="2"/>
                  </a:cubicBezTo>
                  <a:cubicBezTo>
                    <a:pt x="36" y="2"/>
                    <a:pt x="36" y="1"/>
                    <a:pt x="35"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0" name="Freeform 157"/>
            <p:cNvSpPr>
              <a:spLocks noEditPoints="1"/>
            </p:cNvSpPr>
            <p:nvPr/>
          </p:nvSpPr>
          <p:spPr>
            <a:xfrm>
              <a:off x="6073776" y="2679700"/>
              <a:ext cx="352425" cy="219075"/>
            </a:xfrm>
            <a:custGeom>
              <a:gdLst>
                <a:gd name="T0" fmla="*/ 133 w 208"/>
                <a:gd name="T1" fmla="*/ 124 h 129"/>
                <a:gd name="T2" fmla="*/ 127 w 208"/>
                <a:gd name="T3" fmla="*/ 106 h 129"/>
                <a:gd name="T4" fmla="*/ 111 w 208"/>
                <a:gd name="T5" fmla="*/ 101 h 129"/>
                <a:gd name="T6" fmla="*/ 88 w 208"/>
                <a:gd name="T7" fmla="*/ 88 h 129"/>
                <a:gd name="T8" fmla="*/ 61 w 208"/>
                <a:gd name="T9" fmla="*/ 77 h 129"/>
                <a:gd name="T10" fmla="*/ 43 w 208"/>
                <a:gd name="T11" fmla="*/ 81 h 129"/>
                <a:gd name="T12" fmla="*/ 18 w 208"/>
                <a:gd name="T13" fmla="*/ 91 h 129"/>
                <a:gd name="T14" fmla="*/ 15 w 208"/>
                <a:gd name="T15" fmla="*/ 60 h 129"/>
                <a:gd name="T16" fmla="*/ 6 w 208"/>
                <a:gd name="T17" fmla="*/ 59 h 129"/>
                <a:gd name="T18" fmla="*/ 6 w 208"/>
                <a:gd name="T19" fmla="*/ 48 h 129"/>
                <a:gd name="T20" fmla="*/ 7 w 208"/>
                <a:gd name="T21" fmla="*/ 32 h 129"/>
                <a:gd name="T22" fmla="*/ 24 w 208"/>
                <a:gd name="T23" fmla="*/ 34 h 129"/>
                <a:gd name="T24" fmla="*/ 33 w 208"/>
                <a:gd name="T25" fmla="*/ 32 h 129"/>
                <a:gd name="T26" fmla="*/ 7 w 208"/>
                <a:gd name="T27" fmla="*/ 14 h 129"/>
                <a:gd name="T28" fmla="*/ 21 w 208"/>
                <a:gd name="T29" fmla="*/ 5 h 129"/>
                <a:gd name="T30" fmla="*/ 49 w 208"/>
                <a:gd name="T31" fmla="*/ 21 h 129"/>
                <a:gd name="T32" fmla="*/ 64 w 208"/>
                <a:gd name="T33" fmla="*/ 18 h 129"/>
                <a:gd name="T34" fmla="*/ 80 w 208"/>
                <a:gd name="T35" fmla="*/ 3 h 129"/>
                <a:gd name="T36" fmla="*/ 106 w 208"/>
                <a:gd name="T37" fmla="*/ 7 h 129"/>
                <a:gd name="T38" fmla="*/ 135 w 208"/>
                <a:gd name="T39" fmla="*/ 25 h 129"/>
                <a:gd name="T40" fmla="*/ 147 w 208"/>
                <a:gd name="T41" fmla="*/ 47 h 129"/>
                <a:gd name="T42" fmla="*/ 187 w 208"/>
                <a:gd name="T43" fmla="*/ 73 h 129"/>
                <a:gd name="T44" fmla="*/ 208 w 208"/>
                <a:gd name="T45" fmla="*/ 92 h 129"/>
                <a:gd name="T46" fmla="*/ 197 w 208"/>
                <a:gd name="T47" fmla="*/ 89 h 129"/>
                <a:gd name="T48" fmla="*/ 184 w 208"/>
                <a:gd name="T49" fmla="*/ 96 h 129"/>
                <a:gd name="T50" fmla="*/ 156 w 208"/>
                <a:gd name="T51" fmla="*/ 122 h 129"/>
                <a:gd name="T52" fmla="*/ 144 w 208"/>
                <a:gd name="T53" fmla="*/ 127 h 129"/>
                <a:gd name="T54" fmla="*/ 166 w 208"/>
                <a:gd name="T55" fmla="*/ 115 h 129"/>
                <a:gd name="T56" fmla="*/ 185 w 208"/>
                <a:gd name="T57" fmla="*/ 95 h 129"/>
                <a:gd name="T58" fmla="*/ 206 w 208"/>
                <a:gd name="T59" fmla="*/ 91 h 129"/>
                <a:gd name="T60" fmla="*/ 194 w 208"/>
                <a:gd name="T61" fmla="*/ 78 h 129"/>
                <a:gd name="T62" fmla="*/ 153 w 208"/>
                <a:gd name="T63" fmla="*/ 52 h 129"/>
                <a:gd name="T64" fmla="*/ 137 w 208"/>
                <a:gd name="T65" fmla="*/ 30 h 129"/>
                <a:gd name="T66" fmla="*/ 108 w 208"/>
                <a:gd name="T67" fmla="*/ 8 h 129"/>
                <a:gd name="T68" fmla="*/ 87 w 208"/>
                <a:gd name="T69" fmla="*/ 1 h 129"/>
                <a:gd name="T70" fmla="*/ 75 w 208"/>
                <a:gd name="T71" fmla="*/ 10 h 129"/>
                <a:gd name="T72" fmla="*/ 60 w 208"/>
                <a:gd name="T73" fmla="*/ 25 h 129"/>
                <a:gd name="T74" fmla="*/ 21 w 208"/>
                <a:gd name="T75" fmla="*/ 6 h 129"/>
                <a:gd name="T76" fmla="*/ 21 w 208"/>
                <a:gd name="T77" fmla="*/ 19 h 129"/>
                <a:gd name="T78" fmla="*/ 32 w 208"/>
                <a:gd name="T79" fmla="*/ 33 h 129"/>
                <a:gd name="T80" fmla="*/ 17 w 208"/>
                <a:gd name="T81" fmla="*/ 36 h 129"/>
                <a:gd name="T82" fmla="*/ 4 w 208"/>
                <a:gd name="T83" fmla="*/ 37 h 129"/>
                <a:gd name="T84" fmla="*/ 8 w 208"/>
                <a:gd name="T85" fmla="*/ 57 h 129"/>
                <a:gd name="T86" fmla="*/ 16 w 208"/>
                <a:gd name="T87" fmla="*/ 60 h 129"/>
                <a:gd name="T88" fmla="*/ 19 w 208"/>
                <a:gd name="T89" fmla="*/ 91 h 129"/>
                <a:gd name="T90" fmla="*/ 50 w 208"/>
                <a:gd name="T91" fmla="*/ 80 h 129"/>
                <a:gd name="T92" fmla="*/ 81 w 208"/>
                <a:gd name="T93" fmla="*/ 83 h 129"/>
                <a:gd name="T94" fmla="*/ 101 w 208"/>
                <a:gd name="T95" fmla="*/ 91 h 129"/>
                <a:gd name="T96" fmla="*/ 121 w 208"/>
                <a:gd name="T97" fmla="*/ 104 h 129"/>
                <a:gd name="T98" fmla="*/ 135 w 208"/>
                <a:gd name="T99" fmla="*/ 124 h 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129">
                  <a:moveTo>
                    <a:pt x="147" y="129"/>
                  </a:moveTo>
                  <a:cubicBezTo>
                    <a:pt x="145" y="129"/>
                    <a:pt x="143" y="128"/>
                    <a:pt x="143" y="127"/>
                  </a:cubicBezTo>
                  <a:cubicBezTo>
                    <a:pt x="142" y="125"/>
                    <a:pt x="139" y="125"/>
                    <a:pt x="136" y="125"/>
                  </a:cubicBezTo>
                  <a:cubicBezTo>
                    <a:pt x="135" y="125"/>
                    <a:pt x="133" y="125"/>
                    <a:pt x="133" y="124"/>
                  </a:cubicBezTo>
                  <a:cubicBezTo>
                    <a:pt x="132" y="124"/>
                    <a:pt x="131" y="124"/>
                    <a:pt x="130" y="125"/>
                  </a:cubicBezTo>
                  <a:cubicBezTo>
                    <a:pt x="130" y="125"/>
                    <a:pt x="130" y="125"/>
                    <a:pt x="130" y="125"/>
                  </a:cubicBezTo>
                  <a:cubicBezTo>
                    <a:pt x="129" y="124"/>
                    <a:pt x="129" y="124"/>
                    <a:pt x="129" y="124"/>
                  </a:cubicBezTo>
                  <a:cubicBezTo>
                    <a:pt x="127" y="118"/>
                    <a:pt x="127" y="108"/>
                    <a:pt x="127" y="106"/>
                  </a:cubicBezTo>
                  <a:cubicBezTo>
                    <a:pt x="127" y="106"/>
                    <a:pt x="125" y="105"/>
                    <a:pt x="121" y="105"/>
                  </a:cubicBezTo>
                  <a:cubicBezTo>
                    <a:pt x="119" y="105"/>
                    <a:pt x="118" y="105"/>
                    <a:pt x="117" y="105"/>
                  </a:cubicBezTo>
                  <a:cubicBezTo>
                    <a:pt x="117" y="105"/>
                    <a:pt x="117" y="105"/>
                    <a:pt x="117" y="105"/>
                  </a:cubicBezTo>
                  <a:cubicBezTo>
                    <a:pt x="115" y="105"/>
                    <a:pt x="113" y="103"/>
                    <a:pt x="111" y="101"/>
                  </a:cubicBezTo>
                  <a:cubicBezTo>
                    <a:pt x="110" y="99"/>
                    <a:pt x="108" y="97"/>
                    <a:pt x="107" y="97"/>
                  </a:cubicBezTo>
                  <a:cubicBezTo>
                    <a:pt x="103" y="97"/>
                    <a:pt x="100" y="94"/>
                    <a:pt x="100" y="91"/>
                  </a:cubicBezTo>
                  <a:cubicBezTo>
                    <a:pt x="100" y="89"/>
                    <a:pt x="94" y="88"/>
                    <a:pt x="90" y="88"/>
                  </a:cubicBezTo>
                  <a:cubicBezTo>
                    <a:pt x="89" y="88"/>
                    <a:pt x="89" y="88"/>
                    <a:pt x="88" y="88"/>
                  </a:cubicBezTo>
                  <a:cubicBezTo>
                    <a:pt x="85" y="88"/>
                    <a:pt x="84" y="87"/>
                    <a:pt x="83" y="85"/>
                  </a:cubicBezTo>
                  <a:cubicBezTo>
                    <a:pt x="82" y="85"/>
                    <a:pt x="82" y="84"/>
                    <a:pt x="81" y="84"/>
                  </a:cubicBezTo>
                  <a:cubicBezTo>
                    <a:pt x="79" y="84"/>
                    <a:pt x="72" y="82"/>
                    <a:pt x="70" y="79"/>
                  </a:cubicBezTo>
                  <a:cubicBezTo>
                    <a:pt x="69" y="78"/>
                    <a:pt x="65" y="77"/>
                    <a:pt x="61" y="77"/>
                  </a:cubicBezTo>
                  <a:cubicBezTo>
                    <a:pt x="57" y="77"/>
                    <a:pt x="55" y="78"/>
                    <a:pt x="54" y="79"/>
                  </a:cubicBezTo>
                  <a:cubicBezTo>
                    <a:pt x="53" y="81"/>
                    <a:pt x="51" y="81"/>
                    <a:pt x="50" y="81"/>
                  </a:cubicBezTo>
                  <a:cubicBezTo>
                    <a:pt x="49" y="81"/>
                    <a:pt x="48" y="81"/>
                    <a:pt x="46" y="81"/>
                  </a:cubicBezTo>
                  <a:cubicBezTo>
                    <a:pt x="45" y="81"/>
                    <a:pt x="44" y="81"/>
                    <a:pt x="43" y="81"/>
                  </a:cubicBezTo>
                  <a:cubicBezTo>
                    <a:pt x="40" y="81"/>
                    <a:pt x="33" y="86"/>
                    <a:pt x="31" y="89"/>
                  </a:cubicBezTo>
                  <a:cubicBezTo>
                    <a:pt x="30" y="90"/>
                    <a:pt x="29" y="92"/>
                    <a:pt x="18" y="92"/>
                  </a:cubicBezTo>
                  <a:cubicBezTo>
                    <a:pt x="18" y="92"/>
                    <a:pt x="18" y="92"/>
                    <a:pt x="18" y="92"/>
                  </a:cubicBezTo>
                  <a:cubicBezTo>
                    <a:pt x="18" y="91"/>
                    <a:pt x="18" y="91"/>
                    <a:pt x="18" y="91"/>
                  </a:cubicBezTo>
                  <a:cubicBezTo>
                    <a:pt x="18" y="90"/>
                    <a:pt x="18" y="89"/>
                    <a:pt x="18" y="88"/>
                  </a:cubicBezTo>
                  <a:cubicBezTo>
                    <a:pt x="17" y="82"/>
                    <a:pt x="17" y="75"/>
                    <a:pt x="18" y="72"/>
                  </a:cubicBezTo>
                  <a:cubicBezTo>
                    <a:pt x="19" y="68"/>
                    <a:pt x="18" y="66"/>
                    <a:pt x="17" y="64"/>
                  </a:cubicBezTo>
                  <a:cubicBezTo>
                    <a:pt x="16" y="63"/>
                    <a:pt x="15" y="62"/>
                    <a:pt x="15" y="60"/>
                  </a:cubicBezTo>
                  <a:cubicBezTo>
                    <a:pt x="15" y="60"/>
                    <a:pt x="14" y="59"/>
                    <a:pt x="12" y="59"/>
                  </a:cubicBezTo>
                  <a:cubicBezTo>
                    <a:pt x="11" y="59"/>
                    <a:pt x="10" y="59"/>
                    <a:pt x="9" y="59"/>
                  </a:cubicBezTo>
                  <a:cubicBezTo>
                    <a:pt x="8" y="59"/>
                    <a:pt x="8" y="59"/>
                    <a:pt x="7" y="59"/>
                  </a:cubicBezTo>
                  <a:cubicBezTo>
                    <a:pt x="6" y="59"/>
                    <a:pt x="6" y="59"/>
                    <a:pt x="6" y="59"/>
                  </a:cubicBezTo>
                  <a:cubicBezTo>
                    <a:pt x="5" y="58"/>
                    <a:pt x="6" y="58"/>
                    <a:pt x="7" y="56"/>
                  </a:cubicBezTo>
                  <a:cubicBezTo>
                    <a:pt x="10" y="54"/>
                    <a:pt x="11" y="51"/>
                    <a:pt x="11" y="50"/>
                  </a:cubicBezTo>
                  <a:cubicBezTo>
                    <a:pt x="10" y="48"/>
                    <a:pt x="8" y="48"/>
                    <a:pt x="7" y="48"/>
                  </a:cubicBezTo>
                  <a:cubicBezTo>
                    <a:pt x="7" y="48"/>
                    <a:pt x="7" y="48"/>
                    <a:pt x="6" y="48"/>
                  </a:cubicBezTo>
                  <a:cubicBezTo>
                    <a:pt x="4" y="48"/>
                    <a:pt x="3" y="48"/>
                    <a:pt x="2" y="47"/>
                  </a:cubicBezTo>
                  <a:cubicBezTo>
                    <a:pt x="0" y="45"/>
                    <a:pt x="1" y="40"/>
                    <a:pt x="3" y="36"/>
                  </a:cubicBezTo>
                  <a:cubicBezTo>
                    <a:pt x="3" y="36"/>
                    <a:pt x="3" y="36"/>
                    <a:pt x="3" y="36"/>
                  </a:cubicBezTo>
                  <a:cubicBezTo>
                    <a:pt x="4" y="33"/>
                    <a:pt x="5" y="32"/>
                    <a:pt x="7" y="32"/>
                  </a:cubicBezTo>
                  <a:cubicBezTo>
                    <a:pt x="9" y="32"/>
                    <a:pt x="11" y="33"/>
                    <a:pt x="14" y="34"/>
                  </a:cubicBezTo>
                  <a:cubicBezTo>
                    <a:pt x="15" y="34"/>
                    <a:pt x="16" y="35"/>
                    <a:pt x="17" y="35"/>
                  </a:cubicBezTo>
                  <a:cubicBezTo>
                    <a:pt x="18" y="35"/>
                    <a:pt x="18" y="36"/>
                    <a:pt x="19" y="36"/>
                  </a:cubicBezTo>
                  <a:cubicBezTo>
                    <a:pt x="21" y="36"/>
                    <a:pt x="23" y="35"/>
                    <a:pt x="24" y="34"/>
                  </a:cubicBezTo>
                  <a:cubicBezTo>
                    <a:pt x="27" y="33"/>
                    <a:pt x="29" y="32"/>
                    <a:pt x="31" y="32"/>
                  </a:cubicBezTo>
                  <a:cubicBezTo>
                    <a:pt x="32" y="32"/>
                    <a:pt x="32" y="32"/>
                    <a:pt x="32" y="32"/>
                  </a:cubicBezTo>
                  <a:cubicBezTo>
                    <a:pt x="32" y="32"/>
                    <a:pt x="32" y="32"/>
                    <a:pt x="32" y="32"/>
                  </a:cubicBezTo>
                  <a:cubicBezTo>
                    <a:pt x="33" y="32"/>
                    <a:pt x="33" y="32"/>
                    <a:pt x="33" y="32"/>
                  </a:cubicBezTo>
                  <a:cubicBezTo>
                    <a:pt x="33" y="30"/>
                    <a:pt x="28" y="25"/>
                    <a:pt x="24" y="25"/>
                  </a:cubicBezTo>
                  <a:cubicBezTo>
                    <a:pt x="22" y="24"/>
                    <a:pt x="21" y="22"/>
                    <a:pt x="20" y="19"/>
                  </a:cubicBezTo>
                  <a:cubicBezTo>
                    <a:pt x="20" y="16"/>
                    <a:pt x="19" y="12"/>
                    <a:pt x="13" y="11"/>
                  </a:cubicBezTo>
                  <a:cubicBezTo>
                    <a:pt x="10" y="11"/>
                    <a:pt x="8" y="12"/>
                    <a:pt x="7" y="14"/>
                  </a:cubicBezTo>
                  <a:cubicBezTo>
                    <a:pt x="6" y="15"/>
                    <a:pt x="6" y="15"/>
                    <a:pt x="6" y="15"/>
                  </a:cubicBezTo>
                  <a:cubicBezTo>
                    <a:pt x="6" y="14"/>
                    <a:pt x="6" y="14"/>
                    <a:pt x="6" y="14"/>
                  </a:cubicBezTo>
                  <a:cubicBezTo>
                    <a:pt x="5" y="12"/>
                    <a:pt x="5" y="10"/>
                    <a:pt x="6" y="9"/>
                  </a:cubicBezTo>
                  <a:cubicBezTo>
                    <a:pt x="8" y="5"/>
                    <a:pt x="16" y="5"/>
                    <a:pt x="21" y="5"/>
                  </a:cubicBezTo>
                  <a:cubicBezTo>
                    <a:pt x="26" y="5"/>
                    <a:pt x="35" y="12"/>
                    <a:pt x="40" y="19"/>
                  </a:cubicBezTo>
                  <a:cubicBezTo>
                    <a:pt x="41" y="21"/>
                    <a:pt x="43" y="23"/>
                    <a:pt x="46" y="23"/>
                  </a:cubicBezTo>
                  <a:cubicBezTo>
                    <a:pt x="47" y="23"/>
                    <a:pt x="49" y="22"/>
                    <a:pt x="49" y="21"/>
                  </a:cubicBezTo>
                  <a:cubicBezTo>
                    <a:pt x="49" y="21"/>
                    <a:pt x="49" y="21"/>
                    <a:pt x="49" y="21"/>
                  </a:cubicBezTo>
                  <a:cubicBezTo>
                    <a:pt x="50" y="21"/>
                    <a:pt x="50" y="21"/>
                    <a:pt x="50" y="21"/>
                  </a:cubicBezTo>
                  <a:cubicBezTo>
                    <a:pt x="52" y="22"/>
                    <a:pt x="56" y="23"/>
                    <a:pt x="60" y="24"/>
                  </a:cubicBezTo>
                  <a:cubicBezTo>
                    <a:pt x="61" y="24"/>
                    <a:pt x="63" y="23"/>
                    <a:pt x="63" y="23"/>
                  </a:cubicBezTo>
                  <a:cubicBezTo>
                    <a:pt x="64" y="22"/>
                    <a:pt x="64" y="20"/>
                    <a:pt x="64" y="18"/>
                  </a:cubicBezTo>
                  <a:cubicBezTo>
                    <a:pt x="64" y="17"/>
                    <a:pt x="64" y="17"/>
                    <a:pt x="64" y="17"/>
                  </a:cubicBezTo>
                  <a:cubicBezTo>
                    <a:pt x="64" y="14"/>
                    <a:pt x="71" y="9"/>
                    <a:pt x="75" y="9"/>
                  </a:cubicBezTo>
                  <a:cubicBezTo>
                    <a:pt x="78" y="9"/>
                    <a:pt x="78" y="7"/>
                    <a:pt x="79" y="5"/>
                  </a:cubicBezTo>
                  <a:cubicBezTo>
                    <a:pt x="79" y="4"/>
                    <a:pt x="80" y="3"/>
                    <a:pt x="80" y="3"/>
                  </a:cubicBezTo>
                  <a:cubicBezTo>
                    <a:pt x="82" y="3"/>
                    <a:pt x="85" y="3"/>
                    <a:pt x="86" y="1"/>
                  </a:cubicBezTo>
                  <a:cubicBezTo>
                    <a:pt x="86" y="0"/>
                    <a:pt x="87" y="0"/>
                    <a:pt x="88" y="0"/>
                  </a:cubicBezTo>
                  <a:cubicBezTo>
                    <a:pt x="91" y="0"/>
                    <a:pt x="95" y="2"/>
                    <a:pt x="97" y="3"/>
                  </a:cubicBezTo>
                  <a:cubicBezTo>
                    <a:pt x="99" y="5"/>
                    <a:pt x="103" y="6"/>
                    <a:pt x="106" y="7"/>
                  </a:cubicBezTo>
                  <a:cubicBezTo>
                    <a:pt x="107" y="7"/>
                    <a:pt x="107" y="7"/>
                    <a:pt x="108" y="7"/>
                  </a:cubicBezTo>
                  <a:cubicBezTo>
                    <a:pt x="112" y="8"/>
                    <a:pt x="114" y="21"/>
                    <a:pt x="114" y="23"/>
                  </a:cubicBezTo>
                  <a:cubicBezTo>
                    <a:pt x="114" y="24"/>
                    <a:pt x="126" y="25"/>
                    <a:pt x="129" y="25"/>
                  </a:cubicBezTo>
                  <a:cubicBezTo>
                    <a:pt x="132" y="25"/>
                    <a:pt x="134" y="25"/>
                    <a:pt x="135" y="25"/>
                  </a:cubicBezTo>
                  <a:cubicBezTo>
                    <a:pt x="137" y="25"/>
                    <a:pt x="137" y="27"/>
                    <a:pt x="138" y="30"/>
                  </a:cubicBezTo>
                  <a:cubicBezTo>
                    <a:pt x="139" y="31"/>
                    <a:pt x="140" y="33"/>
                    <a:pt x="141" y="35"/>
                  </a:cubicBezTo>
                  <a:cubicBezTo>
                    <a:pt x="144" y="38"/>
                    <a:pt x="146" y="43"/>
                    <a:pt x="147" y="46"/>
                  </a:cubicBezTo>
                  <a:cubicBezTo>
                    <a:pt x="147" y="47"/>
                    <a:pt x="147" y="47"/>
                    <a:pt x="147" y="47"/>
                  </a:cubicBezTo>
                  <a:cubicBezTo>
                    <a:pt x="148" y="48"/>
                    <a:pt x="151" y="50"/>
                    <a:pt x="154" y="51"/>
                  </a:cubicBezTo>
                  <a:cubicBezTo>
                    <a:pt x="157" y="53"/>
                    <a:pt x="161" y="55"/>
                    <a:pt x="162" y="57"/>
                  </a:cubicBezTo>
                  <a:cubicBezTo>
                    <a:pt x="165" y="61"/>
                    <a:pt x="172" y="65"/>
                    <a:pt x="179" y="67"/>
                  </a:cubicBezTo>
                  <a:cubicBezTo>
                    <a:pt x="182" y="68"/>
                    <a:pt x="184" y="71"/>
                    <a:pt x="187" y="73"/>
                  </a:cubicBezTo>
                  <a:cubicBezTo>
                    <a:pt x="190" y="75"/>
                    <a:pt x="192" y="77"/>
                    <a:pt x="193" y="77"/>
                  </a:cubicBezTo>
                  <a:cubicBezTo>
                    <a:pt x="197" y="76"/>
                    <a:pt x="206" y="81"/>
                    <a:pt x="207" y="81"/>
                  </a:cubicBezTo>
                  <a:cubicBezTo>
                    <a:pt x="207" y="81"/>
                    <a:pt x="207" y="81"/>
                    <a:pt x="207" y="81"/>
                  </a:cubicBezTo>
                  <a:cubicBezTo>
                    <a:pt x="208" y="92"/>
                    <a:pt x="208" y="92"/>
                    <a:pt x="208" y="92"/>
                  </a:cubicBezTo>
                  <a:cubicBezTo>
                    <a:pt x="208" y="92"/>
                    <a:pt x="208" y="92"/>
                    <a:pt x="208" y="92"/>
                  </a:cubicBezTo>
                  <a:cubicBezTo>
                    <a:pt x="207" y="92"/>
                    <a:pt x="206" y="92"/>
                    <a:pt x="206" y="92"/>
                  </a:cubicBezTo>
                  <a:cubicBezTo>
                    <a:pt x="204" y="92"/>
                    <a:pt x="202" y="91"/>
                    <a:pt x="200" y="91"/>
                  </a:cubicBezTo>
                  <a:cubicBezTo>
                    <a:pt x="199" y="90"/>
                    <a:pt x="198" y="89"/>
                    <a:pt x="197" y="89"/>
                  </a:cubicBezTo>
                  <a:cubicBezTo>
                    <a:pt x="195" y="89"/>
                    <a:pt x="194" y="91"/>
                    <a:pt x="192" y="92"/>
                  </a:cubicBezTo>
                  <a:cubicBezTo>
                    <a:pt x="190" y="94"/>
                    <a:pt x="189" y="96"/>
                    <a:pt x="186" y="96"/>
                  </a:cubicBezTo>
                  <a:cubicBezTo>
                    <a:pt x="185" y="96"/>
                    <a:pt x="185" y="96"/>
                    <a:pt x="185" y="96"/>
                  </a:cubicBezTo>
                  <a:cubicBezTo>
                    <a:pt x="184" y="96"/>
                    <a:pt x="184" y="96"/>
                    <a:pt x="184" y="96"/>
                  </a:cubicBezTo>
                  <a:cubicBezTo>
                    <a:pt x="181" y="96"/>
                    <a:pt x="179" y="103"/>
                    <a:pt x="178" y="108"/>
                  </a:cubicBezTo>
                  <a:cubicBezTo>
                    <a:pt x="177" y="109"/>
                    <a:pt x="177" y="109"/>
                    <a:pt x="177" y="110"/>
                  </a:cubicBezTo>
                  <a:cubicBezTo>
                    <a:pt x="176" y="113"/>
                    <a:pt x="171" y="115"/>
                    <a:pt x="166" y="116"/>
                  </a:cubicBezTo>
                  <a:cubicBezTo>
                    <a:pt x="161" y="118"/>
                    <a:pt x="156" y="119"/>
                    <a:pt x="156" y="122"/>
                  </a:cubicBezTo>
                  <a:cubicBezTo>
                    <a:pt x="157" y="123"/>
                    <a:pt x="156" y="125"/>
                    <a:pt x="155" y="126"/>
                  </a:cubicBezTo>
                  <a:cubicBezTo>
                    <a:pt x="153" y="128"/>
                    <a:pt x="150" y="129"/>
                    <a:pt x="147" y="129"/>
                  </a:cubicBezTo>
                  <a:close/>
                  <a:moveTo>
                    <a:pt x="137" y="124"/>
                  </a:moveTo>
                  <a:cubicBezTo>
                    <a:pt x="139" y="124"/>
                    <a:pt x="143" y="124"/>
                    <a:pt x="144" y="127"/>
                  </a:cubicBezTo>
                  <a:cubicBezTo>
                    <a:pt x="144" y="128"/>
                    <a:pt x="145" y="128"/>
                    <a:pt x="147" y="128"/>
                  </a:cubicBezTo>
                  <a:cubicBezTo>
                    <a:pt x="150" y="128"/>
                    <a:pt x="153" y="127"/>
                    <a:pt x="154" y="125"/>
                  </a:cubicBezTo>
                  <a:cubicBezTo>
                    <a:pt x="155" y="124"/>
                    <a:pt x="156" y="123"/>
                    <a:pt x="155" y="122"/>
                  </a:cubicBezTo>
                  <a:cubicBezTo>
                    <a:pt x="155" y="118"/>
                    <a:pt x="160" y="117"/>
                    <a:pt x="166" y="115"/>
                  </a:cubicBezTo>
                  <a:cubicBezTo>
                    <a:pt x="171" y="114"/>
                    <a:pt x="175" y="112"/>
                    <a:pt x="176" y="110"/>
                  </a:cubicBezTo>
                  <a:cubicBezTo>
                    <a:pt x="176" y="109"/>
                    <a:pt x="176" y="108"/>
                    <a:pt x="177" y="108"/>
                  </a:cubicBezTo>
                  <a:cubicBezTo>
                    <a:pt x="178" y="102"/>
                    <a:pt x="180" y="95"/>
                    <a:pt x="184" y="95"/>
                  </a:cubicBezTo>
                  <a:cubicBezTo>
                    <a:pt x="185" y="95"/>
                    <a:pt x="185" y="95"/>
                    <a:pt x="185" y="95"/>
                  </a:cubicBezTo>
                  <a:cubicBezTo>
                    <a:pt x="187" y="96"/>
                    <a:pt x="189" y="94"/>
                    <a:pt x="191" y="92"/>
                  </a:cubicBezTo>
                  <a:cubicBezTo>
                    <a:pt x="193" y="90"/>
                    <a:pt x="195" y="88"/>
                    <a:pt x="197" y="88"/>
                  </a:cubicBezTo>
                  <a:cubicBezTo>
                    <a:pt x="198" y="88"/>
                    <a:pt x="200" y="89"/>
                    <a:pt x="201" y="90"/>
                  </a:cubicBezTo>
                  <a:cubicBezTo>
                    <a:pt x="202" y="90"/>
                    <a:pt x="204" y="91"/>
                    <a:pt x="206" y="91"/>
                  </a:cubicBezTo>
                  <a:cubicBezTo>
                    <a:pt x="207" y="91"/>
                    <a:pt x="207" y="91"/>
                    <a:pt x="207" y="91"/>
                  </a:cubicBezTo>
                  <a:cubicBezTo>
                    <a:pt x="206" y="82"/>
                    <a:pt x="206" y="82"/>
                    <a:pt x="206" y="82"/>
                  </a:cubicBezTo>
                  <a:cubicBezTo>
                    <a:pt x="204" y="81"/>
                    <a:pt x="197" y="78"/>
                    <a:pt x="194" y="78"/>
                  </a:cubicBezTo>
                  <a:cubicBezTo>
                    <a:pt x="194" y="78"/>
                    <a:pt x="194" y="78"/>
                    <a:pt x="194" y="78"/>
                  </a:cubicBezTo>
                  <a:cubicBezTo>
                    <a:pt x="192" y="78"/>
                    <a:pt x="189" y="76"/>
                    <a:pt x="186" y="74"/>
                  </a:cubicBezTo>
                  <a:cubicBezTo>
                    <a:pt x="184" y="71"/>
                    <a:pt x="181" y="69"/>
                    <a:pt x="178" y="68"/>
                  </a:cubicBezTo>
                  <a:cubicBezTo>
                    <a:pt x="172" y="66"/>
                    <a:pt x="164" y="62"/>
                    <a:pt x="161" y="58"/>
                  </a:cubicBezTo>
                  <a:cubicBezTo>
                    <a:pt x="160" y="56"/>
                    <a:pt x="157" y="54"/>
                    <a:pt x="153" y="52"/>
                  </a:cubicBezTo>
                  <a:cubicBezTo>
                    <a:pt x="150" y="50"/>
                    <a:pt x="147" y="49"/>
                    <a:pt x="147" y="47"/>
                  </a:cubicBezTo>
                  <a:cubicBezTo>
                    <a:pt x="146" y="47"/>
                    <a:pt x="146" y="47"/>
                    <a:pt x="146" y="47"/>
                  </a:cubicBezTo>
                  <a:cubicBezTo>
                    <a:pt x="145" y="44"/>
                    <a:pt x="143" y="39"/>
                    <a:pt x="140" y="35"/>
                  </a:cubicBezTo>
                  <a:cubicBezTo>
                    <a:pt x="139" y="33"/>
                    <a:pt x="138" y="32"/>
                    <a:pt x="137" y="30"/>
                  </a:cubicBezTo>
                  <a:cubicBezTo>
                    <a:pt x="137" y="28"/>
                    <a:pt x="136" y="26"/>
                    <a:pt x="134" y="26"/>
                  </a:cubicBezTo>
                  <a:cubicBezTo>
                    <a:pt x="134" y="26"/>
                    <a:pt x="132" y="26"/>
                    <a:pt x="129" y="26"/>
                  </a:cubicBezTo>
                  <a:cubicBezTo>
                    <a:pt x="118" y="25"/>
                    <a:pt x="113" y="25"/>
                    <a:pt x="113" y="23"/>
                  </a:cubicBezTo>
                  <a:cubicBezTo>
                    <a:pt x="113" y="20"/>
                    <a:pt x="111" y="9"/>
                    <a:pt x="108" y="8"/>
                  </a:cubicBezTo>
                  <a:cubicBezTo>
                    <a:pt x="107" y="8"/>
                    <a:pt x="107" y="8"/>
                    <a:pt x="106" y="7"/>
                  </a:cubicBezTo>
                  <a:cubicBezTo>
                    <a:pt x="103" y="7"/>
                    <a:pt x="98" y="6"/>
                    <a:pt x="96" y="4"/>
                  </a:cubicBezTo>
                  <a:cubicBezTo>
                    <a:pt x="95" y="2"/>
                    <a:pt x="91" y="1"/>
                    <a:pt x="88" y="1"/>
                  </a:cubicBezTo>
                  <a:cubicBezTo>
                    <a:pt x="87" y="1"/>
                    <a:pt x="87" y="1"/>
                    <a:pt x="87" y="1"/>
                  </a:cubicBezTo>
                  <a:cubicBezTo>
                    <a:pt x="85" y="3"/>
                    <a:pt x="82" y="4"/>
                    <a:pt x="80" y="4"/>
                  </a:cubicBezTo>
                  <a:cubicBezTo>
                    <a:pt x="80" y="4"/>
                    <a:pt x="80" y="5"/>
                    <a:pt x="80" y="6"/>
                  </a:cubicBezTo>
                  <a:cubicBezTo>
                    <a:pt x="79" y="7"/>
                    <a:pt x="78" y="10"/>
                    <a:pt x="76" y="10"/>
                  </a:cubicBezTo>
                  <a:cubicBezTo>
                    <a:pt x="75" y="10"/>
                    <a:pt x="75" y="10"/>
                    <a:pt x="75" y="10"/>
                  </a:cubicBezTo>
                  <a:cubicBezTo>
                    <a:pt x="71" y="10"/>
                    <a:pt x="65" y="14"/>
                    <a:pt x="65" y="17"/>
                  </a:cubicBezTo>
                  <a:cubicBezTo>
                    <a:pt x="65" y="18"/>
                    <a:pt x="65" y="18"/>
                    <a:pt x="65" y="18"/>
                  </a:cubicBezTo>
                  <a:cubicBezTo>
                    <a:pt x="65" y="20"/>
                    <a:pt x="65" y="22"/>
                    <a:pt x="64" y="23"/>
                  </a:cubicBezTo>
                  <a:cubicBezTo>
                    <a:pt x="63" y="24"/>
                    <a:pt x="62" y="25"/>
                    <a:pt x="60" y="25"/>
                  </a:cubicBezTo>
                  <a:cubicBezTo>
                    <a:pt x="56" y="24"/>
                    <a:pt x="52" y="23"/>
                    <a:pt x="50" y="22"/>
                  </a:cubicBezTo>
                  <a:cubicBezTo>
                    <a:pt x="49" y="23"/>
                    <a:pt x="47" y="24"/>
                    <a:pt x="46" y="24"/>
                  </a:cubicBezTo>
                  <a:cubicBezTo>
                    <a:pt x="43" y="24"/>
                    <a:pt x="41" y="22"/>
                    <a:pt x="39" y="20"/>
                  </a:cubicBezTo>
                  <a:cubicBezTo>
                    <a:pt x="34" y="13"/>
                    <a:pt x="26" y="6"/>
                    <a:pt x="21" y="6"/>
                  </a:cubicBezTo>
                  <a:cubicBezTo>
                    <a:pt x="18" y="6"/>
                    <a:pt x="9" y="6"/>
                    <a:pt x="7" y="9"/>
                  </a:cubicBezTo>
                  <a:cubicBezTo>
                    <a:pt x="6" y="10"/>
                    <a:pt x="6" y="11"/>
                    <a:pt x="7" y="12"/>
                  </a:cubicBezTo>
                  <a:cubicBezTo>
                    <a:pt x="8" y="11"/>
                    <a:pt x="10" y="10"/>
                    <a:pt x="13" y="10"/>
                  </a:cubicBezTo>
                  <a:cubicBezTo>
                    <a:pt x="20" y="11"/>
                    <a:pt x="21" y="15"/>
                    <a:pt x="21" y="19"/>
                  </a:cubicBezTo>
                  <a:cubicBezTo>
                    <a:pt x="22" y="22"/>
                    <a:pt x="23" y="23"/>
                    <a:pt x="24" y="24"/>
                  </a:cubicBezTo>
                  <a:cubicBezTo>
                    <a:pt x="29" y="24"/>
                    <a:pt x="34" y="29"/>
                    <a:pt x="34" y="32"/>
                  </a:cubicBezTo>
                  <a:cubicBezTo>
                    <a:pt x="34" y="32"/>
                    <a:pt x="33" y="33"/>
                    <a:pt x="32" y="33"/>
                  </a:cubicBezTo>
                  <a:cubicBezTo>
                    <a:pt x="32" y="33"/>
                    <a:pt x="32" y="33"/>
                    <a:pt x="32" y="33"/>
                  </a:cubicBezTo>
                  <a:cubicBezTo>
                    <a:pt x="31" y="33"/>
                    <a:pt x="31" y="33"/>
                    <a:pt x="31" y="33"/>
                  </a:cubicBezTo>
                  <a:cubicBezTo>
                    <a:pt x="29" y="33"/>
                    <a:pt x="27" y="34"/>
                    <a:pt x="25" y="35"/>
                  </a:cubicBezTo>
                  <a:cubicBezTo>
                    <a:pt x="23" y="36"/>
                    <a:pt x="21" y="37"/>
                    <a:pt x="19" y="37"/>
                  </a:cubicBezTo>
                  <a:cubicBezTo>
                    <a:pt x="18" y="37"/>
                    <a:pt x="17" y="36"/>
                    <a:pt x="17" y="36"/>
                  </a:cubicBezTo>
                  <a:cubicBezTo>
                    <a:pt x="16" y="36"/>
                    <a:pt x="14" y="35"/>
                    <a:pt x="13" y="35"/>
                  </a:cubicBezTo>
                  <a:cubicBezTo>
                    <a:pt x="11" y="34"/>
                    <a:pt x="9" y="33"/>
                    <a:pt x="7" y="33"/>
                  </a:cubicBezTo>
                  <a:cubicBezTo>
                    <a:pt x="5" y="33"/>
                    <a:pt x="4" y="34"/>
                    <a:pt x="4" y="36"/>
                  </a:cubicBezTo>
                  <a:cubicBezTo>
                    <a:pt x="4" y="37"/>
                    <a:pt x="4" y="37"/>
                    <a:pt x="4" y="37"/>
                  </a:cubicBezTo>
                  <a:cubicBezTo>
                    <a:pt x="3" y="40"/>
                    <a:pt x="1" y="44"/>
                    <a:pt x="3" y="46"/>
                  </a:cubicBezTo>
                  <a:cubicBezTo>
                    <a:pt x="3" y="47"/>
                    <a:pt x="5" y="47"/>
                    <a:pt x="6" y="47"/>
                  </a:cubicBezTo>
                  <a:cubicBezTo>
                    <a:pt x="9" y="47"/>
                    <a:pt x="11" y="48"/>
                    <a:pt x="11" y="49"/>
                  </a:cubicBezTo>
                  <a:cubicBezTo>
                    <a:pt x="12" y="51"/>
                    <a:pt x="11" y="54"/>
                    <a:pt x="8" y="57"/>
                  </a:cubicBezTo>
                  <a:cubicBezTo>
                    <a:pt x="7" y="58"/>
                    <a:pt x="7" y="58"/>
                    <a:pt x="7" y="58"/>
                  </a:cubicBezTo>
                  <a:cubicBezTo>
                    <a:pt x="7" y="58"/>
                    <a:pt x="8" y="58"/>
                    <a:pt x="9" y="58"/>
                  </a:cubicBezTo>
                  <a:cubicBezTo>
                    <a:pt x="10" y="58"/>
                    <a:pt x="11" y="58"/>
                    <a:pt x="12" y="58"/>
                  </a:cubicBezTo>
                  <a:cubicBezTo>
                    <a:pt x="13" y="58"/>
                    <a:pt x="15" y="58"/>
                    <a:pt x="16" y="60"/>
                  </a:cubicBezTo>
                  <a:cubicBezTo>
                    <a:pt x="16" y="62"/>
                    <a:pt x="17" y="63"/>
                    <a:pt x="18" y="64"/>
                  </a:cubicBezTo>
                  <a:cubicBezTo>
                    <a:pt x="19" y="65"/>
                    <a:pt x="20" y="67"/>
                    <a:pt x="19" y="72"/>
                  </a:cubicBezTo>
                  <a:cubicBezTo>
                    <a:pt x="18" y="75"/>
                    <a:pt x="18" y="82"/>
                    <a:pt x="19" y="88"/>
                  </a:cubicBezTo>
                  <a:cubicBezTo>
                    <a:pt x="19" y="89"/>
                    <a:pt x="19" y="90"/>
                    <a:pt x="19" y="91"/>
                  </a:cubicBezTo>
                  <a:cubicBezTo>
                    <a:pt x="27" y="91"/>
                    <a:pt x="30" y="89"/>
                    <a:pt x="30" y="89"/>
                  </a:cubicBezTo>
                  <a:cubicBezTo>
                    <a:pt x="32" y="86"/>
                    <a:pt x="39" y="80"/>
                    <a:pt x="43" y="80"/>
                  </a:cubicBezTo>
                  <a:cubicBezTo>
                    <a:pt x="44" y="80"/>
                    <a:pt x="46" y="80"/>
                    <a:pt x="47" y="80"/>
                  </a:cubicBezTo>
                  <a:cubicBezTo>
                    <a:pt x="48" y="80"/>
                    <a:pt x="49" y="80"/>
                    <a:pt x="50" y="80"/>
                  </a:cubicBezTo>
                  <a:cubicBezTo>
                    <a:pt x="51" y="80"/>
                    <a:pt x="52" y="80"/>
                    <a:pt x="53" y="78"/>
                  </a:cubicBezTo>
                  <a:cubicBezTo>
                    <a:pt x="55" y="77"/>
                    <a:pt x="59" y="76"/>
                    <a:pt x="61" y="76"/>
                  </a:cubicBezTo>
                  <a:cubicBezTo>
                    <a:pt x="65" y="76"/>
                    <a:pt x="69" y="77"/>
                    <a:pt x="71" y="79"/>
                  </a:cubicBezTo>
                  <a:cubicBezTo>
                    <a:pt x="73" y="81"/>
                    <a:pt x="80" y="83"/>
                    <a:pt x="81" y="83"/>
                  </a:cubicBezTo>
                  <a:cubicBezTo>
                    <a:pt x="82" y="83"/>
                    <a:pt x="83" y="84"/>
                    <a:pt x="83" y="85"/>
                  </a:cubicBezTo>
                  <a:cubicBezTo>
                    <a:pt x="84" y="86"/>
                    <a:pt x="86" y="87"/>
                    <a:pt x="88" y="87"/>
                  </a:cubicBezTo>
                  <a:cubicBezTo>
                    <a:pt x="89" y="87"/>
                    <a:pt x="89" y="87"/>
                    <a:pt x="90" y="87"/>
                  </a:cubicBezTo>
                  <a:cubicBezTo>
                    <a:pt x="94" y="87"/>
                    <a:pt x="101" y="88"/>
                    <a:pt x="101" y="91"/>
                  </a:cubicBezTo>
                  <a:cubicBezTo>
                    <a:pt x="101" y="94"/>
                    <a:pt x="104" y="96"/>
                    <a:pt x="107" y="96"/>
                  </a:cubicBezTo>
                  <a:cubicBezTo>
                    <a:pt x="109" y="96"/>
                    <a:pt x="111" y="98"/>
                    <a:pt x="112" y="100"/>
                  </a:cubicBezTo>
                  <a:cubicBezTo>
                    <a:pt x="114" y="102"/>
                    <a:pt x="115" y="104"/>
                    <a:pt x="117" y="104"/>
                  </a:cubicBezTo>
                  <a:cubicBezTo>
                    <a:pt x="118" y="104"/>
                    <a:pt x="119" y="104"/>
                    <a:pt x="121" y="104"/>
                  </a:cubicBezTo>
                  <a:cubicBezTo>
                    <a:pt x="124" y="104"/>
                    <a:pt x="128" y="104"/>
                    <a:pt x="128" y="106"/>
                  </a:cubicBezTo>
                  <a:cubicBezTo>
                    <a:pt x="128" y="108"/>
                    <a:pt x="128" y="118"/>
                    <a:pt x="130" y="123"/>
                  </a:cubicBezTo>
                  <a:cubicBezTo>
                    <a:pt x="131" y="123"/>
                    <a:pt x="132" y="123"/>
                    <a:pt x="133" y="123"/>
                  </a:cubicBezTo>
                  <a:cubicBezTo>
                    <a:pt x="134" y="124"/>
                    <a:pt x="135" y="124"/>
                    <a:pt x="135" y="124"/>
                  </a:cubicBezTo>
                  <a:cubicBezTo>
                    <a:pt x="136" y="124"/>
                    <a:pt x="136" y="124"/>
                    <a:pt x="136" y="124"/>
                  </a:cubicBezTo>
                  <a:cubicBezTo>
                    <a:pt x="137" y="124"/>
                    <a:pt x="137" y="124"/>
                    <a:pt x="137" y="1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1" name="Freeform 158"/>
            <p:cNvSpPr>
              <a:spLocks noEditPoints="1"/>
            </p:cNvSpPr>
            <p:nvPr/>
          </p:nvSpPr>
          <p:spPr>
            <a:xfrm>
              <a:off x="5857876" y="2760663"/>
              <a:ext cx="485775" cy="412750"/>
            </a:xfrm>
            <a:custGeom>
              <a:gdLst>
                <a:gd name="T0" fmla="*/ 230 w 286"/>
                <a:gd name="T1" fmla="*/ 240 h 243"/>
                <a:gd name="T2" fmla="*/ 181 w 286"/>
                <a:gd name="T3" fmla="*/ 213 h 243"/>
                <a:gd name="T4" fmla="*/ 115 w 286"/>
                <a:gd name="T5" fmla="*/ 201 h 243"/>
                <a:gd name="T6" fmla="*/ 86 w 286"/>
                <a:gd name="T7" fmla="*/ 162 h 243"/>
                <a:gd name="T8" fmla="*/ 74 w 286"/>
                <a:gd name="T9" fmla="*/ 162 h 243"/>
                <a:gd name="T10" fmla="*/ 66 w 286"/>
                <a:gd name="T11" fmla="*/ 165 h 243"/>
                <a:gd name="T12" fmla="*/ 52 w 286"/>
                <a:gd name="T13" fmla="*/ 143 h 243"/>
                <a:gd name="T14" fmla="*/ 47 w 286"/>
                <a:gd name="T15" fmla="*/ 126 h 243"/>
                <a:gd name="T16" fmla="*/ 20 w 286"/>
                <a:gd name="T17" fmla="*/ 97 h 243"/>
                <a:gd name="T18" fmla="*/ 29 w 286"/>
                <a:gd name="T19" fmla="*/ 81 h 243"/>
                <a:gd name="T20" fmla="*/ 24 w 286"/>
                <a:gd name="T21" fmla="*/ 68 h 243"/>
                <a:gd name="T22" fmla="*/ 8 w 286"/>
                <a:gd name="T23" fmla="*/ 42 h 243"/>
                <a:gd name="T24" fmla="*/ 2 w 286"/>
                <a:gd name="T25" fmla="*/ 9 h 243"/>
                <a:gd name="T26" fmla="*/ 8 w 286"/>
                <a:gd name="T27" fmla="*/ 0 h 243"/>
                <a:gd name="T28" fmla="*/ 27 w 286"/>
                <a:gd name="T29" fmla="*/ 17 h 243"/>
                <a:gd name="T30" fmla="*/ 60 w 286"/>
                <a:gd name="T31" fmla="*/ 5 h 243"/>
                <a:gd name="T32" fmla="*/ 70 w 286"/>
                <a:gd name="T33" fmla="*/ 25 h 243"/>
                <a:gd name="T34" fmla="*/ 114 w 286"/>
                <a:gd name="T35" fmla="*/ 58 h 243"/>
                <a:gd name="T36" fmla="*/ 145 w 286"/>
                <a:gd name="T37" fmla="*/ 44 h 243"/>
                <a:gd name="T38" fmla="*/ 177 w 286"/>
                <a:gd name="T39" fmla="*/ 33 h 243"/>
                <a:gd name="T40" fmla="*/ 208 w 286"/>
                <a:gd name="T41" fmla="*/ 36 h 243"/>
                <a:gd name="T42" fmla="*/ 228 w 286"/>
                <a:gd name="T43" fmla="*/ 44 h 243"/>
                <a:gd name="T44" fmla="*/ 248 w 286"/>
                <a:gd name="T45" fmla="*/ 57 h 243"/>
                <a:gd name="T46" fmla="*/ 257 w 286"/>
                <a:gd name="T47" fmla="*/ 78 h 243"/>
                <a:gd name="T48" fmla="*/ 248 w 286"/>
                <a:gd name="T49" fmla="*/ 97 h 243"/>
                <a:gd name="T50" fmla="*/ 248 w 286"/>
                <a:gd name="T51" fmla="*/ 135 h 243"/>
                <a:gd name="T52" fmla="*/ 254 w 286"/>
                <a:gd name="T53" fmla="*/ 162 h 243"/>
                <a:gd name="T54" fmla="*/ 273 w 286"/>
                <a:gd name="T55" fmla="*/ 193 h 243"/>
                <a:gd name="T56" fmla="*/ 283 w 286"/>
                <a:gd name="T57" fmla="*/ 221 h 243"/>
                <a:gd name="T58" fmla="*/ 181 w 286"/>
                <a:gd name="T59" fmla="*/ 212 h 243"/>
                <a:gd name="T60" fmla="*/ 230 w 286"/>
                <a:gd name="T61" fmla="*/ 239 h 243"/>
                <a:gd name="T62" fmla="*/ 269 w 286"/>
                <a:gd name="T63" fmla="*/ 224 h 243"/>
                <a:gd name="T64" fmla="*/ 277 w 286"/>
                <a:gd name="T65" fmla="*/ 204 h 243"/>
                <a:gd name="T66" fmla="*/ 247 w 286"/>
                <a:gd name="T67" fmla="*/ 168 h 243"/>
                <a:gd name="T68" fmla="*/ 248 w 286"/>
                <a:gd name="T69" fmla="*/ 140 h 243"/>
                <a:gd name="T70" fmla="*/ 246 w 286"/>
                <a:gd name="T71" fmla="*/ 108 h 243"/>
                <a:gd name="T72" fmla="*/ 253 w 286"/>
                <a:gd name="T73" fmla="*/ 84 h 243"/>
                <a:gd name="T74" fmla="*/ 244 w 286"/>
                <a:gd name="T75" fmla="*/ 58 h 243"/>
                <a:gd name="T76" fmla="*/ 227 w 286"/>
                <a:gd name="T77" fmla="*/ 44 h 243"/>
                <a:gd name="T78" fmla="*/ 208 w 286"/>
                <a:gd name="T79" fmla="*/ 37 h 243"/>
                <a:gd name="T80" fmla="*/ 177 w 286"/>
                <a:gd name="T81" fmla="*/ 34 h 243"/>
                <a:gd name="T82" fmla="*/ 146 w 286"/>
                <a:gd name="T83" fmla="*/ 45 h 243"/>
                <a:gd name="T84" fmla="*/ 100 w 286"/>
                <a:gd name="T85" fmla="*/ 51 h 243"/>
                <a:gd name="T86" fmla="*/ 58 w 286"/>
                <a:gd name="T87" fmla="*/ 18 h 243"/>
                <a:gd name="T88" fmla="*/ 29 w 286"/>
                <a:gd name="T89" fmla="*/ 18 h 243"/>
                <a:gd name="T90" fmla="*/ 12 w 286"/>
                <a:gd name="T91" fmla="*/ 6 h 243"/>
                <a:gd name="T92" fmla="*/ 3 w 286"/>
                <a:gd name="T93" fmla="*/ 9 h 243"/>
                <a:gd name="T94" fmla="*/ 4 w 286"/>
                <a:gd name="T95" fmla="*/ 35 h 243"/>
                <a:gd name="T96" fmla="*/ 16 w 286"/>
                <a:gd name="T97" fmla="*/ 59 h 243"/>
                <a:gd name="T98" fmla="*/ 30 w 286"/>
                <a:gd name="T99" fmla="*/ 77 h 243"/>
                <a:gd name="T100" fmla="*/ 22 w 286"/>
                <a:gd name="T101" fmla="*/ 93 h 243"/>
                <a:gd name="T102" fmla="*/ 37 w 286"/>
                <a:gd name="T103" fmla="*/ 120 h 243"/>
                <a:gd name="T104" fmla="*/ 54 w 286"/>
                <a:gd name="T105" fmla="*/ 139 h 243"/>
                <a:gd name="T106" fmla="*/ 66 w 286"/>
                <a:gd name="T107" fmla="*/ 164 h 243"/>
                <a:gd name="T108" fmla="*/ 74 w 286"/>
                <a:gd name="T109" fmla="*/ 161 h 243"/>
                <a:gd name="T110" fmla="*/ 86 w 286"/>
                <a:gd name="T111" fmla="*/ 161 h 243"/>
                <a:gd name="T112" fmla="*/ 110 w 286"/>
                <a:gd name="T113" fmla="*/ 198 h 243"/>
                <a:gd name="T114" fmla="*/ 170 w 286"/>
                <a:gd name="T115" fmla="*/ 216 h 2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243">
                  <a:moveTo>
                    <a:pt x="261" y="243"/>
                  </a:moveTo>
                  <a:cubicBezTo>
                    <a:pt x="261" y="243"/>
                    <a:pt x="261" y="243"/>
                    <a:pt x="261" y="243"/>
                  </a:cubicBezTo>
                  <a:cubicBezTo>
                    <a:pt x="253" y="243"/>
                    <a:pt x="248" y="243"/>
                    <a:pt x="245" y="242"/>
                  </a:cubicBezTo>
                  <a:cubicBezTo>
                    <a:pt x="243" y="241"/>
                    <a:pt x="237" y="241"/>
                    <a:pt x="230" y="240"/>
                  </a:cubicBezTo>
                  <a:cubicBezTo>
                    <a:pt x="212" y="238"/>
                    <a:pt x="197" y="235"/>
                    <a:pt x="194" y="232"/>
                  </a:cubicBezTo>
                  <a:cubicBezTo>
                    <a:pt x="193" y="231"/>
                    <a:pt x="193" y="228"/>
                    <a:pt x="192" y="225"/>
                  </a:cubicBezTo>
                  <a:cubicBezTo>
                    <a:pt x="191" y="220"/>
                    <a:pt x="190" y="215"/>
                    <a:pt x="184" y="214"/>
                  </a:cubicBezTo>
                  <a:cubicBezTo>
                    <a:pt x="183" y="213"/>
                    <a:pt x="182" y="213"/>
                    <a:pt x="181" y="213"/>
                  </a:cubicBezTo>
                  <a:cubicBezTo>
                    <a:pt x="177" y="213"/>
                    <a:pt x="173" y="215"/>
                    <a:pt x="170" y="217"/>
                  </a:cubicBezTo>
                  <a:cubicBezTo>
                    <a:pt x="167" y="219"/>
                    <a:pt x="164" y="220"/>
                    <a:pt x="160" y="220"/>
                  </a:cubicBezTo>
                  <a:cubicBezTo>
                    <a:pt x="153" y="220"/>
                    <a:pt x="134" y="215"/>
                    <a:pt x="127" y="207"/>
                  </a:cubicBezTo>
                  <a:cubicBezTo>
                    <a:pt x="122" y="203"/>
                    <a:pt x="119" y="202"/>
                    <a:pt x="115" y="201"/>
                  </a:cubicBezTo>
                  <a:cubicBezTo>
                    <a:pt x="113" y="200"/>
                    <a:pt x="111" y="200"/>
                    <a:pt x="109" y="198"/>
                  </a:cubicBezTo>
                  <a:cubicBezTo>
                    <a:pt x="105" y="196"/>
                    <a:pt x="105" y="194"/>
                    <a:pt x="103" y="190"/>
                  </a:cubicBezTo>
                  <a:cubicBezTo>
                    <a:pt x="102" y="188"/>
                    <a:pt x="102" y="187"/>
                    <a:pt x="101" y="185"/>
                  </a:cubicBezTo>
                  <a:cubicBezTo>
                    <a:pt x="95" y="174"/>
                    <a:pt x="89" y="162"/>
                    <a:pt x="86" y="162"/>
                  </a:cubicBezTo>
                  <a:cubicBezTo>
                    <a:pt x="85" y="162"/>
                    <a:pt x="84" y="163"/>
                    <a:pt x="83" y="163"/>
                  </a:cubicBezTo>
                  <a:cubicBezTo>
                    <a:pt x="82" y="163"/>
                    <a:pt x="81" y="164"/>
                    <a:pt x="79" y="164"/>
                  </a:cubicBezTo>
                  <a:cubicBezTo>
                    <a:pt x="78" y="164"/>
                    <a:pt x="77" y="163"/>
                    <a:pt x="76" y="163"/>
                  </a:cubicBezTo>
                  <a:cubicBezTo>
                    <a:pt x="75" y="162"/>
                    <a:pt x="75" y="162"/>
                    <a:pt x="74" y="162"/>
                  </a:cubicBezTo>
                  <a:cubicBezTo>
                    <a:pt x="74" y="162"/>
                    <a:pt x="74" y="162"/>
                    <a:pt x="73" y="163"/>
                  </a:cubicBezTo>
                  <a:cubicBezTo>
                    <a:pt x="72" y="163"/>
                    <a:pt x="71" y="164"/>
                    <a:pt x="69" y="164"/>
                  </a:cubicBezTo>
                  <a:cubicBezTo>
                    <a:pt x="69" y="164"/>
                    <a:pt x="67" y="165"/>
                    <a:pt x="66" y="165"/>
                  </a:cubicBezTo>
                  <a:cubicBezTo>
                    <a:pt x="66" y="165"/>
                    <a:pt x="66" y="165"/>
                    <a:pt x="66" y="165"/>
                  </a:cubicBezTo>
                  <a:cubicBezTo>
                    <a:pt x="65" y="164"/>
                    <a:pt x="65" y="164"/>
                    <a:pt x="65" y="164"/>
                  </a:cubicBezTo>
                  <a:cubicBezTo>
                    <a:pt x="61" y="160"/>
                    <a:pt x="57" y="156"/>
                    <a:pt x="57" y="153"/>
                  </a:cubicBezTo>
                  <a:cubicBezTo>
                    <a:pt x="58" y="151"/>
                    <a:pt x="56" y="149"/>
                    <a:pt x="54" y="147"/>
                  </a:cubicBezTo>
                  <a:cubicBezTo>
                    <a:pt x="53" y="146"/>
                    <a:pt x="52" y="145"/>
                    <a:pt x="52" y="143"/>
                  </a:cubicBezTo>
                  <a:cubicBezTo>
                    <a:pt x="52" y="142"/>
                    <a:pt x="52" y="141"/>
                    <a:pt x="53" y="139"/>
                  </a:cubicBezTo>
                  <a:cubicBezTo>
                    <a:pt x="54" y="137"/>
                    <a:pt x="54" y="135"/>
                    <a:pt x="53" y="134"/>
                  </a:cubicBezTo>
                  <a:cubicBezTo>
                    <a:pt x="52" y="133"/>
                    <a:pt x="52" y="132"/>
                    <a:pt x="51" y="130"/>
                  </a:cubicBezTo>
                  <a:cubicBezTo>
                    <a:pt x="50" y="128"/>
                    <a:pt x="49" y="126"/>
                    <a:pt x="47" y="126"/>
                  </a:cubicBezTo>
                  <a:cubicBezTo>
                    <a:pt x="45" y="125"/>
                    <a:pt x="40" y="123"/>
                    <a:pt x="37" y="121"/>
                  </a:cubicBezTo>
                  <a:cubicBezTo>
                    <a:pt x="34" y="119"/>
                    <a:pt x="30" y="117"/>
                    <a:pt x="30" y="114"/>
                  </a:cubicBezTo>
                  <a:cubicBezTo>
                    <a:pt x="31" y="111"/>
                    <a:pt x="27" y="108"/>
                    <a:pt x="24" y="107"/>
                  </a:cubicBezTo>
                  <a:cubicBezTo>
                    <a:pt x="22" y="106"/>
                    <a:pt x="20" y="101"/>
                    <a:pt x="20" y="97"/>
                  </a:cubicBezTo>
                  <a:cubicBezTo>
                    <a:pt x="20" y="96"/>
                    <a:pt x="20" y="93"/>
                    <a:pt x="22" y="92"/>
                  </a:cubicBezTo>
                  <a:cubicBezTo>
                    <a:pt x="23" y="92"/>
                    <a:pt x="24" y="89"/>
                    <a:pt x="24" y="87"/>
                  </a:cubicBezTo>
                  <a:cubicBezTo>
                    <a:pt x="25" y="84"/>
                    <a:pt x="26" y="81"/>
                    <a:pt x="28" y="81"/>
                  </a:cubicBezTo>
                  <a:cubicBezTo>
                    <a:pt x="29" y="81"/>
                    <a:pt x="29" y="81"/>
                    <a:pt x="29" y="81"/>
                  </a:cubicBezTo>
                  <a:cubicBezTo>
                    <a:pt x="29" y="80"/>
                    <a:pt x="29" y="79"/>
                    <a:pt x="29" y="77"/>
                  </a:cubicBezTo>
                  <a:cubicBezTo>
                    <a:pt x="29" y="76"/>
                    <a:pt x="29" y="74"/>
                    <a:pt x="29" y="73"/>
                  </a:cubicBezTo>
                  <a:cubicBezTo>
                    <a:pt x="29" y="72"/>
                    <a:pt x="29" y="71"/>
                    <a:pt x="29" y="70"/>
                  </a:cubicBezTo>
                  <a:cubicBezTo>
                    <a:pt x="28" y="69"/>
                    <a:pt x="26" y="68"/>
                    <a:pt x="24" y="68"/>
                  </a:cubicBezTo>
                  <a:cubicBezTo>
                    <a:pt x="21" y="68"/>
                    <a:pt x="15" y="63"/>
                    <a:pt x="15" y="59"/>
                  </a:cubicBezTo>
                  <a:cubicBezTo>
                    <a:pt x="15" y="57"/>
                    <a:pt x="14" y="54"/>
                    <a:pt x="12" y="52"/>
                  </a:cubicBezTo>
                  <a:cubicBezTo>
                    <a:pt x="11" y="50"/>
                    <a:pt x="10" y="48"/>
                    <a:pt x="10" y="47"/>
                  </a:cubicBezTo>
                  <a:cubicBezTo>
                    <a:pt x="10" y="47"/>
                    <a:pt x="10" y="45"/>
                    <a:pt x="8" y="42"/>
                  </a:cubicBezTo>
                  <a:cubicBezTo>
                    <a:pt x="7" y="39"/>
                    <a:pt x="5" y="37"/>
                    <a:pt x="4" y="36"/>
                  </a:cubicBezTo>
                  <a:cubicBezTo>
                    <a:pt x="2" y="36"/>
                    <a:pt x="2" y="33"/>
                    <a:pt x="3" y="28"/>
                  </a:cubicBezTo>
                  <a:cubicBezTo>
                    <a:pt x="3" y="25"/>
                    <a:pt x="4" y="22"/>
                    <a:pt x="3" y="21"/>
                  </a:cubicBezTo>
                  <a:cubicBezTo>
                    <a:pt x="2" y="19"/>
                    <a:pt x="0" y="11"/>
                    <a:pt x="2" y="9"/>
                  </a:cubicBezTo>
                  <a:cubicBezTo>
                    <a:pt x="2" y="8"/>
                    <a:pt x="2" y="8"/>
                    <a:pt x="3" y="8"/>
                  </a:cubicBezTo>
                  <a:cubicBezTo>
                    <a:pt x="4" y="8"/>
                    <a:pt x="4" y="7"/>
                    <a:pt x="4" y="5"/>
                  </a:cubicBezTo>
                  <a:cubicBezTo>
                    <a:pt x="4" y="3"/>
                    <a:pt x="4" y="0"/>
                    <a:pt x="7" y="0"/>
                  </a:cubicBezTo>
                  <a:cubicBezTo>
                    <a:pt x="8" y="0"/>
                    <a:pt x="8" y="0"/>
                    <a:pt x="8" y="0"/>
                  </a:cubicBezTo>
                  <a:cubicBezTo>
                    <a:pt x="12" y="1"/>
                    <a:pt x="13" y="3"/>
                    <a:pt x="13" y="6"/>
                  </a:cubicBezTo>
                  <a:cubicBezTo>
                    <a:pt x="14" y="8"/>
                    <a:pt x="14" y="10"/>
                    <a:pt x="17" y="11"/>
                  </a:cubicBezTo>
                  <a:cubicBezTo>
                    <a:pt x="20" y="13"/>
                    <a:pt x="20" y="14"/>
                    <a:pt x="20" y="15"/>
                  </a:cubicBezTo>
                  <a:cubicBezTo>
                    <a:pt x="20" y="15"/>
                    <a:pt x="20" y="16"/>
                    <a:pt x="27" y="17"/>
                  </a:cubicBezTo>
                  <a:cubicBezTo>
                    <a:pt x="28" y="17"/>
                    <a:pt x="29" y="17"/>
                    <a:pt x="29" y="17"/>
                  </a:cubicBezTo>
                  <a:cubicBezTo>
                    <a:pt x="37" y="17"/>
                    <a:pt x="44" y="12"/>
                    <a:pt x="50" y="9"/>
                  </a:cubicBezTo>
                  <a:cubicBezTo>
                    <a:pt x="52" y="7"/>
                    <a:pt x="54" y="5"/>
                    <a:pt x="56" y="5"/>
                  </a:cubicBezTo>
                  <a:cubicBezTo>
                    <a:pt x="58" y="4"/>
                    <a:pt x="59" y="4"/>
                    <a:pt x="60" y="5"/>
                  </a:cubicBezTo>
                  <a:cubicBezTo>
                    <a:pt x="62" y="8"/>
                    <a:pt x="60" y="17"/>
                    <a:pt x="59" y="18"/>
                  </a:cubicBezTo>
                  <a:cubicBezTo>
                    <a:pt x="59" y="19"/>
                    <a:pt x="59" y="19"/>
                    <a:pt x="59" y="19"/>
                  </a:cubicBezTo>
                  <a:cubicBezTo>
                    <a:pt x="60" y="20"/>
                    <a:pt x="64" y="23"/>
                    <a:pt x="69" y="25"/>
                  </a:cubicBezTo>
                  <a:cubicBezTo>
                    <a:pt x="70" y="25"/>
                    <a:pt x="70" y="25"/>
                    <a:pt x="70" y="25"/>
                  </a:cubicBezTo>
                  <a:cubicBezTo>
                    <a:pt x="70" y="26"/>
                    <a:pt x="70" y="26"/>
                    <a:pt x="70" y="26"/>
                  </a:cubicBezTo>
                  <a:cubicBezTo>
                    <a:pt x="70" y="34"/>
                    <a:pt x="77" y="42"/>
                    <a:pt x="87" y="42"/>
                  </a:cubicBezTo>
                  <a:cubicBezTo>
                    <a:pt x="94" y="42"/>
                    <a:pt x="98" y="47"/>
                    <a:pt x="101" y="51"/>
                  </a:cubicBezTo>
                  <a:cubicBezTo>
                    <a:pt x="104" y="55"/>
                    <a:pt x="108" y="59"/>
                    <a:pt x="114" y="58"/>
                  </a:cubicBezTo>
                  <a:cubicBezTo>
                    <a:pt x="126" y="58"/>
                    <a:pt x="142" y="55"/>
                    <a:pt x="145" y="52"/>
                  </a:cubicBezTo>
                  <a:cubicBezTo>
                    <a:pt x="145" y="51"/>
                    <a:pt x="145" y="46"/>
                    <a:pt x="145" y="44"/>
                  </a:cubicBezTo>
                  <a:cubicBezTo>
                    <a:pt x="145" y="44"/>
                    <a:pt x="145" y="44"/>
                    <a:pt x="145" y="44"/>
                  </a:cubicBezTo>
                  <a:cubicBezTo>
                    <a:pt x="145" y="44"/>
                    <a:pt x="145" y="44"/>
                    <a:pt x="145" y="44"/>
                  </a:cubicBezTo>
                  <a:cubicBezTo>
                    <a:pt x="154" y="44"/>
                    <a:pt x="157" y="42"/>
                    <a:pt x="157" y="42"/>
                  </a:cubicBezTo>
                  <a:cubicBezTo>
                    <a:pt x="159" y="39"/>
                    <a:pt x="166" y="33"/>
                    <a:pt x="170" y="33"/>
                  </a:cubicBezTo>
                  <a:cubicBezTo>
                    <a:pt x="171" y="33"/>
                    <a:pt x="173" y="33"/>
                    <a:pt x="174" y="33"/>
                  </a:cubicBezTo>
                  <a:cubicBezTo>
                    <a:pt x="175" y="33"/>
                    <a:pt x="176" y="33"/>
                    <a:pt x="177" y="33"/>
                  </a:cubicBezTo>
                  <a:cubicBezTo>
                    <a:pt x="178" y="33"/>
                    <a:pt x="179" y="33"/>
                    <a:pt x="180" y="31"/>
                  </a:cubicBezTo>
                  <a:cubicBezTo>
                    <a:pt x="182" y="30"/>
                    <a:pt x="186" y="29"/>
                    <a:pt x="188" y="29"/>
                  </a:cubicBezTo>
                  <a:cubicBezTo>
                    <a:pt x="192" y="29"/>
                    <a:pt x="196" y="30"/>
                    <a:pt x="198" y="32"/>
                  </a:cubicBezTo>
                  <a:cubicBezTo>
                    <a:pt x="200" y="34"/>
                    <a:pt x="207" y="36"/>
                    <a:pt x="208" y="36"/>
                  </a:cubicBezTo>
                  <a:cubicBezTo>
                    <a:pt x="209" y="36"/>
                    <a:pt x="210" y="37"/>
                    <a:pt x="210" y="38"/>
                  </a:cubicBezTo>
                  <a:cubicBezTo>
                    <a:pt x="211" y="39"/>
                    <a:pt x="213" y="40"/>
                    <a:pt x="215" y="40"/>
                  </a:cubicBezTo>
                  <a:cubicBezTo>
                    <a:pt x="216" y="40"/>
                    <a:pt x="216" y="40"/>
                    <a:pt x="217" y="40"/>
                  </a:cubicBezTo>
                  <a:cubicBezTo>
                    <a:pt x="221" y="40"/>
                    <a:pt x="228" y="41"/>
                    <a:pt x="228" y="44"/>
                  </a:cubicBezTo>
                  <a:cubicBezTo>
                    <a:pt x="228" y="47"/>
                    <a:pt x="231" y="49"/>
                    <a:pt x="234" y="49"/>
                  </a:cubicBezTo>
                  <a:cubicBezTo>
                    <a:pt x="236" y="49"/>
                    <a:pt x="238" y="51"/>
                    <a:pt x="239" y="53"/>
                  </a:cubicBezTo>
                  <a:cubicBezTo>
                    <a:pt x="241" y="55"/>
                    <a:pt x="242" y="57"/>
                    <a:pt x="244" y="57"/>
                  </a:cubicBezTo>
                  <a:cubicBezTo>
                    <a:pt x="245" y="57"/>
                    <a:pt x="246" y="57"/>
                    <a:pt x="248" y="57"/>
                  </a:cubicBezTo>
                  <a:cubicBezTo>
                    <a:pt x="251" y="57"/>
                    <a:pt x="255" y="57"/>
                    <a:pt x="255" y="59"/>
                  </a:cubicBezTo>
                  <a:cubicBezTo>
                    <a:pt x="255" y="61"/>
                    <a:pt x="255" y="71"/>
                    <a:pt x="257" y="77"/>
                  </a:cubicBezTo>
                  <a:cubicBezTo>
                    <a:pt x="257" y="77"/>
                    <a:pt x="257" y="77"/>
                    <a:pt x="257" y="77"/>
                  </a:cubicBezTo>
                  <a:cubicBezTo>
                    <a:pt x="257" y="78"/>
                    <a:pt x="257" y="78"/>
                    <a:pt x="257" y="78"/>
                  </a:cubicBezTo>
                  <a:cubicBezTo>
                    <a:pt x="256" y="78"/>
                    <a:pt x="254" y="80"/>
                    <a:pt x="254" y="84"/>
                  </a:cubicBezTo>
                  <a:cubicBezTo>
                    <a:pt x="254" y="88"/>
                    <a:pt x="252" y="91"/>
                    <a:pt x="250" y="93"/>
                  </a:cubicBezTo>
                  <a:cubicBezTo>
                    <a:pt x="249" y="94"/>
                    <a:pt x="249" y="95"/>
                    <a:pt x="248" y="95"/>
                  </a:cubicBezTo>
                  <a:cubicBezTo>
                    <a:pt x="248" y="96"/>
                    <a:pt x="248" y="97"/>
                    <a:pt x="248" y="97"/>
                  </a:cubicBezTo>
                  <a:cubicBezTo>
                    <a:pt x="247" y="100"/>
                    <a:pt x="245" y="105"/>
                    <a:pt x="247" y="108"/>
                  </a:cubicBezTo>
                  <a:cubicBezTo>
                    <a:pt x="248" y="109"/>
                    <a:pt x="247" y="111"/>
                    <a:pt x="247" y="114"/>
                  </a:cubicBezTo>
                  <a:cubicBezTo>
                    <a:pt x="246" y="117"/>
                    <a:pt x="245" y="120"/>
                    <a:pt x="247" y="123"/>
                  </a:cubicBezTo>
                  <a:cubicBezTo>
                    <a:pt x="248" y="127"/>
                    <a:pt x="248" y="132"/>
                    <a:pt x="248" y="135"/>
                  </a:cubicBezTo>
                  <a:cubicBezTo>
                    <a:pt x="248" y="137"/>
                    <a:pt x="248" y="139"/>
                    <a:pt x="249" y="140"/>
                  </a:cubicBezTo>
                  <a:cubicBezTo>
                    <a:pt x="249" y="140"/>
                    <a:pt x="251" y="141"/>
                    <a:pt x="253" y="141"/>
                  </a:cubicBezTo>
                  <a:cubicBezTo>
                    <a:pt x="257" y="142"/>
                    <a:pt x="262" y="143"/>
                    <a:pt x="263" y="147"/>
                  </a:cubicBezTo>
                  <a:cubicBezTo>
                    <a:pt x="265" y="152"/>
                    <a:pt x="259" y="157"/>
                    <a:pt x="254" y="162"/>
                  </a:cubicBezTo>
                  <a:cubicBezTo>
                    <a:pt x="251" y="165"/>
                    <a:pt x="249" y="167"/>
                    <a:pt x="248" y="168"/>
                  </a:cubicBezTo>
                  <a:cubicBezTo>
                    <a:pt x="248" y="170"/>
                    <a:pt x="250" y="172"/>
                    <a:pt x="253" y="174"/>
                  </a:cubicBezTo>
                  <a:cubicBezTo>
                    <a:pt x="255" y="176"/>
                    <a:pt x="257" y="178"/>
                    <a:pt x="258" y="181"/>
                  </a:cubicBezTo>
                  <a:cubicBezTo>
                    <a:pt x="260" y="185"/>
                    <a:pt x="265" y="190"/>
                    <a:pt x="273" y="193"/>
                  </a:cubicBezTo>
                  <a:cubicBezTo>
                    <a:pt x="277" y="195"/>
                    <a:pt x="278" y="200"/>
                    <a:pt x="278" y="204"/>
                  </a:cubicBezTo>
                  <a:cubicBezTo>
                    <a:pt x="278" y="206"/>
                    <a:pt x="278" y="209"/>
                    <a:pt x="280" y="209"/>
                  </a:cubicBezTo>
                  <a:cubicBezTo>
                    <a:pt x="282" y="210"/>
                    <a:pt x="286" y="215"/>
                    <a:pt x="285" y="218"/>
                  </a:cubicBezTo>
                  <a:cubicBezTo>
                    <a:pt x="285" y="220"/>
                    <a:pt x="284" y="221"/>
                    <a:pt x="283" y="221"/>
                  </a:cubicBezTo>
                  <a:cubicBezTo>
                    <a:pt x="278" y="221"/>
                    <a:pt x="274" y="223"/>
                    <a:pt x="270" y="225"/>
                  </a:cubicBezTo>
                  <a:cubicBezTo>
                    <a:pt x="265" y="227"/>
                    <a:pt x="260" y="233"/>
                    <a:pt x="261" y="239"/>
                  </a:cubicBezTo>
                  <a:cubicBezTo>
                    <a:pt x="261" y="240"/>
                    <a:pt x="261" y="241"/>
                    <a:pt x="261" y="243"/>
                  </a:cubicBezTo>
                  <a:close/>
                  <a:moveTo>
                    <a:pt x="181" y="212"/>
                  </a:moveTo>
                  <a:cubicBezTo>
                    <a:pt x="182" y="212"/>
                    <a:pt x="183" y="212"/>
                    <a:pt x="184" y="213"/>
                  </a:cubicBezTo>
                  <a:cubicBezTo>
                    <a:pt x="191" y="214"/>
                    <a:pt x="192" y="220"/>
                    <a:pt x="193" y="225"/>
                  </a:cubicBezTo>
                  <a:cubicBezTo>
                    <a:pt x="194" y="228"/>
                    <a:pt x="194" y="230"/>
                    <a:pt x="195" y="232"/>
                  </a:cubicBezTo>
                  <a:cubicBezTo>
                    <a:pt x="198" y="235"/>
                    <a:pt x="216" y="237"/>
                    <a:pt x="230" y="239"/>
                  </a:cubicBezTo>
                  <a:cubicBezTo>
                    <a:pt x="237" y="240"/>
                    <a:pt x="243" y="240"/>
                    <a:pt x="246" y="241"/>
                  </a:cubicBezTo>
                  <a:cubicBezTo>
                    <a:pt x="248" y="242"/>
                    <a:pt x="253" y="242"/>
                    <a:pt x="260" y="242"/>
                  </a:cubicBezTo>
                  <a:cubicBezTo>
                    <a:pt x="260" y="241"/>
                    <a:pt x="260" y="240"/>
                    <a:pt x="260" y="239"/>
                  </a:cubicBezTo>
                  <a:cubicBezTo>
                    <a:pt x="259" y="233"/>
                    <a:pt x="264" y="226"/>
                    <a:pt x="269" y="224"/>
                  </a:cubicBezTo>
                  <a:cubicBezTo>
                    <a:pt x="274" y="222"/>
                    <a:pt x="278" y="220"/>
                    <a:pt x="283" y="220"/>
                  </a:cubicBezTo>
                  <a:cubicBezTo>
                    <a:pt x="284" y="220"/>
                    <a:pt x="284" y="219"/>
                    <a:pt x="284" y="218"/>
                  </a:cubicBezTo>
                  <a:cubicBezTo>
                    <a:pt x="285" y="216"/>
                    <a:pt x="282" y="211"/>
                    <a:pt x="279" y="210"/>
                  </a:cubicBezTo>
                  <a:cubicBezTo>
                    <a:pt x="278" y="209"/>
                    <a:pt x="277" y="207"/>
                    <a:pt x="277" y="204"/>
                  </a:cubicBezTo>
                  <a:cubicBezTo>
                    <a:pt x="277" y="200"/>
                    <a:pt x="276" y="195"/>
                    <a:pt x="272" y="194"/>
                  </a:cubicBezTo>
                  <a:cubicBezTo>
                    <a:pt x="265" y="191"/>
                    <a:pt x="259" y="186"/>
                    <a:pt x="257" y="181"/>
                  </a:cubicBezTo>
                  <a:cubicBezTo>
                    <a:pt x="256" y="179"/>
                    <a:pt x="254" y="177"/>
                    <a:pt x="252" y="175"/>
                  </a:cubicBezTo>
                  <a:cubicBezTo>
                    <a:pt x="249" y="172"/>
                    <a:pt x="247" y="170"/>
                    <a:pt x="247" y="168"/>
                  </a:cubicBezTo>
                  <a:cubicBezTo>
                    <a:pt x="248" y="167"/>
                    <a:pt x="250" y="164"/>
                    <a:pt x="253" y="161"/>
                  </a:cubicBezTo>
                  <a:cubicBezTo>
                    <a:pt x="257" y="157"/>
                    <a:pt x="264" y="151"/>
                    <a:pt x="262" y="148"/>
                  </a:cubicBezTo>
                  <a:cubicBezTo>
                    <a:pt x="261" y="144"/>
                    <a:pt x="256" y="143"/>
                    <a:pt x="253" y="142"/>
                  </a:cubicBezTo>
                  <a:cubicBezTo>
                    <a:pt x="250" y="142"/>
                    <a:pt x="249" y="141"/>
                    <a:pt x="248" y="140"/>
                  </a:cubicBezTo>
                  <a:cubicBezTo>
                    <a:pt x="247" y="139"/>
                    <a:pt x="247" y="137"/>
                    <a:pt x="247" y="135"/>
                  </a:cubicBezTo>
                  <a:cubicBezTo>
                    <a:pt x="247" y="132"/>
                    <a:pt x="247" y="127"/>
                    <a:pt x="246" y="124"/>
                  </a:cubicBezTo>
                  <a:cubicBezTo>
                    <a:pt x="244" y="120"/>
                    <a:pt x="245" y="116"/>
                    <a:pt x="246" y="114"/>
                  </a:cubicBezTo>
                  <a:cubicBezTo>
                    <a:pt x="246" y="111"/>
                    <a:pt x="247" y="109"/>
                    <a:pt x="246" y="108"/>
                  </a:cubicBezTo>
                  <a:cubicBezTo>
                    <a:pt x="244" y="105"/>
                    <a:pt x="246" y="100"/>
                    <a:pt x="247" y="97"/>
                  </a:cubicBezTo>
                  <a:cubicBezTo>
                    <a:pt x="247" y="96"/>
                    <a:pt x="247" y="95"/>
                    <a:pt x="247" y="95"/>
                  </a:cubicBezTo>
                  <a:cubicBezTo>
                    <a:pt x="248" y="94"/>
                    <a:pt x="248" y="93"/>
                    <a:pt x="249" y="92"/>
                  </a:cubicBezTo>
                  <a:cubicBezTo>
                    <a:pt x="251" y="90"/>
                    <a:pt x="253" y="87"/>
                    <a:pt x="253" y="84"/>
                  </a:cubicBezTo>
                  <a:cubicBezTo>
                    <a:pt x="253" y="80"/>
                    <a:pt x="255" y="78"/>
                    <a:pt x="256" y="77"/>
                  </a:cubicBezTo>
                  <a:cubicBezTo>
                    <a:pt x="254" y="71"/>
                    <a:pt x="254" y="61"/>
                    <a:pt x="254" y="59"/>
                  </a:cubicBezTo>
                  <a:cubicBezTo>
                    <a:pt x="254" y="59"/>
                    <a:pt x="252" y="58"/>
                    <a:pt x="248" y="58"/>
                  </a:cubicBezTo>
                  <a:cubicBezTo>
                    <a:pt x="246" y="58"/>
                    <a:pt x="245" y="58"/>
                    <a:pt x="244" y="58"/>
                  </a:cubicBezTo>
                  <a:cubicBezTo>
                    <a:pt x="244" y="58"/>
                    <a:pt x="244" y="58"/>
                    <a:pt x="244" y="58"/>
                  </a:cubicBezTo>
                  <a:cubicBezTo>
                    <a:pt x="242" y="58"/>
                    <a:pt x="240" y="56"/>
                    <a:pt x="238" y="54"/>
                  </a:cubicBezTo>
                  <a:cubicBezTo>
                    <a:pt x="237" y="52"/>
                    <a:pt x="235" y="50"/>
                    <a:pt x="234" y="50"/>
                  </a:cubicBezTo>
                  <a:cubicBezTo>
                    <a:pt x="230" y="50"/>
                    <a:pt x="227" y="47"/>
                    <a:pt x="227" y="44"/>
                  </a:cubicBezTo>
                  <a:cubicBezTo>
                    <a:pt x="227" y="42"/>
                    <a:pt x="221" y="41"/>
                    <a:pt x="217" y="41"/>
                  </a:cubicBezTo>
                  <a:cubicBezTo>
                    <a:pt x="216" y="41"/>
                    <a:pt x="216" y="41"/>
                    <a:pt x="215" y="41"/>
                  </a:cubicBezTo>
                  <a:cubicBezTo>
                    <a:pt x="212" y="41"/>
                    <a:pt x="211" y="40"/>
                    <a:pt x="210" y="38"/>
                  </a:cubicBezTo>
                  <a:cubicBezTo>
                    <a:pt x="209" y="38"/>
                    <a:pt x="209" y="37"/>
                    <a:pt x="208" y="37"/>
                  </a:cubicBezTo>
                  <a:cubicBezTo>
                    <a:pt x="206" y="37"/>
                    <a:pt x="199" y="35"/>
                    <a:pt x="197" y="32"/>
                  </a:cubicBezTo>
                  <a:cubicBezTo>
                    <a:pt x="196" y="31"/>
                    <a:pt x="192" y="30"/>
                    <a:pt x="188" y="30"/>
                  </a:cubicBezTo>
                  <a:cubicBezTo>
                    <a:pt x="184" y="30"/>
                    <a:pt x="182" y="31"/>
                    <a:pt x="181" y="32"/>
                  </a:cubicBezTo>
                  <a:cubicBezTo>
                    <a:pt x="180" y="34"/>
                    <a:pt x="178" y="34"/>
                    <a:pt x="177" y="34"/>
                  </a:cubicBezTo>
                  <a:cubicBezTo>
                    <a:pt x="176" y="34"/>
                    <a:pt x="175" y="34"/>
                    <a:pt x="173" y="34"/>
                  </a:cubicBezTo>
                  <a:cubicBezTo>
                    <a:pt x="172" y="34"/>
                    <a:pt x="171" y="34"/>
                    <a:pt x="170" y="34"/>
                  </a:cubicBezTo>
                  <a:cubicBezTo>
                    <a:pt x="167" y="34"/>
                    <a:pt x="160" y="39"/>
                    <a:pt x="158" y="42"/>
                  </a:cubicBezTo>
                  <a:cubicBezTo>
                    <a:pt x="157" y="43"/>
                    <a:pt x="156" y="45"/>
                    <a:pt x="146" y="45"/>
                  </a:cubicBezTo>
                  <a:cubicBezTo>
                    <a:pt x="146" y="49"/>
                    <a:pt x="146" y="51"/>
                    <a:pt x="145" y="52"/>
                  </a:cubicBezTo>
                  <a:cubicBezTo>
                    <a:pt x="143" y="56"/>
                    <a:pt x="125" y="59"/>
                    <a:pt x="114" y="59"/>
                  </a:cubicBezTo>
                  <a:cubicBezTo>
                    <a:pt x="113" y="59"/>
                    <a:pt x="113" y="59"/>
                    <a:pt x="113" y="59"/>
                  </a:cubicBezTo>
                  <a:cubicBezTo>
                    <a:pt x="107" y="59"/>
                    <a:pt x="104" y="55"/>
                    <a:pt x="100" y="51"/>
                  </a:cubicBezTo>
                  <a:cubicBezTo>
                    <a:pt x="97" y="48"/>
                    <a:pt x="93" y="43"/>
                    <a:pt x="87" y="43"/>
                  </a:cubicBezTo>
                  <a:cubicBezTo>
                    <a:pt x="77" y="43"/>
                    <a:pt x="70" y="34"/>
                    <a:pt x="69" y="26"/>
                  </a:cubicBezTo>
                  <a:cubicBezTo>
                    <a:pt x="64" y="24"/>
                    <a:pt x="59" y="21"/>
                    <a:pt x="58" y="19"/>
                  </a:cubicBezTo>
                  <a:cubicBezTo>
                    <a:pt x="58" y="18"/>
                    <a:pt x="58" y="18"/>
                    <a:pt x="58" y="18"/>
                  </a:cubicBezTo>
                  <a:cubicBezTo>
                    <a:pt x="59" y="16"/>
                    <a:pt x="61" y="8"/>
                    <a:pt x="59" y="6"/>
                  </a:cubicBezTo>
                  <a:cubicBezTo>
                    <a:pt x="59" y="5"/>
                    <a:pt x="58" y="5"/>
                    <a:pt x="56" y="5"/>
                  </a:cubicBezTo>
                  <a:cubicBezTo>
                    <a:pt x="54" y="6"/>
                    <a:pt x="52" y="8"/>
                    <a:pt x="50" y="9"/>
                  </a:cubicBezTo>
                  <a:cubicBezTo>
                    <a:pt x="45" y="13"/>
                    <a:pt x="38" y="18"/>
                    <a:pt x="29" y="18"/>
                  </a:cubicBezTo>
                  <a:cubicBezTo>
                    <a:pt x="29" y="18"/>
                    <a:pt x="28" y="18"/>
                    <a:pt x="27" y="18"/>
                  </a:cubicBezTo>
                  <a:cubicBezTo>
                    <a:pt x="20" y="17"/>
                    <a:pt x="19" y="16"/>
                    <a:pt x="19" y="15"/>
                  </a:cubicBezTo>
                  <a:cubicBezTo>
                    <a:pt x="19" y="14"/>
                    <a:pt x="19" y="13"/>
                    <a:pt x="17" y="12"/>
                  </a:cubicBezTo>
                  <a:cubicBezTo>
                    <a:pt x="13" y="11"/>
                    <a:pt x="13" y="8"/>
                    <a:pt x="12" y="6"/>
                  </a:cubicBezTo>
                  <a:cubicBezTo>
                    <a:pt x="12" y="4"/>
                    <a:pt x="11" y="2"/>
                    <a:pt x="8" y="1"/>
                  </a:cubicBezTo>
                  <a:cubicBezTo>
                    <a:pt x="8" y="1"/>
                    <a:pt x="8" y="1"/>
                    <a:pt x="7" y="1"/>
                  </a:cubicBezTo>
                  <a:cubicBezTo>
                    <a:pt x="5" y="1"/>
                    <a:pt x="5" y="3"/>
                    <a:pt x="5" y="5"/>
                  </a:cubicBezTo>
                  <a:cubicBezTo>
                    <a:pt x="5" y="7"/>
                    <a:pt x="5" y="9"/>
                    <a:pt x="3" y="9"/>
                  </a:cubicBezTo>
                  <a:cubicBezTo>
                    <a:pt x="3" y="9"/>
                    <a:pt x="3" y="9"/>
                    <a:pt x="2" y="9"/>
                  </a:cubicBezTo>
                  <a:cubicBezTo>
                    <a:pt x="1" y="11"/>
                    <a:pt x="3" y="18"/>
                    <a:pt x="4" y="20"/>
                  </a:cubicBezTo>
                  <a:cubicBezTo>
                    <a:pt x="5" y="21"/>
                    <a:pt x="4" y="24"/>
                    <a:pt x="4" y="28"/>
                  </a:cubicBezTo>
                  <a:cubicBezTo>
                    <a:pt x="4" y="30"/>
                    <a:pt x="3" y="35"/>
                    <a:pt x="4" y="35"/>
                  </a:cubicBezTo>
                  <a:cubicBezTo>
                    <a:pt x="6" y="36"/>
                    <a:pt x="9" y="41"/>
                    <a:pt x="9" y="42"/>
                  </a:cubicBezTo>
                  <a:cubicBezTo>
                    <a:pt x="10" y="43"/>
                    <a:pt x="12" y="46"/>
                    <a:pt x="11" y="48"/>
                  </a:cubicBezTo>
                  <a:cubicBezTo>
                    <a:pt x="11" y="48"/>
                    <a:pt x="12" y="50"/>
                    <a:pt x="13" y="51"/>
                  </a:cubicBezTo>
                  <a:cubicBezTo>
                    <a:pt x="15" y="54"/>
                    <a:pt x="16" y="57"/>
                    <a:pt x="16" y="59"/>
                  </a:cubicBezTo>
                  <a:cubicBezTo>
                    <a:pt x="16" y="63"/>
                    <a:pt x="21" y="67"/>
                    <a:pt x="24" y="67"/>
                  </a:cubicBezTo>
                  <a:cubicBezTo>
                    <a:pt x="26" y="67"/>
                    <a:pt x="28" y="68"/>
                    <a:pt x="30" y="70"/>
                  </a:cubicBezTo>
                  <a:cubicBezTo>
                    <a:pt x="30" y="71"/>
                    <a:pt x="30" y="72"/>
                    <a:pt x="30" y="73"/>
                  </a:cubicBezTo>
                  <a:cubicBezTo>
                    <a:pt x="30" y="74"/>
                    <a:pt x="30" y="76"/>
                    <a:pt x="30" y="77"/>
                  </a:cubicBezTo>
                  <a:cubicBezTo>
                    <a:pt x="30" y="79"/>
                    <a:pt x="30" y="80"/>
                    <a:pt x="30" y="81"/>
                  </a:cubicBezTo>
                  <a:cubicBezTo>
                    <a:pt x="29" y="82"/>
                    <a:pt x="29" y="82"/>
                    <a:pt x="28" y="82"/>
                  </a:cubicBezTo>
                  <a:cubicBezTo>
                    <a:pt x="26" y="82"/>
                    <a:pt x="26" y="85"/>
                    <a:pt x="25" y="87"/>
                  </a:cubicBezTo>
                  <a:cubicBezTo>
                    <a:pt x="24" y="90"/>
                    <a:pt x="24" y="92"/>
                    <a:pt x="22" y="93"/>
                  </a:cubicBezTo>
                  <a:cubicBezTo>
                    <a:pt x="22" y="94"/>
                    <a:pt x="21" y="95"/>
                    <a:pt x="21" y="97"/>
                  </a:cubicBezTo>
                  <a:cubicBezTo>
                    <a:pt x="21" y="101"/>
                    <a:pt x="23" y="105"/>
                    <a:pt x="24" y="106"/>
                  </a:cubicBezTo>
                  <a:cubicBezTo>
                    <a:pt x="29" y="108"/>
                    <a:pt x="32" y="111"/>
                    <a:pt x="31" y="114"/>
                  </a:cubicBezTo>
                  <a:cubicBezTo>
                    <a:pt x="31" y="116"/>
                    <a:pt x="33" y="118"/>
                    <a:pt x="37" y="120"/>
                  </a:cubicBezTo>
                  <a:cubicBezTo>
                    <a:pt x="41" y="123"/>
                    <a:pt x="45" y="124"/>
                    <a:pt x="47" y="125"/>
                  </a:cubicBezTo>
                  <a:cubicBezTo>
                    <a:pt x="50" y="125"/>
                    <a:pt x="51" y="128"/>
                    <a:pt x="52" y="130"/>
                  </a:cubicBezTo>
                  <a:cubicBezTo>
                    <a:pt x="53" y="131"/>
                    <a:pt x="53" y="133"/>
                    <a:pt x="54" y="133"/>
                  </a:cubicBezTo>
                  <a:cubicBezTo>
                    <a:pt x="56" y="135"/>
                    <a:pt x="55" y="137"/>
                    <a:pt x="54" y="139"/>
                  </a:cubicBezTo>
                  <a:cubicBezTo>
                    <a:pt x="53" y="141"/>
                    <a:pt x="53" y="142"/>
                    <a:pt x="53" y="143"/>
                  </a:cubicBezTo>
                  <a:cubicBezTo>
                    <a:pt x="53" y="144"/>
                    <a:pt x="54" y="145"/>
                    <a:pt x="55" y="146"/>
                  </a:cubicBezTo>
                  <a:cubicBezTo>
                    <a:pt x="57" y="148"/>
                    <a:pt x="59" y="150"/>
                    <a:pt x="58" y="153"/>
                  </a:cubicBezTo>
                  <a:cubicBezTo>
                    <a:pt x="58" y="156"/>
                    <a:pt x="62" y="160"/>
                    <a:pt x="66" y="164"/>
                  </a:cubicBezTo>
                  <a:cubicBezTo>
                    <a:pt x="66" y="164"/>
                    <a:pt x="66" y="164"/>
                    <a:pt x="66" y="164"/>
                  </a:cubicBezTo>
                  <a:cubicBezTo>
                    <a:pt x="67" y="164"/>
                    <a:pt x="69" y="163"/>
                    <a:pt x="69" y="163"/>
                  </a:cubicBezTo>
                  <a:cubicBezTo>
                    <a:pt x="71" y="163"/>
                    <a:pt x="72" y="163"/>
                    <a:pt x="73" y="162"/>
                  </a:cubicBezTo>
                  <a:cubicBezTo>
                    <a:pt x="73" y="161"/>
                    <a:pt x="74" y="161"/>
                    <a:pt x="74" y="161"/>
                  </a:cubicBezTo>
                  <a:cubicBezTo>
                    <a:pt x="75" y="161"/>
                    <a:pt x="76" y="161"/>
                    <a:pt x="76" y="162"/>
                  </a:cubicBezTo>
                  <a:cubicBezTo>
                    <a:pt x="77" y="163"/>
                    <a:pt x="78" y="163"/>
                    <a:pt x="79" y="163"/>
                  </a:cubicBezTo>
                  <a:cubicBezTo>
                    <a:pt x="80" y="163"/>
                    <a:pt x="82" y="162"/>
                    <a:pt x="83" y="162"/>
                  </a:cubicBezTo>
                  <a:cubicBezTo>
                    <a:pt x="84" y="162"/>
                    <a:pt x="85" y="161"/>
                    <a:pt x="86" y="161"/>
                  </a:cubicBezTo>
                  <a:cubicBezTo>
                    <a:pt x="86" y="161"/>
                    <a:pt x="86" y="161"/>
                    <a:pt x="86" y="161"/>
                  </a:cubicBezTo>
                  <a:cubicBezTo>
                    <a:pt x="90" y="161"/>
                    <a:pt x="99" y="179"/>
                    <a:pt x="102" y="184"/>
                  </a:cubicBezTo>
                  <a:cubicBezTo>
                    <a:pt x="103" y="186"/>
                    <a:pt x="103" y="188"/>
                    <a:pt x="104" y="190"/>
                  </a:cubicBezTo>
                  <a:cubicBezTo>
                    <a:pt x="105" y="193"/>
                    <a:pt x="106" y="195"/>
                    <a:pt x="110" y="198"/>
                  </a:cubicBezTo>
                  <a:cubicBezTo>
                    <a:pt x="112" y="199"/>
                    <a:pt x="113" y="199"/>
                    <a:pt x="115" y="200"/>
                  </a:cubicBezTo>
                  <a:cubicBezTo>
                    <a:pt x="119" y="201"/>
                    <a:pt x="123" y="202"/>
                    <a:pt x="127" y="206"/>
                  </a:cubicBezTo>
                  <a:cubicBezTo>
                    <a:pt x="135" y="214"/>
                    <a:pt x="153" y="219"/>
                    <a:pt x="160" y="219"/>
                  </a:cubicBezTo>
                  <a:cubicBezTo>
                    <a:pt x="164" y="219"/>
                    <a:pt x="167" y="218"/>
                    <a:pt x="170" y="216"/>
                  </a:cubicBezTo>
                  <a:cubicBezTo>
                    <a:pt x="173" y="214"/>
                    <a:pt x="177" y="212"/>
                    <a:pt x="181" y="2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2" name="Freeform 159"/>
            <p:cNvSpPr>
              <a:spLocks noEditPoints="1"/>
            </p:cNvSpPr>
            <p:nvPr/>
          </p:nvSpPr>
          <p:spPr>
            <a:xfrm>
              <a:off x="5921376" y="2271713"/>
              <a:ext cx="1004888" cy="469900"/>
            </a:xfrm>
            <a:custGeom>
              <a:gdLst>
                <a:gd name="T0" fmla="*/ 280 w 593"/>
                <a:gd name="T1" fmla="*/ 230 h 277"/>
                <a:gd name="T2" fmla="*/ 205 w 593"/>
                <a:gd name="T3" fmla="*/ 191 h 277"/>
                <a:gd name="T4" fmla="*/ 185 w 593"/>
                <a:gd name="T5" fmla="*/ 183 h 277"/>
                <a:gd name="T6" fmla="*/ 111 w 593"/>
                <a:gd name="T7" fmla="*/ 247 h 277"/>
                <a:gd name="T8" fmla="*/ 91 w 593"/>
                <a:gd name="T9" fmla="*/ 242 h 277"/>
                <a:gd name="T10" fmla="*/ 64 w 593"/>
                <a:gd name="T11" fmla="*/ 207 h 277"/>
                <a:gd name="T12" fmla="*/ 98 w 593"/>
                <a:gd name="T13" fmla="*/ 190 h 277"/>
                <a:gd name="T14" fmla="*/ 41 w 593"/>
                <a:gd name="T15" fmla="*/ 176 h 277"/>
                <a:gd name="T16" fmla="*/ 18 w 593"/>
                <a:gd name="T17" fmla="*/ 147 h 277"/>
                <a:gd name="T18" fmla="*/ 5 w 593"/>
                <a:gd name="T19" fmla="*/ 113 h 277"/>
                <a:gd name="T20" fmla="*/ 34 w 593"/>
                <a:gd name="T21" fmla="*/ 100 h 277"/>
                <a:gd name="T22" fmla="*/ 72 w 593"/>
                <a:gd name="T23" fmla="*/ 74 h 277"/>
                <a:gd name="T24" fmla="*/ 121 w 593"/>
                <a:gd name="T25" fmla="*/ 92 h 277"/>
                <a:gd name="T26" fmla="*/ 164 w 593"/>
                <a:gd name="T27" fmla="*/ 89 h 277"/>
                <a:gd name="T28" fmla="*/ 208 w 593"/>
                <a:gd name="T29" fmla="*/ 91 h 277"/>
                <a:gd name="T30" fmla="*/ 214 w 593"/>
                <a:gd name="T31" fmla="*/ 51 h 277"/>
                <a:gd name="T32" fmla="*/ 231 w 593"/>
                <a:gd name="T33" fmla="*/ 27 h 277"/>
                <a:gd name="T34" fmla="*/ 327 w 593"/>
                <a:gd name="T35" fmla="*/ 5 h 277"/>
                <a:gd name="T36" fmla="*/ 368 w 593"/>
                <a:gd name="T37" fmla="*/ 22 h 277"/>
                <a:gd name="T38" fmla="*/ 397 w 593"/>
                <a:gd name="T39" fmla="*/ 28 h 277"/>
                <a:gd name="T40" fmla="*/ 411 w 593"/>
                <a:gd name="T41" fmla="*/ 36 h 277"/>
                <a:gd name="T42" fmla="*/ 454 w 593"/>
                <a:gd name="T43" fmla="*/ 34 h 277"/>
                <a:gd name="T44" fmla="*/ 519 w 593"/>
                <a:gd name="T45" fmla="*/ 91 h 277"/>
                <a:gd name="T46" fmla="*/ 573 w 593"/>
                <a:gd name="T47" fmla="*/ 115 h 277"/>
                <a:gd name="T48" fmla="*/ 572 w 593"/>
                <a:gd name="T49" fmla="*/ 148 h 277"/>
                <a:gd name="T50" fmla="*/ 537 w 593"/>
                <a:gd name="T51" fmla="*/ 163 h 277"/>
                <a:gd name="T52" fmla="*/ 496 w 593"/>
                <a:gd name="T53" fmla="*/ 203 h 277"/>
                <a:gd name="T54" fmla="*/ 492 w 593"/>
                <a:gd name="T55" fmla="*/ 248 h 277"/>
                <a:gd name="T56" fmla="*/ 400 w 593"/>
                <a:gd name="T57" fmla="*/ 239 h 277"/>
                <a:gd name="T58" fmla="*/ 330 w 593"/>
                <a:gd name="T59" fmla="*/ 272 h 277"/>
                <a:gd name="T60" fmla="*/ 299 w 593"/>
                <a:gd name="T61" fmla="*/ 263 h 277"/>
                <a:gd name="T62" fmla="*/ 374 w 593"/>
                <a:gd name="T63" fmla="*/ 238 h 277"/>
                <a:gd name="T64" fmla="*/ 477 w 593"/>
                <a:gd name="T65" fmla="*/ 240 h 277"/>
                <a:gd name="T66" fmla="*/ 498 w 593"/>
                <a:gd name="T67" fmla="*/ 216 h 277"/>
                <a:gd name="T68" fmla="*/ 527 w 593"/>
                <a:gd name="T69" fmla="*/ 191 h 277"/>
                <a:gd name="T70" fmla="*/ 573 w 593"/>
                <a:gd name="T71" fmla="*/ 155 h 277"/>
                <a:gd name="T72" fmla="*/ 565 w 593"/>
                <a:gd name="T73" fmla="*/ 109 h 277"/>
                <a:gd name="T74" fmla="*/ 515 w 593"/>
                <a:gd name="T75" fmla="*/ 91 h 277"/>
                <a:gd name="T76" fmla="*/ 449 w 593"/>
                <a:gd name="T77" fmla="*/ 23 h 277"/>
                <a:gd name="T78" fmla="*/ 405 w 593"/>
                <a:gd name="T79" fmla="*/ 38 h 277"/>
                <a:gd name="T80" fmla="*/ 392 w 593"/>
                <a:gd name="T81" fmla="*/ 26 h 277"/>
                <a:gd name="T82" fmla="*/ 368 w 593"/>
                <a:gd name="T83" fmla="*/ 19 h 277"/>
                <a:gd name="T84" fmla="*/ 312 w 593"/>
                <a:gd name="T85" fmla="*/ 12 h 277"/>
                <a:gd name="T86" fmla="*/ 228 w 593"/>
                <a:gd name="T87" fmla="*/ 28 h 277"/>
                <a:gd name="T88" fmla="*/ 215 w 593"/>
                <a:gd name="T89" fmla="*/ 51 h 277"/>
                <a:gd name="T90" fmla="*/ 207 w 593"/>
                <a:gd name="T91" fmla="*/ 92 h 277"/>
                <a:gd name="T92" fmla="*/ 164 w 593"/>
                <a:gd name="T93" fmla="*/ 90 h 277"/>
                <a:gd name="T94" fmla="*/ 120 w 593"/>
                <a:gd name="T95" fmla="*/ 93 h 277"/>
                <a:gd name="T96" fmla="*/ 72 w 593"/>
                <a:gd name="T97" fmla="*/ 75 h 277"/>
                <a:gd name="T98" fmla="*/ 34 w 593"/>
                <a:gd name="T99" fmla="*/ 100 h 277"/>
                <a:gd name="T100" fmla="*/ 5 w 593"/>
                <a:gd name="T101" fmla="*/ 114 h 277"/>
                <a:gd name="T102" fmla="*/ 18 w 593"/>
                <a:gd name="T103" fmla="*/ 146 h 277"/>
                <a:gd name="T104" fmla="*/ 44 w 593"/>
                <a:gd name="T105" fmla="*/ 173 h 277"/>
                <a:gd name="T106" fmla="*/ 90 w 593"/>
                <a:gd name="T107" fmla="*/ 194 h 277"/>
                <a:gd name="T108" fmla="*/ 55 w 593"/>
                <a:gd name="T109" fmla="*/ 211 h 277"/>
                <a:gd name="T110" fmla="*/ 90 w 593"/>
                <a:gd name="T111" fmla="*/ 247 h 277"/>
                <a:gd name="T112" fmla="*/ 139 w 593"/>
                <a:gd name="T113" fmla="*/ 262 h 277"/>
                <a:gd name="T114" fmla="*/ 201 w 593"/>
                <a:gd name="T115" fmla="*/ 184 h 277"/>
                <a:gd name="T116" fmla="*/ 404 w 593"/>
                <a:gd name="T117" fmla="*/ 196 h 277"/>
                <a:gd name="T118" fmla="*/ 440 w 593"/>
                <a:gd name="T119" fmla="*/ 174 h 277"/>
                <a:gd name="T120" fmla="*/ 416 w 593"/>
                <a:gd name="T121" fmla="*/ 180 h 277"/>
                <a:gd name="T122" fmla="*/ 432 w 593"/>
                <a:gd name="T123" fmla="*/ 169 h 277"/>
                <a:gd name="T124" fmla="*/ 201 w 593"/>
                <a:gd name="T125" fmla="*/ 171 h 2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3" h="277">
                  <a:moveTo>
                    <a:pt x="325" y="277"/>
                  </a:moveTo>
                  <a:cubicBezTo>
                    <a:pt x="324" y="277"/>
                    <a:pt x="323" y="276"/>
                    <a:pt x="322" y="274"/>
                  </a:cubicBezTo>
                  <a:cubicBezTo>
                    <a:pt x="322" y="270"/>
                    <a:pt x="315" y="268"/>
                    <a:pt x="311" y="267"/>
                  </a:cubicBezTo>
                  <a:cubicBezTo>
                    <a:pt x="309" y="267"/>
                    <a:pt x="307" y="267"/>
                    <a:pt x="306" y="267"/>
                  </a:cubicBezTo>
                  <a:cubicBezTo>
                    <a:pt x="302" y="267"/>
                    <a:pt x="298" y="267"/>
                    <a:pt x="298" y="263"/>
                  </a:cubicBezTo>
                  <a:cubicBezTo>
                    <a:pt x="297" y="261"/>
                    <a:pt x="296" y="259"/>
                    <a:pt x="294" y="256"/>
                  </a:cubicBezTo>
                  <a:cubicBezTo>
                    <a:pt x="292" y="254"/>
                    <a:pt x="290" y="251"/>
                    <a:pt x="290" y="248"/>
                  </a:cubicBezTo>
                  <a:cubicBezTo>
                    <a:pt x="289" y="247"/>
                    <a:pt x="289" y="245"/>
                    <a:pt x="289" y="244"/>
                  </a:cubicBezTo>
                  <a:cubicBezTo>
                    <a:pt x="290" y="240"/>
                    <a:pt x="290" y="236"/>
                    <a:pt x="287" y="235"/>
                  </a:cubicBezTo>
                  <a:cubicBezTo>
                    <a:pt x="284" y="234"/>
                    <a:pt x="282" y="232"/>
                    <a:pt x="280" y="230"/>
                  </a:cubicBezTo>
                  <a:cubicBezTo>
                    <a:pt x="279" y="228"/>
                    <a:pt x="277" y="226"/>
                    <a:pt x="275" y="226"/>
                  </a:cubicBezTo>
                  <a:cubicBezTo>
                    <a:pt x="265" y="226"/>
                    <a:pt x="248" y="226"/>
                    <a:pt x="246" y="225"/>
                  </a:cubicBezTo>
                  <a:cubicBezTo>
                    <a:pt x="245" y="225"/>
                    <a:pt x="245" y="225"/>
                    <a:pt x="245" y="225"/>
                  </a:cubicBezTo>
                  <a:cubicBezTo>
                    <a:pt x="243" y="225"/>
                    <a:pt x="241" y="226"/>
                    <a:pt x="238" y="226"/>
                  </a:cubicBezTo>
                  <a:cubicBezTo>
                    <a:pt x="235" y="227"/>
                    <a:pt x="232" y="227"/>
                    <a:pt x="230" y="227"/>
                  </a:cubicBezTo>
                  <a:cubicBezTo>
                    <a:pt x="229" y="227"/>
                    <a:pt x="227" y="227"/>
                    <a:pt x="226" y="226"/>
                  </a:cubicBezTo>
                  <a:cubicBezTo>
                    <a:pt x="226" y="223"/>
                    <a:pt x="216" y="213"/>
                    <a:pt x="210" y="208"/>
                  </a:cubicBezTo>
                  <a:cubicBezTo>
                    <a:pt x="209" y="207"/>
                    <a:pt x="209" y="207"/>
                    <a:pt x="209" y="207"/>
                  </a:cubicBezTo>
                  <a:cubicBezTo>
                    <a:pt x="209" y="207"/>
                    <a:pt x="209" y="207"/>
                    <a:pt x="209" y="207"/>
                  </a:cubicBezTo>
                  <a:cubicBezTo>
                    <a:pt x="211" y="202"/>
                    <a:pt x="208" y="195"/>
                    <a:pt x="205" y="191"/>
                  </a:cubicBezTo>
                  <a:cubicBezTo>
                    <a:pt x="204" y="189"/>
                    <a:pt x="203" y="189"/>
                    <a:pt x="202" y="189"/>
                  </a:cubicBezTo>
                  <a:cubicBezTo>
                    <a:pt x="201" y="188"/>
                    <a:pt x="201" y="188"/>
                    <a:pt x="201" y="188"/>
                  </a:cubicBezTo>
                  <a:cubicBezTo>
                    <a:pt x="200" y="187"/>
                    <a:pt x="200" y="186"/>
                    <a:pt x="200" y="184"/>
                  </a:cubicBezTo>
                  <a:cubicBezTo>
                    <a:pt x="201" y="183"/>
                    <a:pt x="201" y="181"/>
                    <a:pt x="200" y="181"/>
                  </a:cubicBezTo>
                  <a:cubicBezTo>
                    <a:pt x="200" y="180"/>
                    <a:pt x="199" y="180"/>
                    <a:pt x="199" y="180"/>
                  </a:cubicBezTo>
                  <a:cubicBezTo>
                    <a:pt x="196" y="180"/>
                    <a:pt x="195" y="182"/>
                    <a:pt x="195" y="185"/>
                  </a:cubicBezTo>
                  <a:cubicBezTo>
                    <a:pt x="194" y="186"/>
                    <a:pt x="194" y="187"/>
                    <a:pt x="193" y="187"/>
                  </a:cubicBezTo>
                  <a:cubicBezTo>
                    <a:pt x="193" y="187"/>
                    <a:pt x="193" y="187"/>
                    <a:pt x="192" y="187"/>
                  </a:cubicBezTo>
                  <a:cubicBezTo>
                    <a:pt x="192" y="187"/>
                    <a:pt x="192" y="187"/>
                    <a:pt x="192" y="186"/>
                  </a:cubicBezTo>
                  <a:cubicBezTo>
                    <a:pt x="190" y="185"/>
                    <a:pt x="188" y="183"/>
                    <a:pt x="185" y="183"/>
                  </a:cubicBezTo>
                  <a:cubicBezTo>
                    <a:pt x="183" y="183"/>
                    <a:pt x="181" y="184"/>
                    <a:pt x="180" y="186"/>
                  </a:cubicBezTo>
                  <a:cubicBezTo>
                    <a:pt x="179" y="187"/>
                    <a:pt x="179" y="188"/>
                    <a:pt x="179" y="189"/>
                  </a:cubicBezTo>
                  <a:cubicBezTo>
                    <a:pt x="179" y="189"/>
                    <a:pt x="179" y="189"/>
                    <a:pt x="179" y="189"/>
                  </a:cubicBezTo>
                  <a:cubicBezTo>
                    <a:pt x="178" y="189"/>
                    <a:pt x="178" y="189"/>
                    <a:pt x="178" y="189"/>
                  </a:cubicBezTo>
                  <a:cubicBezTo>
                    <a:pt x="142" y="199"/>
                    <a:pt x="142" y="199"/>
                    <a:pt x="142" y="199"/>
                  </a:cubicBezTo>
                  <a:cubicBezTo>
                    <a:pt x="140" y="263"/>
                    <a:pt x="140" y="263"/>
                    <a:pt x="140" y="263"/>
                  </a:cubicBezTo>
                  <a:cubicBezTo>
                    <a:pt x="140" y="263"/>
                    <a:pt x="140" y="263"/>
                    <a:pt x="140" y="263"/>
                  </a:cubicBezTo>
                  <a:cubicBezTo>
                    <a:pt x="140" y="263"/>
                    <a:pt x="138" y="265"/>
                    <a:pt x="136" y="265"/>
                  </a:cubicBezTo>
                  <a:cubicBezTo>
                    <a:pt x="133" y="265"/>
                    <a:pt x="131" y="263"/>
                    <a:pt x="129" y="261"/>
                  </a:cubicBezTo>
                  <a:cubicBezTo>
                    <a:pt x="124" y="254"/>
                    <a:pt x="116" y="247"/>
                    <a:pt x="111" y="247"/>
                  </a:cubicBezTo>
                  <a:cubicBezTo>
                    <a:pt x="108" y="247"/>
                    <a:pt x="99" y="247"/>
                    <a:pt x="97" y="250"/>
                  </a:cubicBezTo>
                  <a:cubicBezTo>
                    <a:pt x="96" y="251"/>
                    <a:pt x="96" y="253"/>
                    <a:pt x="97" y="254"/>
                  </a:cubicBezTo>
                  <a:cubicBezTo>
                    <a:pt x="97" y="254"/>
                    <a:pt x="97" y="254"/>
                    <a:pt x="97" y="254"/>
                  </a:cubicBezTo>
                  <a:cubicBezTo>
                    <a:pt x="97" y="255"/>
                    <a:pt x="97" y="255"/>
                    <a:pt x="97" y="255"/>
                  </a:cubicBezTo>
                  <a:cubicBezTo>
                    <a:pt x="96" y="256"/>
                    <a:pt x="96" y="258"/>
                    <a:pt x="96" y="260"/>
                  </a:cubicBezTo>
                  <a:cubicBezTo>
                    <a:pt x="96" y="262"/>
                    <a:pt x="96" y="263"/>
                    <a:pt x="95" y="264"/>
                  </a:cubicBezTo>
                  <a:cubicBezTo>
                    <a:pt x="95" y="265"/>
                    <a:pt x="94" y="265"/>
                    <a:pt x="94" y="265"/>
                  </a:cubicBezTo>
                  <a:cubicBezTo>
                    <a:pt x="92" y="265"/>
                    <a:pt x="91" y="262"/>
                    <a:pt x="90" y="261"/>
                  </a:cubicBezTo>
                  <a:cubicBezTo>
                    <a:pt x="88" y="256"/>
                    <a:pt x="87" y="250"/>
                    <a:pt x="90" y="246"/>
                  </a:cubicBezTo>
                  <a:cubicBezTo>
                    <a:pt x="91" y="245"/>
                    <a:pt x="92" y="243"/>
                    <a:pt x="91" y="242"/>
                  </a:cubicBezTo>
                  <a:cubicBezTo>
                    <a:pt x="90" y="241"/>
                    <a:pt x="88" y="240"/>
                    <a:pt x="84" y="240"/>
                  </a:cubicBezTo>
                  <a:cubicBezTo>
                    <a:pt x="84" y="240"/>
                    <a:pt x="84" y="240"/>
                    <a:pt x="83" y="240"/>
                  </a:cubicBezTo>
                  <a:cubicBezTo>
                    <a:pt x="80" y="240"/>
                    <a:pt x="78" y="238"/>
                    <a:pt x="77" y="236"/>
                  </a:cubicBezTo>
                  <a:cubicBezTo>
                    <a:pt x="75" y="234"/>
                    <a:pt x="75" y="233"/>
                    <a:pt x="73" y="234"/>
                  </a:cubicBezTo>
                  <a:cubicBezTo>
                    <a:pt x="72" y="234"/>
                    <a:pt x="72" y="234"/>
                    <a:pt x="72" y="234"/>
                  </a:cubicBezTo>
                  <a:cubicBezTo>
                    <a:pt x="68" y="234"/>
                    <a:pt x="67" y="227"/>
                    <a:pt x="67" y="222"/>
                  </a:cubicBezTo>
                  <a:cubicBezTo>
                    <a:pt x="67" y="218"/>
                    <a:pt x="61" y="213"/>
                    <a:pt x="57" y="213"/>
                  </a:cubicBezTo>
                  <a:cubicBezTo>
                    <a:pt x="55" y="213"/>
                    <a:pt x="54" y="212"/>
                    <a:pt x="54" y="211"/>
                  </a:cubicBezTo>
                  <a:cubicBezTo>
                    <a:pt x="54" y="209"/>
                    <a:pt x="56" y="206"/>
                    <a:pt x="60" y="206"/>
                  </a:cubicBezTo>
                  <a:cubicBezTo>
                    <a:pt x="61" y="206"/>
                    <a:pt x="63" y="207"/>
                    <a:pt x="64" y="207"/>
                  </a:cubicBezTo>
                  <a:cubicBezTo>
                    <a:pt x="66" y="208"/>
                    <a:pt x="67" y="209"/>
                    <a:pt x="68" y="209"/>
                  </a:cubicBezTo>
                  <a:cubicBezTo>
                    <a:pt x="68" y="209"/>
                    <a:pt x="68" y="209"/>
                    <a:pt x="68" y="208"/>
                  </a:cubicBezTo>
                  <a:cubicBezTo>
                    <a:pt x="69" y="207"/>
                    <a:pt x="67" y="203"/>
                    <a:pt x="66" y="201"/>
                  </a:cubicBezTo>
                  <a:cubicBezTo>
                    <a:pt x="66" y="200"/>
                    <a:pt x="66" y="200"/>
                    <a:pt x="66" y="200"/>
                  </a:cubicBezTo>
                  <a:cubicBezTo>
                    <a:pt x="65" y="199"/>
                    <a:pt x="66" y="198"/>
                    <a:pt x="66" y="198"/>
                  </a:cubicBezTo>
                  <a:cubicBezTo>
                    <a:pt x="68" y="195"/>
                    <a:pt x="76" y="193"/>
                    <a:pt x="82" y="193"/>
                  </a:cubicBezTo>
                  <a:cubicBezTo>
                    <a:pt x="83" y="193"/>
                    <a:pt x="84" y="193"/>
                    <a:pt x="84" y="193"/>
                  </a:cubicBezTo>
                  <a:cubicBezTo>
                    <a:pt x="86" y="193"/>
                    <a:pt x="88" y="193"/>
                    <a:pt x="90" y="193"/>
                  </a:cubicBezTo>
                  <a:cubicBezTo>
                    <a:pt x="94" y="193"/>
                    <a:pt x="97" y="192"/>
                    <a:pt x="98" y="191"/>
                  </a:cubicBezTo>
                  <a:cubicBezTo>
                    <a:pt x="98" y="190"/>
                    <a:pt x="98" y="190"/>
                    <a:pt x="98" y="190"/>
                  </a:cubicBezTo>
                  <a:cubicBezTo>
                    <a:pt x="97" y="188"/>
                    <a:pt x="98" y="185"/>
                    <a:pt x="98" y="182"/>
                  </a:cubicBezTo>
                  <a:cubicBezTo>
                    <a:pt x="98" y="177"/>
                    <a:pt x="99" y="172"/>
                    <a:pt x="96" y="168"/>
                  </a:cubicBezTo>
                  <a:cubicBezTo>
                    <a:pt x="94" y="165"/>
                    <a:pt x="92" y="165"/>
                    <a:pt x="88" y="165"/>
                  </a:cubicBezTo>
                  <a:cubicBezTo>
                    <a:pt x="87" y="165"/>
                    <a:pt x="86" y="165"/>
                    <a:pt x="85" y="165"/>
                  </a:cubicBezTo>
                  <a:cubicBezTo>
                    <a:pt x="85" y="165"/>
                    <a:pt x="84" y="165"/>
                    <a:pt x="83" y="165"/>
                  </a:cubicBezTo>
                  <a:cubicBezTo>
                    <a:pt x="81" y="165"/>
                    <a:pt x="78" y="165"/>
                    <a:pt x="74" y="164"/>
                  </a:cubicBezTo>
                  <a:cubicBezTo>
                    <a:pt x="73" y="164"/>
                    <a:pt x="71" y="163"/>
                    <a:pt x="69" y="163"/>
                  </a:cubicBezTo>
                  <a:cubicBezTo>
                    <a:pt x="60" y="163"/>
                    <a:pt x="50" y="169"/>
                    <a:pt x="44" y="174"/>
                  </a:cubicBezTo>
                  <a:cubicBezTo>
                    <a:pt x="44" y="174"/>
                    <a:pt x="43" y="175"/>
                    <a:pt x="42" y="176"/>
                  </a:cubicBezTo>
                  <a:cubicBezTo>
                    <a:pt x="41" y="176"/>
                    <a:pt x="41" y="176"/>
                    <a:pt x="41" y="176"/>
                  </a:cubicBezTo>
                  <a:cubicBezTo>
                    <a:pt x="41" y="176"/>
                    <a:pt x="41" y="176"/>
                    <a:pt x="41" y="176"/>
                  </a:cubicBezTo>
                  <a:cubicBezTo>
                    <a:pt x="39" y="175"/>
                    <a:pt x="38" y="174"/>
                    <a:pt x="36" y="173"/>
                  </a:cubicBezTo>
                  <a:cubicBezTo>
                    <a:pt x="32" y="171"/>
                    <a:pt x="30" y="170"/>
                    <a:pt x="30" y="168"/>
                  </a:cubicBezTo>
                  <a:cubicBezTo>
                    <a:pt x="30" y="167"/>
                    <a:pt x="31" y="166"/>
                    <a:pt x="33" y="166"/>
                  </a:cubicBezTo>
                  <a:cubicBezTo>
                    <a:pt x="34" y="165"/>
                    <a:pt x="35" y="165"/>
                    <a:pt x="35" y="164"/>
                  </a:cubicBezTo>
                  <a:cubicBezTo>
                    <a:pt x="36" y="163"/>
                    <a:pt x="34" y="161"/>
                    <a:pt x="31" y="157"/>
                  </a:cubicBezTo>
                  <a:cubicBezTo>
                    <a:pt x="29" y="155"/>
                    <a:pt x="28" y="154"/>
                    <a:pt x="27" y="152"/>
                  </a:cubicBezTo>
                  <a:cubicBezTo>
                    <a:pt x="25" y="149"/>
                    <a:pt x="24" y="147"/>
                    <a:pt x="22" y="147"/>
                  </a:cubicBezTo>
                  <a:cubicBezTo>
                    <a:pt x="22" y="147"/>
                    <a:pt x="21" y="147"/>
                    <a:pt x="20" y="147"/>
                  </a:cubicBezTo>
                  <a:cubicBezTo>
                    <a:pt x="20" y="147"/>
                    <a:pt x="19" y="147"/>
                    <a:pt x="18" y="147"/>
                  </a:cubicBezTo>
                  <a:cubicBezTo>
                    <a:pt x="16" y="147"/>
                    <a:pt x="14" y="147"/>
                    <a:pt x="12" y="148"/>
                  </a:cubicBezTo>
                  <a:cubicBezTo>
                    <a:pt x="11" y="148"/>
                    <a:pt x="10" y="148"/>
                    <a:pt x="9" y="147"/>
                  </a:cubicBezTo>
                  <a:cubicBezTo>
                    <a:pt x="8" y="146"/>
                    <a:pt x="9" y="143"/>
                    <a:pt x="9" y="140"/>
                  </a:cubicBezTo>
                  <a:cubicBezTo>
                    <a:pt x="9" y="137"/>
                    <a:pt x="7" y="137"/>
                    <a:pt x="4" y="136"/>
                  </a:cubicBezTo>
                  <a:cubicBezTo>
                    <a:pt x="3" y="135"/>
                    <a:pt x="1" y="135"/>
                    <a:pt x="1" y="134"/>
                  </a:cubicBezTo>
                  <a:cubicBezTo>
                    <a:pt x="0" y="133"/>
                    <a:pt x="0" y="132"/>
                    <a:pt x="1" y="131"/>
                  </a:cubicBezTo>
                  <a:cubicBezTo>
                    <a:pt x="1" y="128"/>
                    <a:pt x="3" y="125"/>
                    <a:pt x="4" y="124"/>
                  </a:cubicBezTo>
                  <a:cubicBezTo>
                    <a:pt x="7" y="123"/>
                    <a:pt x="9" y="121"/>
                    <a:pt x="9" y="120"/>
                  </a:cubicBezTo>
                  <a:cubicBezTo>
                    <a:pt x="9" y="120"/>
                    <a:pt x="8" y="119"/>
                    <a:pt x="7" y="119"/>
                  </a:cubicBezTo>
                  <a:cubicBezTo>
                    <a:pt x="5" y="118"/>
                    <a:pt x="3" y="116"/>
                    <a:pt x="5" y="113"/>
                  </a:cubicBezTo>
                  <a:cubicBezTo>
                    <a:pt x="6" y="111"/>
                    <a:pt x="7" y="110"/>
                    <a:pt x="9" y="109"/>
                  </a:cubicBezTo>
                  <a:cubicBezTo>
                    <a:pt x="11" y="107"/>
                    <a:pt x="12" y="107"/>
                    <a:pt x="12" y="104"/>
                  </a:cubicBezTo>
                  <a:cubicBezTo>
                    <a:pt x="12" y="100"/>
                    <a:pt x="15" y="97"/>
                    <a:pt x="18" y="97"/>
                  </a:cubicBezTo>
                  <a:cubicBezTo>
                    <a:pt x="19" y="97"/>
                    <a:pt x="20" y="98"/>
                    <a:pt x="21" y="99"/>
                  </a:cubicBezTo>
                  <a:cubicBezTo>
                    <a:pt x="23" y="100"/>
                    <a:pt x="24" y="102"/>
                    <a:pt x="26" y="104"/>
                  </a:cubicBezTo>
                  <a:cubicBezTo>
                    <a:pt x="27" y="106"/>
                    <a:pt x="29" y="109"/>
                    <a:pt x="31" y="109"/>
                  </a:cubicBezTo>
                  <a:cubicBezTo>
                    <a:pt x="32" y="109"/>
                    <a:pt x="32" y="108"/>
                    <a:pt x="33" y="108"/>
                  </a:cubicBezTo>
                  <a:cubicBezTo>
                    <a:pt x="34" y="108"/>
                    <a:pt x="34" y="107"/>
                    <a:pt x="35" y="106"/>
                  </a:cubicBezTo>
                  <a:cubicBezTo>
                    <a:pt x="35" y="105"/>
                    <a:pt x="35" y="103"/>
                    <a:pt x="34" y="102"/>
                  </a:cubicBezTo>
                  <a:cubicBezTo>
                    <a:pt x="34" y="101"/>
                    <a:pt x="34" y="100"/>
                    <a:pt x="34" y="100"/>
                  </a:cubicBezTo>
                  <a:cubicBezTo>
                    <a:pt x="33" y="99"/>
                    <a:pt x="33" y="99"/>
                    <a:pt x="33" y="99"/>
                  </a:cubicBezTo>
                  <a:cubicBezTo>
                    <a:pt x="33" y="98"/>
                    <a:pt x="32" y="96"/>
                    <a:pt x="34" y="94"/>
                  </a:cubicBezTo>
                  <a:cubicBezTo>
                    <a:pt x="34" y="93"/>
                    <a:pt x="36" y="92"/>
                    <a:pt x="38" y="91"/>
                  </a:cubicBezTo>
                  <a:cubicBezTo>
                    <a:pt x="41" y="91"/>
                    <a:pt x="41" y="89"/>
                    <a:pt x="42" y="88"/>
                  </a:cubicBezTo>
                  <a:cubicBezTo>
                    <a:pt x="42" y="86"/>
                    <a:pt x="43" y="84"/>
                    <a:pt x="46" y="84"/>
                  </a:cubicBezTo>
                  <a:cubicBezTo>
                    <a:pt x="49" y="84"/>
                    <a:pt x="55" y="81"/>
                    <a:pt x="58" y="79"/>
                  </a:cubicBezTo>
                  <a:cubicBezTo>
                    <a:pt x="59" y="78"/>
                    <a:pt x="60" y="78"/>
                    <a:pt x="61" y="77"/>
                  </a:cubicBezTo>
                  <a:cubicBezTo>
                    <a:pt x="62" y="77"/>
                    <a:pt x="62" y="77"/>
                    <a:pt x="62" y="77"/>
                  </a:cubicBezTo>
                  <a:cubicBezTo>
                    <a:pt x="64" y="76"/>
                    <a:pt x="68" y="74"/>
                    <a:pt x="71" y="74"/>
                  </a:cubicBezTo>
                  <a:cubicBezTo>
                    <a:pt x="72" y="74"/>
                    <a:pt x="72" y="74"/>
                    <a:pt x="72" y="74"/>
                  </a:cubicBezTo>
                  <a:cubicBezTo>
                    <a:pt x="73" y="74"/>
                    <a:pt x="73" y="75"/>
                    <a:pt x="74" y="75"/>
                  </a:cubicBezTo>
                  <a:cubicBezTo>
                    <a:pt x="75" y="76"/>
                    <a:pt x="76" y="76"/>
                    <a:pt x="77" y="76"/>
                  </a:cubicBezTo>
                  <a:cubicBezTo>
                    <a:pt x="78" y="76"/>
                    <a:pt x="79" y="76"/>
                    <a:pt x="79" y="74"/>
                  </a:cubicBezTo>
                  <a:cubicBezTo>
                    <a:pt x="80" y="72"/>
                    <a:pt x="82" y="71"/>
                    <a:pt x="85" y="71"/>
                  </a:cubicBezTo>
                  <a:cubicBezTo>
                    <a:pt x="87" y="71"/>
                    <a:pt x="90" y="73"/>
                    <a:pt x="91" y="74"/>
                  </a:cubicBezTo>
                  <a:cubicBezTo>
                    <a:pt x="91" y="75"/>
                    <a:pt x="95" y="76"/>
                    <a:pt x="98" y="77"/>
                  </a:cubicBezTo>
                  <a:cubicBezTo>
                    <a:pt x="102" y="77"/>
                    <a:pt x="105" y="78"/>
                    <a:pt x="107" y="79"/>
                  </a:cubicBezTo>
                  <a:cubicBezTo>
                    <a:pt x="108" y="80"/>
                    <a:pt x="108" y="80"/>
                    <a:pt x="109" y="80"/>
                  </a:cubicBezTo>
                  <a:cubicBezTo>
                    <a:pt x="114" y="84"/>
                    <a:pt x="120" y="88"/>
                    <a:pt x="120" y="90"/>
                  </a:cubicBezTo>
                  <a:cubicBezTo>
                    <a:pt x="120" y="91"/>
                    <a:pt x="120" y="92"/>
                    <a:pt x="121" y="92"/>
                  </a:cubicBezTo>
                  <a:cubicBezTo>
                    <a:pt x="121" y="93"/>
                    <a:pt x="122" y="94"/>
                    <a:pt x="122" y="94"/>
                  </a:cubicBezTo>
                  <a:cubicBezTo>
                    <a:pt x="122" y="94"/>
                    <a:pt x="123" y="93"/>
                    <a:pt x="123" y="92"/>
                  </a:cubicBezTo>
                  <a:cubicBezTo>
                    <a:pt x="123" y="90"/>
                    <a:pt x="123" y="89"/>
                    <a:pt x="125" y="89"/>
                  </a:cubicBezTo>
                  <a:cubicBezTo>
                    <a:pt x="127" y="89"/>
                    <a:pt x="129" y="90"/>
                    <a:pt x="132" y="92"/>
                  </a:cubicBezTo>
                  <a:cubicBezTo>
                    <a:pt x="134" y="93"/>
                    <a:pt x="136" y="93"/>
                    <a:pt x="138" y="93"/>
                  </a:cubicBezTo>
                  <a:cubicBezTo>
                    <a:pt x="141" y="93"/>
                    <a:pt x="144" y="92"/>
                    <a:pt x="145" y="90"/>
                  </a:cubicBezTo>
                  <a:cubicBezTo>
                    <a:pt x="146" y="88"/>
                    <a:pt x="152" y="85"/>
                    <a:pt x="156" y="85"/>
                  </a:cubicBezTo>
                  <a:cubicBezTo>
                    <a:pt x="158" y="85"/>
                    <a:pt x="159" y="85"/>
                    <a:pt x="159" y="86"/>
                  </a:cubicBezTo>
                  <a:cubicBezTo>
                    <a:pt x="160" y="86"/>
                    <a:pt x="160" y="86"/>
                    <a:pt x="160" y="87"/>
                  </a:cubicBezTo>
                  <a:cubicBezTo>
                    <a:pt x="162" y="88"/>
                    <a:pt x="163" y="89"/>
                    <a:pt x="164" y="89"/>
                  </a:cubicBezTo>
                  <a:cubicBezTo>
                    <a:pt x="165" y="89"/>
                    <a:pt x="166" y="88"/>
                    <a:pt x="167" y="86"/>
                  </a:cubicBezTo>
                  <a:cubicBezTo>
                    <a:pt x="169" y="85"/>
                    <a:pt x="172" y="84"/>
                    <a:pt x="175" y="84"/>
                  </a:cubicBezTo>
                  <a:cubicBezTo>
                    <a:pt x="179" y="84"/>
                    <a:pt x="181" y="85"/>
                    <a:pt x="182" y="87"/>
                  </a:cubicBezTo>
                  <a:cubicBezTo>
                    <a:pt x="183" y="90"/>
                    <a:pt x="186" y="91"/>
                    <a:pt x="191" y="91"/>
                  </a:cubicBezTo>
                  <a:cubicBezTo>
                    <a:pt x="194" y="91"/>
                    <a:pt x="195" y="93"/>
                    <a:pt x="196" y="94"/>
                  </a:cubicBezTo>
                  <a:cubicBezTo>
                    <a:pt x="197" y="95"/>
                    <a:pt x="197" y="96"/>
                    <a:pt x="198" y="96"/>
                  </a:cubicBezTo>
                  <a:cubicBezTo>
                    <a:pt x="198" y="96"/>
                    <a:pt x="198" y="96"/>
                    <a:pt x="198" y="96"/>
                  </a:cubicBezTo>
                  <a:cubicBezTo>
                    <a:pt x="199" y="96"/>
                    <a:pt x="200" y="94"/>
                    <a:pt x="200" y="93"/>
                  </a:cubicBezTo>
                  <a:cubicBezTo>
                    <a:pt x="201" y="91"/>
                    <a:pt x="202" y="88"/>
                    <a:pt x="204" y="89"/>
                  </a:cubicBezTo>
                  <a:cubicBezTo>
                    <a:pt x="205" y="89"/>
                    <a:pt x="206" y="90"/>
                    <a:pt x="208" y="91"/>
                  </a:cubicBezTo>
                  <a:cubicBezTo>
                    <a:pt x="210" y="92"/>
                    <a:pt x="212" y="93"/>
                    <a:pt x="215" y="93"/>
                  </a:cubicBezTo>
                  <a:cubicBezTo>
                    <a:pt x="220" y="93"/>
                    <a:pt x="223" y="92"/>
                    <a:pt x="223" y="89"/>
                  </a:cubicBezTo>
                  <a:cubicBezTo>
                    <a:pt x="223" y="84"/>
                    <a:pt x="222" y="79"/>
                    <a:pt x="220" y="79"/>
                  </a:cubicBezTo>
                  <a:cubicBezTo>
                    <a:pt x="218" y="79"/>
                    <a:pt x="217" y="78"/>
                    <a:pt x="215" y="77"/>
                  </a:cubicBezTo>
                  <a:cubicBezTo>
                    <a:pt x="213" y="77"/>
                    <a:pt x="211" y="76"/>
                    <a:pt x="209" y="76"/>
                  </a:cubicBezTo>
                  <a:cubicBezTo>
                    <a:pt x="207" y="76"/>
                    <a:pt x="204" y="73"/>
                    <a:pt x="204" y="70"/>
                  </a:cubicBezTo>
                  <a:cubicBezTo>
                    <a:pt x="203" y="69"/>
                    <a:pt x="204" y="67"/>
                    <a:pt x="205" y="67"/>
                  </a:cubicBezTo>
                  <a:cubicBezTo>
                    <a:pt x="209" y="66"/>
                    <a:pt x="213" y="64"/>
                    <a:pt x="214" y="61"/>
                  </a:cubicBezTo>
                  <a:cubicBezTo>
                    <a:pt x="214" y="60"/>
                    <a:pt x="214" y="60"/>
                    <a:pt x="214" y="60"/>
                  </a:cubicBezTo>
                  <a:cubicBezTo>
                    <a:pt x="214" y="59"/>
                    <a:pt x="212" y="54"/>
                    <a:pt x="214" y="51"/>
                  </a:cubicBezTo>
                  <a:cubicBezTo>
                    <a:pt x="214" y="50"/>
                    <a:pt x="216" y="49"/>
                    <a:pt x="217" y="49"/>
                  </a:cubicBezTo>
                  <a:cubicBezTo>
                    <a:pt x="219" y="49"/>
                    <a:pt x="220" y="49"/>
                    <a:pt x="222" y="48"/>
                  </a:cubicBezTo>
                  <a:cubicBezTo>
                    <a:pt x="226" y="48"/>
                    <a:pt x="232" y="48"/>
                    <a:pt x="232" y="47"/>
                  </a:cubicBezTo>
                  <a:cubicBezTo>
                    <a:pt x="232" y="46"/>
                    <a:pt x="229" y="46"/>
                    <a:pt x="227" y="45"/>
                  </a:cubicBezTo>
                  <a:cubicBezTo>
                    <a:pt x="224" y="44"/>
                    <a:pt x="221" y="43"/>
                    <a:pt x="219" y="41"/>
                  </a:cubicBezTo>
                  <a:cubicBezTo>
                    <a:pt x="218" y="37"/>
                    <a:pt x="217" y="29"/>
                    <a:pt x="219" y="28"/>
                  </a:cubicBezTo>
                  <a:cubicBezTo>
                    <a:pt x="219" y="27"/>
                    <a:pt x="220" y="27"/>
                    <a:pt x="222" y="27"/>
                  </a:cubicBezTo>
                  <a:cubicBezTo>
                    <a:pt x="223" y="27"/>
                    <a:pt x="223" y="27"/>
                    <a:pt x="224" y="27"/>
                  </a:cubicBezTo>
                  <a:cubicBezTo>
                    <a:pt x="226" y="27"/>
                    <a:pt x="227" y="27"/>
                    <a:pt x="228" y="27"/>
                  </a:cubicBezTo>
                  <a:cubicBezTo>
                    <a:pt x="229" y="27"/>
                    <a:pt x="230" y="27"/>
                    <a:pt x="231" y="27"/>
                  </a:cubicBezTo>
                  <a:cubicBezTo>
                    <a:pt x="232" y="27"/>
                    <a:pt x="233" y="27"/>
                    <a:pt x="234" y="27"/>
                  </a:cubicBezTo>
                  <a:cubicBezTo>
                    <a:pt x="235" y="27"/>
                    <a:pt x="236" y="27"/>
                    <a:pt x="237" y="27"/>
                  </a:cubicBezTo>
                  <a:cubicBezTo>
                    <a:pt x="239" y="27"/>
                    <a:pt x="240" y="27"/>
                    <a:pt x="241" y="27"/>
                  </a:cubicBezTo>
                  <a:cubicBezTo>
                    <a:pt x="245" y="27"/>
                    <a:pt x="247" y="26"/>
                    <a:pt x="249" y="25"/>
                  </a:cubicBezTo>
                  <a:cubicBezTo>
                    <a:pt x="254" y="21"/>
                    <a:pt x="266" y="20"/>
                    <a:pt x="271" y="20"/>
                  </a:cubicBezTo>
                  <a:cubicBezTo>
                    <a:pt x="274" y="20"/>
                    <a:pt x="277" y="19"/>
                    <a:pt x="280" y="18"/>
                  </a:cubicBezTo>
                  <a:cubicBezTo>
                    <a:pt x="282" y="17"/>
                    <a:pt x="284" y="16"/>
                    <a:pt x="286" y="16"/>
                  </a:cubicBezTo>
                  <a:cubicBezTo>
                    <a:pt x="288" y="16"/>
                    <a:pt x="303" y="14"/>
                    <a:pt x="306" y="12"/>
                  </a:cubicBezTo>
                  <a:cubicBezTo>
                    <a:pt x="307" y="12"/>
                    <a:pt x="309" y="11"/>
                    <a:pt x="312" y="11"/>
                  </a:cubicBezTo>
                  <a:cubicBezTo>
                    <a:pt x="317" y="9"/>
                    <a:pt x="327" y="7"/>
                    <a:pt x="327" y="5"/>
                  </a:cubicBezTo>
                  <a:cubicBezTo>
                    <a:pt x="328" y="2"/>
                    <a:pt x="337" y="0"/>
                    <a:pt x="342" y="0"/>
                  </a:cubicBezTo>
                  <a:cubicBezTo>
                    <a:pt x="344" y="0"/>
                    <a:pt x="345" y="1"/>
                    <a:pt x="346" y="1"/>
                  </a:cubicBezTo>
                  <a:cubicBezTo>
                    <a:pt x="348" y="2"/>
                    <a:pt x="351" y="3"/>
                    <a:pt x="354" y="3"/>
                  </a:cubicBezTo>
                  <a:cubicBezTo>
                    <a:pt x="355" y="3"/>
                    <a:pt x="356" y="3"/>
                    <a:pt x="357" y="2"/>
                  </a:cubicBezTo>
                  <a:cubicBezTo>
                    <a:pt x="358" y="2"/>
                    <a:pt x="358" y="2"/>
                    <a:pt x="358" y="2"/>
                  </a:cubicBezTo>
                  <a:cubicBezTo>
                    <a:pt x="361" y="2"/>
                    <a:pt x="364" y="4"/>
                    <a:pt x="366" y="6"/>
                  </a:cubicBezTo>
                  <a:cubicBezTo>
                    <a:pt x="367" y="7"/>
                    <a:pt x="367" y="8"/>
                    <a:pt x="367" y="9"/>
                  </a:cubicBezTo>
                  <a:cubicBezTo>
                    <a:pt x="366" y="11"/>
                    <a:pt x="367" y="13"/>
                    <a:pt x="368" y="14"/>
                  </a:cubicBezTo>
                  <a:cubicBezTo>
                    <a:pt x="369" y="16"/>
                    <a:pt x="370" y="18"/>
                    <a:pt x="369" y="19"/>
                  </a:cubicBezTo>
                  <a:cubicBezTo>
                    <a:pt x="369" y="20"/>
                    <a:pt x="368" y="21"/>
                    <a:pt x="368" y="22"/>
                  </a:cubicBezTo>
                  <a:cubicBezTo>
                    <a:pt x="367" y="23"/>
                    <a:pt x="367" y="24"/>
                    <a:pt x="368" y="25"/>
                  </a:cubicBezTo>
                  <a:cubicBezTo>
                    <a:pt x="368" y="25"/>
                    <a:pt x="369" y="26"/>
                    <a:pt x="371" y="26"/>
                  </a:cubicBezTo>
                  <a:cubicBezTo>
                    <a:pt x="374" y="26"/>
                    <a:pt x="378" y="24"/>
                    <a:pt x="380" y="23"/>
                  </a:cubicBezTo>
                  <a:cubicBezTo>
                    <a:pt x="381" y="22"/>
                    <a:pt x="382" y="21"/>
                    <a:pt x="382" y="21"/>
                  </a:cubicBezTo>
                  <a:cubicBezTo>
                    <a:pt x="385" y="21"/>
                    <a:pt x="386" y="24"/>
                    <a:pt x="386" y="26"/>
                  </a:cubicBezTo>
                  <a:cubicBezTo>
                    <a:pt x="386" y="27"/>
                    <a:pt x="387" y="27"/>
                    <a:pt x="387" y="28"/>
                  </a:cubicBezTo>
                  <a:cubicBezTo>
                    <a:pt x="388" y="28"/>
                    <a:pt x="388" y="29"/>
                    <a:pt x="389" y="29"/>
                  </a:cubicBezTo>
                  <a:cubicBezTo>
                    <a:pt x="389" y="29"/>
                    <a:pt x="390" y="28"/>
                    <a:pt x="390" y="27"/>
                  </a:cubicBezTo>
                  <a:cubicBezTo>
                    <a:pt x="390" y="26"/>
                    <a:pt x="390" y="25"/>
                    <a:pt x="392" y="25"/>
                  </a:cubicBezTo>
                  <a:cubicBezTo>
                    <a:pt x="394" y="25"/>
                    <a:pt x="396" y="27"/>
                    <a:pt x="397" y="28"/>
                  </a:cubicBezTo>
                  <a:cubicBezTo>
                    <a:pt x="398" y="29"/>
                    <a:pt x="399" y="28"/>
                    <a:pt x="401" y="28"/>
                  </a:cubicBezTo>
                  <a:cubicBezTo>
                    <a:pt x="402" y="28"/>
                    <a:pt x="403" y="28"/>
                    <a:pt x="403" y="28"/>
                  </a:cubicBezTo>
                  <a:cubicBezTo>
                    <a:pt x="405" y="28"/>
                    <a:pt x="405" y="29"/>
                    <a:pt x="405" y="29"/>
                  </a:cubicBezTo>
                  <a:cubicBezTo>
                    <a:pt x="405" y="31"/>
                    <a:pt x="404" y="32"/>
                    <a:pt x="402" y="34"/>
                  </a:cubicBezTo>
                  <a:cubicBezTo>
                    <a:pt x="401" y="35"/>
                    <a:pt x="399" y="36"/>
                    <a:pt x="399" y="37"/>
                  </a:cubicBezTo>
                  <a:cubicBezTo>
                    <a:pt x="399" y="37"/>
                    <a:pt x="399" y="38"/>
                    <a:pt x="400" y="38"/>
                  </a:cubicBezTo>
                  <a:cubicBezTo>
                    <a:pt x="400" y="39"/>
                    <a:pt x="401" y="39"/>
                    <a:pt x="402" y="39"/>
                  </a:cubicBezTo>
                  <a:cubicBezTo>
                    <a:pt x="403" y="39"/>
                    <a:pt x="404" y="38"/>
                    <a:pt x="405" y="38"/>
                  </a:cubicBezTo>
                  <a:cubicBezTo>
                    <a:pt x="406" y="37"/>
                    <a:pt x="407" y="35"/>
                    <a:pt x="409" y="35"/>
                  </a:cubicBezTo>
                  <a:cubicBezTo>
                    <a:pt x="410" y="35"/>
                    <a:pt x="410" y="36"/>
                    <a:pt x="411" y="36"/>
                  </a:cubicBezTo>
                  <a:cubicBezTo>
                    <a:pt x="412" y="36"/>
                    <a:pt x="412" y="36"/>
                    <a:pt x="412" y="36"/>
                  </a:cubicBezTo>
                  <a:cubicBezTo>
                    <a:pt x="414" y="36"/>
                    <a:pt x="417" y="34"/>
                    <a:pt x="420" y="32"/>
                  </a:cubicBezTo>
                  <a:cubicBezTo>
                    <a:pt x="422" y="31"/>
                    <a:pt x="424" y="30"/>
                    <a:pt x="426" y="29"/>
                  </a:cubicBezTo>
                  <a:cubicBezTo>
                    <a:pt x="429" y="29"/>
                    <a:pt x="433" y="26"/>
                    <a:pt x="436" y="24"/>
                  </a:cubicBezTo>
                  <a:cubicBezTo>
                    <a:pt x="437" y="23"/>
                    <a:pt x="438" y="23"/>
                    <a:pt x="439" y="22"/>
                  </a:cubicBezTo>
                  <a:cubicBezTo>
                    <a:pt x="441" y="21"/>
                    <a:pt x="443" y="20"/>
                    <a:pt x="446" y="20"/>
                  </a:cubicBezTo>
                  <a:cubicBezTo>
                    <a:pt x="447" y="20"/>
                    <a:pt x="450" y="21"/>
                    <a:pt x="450" y="22"/>
                  </a:cubicBezTo>
                  <a:cubicBezTo>
                    <a:pt x="450" y="22"/>
                    <a:pt x="450" y="23"/>
                    <a:pt x="450" y="24"/>
                  </a:cubicBezTo>
                  <a:cubicBezTo>
                    <a:pt x="448" y="25"/>
                    <a:pt x="447" y="27"/>
                    <a:pt x="447" y="29"/>
                  </a:cubicBezTo>
                  <a:cubicBezTo>
                    <a:pt x="448" y="31"/>
                    <a:pt x="450" y="32"/>
                    <a:pt x="454" y="34"/>
                  </a:cubicBezTo>
                  <a:cubicBezTo>
                    <a:pt x="462" y="37"/>
                    <a:pt x="472" y="52"/>
                    <a:pt x="478" y="62"/>
                  </a:cubicBezTo>
                  <a:cubicBezTo>
                    <a:pt x="479" y="63"/>
                    <a:pt x="480" y="64"/>
                    <a:pt x="481" y="66"/>
                  </a:cubicBezTo>
                  <a:cubicBezTo>
                    <a:pt x="483" y="69"/>
                    <a:pt x="486" y="75"/>
                    <a:pt x="488" y="79"/>
                  </a:cubicBezTo>
                  <a:cubicBezTo>
                    <a:pt x="491" y="85"/>
                    <a:pt x="494" y="91"/>
                    <a:pt x="495" y="91"/>
                  </a:cubicBezTo>
                  <a:cubicBezTo>
                    <a:pt x="497" y="91"/>
                    <a:pt x="498" y="90"/>
                    <a:pt x="499" y="88"/>
                  </a:cubicBezTo>
                  <a:cubicBezTo>
                    <a:pt x="500" y="85"/>
                    <a:pt x="501" y="83"/>
                    <a:pt x="504" y="82"/>
                  </a:cubicBezTo>
                  <a:cubicBezTo>
                    <a:pt x="504" y="82"/>
                    <a:pt x="504" y="82"/>
                    <a:pt x="504" y="82"/>
                  </a:cubicBezTo>
                  <a:cubicBezTo>
                    <a:pt x="507" y="82"/>
                    <a:pt x="508" y="84"/>
                    <a:pt x="510" y="86"/>
                  </a:cubicBezTo>
                  <a:cubicBezTo>
                    <a:pt x="512" y="88"/>
                    <a:pt x="513" y="90"/>
                    <a:pt x="515" y="90"/>
                  </a:cubicBezTo>
                  <a:cubicBezTo>
                    <a:pt x="516" y="90"/>
                    <a:pt x="518" y="91"/>
                    <a:pt x="519" y="91"/>
                  </a:cubicBezTo>
                  <a:cubicBezTo>
                    <a:pt x="522" y="92"/>
                    <a:pt x="525" y="93"/>
                    <a:pt x="527" y="93"/>
                  </a:cubicBezTo>
                  <a:cubicBezTo>
                    <a:pt x="528" y="93"/>
                    <a:pt x="528" y="93"/>
                    <a:pt x="529" y="92"/>
                  </a:cubicBezTo>
                  <a:cubicBezTo>
                    <a:pt x="530" y="92"/>
                    <a:pt x="531" y="92"/>
                    <a:pt x="532" y="91"/>
                  </a:cubicBezTo>
                  <a:cubicBezTo>
                    <a:pt x="535" y="90"/>
                    <a:pt x="539" y="88"/>
                    <a:pt x="542" y="88"/>
                  </a:cubicBezTo>
                  <a:cubicBezTo>
                    <a:pt x="543" y="88"/>
                    <a:pt x="543" y="88"/>
                    <a:pt x="544" y="88"/>
                  </a:cubicBezTo>
                  <a:cubicBezTo>
                    <a:pt x="545" y="89"/>
                    <a:pt x="545" y="89"/>
                    <a:pt x="546" y="89"/>
                  </a:cubicBezTo>
                  <a:cubicBezTo>
                    <a:pt x="549" y="90"/>
                    <a:pt x="551" y="91"/>
                    <a:pt x="554" y="96"/>
                  </a:cubicBezTo>
                  <a:cubicBezTo>
                    <a:pt x="556" y="102"/>
                    <a:pt x="560" y="103"/>
                    <a:pt x="562" y="103"/>
                  </a:cubicBezTo>
                  <a:cubicBezTo>
                    <a:pt x="564" y="103"/>
                    <a:pt x="566" y="104"/>
                    <a:pt x="566" y="109"/>
                  </a:cubicBezTo>
                  <a:cubicBezTo>
                    <a:pt x="566" y="112"/>
                    <a:pt x="570" y="115"/>
                    <a:pt x="573" y="115"/>
                  </a:cubicBezTo>
                  <a:cubicBezTo>
                    <a:pt x="575" y="115"/>
                    <a:pt x="582" y="114"/>
                    <a:pt x="584" y="113"/>
                  </a:cubicBezTo>
                  <a:cubicBezTo>
                    <a:pt x="585" y="112"/>
                    <a:pt x="586" y="111"/>
                    <a:pt x="588" y="111"/>
                  </a:cubicBezTo>
                  <a:cubicBezTo>
                    <a:pt x="588" y="111"/>
                    <a:pt x="590" y="112"/>
                    <a:pt x="590" y="114"/>
                  </a:cubicBezTo>
                  <a:cubicBezTo>
                    <a:pt x="590" y="115"/>
                    <a:pt x="591" y="117"/>
                    <a:pt x="593" y="119"/>
                  </a:cubicBezTo>
                  <a:cubicBezTo>
                    <a:pt x="593" y="119"/>
                    <a:pt x="593" y="119"/>
                    <a:pt x="593" y="119"/>
                  </a:cubicBezTo>
                  <a:cubicBezTo>
                    <a:pt x="593" y="119"/>
                    <a:pt x="593" y="119"/>
                    <a:pt x="593" y="119"/>
                  </a:cubicBezTo>
                  <a:cubicBezTo>
                    <a:pt x="592" y="121"/>
                    <a:pt x="591" y="123"/>
                    <a:pt x="590" y="124"/>
                  </a:cubicBezTo>
                  <a:cubicBezTo>
                    <a:pt x="589" y="126"/>
                    <a:pt x="588" y="127"/>
                    <a:pt x="588" y="129"/>
                  </a:cubicBezTo>
                  <a:cubicBezTo>
                    <a:pt x="588" y="132"/>
                    <a:pt x="586" y="137"/>
                    <a:pt x="581" y="137"/>
                  </a:cubicBezTo>
                  <a:cubicBezTo>
                    <a:pt x="577" y="137"/>
                    <a:pt x="572" y="140"/>
                    <a:pt x="572" y="148"/>
                  </a:cubicBezTo>
                  <a:cubicBezTo>
                    <a:pt x="572" y="151"/>
                    <a:pt x="573" y="153"/>
                    <a:pt x="574" y="155"/>
                  </a:cubicBezTo>
                  <a:cubicBezTo>
                    <a:pt x="575" y="156"/>
                    <a:pt x="575" y="158"/>
                    <a:pt x="574" y="159"/>
                  </a:cubicBezTo>
                  <a:cubicBezTo>
                    <a:pt x="572" y="162"/>
                    <a:pt x="566" y="165"/>
                    <a:pt x="562" y="165"/>
                  </a:cubicBezTo>
                  <a:cubicBezTo>
                    <a:pt x="562" y="165"/>
                    <a:pt x="562" y="165"/>
                    <a:pt x="562" y="165"/>
                  </a:cubicBezTo>
                  <a:cubicBezTo>
                    <a:pt x="561" y="165"/>
                    <a:pt x="560" y="165"/>
                    <a:pt x="560" y="165"/>
                  </a:cubicBezTo>
                  <a:cubicBezTo>
                    <a:pt x="558" y="164"/>
                    <a:pt x="555" y="164"/>
                    <a:pt x="552" y="164"/>
                  </a:cubicBezTo>
                  <a:cubicBezTo>
                    <a:pt x="550" y="164"/>
                    <a:pt x="548" y="164"/>
                    <a:pt x="546" y="164"/>
                  </a:cubicBezTo>
                  <a:cubicBezTo>
                    <a:pt x="545" y="163"/>
                    <a:pt x="543" y="162"/>
                    <a:pt x="542" y="162"/>
                  </a:cubicBezTo>
                  <a:cubicBezTo>
                    <a:pt x="541" y="161"/>
                    <a:pt x="540" y="161"/>
                    <a:pt x="539" y="161"/>
                  </a:cubicBezTo>
                  <a:cubicBezTo>
                    <a:pt x="539" y="161"/>
                    <a:pt x="538" y="161"/>
                    <a:pt x="537" y="163"/>
                  </a:cubicBezTo>
                  <a:cubicBezTo>
                    <a:pt x="537" y="166"/>
                    <a:pt x="535" y="170"/>
                    <a:pt x="533" y="174"/>
                  </a:cubicBezTo>
                  <a:cubicBezTo>
                    <a:pt x="531" y="181"/>
                    <a:pt x="527" y="190"/>
                    <a:pt x="528" y="191"/>
                  </a:cubicBezTo>
                  <a:cubicBezTo>
                    <a:pt x="530" y="192"/>
                    <a:pt x="531" y="195"/>
                    <a:pt x="531" y="197"/>
                  </a:cubicBezTo>
                  <a:cubicBezTo>
                    <a:pt x="530" y="198"/>
                    <a:pt x="530" y="198"/>
                    <a:pt x="528" y="198"/>
                  </a:cubicBezTo>
                  <a:cubicBezTo>
                    <a:pt x="522" y="198"/>
                    <a:pt x="519" y="197"/>
                    <a:pt x="517" y="196"/>
                  </a:cubicBezTo>
                  <a:cubicBezTo>
                    <a:pt x="516" y="195"/>
                    <a:pt x="514" y="196"/>
                    <a:pt x="511" y="197"/>
                  </a:cubicBezTo>
                  <a:cubicBezTo>
                    <a:pt x="509" y="197"/>
                    <a:pt x="506" y="198"/>
                    <a:pt x="504" y="198"/>
                  </a:cubicBezTo>
                  <a:cubicBezTo>
                    <a:pt x="504" y="198"/>
                    <a:pt x="504" y="198"/>
                    <a:pt x="504" y="198"/>
                  </a:cubicBezTo>
                  <a:cubicBezTo>
                    <a:pt x="502" y="198"/>
                    <a:pt x="496" y="201"/>
                    <a:pt x="495" y="203"/>
                  </a:cubicBezTo>
                  <a:cubicBezTo>
                    <a:pt x="495" y="203"/>
                    <a:pt x="495" y="203"/>
                    <a:pt x="496" y="203"/>
                  </a:cubicBezTo>
                  <a:cubicBezTo>
                    <a:pt x="499" y="205"/>
                    <a:pt x="499" y="213"/>
                    <a:pt x="499" y="216"/>
                  </a:cubicBezTo>
                  <a:cubicBezTo>
                    <a:pt x="499" y="217"/>
                    <a:pt x="500" y="220"/>
                    <a:pt x="502" y="223"/>
                  </a:cubicBezTo>
                  <a:cubicBezTo>
                    <a:pt x="504" y="226"/>
                    <a:pt x="506" y="230"/>
                    <a:pt x="505" y="232"/>
                  </a:cubicBezTo>
                  <a:cubicBezTo>
                    <a:pt x="504" y="234"/>
                    <a:pt x="503" y="235"/>
                    <a:pt x="501" y="237"/>
                  </a:cubicBezTo>
                  <a:cubicBezTo>
                    <a:pt x="499" y="239"/>
                    <a:pt x="497" y="241"/>
                    <a:pt x="497" y="243"/>
                  </a:cubicBezTo>
                  <a:cubicBezTo>
                    <a:pt x="497" y="244"/>
                    <a:pt x="497" y="246"/>
                    <a:pt x="497" y="247"/>
                  </a:cubicBezTo>
                  <a:cubicBezTo>
                    <a:pt x="497" y="248"/>
                    <a:pt x="497" y="248"/>
                    <a:pt x="497" y="249"/>
                  </a:cubicBezTo>
                  <a:cubicBezTo>
                    <a:pt x="497" y="250"/>
                    <a:pt x="497" y="250"/>
                    <a:pt x="497" y="250"/>
                  </a:cubicBezTo>
                  <a:cubicBezTo>
                    <a:pt x="497" y="250"/>
                    <a:pt x="497" y="250"/>
                    <a:pt x="497" y="250"/>
                  </a:cubicBezTo>
                  <a:cubicBezTo>
                    <a:pt x="495" y="248"/>
                    <a:pt x="493" y="248"/>
                    <a:pt x="492" y="248"/>
                  </a:cubicBezTo>
                  <a:cubicBezTo>
                    <a:pt x="490" y="248"/>
                    <a:pt x="490" y="248"/>
                    <a:pt x="490" y="248"/>
                  </a:cubicBezTo>
                  <a:cubicBezTo>
                    <a:pt x="489" y="248"/>
                    <a:pt x="487" y="248"/>
                    <a:pt x="484" y="245"/>
                  </a:cubicBezTo>
                  <a:cubicBezTo>
                    <a:pt x="481" y="241"/>
                    <a:pt x="479" y="241"/>
                    <a:pt x="477" y="241"/>
                  </a:cubicBezTo>
                  <a:cubicBezTo>
                    <a:pt x="475" y="242"/>
                    <a:pt x="473" y="242"/>
                    <a:pt x="471" y="241"/>
                  </a:cubicBezTo>
                  <a:cubicBezTo>
                    <a:pt x="466" y="240"/>
                    <a:pt x="451" y="238"/>
                    <a:pt x="441" y="238"/>
                  </a:cubicBezTo>
                  <a:cubicBezTo>
                    <a:pt x="437" y="238"/>
                    <a:pt x="435" y="239"/>
                    <a:pt x="434" y="239"/>
                  </a:cubicBezTo>
                  <a:cubicBezTo>
                    <a:pt x="433" y="239"/>
                    <a:pt x="432" y="239"/>
                    <a:pt x="431" y="239"/>
                  </a:cubicBezTo>
                  <a:cubicBezTo>
                    <a:pt x="426" y="239"/>
                    <a:pt x="419" y="236"/>
                    <a:pt x="415" y="234"/>
                  </a:cubicBezTo>
                  <a:cubicBezTo>
                    <a:pt x="414" y="233"/>
                    <a:pt x="414" y="233"/>
                    <a:pt x="414" y="233"/>
                  </a:cubicBezTo>
                  <a:cubicBezTo>
                    <a:pt x="411" y="232"/>
                    <a:pt x="400" y="233"/>
                    <a:pt x="400" y="239"/>
                  </a:cubicBezTo>
                  <a:cubicBezTo>
                    <a:pt x="399" y="242"/>
                    <a:pt x="398" y="244"/>
                    <a:pt x="395" y="244"/>
                  </a:cubicBezTo>
                  <a:cubicBezTo>
                    <a:pt x="393" y="244"/>
                    <a:pt x="390" y="243"/>
                    <a:pt x="386" y="241"/>
                  </a:cubicBezTo>
                  <a:cubicBezTo>
                    <a:pt x="383" y="240"/>
                    <a:pt x="378" y="239"/>
                    <a:pt x="374" y="239"/>
                  </a:cubicBezTo>
                  <a:cubicBezTo>
                    <a:pt x="370" y="239"/>
                    <a:pt x="367" y="240"/>
                    <a:pt x="367" y="241"/>
                  </a:cubicBezTo>
                  <a:cubicBezTo>
                    <a:pt x="367" y="246"/>
                    <a:pt x="361" y="250"/>
                    <a:pt x="358" y="252"/>
                  </a:cubicBezTo>
                  <a:cubicBezTo>
                    <a:pt x="357" y="252"/>
                    <a:pt x="356" y="253"/>
                    <a:pt x="354" y="260"/>
                  </a:cubicBezTo>
                  <a:cubicBezTo>
                    <a:pt x="353" y="260"/>
                    <a:pt x="353" y="260"/>
                    <a:pt x="353" y="260"/>
                  </a:cubicBezTo>
                  <a:cubicBezTo>
                    <a:pt x="353" y="260"/>
                    <a:pt x="353" y="260"/>
                    <a:pt x="353" y="260"/>
                  </a:cubicBezTo>
                  <a:cubicBezTo>
                    <a:pt x="351" y="259"/>
                    <a:pt x="348" y="259"/>
                    <a:pt x="345" y="261"/>
                  </a:cubicBezTo>
                  <a:cubicBezTo>
                    <a:pt x="337" y="264"/>
                    <a:pt x="331" y="268"/>
                    <a:pt x="330" y="272"/>
                  </a:cubicBezTo>
                  <a:cubicBezTo>
                    <a:pt x="330" y="274"/>
                    <a:pt x="327" y="277"/>
                    <a:pt x="325" y="277"/>
                  </a:cubicBezTo>
                  <a:close/>
                  <a:moveTo>
                    <a:pt x="245" y="224"/>
                  </a:moveTo>
                  <a:cubicBezTo>
                    <a:pt x="246" y="224"/>
                    <a:pt x="246" y="224"/>
                    <a:pt x="246" y="224"/>
                  </a:cubicBezTo>
                  <a:cubicBezTo>
                    <a:pt x="248" y="225"/>
                    <a:pt x="258" y="225"/>
                    <a:pt x="275" y="225"/>
                  </a:cubicBezTo>
                  <a:cubicBezTo>
                    <a:pt x="277" y="225"/>
                    <a:pt x="279" y="227"/>
                    <a:pt x="281" y="229"/>
                  </a:cubicBezTo>
                  <a:cubicBezTo>
                    <a:pt x="283" y="231"/>
                    <a:pt x="285" y="233"/>
                    <a:pt x="287" y="234"/>
                  </a:cubicBezTo>
                  <a:cubicBezTo>
                    <a:pt x="291" y="235"/>
                    <a:pt x="291" y="239"/>
                    <a:pt x="290" y="244"/>
                  </a:cubicBezTo>
                  <a:cubicBezTo>
                    <a:pt x="290" y="245"/>
                    <a:pt x="290" y="247"/>
                    <a:pt x="291" y="248"/>
                  </a:cubicBezTo>
                  <a:cubicBezTo>
                    <a:pt x="291" y="251"/>
                    <a:pt x="293" y="253"/>
                    <a:pt x="295" y="256"/>
                  </a:cubicBezTo>
                  <a:cubicBezTo>
                    <a:pt x="297" y="258"/>
                    <a:pt x="298" y="261"/>
                    <a:pt x="299" y="263"/>
                  </a:cubicBezTo>
                  <a:cubicBezTo>
                    <a:pt x="299" y="266"/>
                    <a:pt x="301" y="266"/>
                    <a:pt x="306" y="266"/>
                  </a:cubicBezTo>
                  <a:cubicBezTo>
                    <a:pt x="307" y="266"/>
                    <a:pt x="309" y="266"/>
                    <a:pt x="311" y="266"/>
                  </a:cubicBezTo>
                  <a:cubicBezTo>
                    <a:pt x="316" y="267"/>
                    <a:pt x="323" y="269"/>
                    <a:pt x="323" y="274"/>
                  </a:cubicBezTo>
                  <a:cubicBezTo>
                    <a:pt x="323" y="275"/>
                    <a:pt x="324" y="276"/>
                    <a:pt x="325" y="276"/>
                  </a:cubicBezTo>
                  <a:cubicBezTo>
                    <a:pt x="326" y="276"/>
                    <a:pt x="329" y="274"/>
                    <a:pt x="329" y="272"/>
                  </a:cubicBezTo>
                  <a:cubicBezTo>
                    <a:pt x="330" y="268"/>
                    <a:pt x="336" y="263"/>
                    <a:pt x="344" y="260"/>
                  </a:cubicBezTo>
                  <a:cubicBezTo>
                    <a:pt x="348" y="258"/>
                    <a:pt x="351" y="258"/>
                    <a:pt x="353" y="259"/>
                  </a:cubicBezTo>
                  <a:cubicBezTo>
                    <a:pt x="355" y="252"/>
                    <a:pt x="357" y="251"/>
                    <a:pt x="357" y="251"/>
                  </a:cubicBezTo>
                  <a:cubicBezTo>
                    <a:pt x="360" y="250"/>
                    <a:pt x="366" y="245"/>
                    <a:pt x="366" y="241"/>
                  </a:cubicBezTo>
                  <a:cubicBezTo>
                    <a:pt x="366" y="239"/>
                    <a:pt x="369" y="238"/>
                    <a:pt x="374" y="238"/>
                  </a:cubicBezTo>
                  <a:cubicBezTo>
                    <a:pt x="378" y="238"/>
                    <a:pt x="383" y="239"/>
                    <a:pt x="386" y="241"/>
                  </a:cubicBezTo>
                  <a:cubicBezTo>
                    <a:pt x="394" y="245"/>
                    <a:pt x="398" y="244"/>
                    <a:pt x="399" y="239"/>
                  </a:cubicBezTo>
                  <a:cubicBezTo>
                    <a:pt x="399" y="234"/>
                    <a:pt x="406" y="232"/>
                    <a:pt x="411" y="232"/>
                  </a:cubicBezTo>
                  <a:cubicBezTo>
                    <a:pt x="412" y="232"/>
                    <a:pt x="414" y="232"/>
                    <a:pt x="414" y="232"/>
                  </a:cubicBezTo>
                  <a:cubicBezTo>
                    <a:pt x="415" y="233"/>
                    <a:pt x="415" y="233"/>
                    <a:pt x="416" y="233"/>
                  </a:cubicBezTo>
                  <a:cubicBezTo>
                    <a:pt x="419" y="235"/>
                    <a:pt x="426" y="238"/>
                    <a:pt x="431" y="238"/>
                  </a:cubicBezTo>
                  <a:cubicBezTo>
                    <a:pt x="432" y="238"/>
                    <a:pt x="433" y="238"/>
                    <a:pt x="433" y="238"/>
                  </a:cubicBezTo>
                  <a:cubicBezTo>
                    <a:pt x="435" y="237"/>
                    <a:pt x="437" y="237"/>
                    <a:pt x="441" y="237"/>
                  </a:cubicBezTo>
                  <a:cubicBezTo>
                    <a:pt x="451" y="237"/>
                    <a:pt x="466" y="239"/>
                    <a:pt x="471" y="240"/>
                  </a:cubicBezTo>
                  <a:cubicBezTo>
                    <a:pt x="473" y="241"/>
                    <a:pt x="475" y="241"/>
                    <a:pt x="477" y="240"/>
                  </a:cubicBezTo>
                  <a:cubicBezTo>
                    <a:pt x="479" y="240"/>
                    <a:pt x="481" y="240"/>
                    <a:pt x="485" y="244"/>
                  </a:cubicBezTo>
                  <a:cubicBezTo>
                    <a:pt x="487" y="247"/>
                    <a:pt x="489" y="247"/>
                    <a:pt x="490" y="247"/>
                  </a:cubicBezTo>
                  <a:cubicBezTo>
                    <a:pt x="492" y="247"/>
                    <a:pt x="492" y="247"/>
                    <a:pt x="492" y="247"/>
                  </a:cubicBezTo>
                  <a:cubicBezTo>
                    <a:pt x="493" y="247"/>
                    <a:pt x="495" y="247"/>
                    <a:pt x="496" y="248"/>
                  </a:cubicBezTo>
                  <a:cubicBezTo>
                    <a:pt x="496" y="247"/>
                    <a:pt x="496" y="247"/>
                    <a:pt x="496" y="247"/>
                  </a:cubicBezTo>
                  <a:cubicBezTo>
                    <a:pt x="496" y="246"/>
                    <a:pt x="496" y="245"/>
                    <a:pt x="496" y="243"/>
                  </a:cubicBezTo>
                  <a:cubicBezTo>
                    <a:pt x="496" y="241"/>
                    <a:pt x="499" y="238"/>
                    <a:pt x="501" y="236"/>
                  </a:cubicBezTo>
                  <a:cubicBezTo>
                    <a:pt x="502" y="235"/>
                    <a:pt x="503" y="233"/>
                    <a:pt x="504" y="232"/>
                  </a:cubicBezTo>
                  <a:cubicBezTo>
                    <a:pt x="505" y="230"/>
                    <a:pt x="502" y="226"/>
                    <a:pt x="501" y="223"/>
                  </a:cubicBezTo>
                  <a:cubicBezTo>
                    <a:pt x="499" y="220"/>
                    <a:pt x="498" y="218"/>
                    <a:pt x="498" y="216"/>
                  </a:cubicBezTo>
                  <a:cubicBezTo>
                    <a:pt x="498" y="213"/>
                    <a:pt x="498" y="206"/>
                    <a:pt x="495" y="204"/>
                  </a:cubicBezTo>
                  <a:cubicBezTo>
                    <a:pt x="494" y="204"/>
                    <a:pt x="494" y="203"/>
                    <a:pt x="494" y="202"/>
                  </a:cubicBezTo>
                  <a:cubicBezTo>
                    <a:pt x="495" y="200"/>
                    <a:pt x="502" y="197"/>
                    <a:pt x="504" y="197"/>
                  </a:cubicBezTo>
                  <a:cubicBezTo>
                    <a:pt x="504" y="197"/>
                    <a:pt x="504" y="197"/>
                    <a:pt x="504" y="197"/>
                  </a:cubicBezTo>
                  <a:cubicBezTo>
                    <a:pt x="506" y="197"/>
                    <a:pt x="509" y="196"/>
                    <a:pt x="511" y="196"/>
                  </a:cubicBezTo>
                  <a:cubicBezTo>
                    <a:pt x="513" y="195"/>
                    <a:pt x="514" y="194"/>
                    <a:pt x="516" y="194"/>
                  </a:cubicBezTo>
                  <a:cubicBezTo>
                    <a:pt x="517" y="194"/>
                    <a:pt x="517" y="194"/>
                    <a:pt x="518" y="195"/>
                  </a:cubicBezTo>
                  <a:cubicBezTo>
                    <a:pt x="519" y="197"/>
                    <a:pt x="523" y="197"/>
                    <a:pt x="528" y="197"/>
                  </a:cubicBezTo>
                  <a:cubicBezTo>
                    <a:pt x="529" y="197"/>
                    <a:pt x="529" y="197"/>
                    <a:pt x="530" y="196"/>
                  </a:cubicBezTo>
                  <a:cubicBezTo>
                    <a:pt x="530" y="195"/>
                    <a:pt x="529" y="193"/>
                    <a:pt x="527" y="191"/>
                  </a:cubicBezTo>
                  <a:cubicBezTo>
                    <a:pt x="526" y="190"/>
                    <a:pt x="528" y="184"/>
                    <a:pt x="532" y="174"/>
                  </a:cubicBezTo>
                  <a:cubicBezTo>
                    <a:pt x="534" y="170"/>
                    <a:pt x="536" y="165"/>
                    <a:pt x="536" y="163"/>
                  </a:cubicBezTo>
                  <a:cubicBezTo>
                    <a:pt x="537" y="161"/>
                    <a:pt x="537" y="160"/>
                    <a:pt x="539" y="160"/>
                  </a:cubicBezTo>
                  <a:cubicBezTo>
                    <a:pt x="540" y="160"/>
                    <a:pt x="541" y="160"/>
                    <a:pt x="542" y="161"/>
                  </a:cubicBezTo>
                  <a:cubicBezTo>
                    <a:pt x="544" y="162"/>
                    <a:pt x="545" y="162"/>
                    <a:pt x="547" y="163"/>
                  </a:cubicBezTo>
                  <a:cubicBezTo>
                    <a:pt x="548" y="163"/>
                    <a:pt x="550" y="163"/>
                    <a:pt x="552" y="163"/>
                  </a:cubicBezTo>
                  <a:cubicBezTo>
                    <a:pt x="555" y="163"/>
                    <a:pt x="558" y="163"/>
                    <a:pt x="560" y="164"/>
                  </a:cubicBezTo>
                  <a:cubicBezTo>
                    <a:pt x="561" y="164"/>
                    <a:pt x="561" y="164"/>
                    <a:pt x="562" y="164"/>
                  </a:cubicBezTo>
                  <a:cubicBezTo>
                    <a:pt x="566" y="164"/>
                    <a:pt x="572" y="161"/>
                    <a:pt x="573" y="159"/>
                  </a:cubicBezTo>
                  <a:cubicBezTo>
                    <a:pt x="574" y="158"/>
                    <a:pt x="574" y="157"/>
                    <a:pt x="573" y="155"/>
                  </a:cubicBezTo>
                  <a:cubicBezTo>
                    <a:pt x="572" y="154"/>
                    <a:pt x="571" y="152"/>
                    <a:pt x="571" y="148"/>
                  </a:cubicBezTo>
                  <a:cubicBezTo>
                    <a:pt x="571" y="140"/>
                    <a:pt x="576" y="136"/>
                    <a:pt x="581" y="136"/>
                  </a:cubicBezTo>
                  <a:cubicBezTo>
                    <a:pt x="587" y="136"/>
                    <a:pt x="587" y="130"/>
                    <a:pt x="587" y="129"/>
                  </a:cubicBezTo>
                  <a:cubicBezTo>
                    <a:pt x="587" y="127"/>
                    <a:pt x="588" y="125"/>
                    <a:pt x="589" y="124"/>
                  </a:cubicBezTo>
                  <a:cubicBezTo>
                    <a:pt x="590" y="122"/>
                    <a:pt x="591" y="121"/>
                    <a:pt x="592" y="119"/>
                  </a:cubicBezTo>
                  <a:cubicBezTo>
                    <a:pt x="590" y="118"/>
                    <a:pt x="589" y="115"/>
                    <a:pt x="589" y="114"/>
                  </a:cubicBezTo>
                  <a:cubicBezTo>
                    <a:pt x="589" y="112"/>
                    <a:pt x="588" y="112"/>
                    <a:pt x="588" y="112"/>
                  </a:cubicBezTo>
                  <a:cubicBezTo>
                    <a:pt x="587" y="112"/>
                    <a:pt x="585" y="113"/>
                    <a:pt x="584" y="114"/>
                  </a:cubicBezTo>
                  <a:cubicBezTo>
                    <a:pt x="582" y="115"/>
                    <a:pt x="575" y="116"/>
                    <a:pt x="573" y="116"/>
                  </a:cubicBezTo>
                  <a:cubicBezTo>
                    <a:pt x="570" y="116"/>
                    <a:pt x="565" y="112"/>
                    <a:pt x="565" y="109"/>
                  </a:cubicBezTo>
                  <a:cubicBezTo>
                    <a:pt x="565" y="106"/>
                    <a:pt x="564" y="104"/>
                    <a:pt x="562" y="104"/>
                  </a:cubicBezTo>
                  <a:cubicBezTo>
                    <a:pt x="560" y="104"/>
                    <a:pt x="555" y="103"/>
                    <a:pt x="553" y="97"/>
                  </a:cubicBezTo>
                  <a:cubicBezTo>
                    <a:pt x="551" y="92"/>
                    <a:pt x="548" y="91"/>
                    <a:pt x="546" y="90"/>
                  </a:cubicBezTo>
                  <a:cubicBezTo>
                    <a:pt x="545" y="90"/>
                    <a:pt x="544" y="90"/>
                    <a:pt x="543" y="89"/>
                  </a:cubicBezTo>
                  <a:cubicBezTo>
                    <a:pt x="543" y="89"/>
                    <a:pt x="543" y="89"/>
                    <a:pt x="542" y="89"/>
                  </a:cubicBezTo>
                  <a:cubicBezTo>
                    <a:pt x="540" y="89"/>
                    <a:pt x="536" y="91"/>
                    <a:pt x="533" y="92"/>
                  </a:cubicBezTo>
                  <a:cubicBezTo>
                    <a:pt x="531" y="93"/>
                    <a:pt x="530" y="93"/>
                    <a:pt x="529" y="93"/>
                  </a:cubicBezTo>
                  <a:cubicBezTo>
                    <a:pt x="529" y="94"/>
                    <a:pt x="528" y="94"/>
                    <a:pt x="527" y="94"/>
                  </a:cubicBezTo>
                  <a:cubicBezTo>
                    <a:pt x="524" y="94"/>
                    <a:pt x="522" y="93"/>
                    <a:pt x="519" y="92"/>
                  </a:cubicBezTo>
                  <a:cubicBezTo>
                    <a:pt x="517" y="92"/>
                    <a:pt x="516" y="91"/>
                    <a:pt x="515" y="91"/>
                  </a:cubicBezTo>
                  <a:cubicBezTo>
                    <a:pt x="513" y="91"/>
                    <a:pt x="511" y="89"/>
                    <a:pt x="509" y="87"/>
                  </a:cubicBezTo>
                  <a:cubicBezTo>
                    <a:pt x="507" y="85"/>
                    <a:pt x="506" y="83"/>
                    <a:pt x="504" y="83"/>
                  </a:cubicBezTo>
                  <a:cubicBezTo>
                    <a:pt x="502" y="84"/>
                    <a:pt x="501" y="86"/>
                    <a:pt x="499" y="88"/>
                  </a:cubicBezTo>
                  <a:cubicBezTo>
                    <a:pt x="498" y="90"/>
                    <a:pt x="497" y="92"/>
                    <a:pt x="495" y="92"/>
                  </a:cubicBezTo>
                  <a:cubicBezTo>
                    <a:pt x="493" y="92"/>
                    <a:pt x="491" y="88"/>
                    <a:pt x="487" y="80"/>
                  </a:cubicBezTo>
                  <a:cubicBezTo>
                    <a:pt x="485" y="75"/>
                    <a:pt x="482" y="70"/>
                    <a:pt x="480" y="66"/>
                  </a:cubicBezTo>
                  <a:cubicBezTo>
                    <a:pt x="479" y="65"/>
                    <a:pt x="478" y="64"/>
                    <a:pt x="477" y="62"/>
                  </a:cubicBezTo>
                  <a:cubicBezTo>
                    <a:pt x="471" y="53"/>
                    <a:pt x="462" y="38"/>
                    <a:pt x="453" y="35"/>
                  </a:cubicBezTo>
                  <a:cubicBezTo>
                    <a:pt x="449" y="33"/>
                    <a:pt x="447" y="31"/>
                    <a:pt x="446" y="29"/>
                  </a:cubicBezTo>
                  <a:cubicBezTo>
                    <a:pt x="446" y="27"/>
                    <a:pt x="447" y="25"/>
                    <a:pt x="449" y="23"/>
                  </a:cubicBezTo>
                  <a:cubicBezTo>
                    <a:pt x="449" y="22"/>
                    <a:pt x="449" y="22"/>
                    <a:pt x="449" y="22"/>
                  </a:cubicBezTo>
                  <a:cubicBezTo>
                    <a:pt x="449" y="22"/>
                    <a:pt x="448" y="21"/>
                    <a:pt x="446" y="21"/>
                  </a:cubicBezTo>
                  <a:cubicBezTo>
                    <a:pt x="443" y="21"/>
                    <a:pt x="441" y="22"/>
                    <a:pt x="440" y="23"/>
                  </a:cubicBezTo>
                  <a:cubicBezTo>
                    <a:pt x="439" y="23"/>
                    <a:pt x="437" y="24"/>
                    <a:pt x="436" y="25"/>
                  </a:cubicBezTo>
                  <a:cubicBezTo>
                    <a:pt x="433" y="27"/>
                    <a:pt x="430" y="29"/>
                    <a:pt x="426" y="30"/>
                  </a:cubicBezTo>
                  <a:cubicBezTo>
                    <a:pt x="425" y="31"/>
                    <a:pt x="423" y="32"/>
                    <a:pt x="421" y="33"/>
                  </a:cubicBezTo>
                  <a:cubicBezTo>
                    <a:pt x="418" y="35"/>
                    <a:pt x="415" y="37"/>
                    <a:pt x="412" y="37"/>
                  </a:cubicBezTo>
                  <a:cubicBezTo>
                    <a:pt x="411" y="37"/>
                    <a:pt x="411" y="37"/>
                    <a:pt x="410" y="37"/>
                  </a:cubicBezTo>
                  <a:cubicBezTo>
                    <a:pt x="410" y="37"/>
                    <a:pt x="410" y="36"/>
                    <a:pt x="409" y="36"/>
                  </a:cubicBezTo>
                  <a:cubicBezTo>
                    <a:pt x="408" y="36"/>
                    <a:pt x="406" y="37"/>
                    <a:pt x="405" y="38"/>
                  </a:cubicBezTo>
                  <a:cubicBezTo>
                    <a:pt x="404" y="39"/>
                    <a:pt x="403" y="40"/>
                    <a:pt x="402" y="40"/>
                  </a:cubicBezTo>
                  <a:cubicBezTo>
                    <a:pt x="401" y="40"/>
                    <a:pt x="400" y="40"/>
                    <a:pt x="399" y="39"/>
                  </a:cubicBezTo>
                  <a:cubicBezTo>
                    <a:pt x="398" y="38"/>
                    <a:pt x="398" y="38"/>
                    <a:pt x="398" y="37"/>
                  </a:cubicBezTo>
                  <a:cubicBezTo>
                    <a:pt x="398" y="35"/>
                    <a:pt x="400" y="34"/>
                    <a:pt x="401" y="33"/>
                  </a:cubicBezTo>
                  <a:cubicBezTo>
                    <a:pt x="403" y="32"/>
                    <a:pt x="404" y="30"/>
                    <a:pt x="404" y="29"/>
                  </a:cubicBezTo>
                  <a:cubicBezTo>
                    <a:pt x="404" y="29"/>
                    <a:pt x="404" y="29"/>
                    <a:pt x="403" y="29"/>
                  </a:cubicBezTo>
                  <a:cubicBezTo>
                    <a:pt x="403" y="29"/>
                    <a:pt x="402" y="29"/>
                    <a:pt x="401" y="29"/>
                  </a:cubicBezTo>
                  <a:cubicBezTo>
                    <a:pt x="400" y="29"/>
                    <a:pt x="399" y="29"/>
                    <a:pt x="398" y="29"/>
                  </a:cubicBezTo>
                  <a:cubicBezTo>
                    <a:pt x="397" y="29"/>
                    <a:pt x="397" y="29"/>
                    <a:pt x="397" y="29"/>
                  </a:cubicBezTo>
                  <a:cubicBezTo>
                    <a:pt x="396" y="28"/>
                    <a:pt x="393" y="26"/>
                    <a:pt x="392" y="26"/>
                  </a:cubicBezTo>
                  <a:cubicBezTo>
                    <a:pt x="391" y="26"/>
                    <a:pt x="391" y="27"/>
                    <a:pt x="391" y="27"/>
                  </a:cubicBezTo>
                  <a:cubicBezTo>
                    <a:pt x="391" y="29"/>
                    <a:pt x="390" y="30"/>
                    <a:pt x="389" y="30"/>
                  </a:cubicBezTo>
                  <a:cubicBezTo>
                    <a:pt x="388" y="30"/>
                    <a:pt x="387" y="29"/>
                    <a:pt x="387" y="29"/>
                  </a:cubicBezTo>
                  <a:cubicBezTo>
                    <a:pt x="386" y="28"/>
                    <a:pt x="385" y="27"/>
                    <a:pt x="385" y="26"/>
                  </a:cubicBezTo>
                  <a:cubicBezTo>
                    <a:pt x="385" y="25"/>
                    <a:pt x="384" y="22"/>
                    <a:pt x="382" y="22"/>
                  </a:cubicBezTo>
                  <a:cubicBezTo>
                    <a:pt x="381" y="23"/>
                    <a:pt x="381" y="23"/>
                    <a:pt x="381" y="23"/>
                  </a:cubicBezTo>
                  <a:cubicBezTo>
                    <a:pt x="379" y="25"/>
                    <a:pt x="374" y="27"/>
                    <a:pt x="371" y="27"/>
                  </a:cubicBezTo>
                  <a:cubicBezTo>
                    <a:pt x="370" y="27"/>
                    <a:pt x="368" y="27"/>
                    <a:pt x="367" y="26"/>
                  </a:cubicBezTo>
                  <a:cubicBezTo>
                    <a:pt x="365" y="24"/>
                    <a:pt x="366" y="23"/>
                    <a:pt x="367" y="22"/>
                  </a:cubicBezTo>
                  <a:cubicBezTo>
                    <a:pt x="368" y="21"/>
                    <a:pt x="368" y="20"/>
                    <a:pt x="368" y="19"/>
                  </a:cubicBezTo>
                  <a:cubicBezTo>
                    <a:pt x="368" y="18"/>
                    <a:pt x="368" y="16"/>
                    <a:pt x="367" y="15"/>
                  </a:cubicBezTo>
                  <a:cubicBezTo>
                    <a:pt x="366" y="13"/>
                    <a:pt x="365" y="11"/>
                    <a:pt x="366" y="9"/>
                  </a:cubicBezTo>
                  <a:cubicBezTo>
                    <a:pt x="366" y="8"/>
                    <a:pt x="365" y="7"/>
                    <a:pt x="365" y="6"/>
                  </a:cubicBezTo>
                  <a:cubicBezTo>
                    <a:pt x="364" y="4"/>
                    <a:pt x="361" y="3"/>
                    <a:pt x="358" y="3"/>
                  </a:cubicBezTo>
                  <a:cubicBezTo>
                    <a:pt x="357" y="3"/>
                    <a:pt x="357" y="3"/>
                    <a:pt x="357" y="3"/>
                  </a:cubicBezTo>
                  <a:cubicBezTo>
                    <a:pt x="356" y="4"/>
                    <a:pt x="355" y="4"/>
                    <a:pt x="354" y="4"/>
                  </a:cubicBezTo>
                  <a:cubicBezTo>
                    <a:pt x="351" y="4"/>
                    <a:pt x="348" y="3"/>
                    <a:pt x="345" y="2"/>
                  </a:cubicBezTo>
                  <a:cubicBezTo>
                    <a:pt x="345" y="1"/>
                    <a:pt x="344" y="1"/>
                    <a:pt x="342" y="1"/>
                  </a:cubicBezTo>
                  <a:cubicBezTo>
                    <a:pt x="337" y="1"/>
                    <a:pt x="328" y="4"/>
                    <a:pt x="328" y="6"/>
                  </a:cubicBezTo>
                  <a:cubicBezTo>
                    <a:pt x="328" y="8"/>
                    <a:pt x="321" y="10"/>
                    <a:pt x="312" y="12"/>
                  </a:cubicBezTo>
                  <a:cubicBezTo>
                    <a:pt x="310" y="12"/>
                    <a:pt x="307" y="13"/>
                    <a:pt x="306" y="13"/>
                  </a:cubicBezTo>
                  <a:cubicBezTo>
                    <a:pt x="303" y="14"/>
                    <a:pt x="289" y="17"/>
                    <a:pt x="286" y="17"/>
                  </a:cubicBezTo>
                  <a:cubicBezTo>
                    <a:pt x="284" y="17"/>
                    <a:pt x="282" y="18"/>
                    <a:pt x="280" y="19"/>
                  </a:cubicBezTo>
                  <a:cubicBezTo>
                    <a:pt x="277" y="20"/>
                    <a:pt x="274" y="21"/>
                    <a:pt x="271" y="21"/>
                  </a:cubicBezTo>
                  <a:cubicBezTo>
                    <a:pt x="266" y="21"/>
                    <a:pt x="254" y="22"/>
                    <a:pt x="249" y="26"/>
                  </a:cubicBezTo>
                  <a:cubicBezTo>
                    <a:pt x="247" y="28"/>
                    <a:pt x="244" y="28"/>
                    <a:pt x="241" y="28"/>
                  </a:cubicBezTo>
                  <a:cubicBezTo>
                    <a:pt x="240" y="28"/>
                    <a:pt x="239" y="28"/>
                    <a:pt x="237" y="28"/>
                  </a:cubicBezTo>
                  <a:cubicBezTo>
                    <a:pt x="236" y="28"/>
                    <a:pt x="235" y="28"/>
                    <a:pt x="234" y="28"/>
                  </a:cubicBezTo>
                  <a:cubicBezTo>
                    <a:pt x="233" y="28"/>
                    <a:pt x="232" y="28"/>
                    <a:pt x="232" y="28"/>
                  </a:cubicBezTo>
                  <a:cubicBezTo>
                    <a:pt x="231" y="28"/>
                    <a:pt x="229" y="28"/>
                    <a:pt x="228" y="28"/>
                  </a:cubicBezTo>
                  <a:cubicBezTo>
                    <a:pt x="227" y="28"/>
                    <a:pt x="225" y="28"/>
                    <a:pt x="224" y="28"/>
                  </a:cubicBezTo>
                  <a:cubicBezTo>
                    <a:pt x="223" y="28"/>
                    <a:pt x="222" y="28"/>
                    <a:pt x="222" y="28"/>
                  </a:cubicBezTo>
                  <a:cubicBezTo>
                    <a:pt x="221" y="28"/>
                    <a:pt x="220" y="28"/>
                    <a:pt x="219" y="29"/>
                  </a:cubicBezTo>
                  <a:cubicBezTo>
                    <a:pt x="218" y="30"/>
                    <a:pt x="218" y="37"/>
                    <a:pt x="220" y="40"/>
                  </a:cubicBezTo>
                  <a:cubicBezTo>
                    <a:pt x="221" y="42"/>
                    <a:pt x="225" y="43"/>
                    <a:pt x="228" y="44"/>
                  </a:cubicBezTo>
                  <a:cubicBezTo>
                    <a:pt x="231" y="45"/>
                    <a:pt x="233" y="46"/>
                    <a:pt x="233" y="47"/>
                  </a:cubicBezTo>
                  <a:cubicBezTo>
                    <a:pt x="233" y="47"/>
                    <a:pt x="233" y="47"/>
                    <a:pt x="233" y="48"/>
                  </a:cubicBezTo>
                  <a:cubicBezTo>
                    <a:pt x="232" y="49"/>
                    <a:pt x="229" y="49"/>
                    <a:pt x="222" y="49"/>
                  </a:cubicBezTo>
                  <a:cubicBezTo>
                    <a:pt x="221" y="50"/>
                    <a:pt x="219" y="50"/>
                    <a:pt x="217" y="50"/>
                  </a:cubicBezTo>
                  <a:cubicBezTo>
                    <a:pt x="216" y="50"/>
                    <a:pt x="215" y="51"/>
                    <a:pt x="215" y="51"/>
                  </a:cubicBezTo>
                  <a:cubicBezTo>
                    <a:pt x="213" y="54"/>
                    <a:pt x="214" y="57"/>
                    <a:pt x="215" y="60"/>
                  </a:cubicBezTo>
                  <a:cubicBezTo>
                    <a:pt x="215" y="60"/>
                    <a:pt x="215" y="61"/>
                    <a:pt x="215" y="62"/>
                  </a:cubicBezTo>
                  <a:cubicBezTo>
                    <a:pt x="213" y="65"/>
                    <a:pt x="207" y="68"/>
                    <a:pt x="206" y="68"/>
                  </a:cubicBezTo>
                  <a:cubicBezTo>
                    <a:pt x="205" y="68"/>
                    <a:pt x="204" y="69"/>
                    <a:pt x="205" y="70"/>
                  </a:cubicBezTo>
                  <a:cubicBezTo>
                    <a:pt x="205" y="72"/>
                    <a:pt x="207" y="75"/>
                    <a:pt x="209" y="75"/>
                  </a:cubicBezTo>
                  <a:cubicBezTo>
                    <a:pt x="212" y="75"/>
                    <a:pt x="214" y="76"/>
                    <a:pt x="215" y="76"/>
                  </a:cubicBezTo>
                  <a:cubicBezTo>
                    <a:pt x="217" y="77"/>
                    <a:pt x="218" y="78"/>
                    <a:pt x="220" y="78"/>
                  </a:cubicBezTo>
                  <a:cubicBezTo>
                    <a:pt x="224" y="78"/>
                    <a:pt x="224" y="85"/>
                    <a:pt x="224" y="89"/>
                  </a:cubicBezTo>
                  <a:cubicBezTo>
                    <a:pt x="224" y="93"/>
                    <a:pt x="221" y="94"/>
                    <a:pt x="215" y="94"/>
                  </a:cubicBezTo>
                  <a:cubicBezTo>
                    <a:pt x="211" y="94"/>
                    <a:pt x="209" y="93"/>
                    <a:pt x="207" y="92"/>
                  </a:cubicBezTo>
                  <a:cubicBezTo>
                    <a:pt x="206" y="91"/>
                    <a:pt x="205" y="90"/>
                    <a:pt x="204" y="90"/>
                  </a:cubicBezTo>
                  <a:cubicBezTo>
                    <a:pt x="202" y="90"/>
                    <a:pt x="202" y="91"/>
                    <a:pt x="201" y="93"/>
                  </a:cubicBezTo>
                  <a:cubicBezTo>
                    <a:pt x="201" y="95"/>
                    <a:pt x="200" y="96"/>
                    <a:pt x="199" y="97"/>
                  </a:cubicBezTo>
                  <a:cubicBezTo>
                    <a:pt x="198" y="97"/>
                    <a:pt x="198" y="97"/>
                    <a:pt x="198" y="97"/>
                  </a:cubicBezTo>
                  <a:cubicBezTo>
                    <a:pt x="197" y="97"/>
                    <a:pt x="196" y="96"/>
                    <a:pt x="195" y="95"/>
                  </a:cubicBezTo>
                  <a:cubicBezTo>
                    <a:pt x="194" y="94"/>
                    <a:pt x="193" y="92"/>
                    <a:pt x="191" y="92"/>
                  </a:cubicBezTo>
                  <a:cubicBezTo>
                    <a:pt x="189" y="92"/>
                    <a:pt x="183" y="92"/>
                    <a:pt x="181" y="88"/>
                  </a:cubicBezTo>
                  <a:cubicBezTo>
                    <a:pt x="181" y="86"/>
                    <a:pt x="178" y="85"/>
                    <a:pt x="175" y="85"/>
                  </a:cubicBezTo>
                  <a:cubicBezTo>
                    <a:pt x="172" y="85"/>
                    <a:pt x="169" y="86"/>
                    <a:pt x="168" y="87"/>
                  </a:cubicBezTo>
                  <a:cubicBezTo>
                    <a:pt x="166" y="89"/>
                    <a:pt x="165" y="90"/>
                    <a:pt x="164" y="90"/>
                  </a:cubicBezTo>
                  <a:cubicBezTo>
                    <a:pt x="162" y="90"/>
                    <a:pt x="161" y="89"/>
                    <a:pt x="160" y="87"/>
                  </a:cubicBezTo>
                  <a:cubicBezTo>
                    <a:pt x="159" y="87"/>
                    <a:pt x="159" y="87"/>
                    <a:pt x="159" y="87"/>
                  </a:cubicBezTo>
                  <a:cubicBezTo>
                    <a:pt x="158" y="86"/>
                    <a:pt x="157" y="86"/>
                    <a:pt x="156" y="86"/>
                  </a:cubicBezTo>
                  <a:cubicBezTo>
                    <a:pt x="152" y="86"/>
                    <a:pt x="146" y="89"/>
                    <a:pt x="145" y="91"/>
                  </a:cubicBezTo>
                  <a:cubicBezTo>
                    <a:pt x="145" y="93"/>
                    <a:pt x="142" y="94"/>
                    <a:pt x="138" y="94"/>
                  </a:cubicBezTo>
                  <a:cubicBezTo>
                    <a:pt x="136" y="94"/>
                    <a:pt x="133" y="94"/>
                    <a:pt x="131" y="92"/>
                  </a:cubicBezTo>
                  <a:cubicBezTo>
                    <a:pt x="129" y="91"/>
                    <a:pt x="126" y="90"/>
                    <a:pt x="125" y="90"/>
                  </a:cubicBezTo>
                  <a:cubicBezTo>
                    <a:pt x="124" y="90"/>
                    <a:pt x="124" y="90"/>
                    <a:pt x="124" y="92"/>
                  </a:cubicBezTo>
                  <a:cubicBezTo>
                    <a:pt x="124" y="94"/>
                    <a:pt x="123" y="95"/>
                    <a:pt x="122" y="95"/>
                  </a:cubicBezTo>
                  <a:cubicBezTo>
                    <a:pt x="121" y="95"/>
                    <a:pt x="120" y="93"/>
                    <a:pt x="120" y="93"/>
                  </a:cubicBezTo>
                  <a:cubicBezTo>
                    <a:pt x="119" y="92"/>
                    <a:pt x="119" y="91"/>
                    <a:pt x="119" y="90"/>
                  </a:cubicBezTo>
                  <a:cubicBezTo>
                    <a:pt x="119" y="88"/>
                    <a:pt x="112" y="84"/>
                    <a:pt x="108" y="81"/>
                  </a:cubicBezTo>
                  <a:cubicBezTo>
                    <a:pt x="107" y="80"/>
                    <a:pt x="107" y="80"/>
                    <a:pt x="107" y="80"/>
                  </a:cubicBezTo>
                  <a:cubicBezTo>
                    <a:pt x="105" y="79"/>
                    <a:pt x="101" y="78"/>
                    <a:pt x="98" y="78"/>
                  </a:cubicBezTo>
                  <a:cubicBezTo>
                    <a:pt x="93" y="77"/>
                    <a:pt x="90" y="76"/>
                    <a:pt x="90" y="75"/>
                  </a:cubicBezTo>
                  <a:cubicBezTo>
                    <a:pt x="89" y="74"/>
                    <a:pt x="87" y="72"/>
                    <a:pt x="85" y="72"/>
                  </a:cubicBezTo>
                  <a:cubicBezTo>
                    <a:pt x="83" y="72"/>
                    <a:pt x="81" y="73"/>
                    <a:pt x="80" y="75"/>
                  </a:cubicBezTo>
                  <a:cubicBezTo>
                    <a:pt x="80" y="77"/>
                    <a:pt x="78" y="77"/>
                    <a:pt x="77" y="77"/>
                  </a:cubicBezTo>
                  <a:cubicBezTo>
                    <a:pt x="76" y="77"/>
                    <a:pt x="75" y="77"/>
                    <a:pt x="73" y="76"/>
                  </a:cubicBezTo>
                  <a:cubicBezTo>
                    <a:pt x="72" y="75"/>
                    <a:pt x="72" y="75"/>
                    <a:pt x="72" y="75"/>
                  </a:cubicBezTo>
                  <a:cubicBezTo>
                    <a:pt x="71" y="75"/>
                    <a:pt x="71" y="75"/>
                    <a:pt x="71" y="75"/>
                  </a:cubicBezTo>
                  <a:cubicBezTo>
                    <a:pt x="68" y="75"/>
                    <a:pt x="64" y="77"/>
                    <a:pt x="62" y="78"/>
                  </a:cubicBezTo>
                  <a:cubicBezTo>
                    <a:pt x="61" y="78"/>
                    <a:pt x="61" y="78"/>
                    <a:pt x="61" y="78"/>
                  </a:cubicBezTo>
                  <a:cubicBezTo>
                    <a:pt x="61" y="79"/>
                    <a:pt x="60" y="79"/>
                    <a:pt x="59" y="80"/>
                  </a:cubicBezTo>
                  <a:cubicBezTo>
                    <a:pt x="55" y="82"/>
                    <a:pt x="49" y="85"/>
                    <a:pt x="46" y="85"/>
                  </a:cubicBezTo>
                  <a:cubicBezTo>
                    <a:pt x="44" y="85"/>
                    <a:pt x="43" y="86"/>
                    <a:pt x="43" y="88"/>
                  </a:cubicBezTo>
                  <a:cubicBezTo>
                    <a:pt x="42" y="90"/>
                    <a:pt x="41" y="92"/>
                    <a:pt x="38" y="92"/>
                  </a:cubicBezTo>
                  <a:cubicBezTo>
                    <a:pt x="36" y="93"/>
                    <a:pt x="35" y="94"/>
                    <a:pt x="34" y="95"/>
                  </a:cubicBezTo>
                  <a:cubicBezTo>
                    <a:pt x="34" y="96"/>
                    <a:pt x="34" y="98"/>
                    <a:pt x="34" y="99"/>
                  </a:cubicBezTo>
                  <a:cubicBezTo>
                    <a:pt x="34" y="100"/>
                    <a:pt x="34" y="100"/>
                    <a:pt x="34" y="100"/>
                  </a:cubicBezTo>
                  <a:cubicBezTo>
                    <a:pt x="35" y="100"/>
                    <a:pt x="35" y="101"/>
                    <a:pt x="35" y="101"/>
                  </a:cubicBezTo>
                  <a:cubicBezTo>
                    <a:pt x="36" y="103"/>
                    <a:pt x="37" y="105"/>
                    <a:pt x="36" y="107"/>
                  </a:cubicBezTo>
                  <a:cubicBezTo>
                    <a:pt x="35" y="108"/>
                    <a:pt x="34" y="109"/>
                    <a:pt x="33" y="109"/>
                  </a:cubicBezTo>
                  <a:cubicBezTo>
                    <a:pt x="32" y="109"/>
                    <a:pt x="32" y="110"/>
                    <a:pt x="31" y="110"/>
                  </a:cubicBezTo>
                  <a:cubicBezTo>
                    <a:pt x="29" y="110"/>
                    <a:pt x="27" y="107"/>
                    <a:pt x="25" y="104"/>
                  </a:cubicBezTo>
                  <a:cubicBezTo>
                    <a:pt x="24" y="102"/>
                    <a:pt x="22" y="101"/>
                    <a:pt x="21" y="99"/>
                  </a:cubicBezTo>
                  <a:cubicBezTo>
                    <a:pt x="20" y="99"/>
                    <a:pt x="19" y="98"/>
                    <a:pt x="18" y="98"/>
                  </a:cubicBezTo>
                  <a:cubicBezTo>
                    <a:pt x="15" y="98"/>
                    <a:pt x="13" y="101"/>
                    <a:pt x="13" y="104"/>
                  </a:cubicBezTo>
                  <a:cubicBezTo>
                    <a:pt x="13" y="107"/>
                    <a:pt x="11" y="108"/>
                    <a:pt x="9" y="110"/>
                  </a:cubicBezTo>
                  <a:cubicBezTo>
                    <a:pt x="8" y="111"/>
                    <a:pt x="6" y="112"/>
                    <a:pt x="5" y="114"/>
                  </a:cubicBezTo>
                  <a:cubicBezTo>
                    <a:pt x="4" y="116"/>
                    <a:pt x="5" y="117"/>
                    <a:pt x="8" y="118"/>
                  </a:cubicBezTo>
                  <a:cubicBezTo>
                    <a:pt x="9" y="119"/>
                    <a:pt x="10" y="119"/>
                    <a:pt x="10" y="120"/>
                  </a:cubicBezTo>
                  <a:cubicBezTo>
                    <a:pt x="10" y="122"/>
                    <a:pt x="7" y="124"/>
                    <a:pt x="5" y="125"/>
                  </a:cubicBezTo>
                  <a:cubicBezTo>
                    <a:pt x="4" y="126"/>
                    <a:pt x="2" y="128"/>
                    <a:pt x="2" y="131"/>
                  </a:cubicBezTo>
                  <a:cubicBezTo>
                    <a:pt x="1" y="132"/>
                    <a:pt x="1" y="133"/>
                    <a:pt x="2" y="134"/>
                  </a:cubicBezTo>
                  <a:cubicBezTo>
                    <a:pt x="2" y="134"/>
                    <a:pt x="3" y="135"/>
                    <a:pt x="5" y="135"/>
                  </a:cubicBezTo>
                  <a:cubicBezTo>
                    <a:pt x="7" y="136"/>
                    <a:pt x="10" y="136"/>
                    <a:pt x="10" y="140"/>
                  </a:cubicBezTo>
                  <a:cubicBezTo>
                    <a:pt x="10" y="143"/>
                    <a:pt x="9" y="146"/>
                    <a:pt x="10" y="147"/>
                  </a:cubicBezTo>
                  <a:cubicBezTo>
                    <a:pt x="10" y="147"/>
                    <a:pt x="11" y="147"/>
                    <a:pt x="12" y="147"/>
                  </a:cubicBezTo>
                  <a:cubicBezTo>
                    <a:pt x="14" y="146"/>
                    <a:pt x="15" y="146"/>
                    <a:pt x="18" y="146"/>
                  </a:cubicBezTo>
                  <a:cubicBezTo>
                    <a:pt x="19" y="146"/>
                    <a:pt x="20" y="146"/>
                    <a:pt x="20" y="146"/>
                  </a:cubicBezTo>
                  <a:cubicBezTo>
                    <a:pt x="21" y="146"/>
                    <a:pt x="22" y="146"/>
                    <a:pt x="22" y="146"/>
                  </a:cubicBezTo>
                  <a:cubicBezTo>
                    <a:pt x="24" y="146"/>
                    <a:pt x="26" y="148"/>
                    <a:pt x="28" y="151"/>
                  </a:cubicBezTo>
                  <a:cubicBezTo>
                    <a:pt x="29" y="153"/>
                    <a:pt x="30" y="155"/>
                    <a:pt x="32" y="157"/>
                  </a:cubicBezTo>
                  <a:cubicBezTo>
                    <a:pt x="35" y="160"/>
                    <a:pt x="37" y="163"/>
                    <a:pt x="36" y="165"/>
                  </a:cubicBezTo>
                  <a:cubicBezTo>
                    <a:pt x="36" y="166"/>
                    <a:pt x="35" y="166"/>
                    <a:pt x="33" y="167"/>
                  </a:cubicBezTo>
                  <a:cubicBezTo>
                    <a:pt x="32" y="167"/>
                    <a:pt x="31" y="168"/>
                    <a:pt x="31" y="168"/>
                  </a:cubicBezTo>
                  <a:cubicBezTo>
                    <a:pt x="31" y="169"/>
                    <a:pt x="33" y="170"/>
                    <a:pt x="37" y="172"/>
                  </a:cubicBezTo>
                  <a:cubicBezTo>
                    <a:pt x="38" y="173"/>
                    <a:pt x="39" y="174"/>
                    <a:pt x="41" y="175"/>
                  </a:cubicBezTo>
                  <a:cubicBezTo>
                    <a:pt x="42" y="174"/>
                    <a:pt x="43" y="174"/>
                    <a:pt x="44" y="173"/>
                  </a:cubicBezTo>
                  <a:cubicBezTo>
                    <a:pt x="49" y="168"/>
                    <a:pt x="60" y="162"/>
                    <a:pt x="69" y="162"/>
                  </a:cubicBezTo>
                  <a:cubicBezTo>
                    <a:pt x="71" y="162"/>
                    <a:pt x="73" y="163"/>
                    <a:pt x="75" y="163"/>
                  </a:cubicBezTo>
                  <a:cubicBezTo>
                    <a:pt x="78" y="164"/>
                    <a:pt x="81" y="164"/>
                    <a:pt x="83" y="164"/>
                  </a:cubicBezTo>
                  <a:cubicBezTo>
                    <a:pt x="84" y="164"/>
                    <a:pt x="85" y="164"/>
                    <a:pt x="85" y="164"/>
                  </a:cubicBezTo>
                  <a:cubicBezTo>
                    <a:pt x="86" y="164"/>
                    <a:pt x="87" y="164"/>
                    <a:pt x="88" y="164"/>
                  </a:cubicBezTo>
                  <a:cubicBezTo>
                    <a:pt x="91" y="164"/>
                    <a:pt x="95" y="164"/>
                    <a:pt x="97" y="168"/>
                  </a:cubicBezTo>
                  <a:cubicBezTo>
                    <a:pt x="100" y="171"/>
                    <a:pt x="99" y="177"/>
                    <a:pt x="99" y="182"/>
                  </a:cubicBezTo>
                  <a:cubicBezTo>
                    <a:pt x="99" y="185"/>
                    <a:pt x="98" y="188"/>
                    <a:pt x="99" y="189"/>
                  </a:cubicBezTo>
                  <a:cubicBezTo>
                    <a:pt x="99" y="190"/>
                    <a:pt x="99" y="191"/>
                    <a:pt x="99" y="192"/>
                  </a:cubicBezTo>
                  <a:cubicBezTo>
                    <a:pt x="97" y="194"/>
                    <a:pt x="93" y="194"/>
                    <a:pt x="90" y="194"/>
                  </a:cubicBezTo>
                  <a:cubicBezTo>
                    <a:pt x="88" y="194"/>
                    <a:pt x="86" y="194"/>
                    <a:pt x="84" y="194"/>
                  </a:cubicBezTo>
                  <a:cubicBezTo>
                    <a:pt x="84" y="194"/>
                    <a:pt x="83" y="194"/>
                    <a:pt x="82" y="194"/>
                  </a:cubicBezTo>
                  <a:cubicBezTo>
                    <a:pt x="77" y="194"/>
                    <a:pt x="68" y="196"/>
                    <a:pt x="67" y="198"/>
                  </a:cubicBezTo>
                  <a:cubicBezTo>
                    <a:pt x="67" y="199"/>
                    <a:pt x="67" y="199"/>
                    <a:pt x="67" y="200"/>
                  </a:cubicBezTo>
                  <a:cubicBezTo>
                    <a:pt x="67" y="200"/>
                    <a:pt x="67" y="200"/>
                    <a:pt x="67" y="201"/>
                  </a:cubicBezTo>
                  <a:cubicBezTo>
                    <a:pt x="69" y="204"/>
                    <a:pt x="70" y="208"/>
                    <a:pt x="69" y="209"/>
                  </a:cubicBezTo>
                  <a:cubicBezTo>
                    <a:pt x="69" y="209"/>
                    <a:pt x="69" y="210"/>
                    <a:pt x="68" y="210"/>
                  </a:cubicBezTo>
                  <a:cubicBezTo>
                    <a:pt x="67" y="210"/>
                    <a:pt x="66" y="209"/>
                    <a:pt x="64" y="208"/>
                  </a:cubicBezTo>
                  <a:cubicBezTo>
                    <a:pt x="62" y="207"/>
                    <a:pt x="61" y="207"/>
                    <a:pt x="60" y="207"/>
                  </a:cubicBezTo>
                  <a:cubicBezTo>
                    <a:pt x="57" y="207"/>
                    <a:pt x="55" y="209"/>
                    <a:pt x="55" y="211"/>
                  </a:cubicBezTo>
                  <a:cubicBezTo>
                    <a:pt x="55" y="212"/>
                    <a:pt x="56" y="212"/>
                    <a:pt x="57" y="212"/>
                  </a:cubicBezTo>
                  <a:cubicBezTo>
                    <a:pt x="62" y="212"/>
                    <a:pt x="68" y="218"/>
                    <a:pt x="68" y="222"/>
                  </a:cubicBezTo>
                  <a:cubicBezTo>
                    <a:pt x="68" y="229"/>
                    <a:pt x="70" y="233"/>
                    <a:pt x="72" y="233"/>
                  </a:cubicBezTo>
                  <a:cubicBezTo>
                    <a:pt x="72" y="233"/>
                    <a:pt x="72" y="233"/>
                    <a:pt x="73" y="233"/>
                  </a:cubicBezTo>
                  <a:cubicBezTo>
                    <a:pt x="73" y="233"/>
                    <a:pt x="73" y="233"/>
                    <a:pt x="74" y="233"/>
                  </a:cubicBezTo>
                  <a:cubicBezTo>
                    <a:pt x="75" y="233"/>
                    <a:pt x="76" y="234"/>
                    <a:pt x="77" y="235"/>
                  </a:cubicBezTo>
                  <a:cubicBezTo>
                    <a:pt x="79" y="237"/>
                    <a:pt x="80" y="239"/>
                    <a:pt x="83" y="239"/>
                  </a:cubicBezTo>
                  <a:cubicBezTo>
                    <a:pt x="84" y="239"/>
                    <a:pt x="84" y="239"/>
                    <a:pt x="84" y="239"/>
                  </a:cubicBezTo>
                  <a:cubicBezTo>
                    <a:pt x="88" y="239"/>
                    <a:pt x="91" y="240"/>
                    <a:pt x="92" y="242"/>
                  </a:cubicBezTo>
                  <a:cubicBezTo>
                    <a:pt x="93" y="243"/>
                    <a:pt x="92" y="245"/>
                    <a:pt x="90" y="247"/>
                  </a:cubicBezTo>
                  <a:cubicBezTo>
                    <a:pt x="88" y="250"/>
                    <a:pt x="89" y="256"/>
                    <a:pt x="91" y="260"/>
                  </a:cubicBezTo>
                  <a:cubicBezTo>
                    <a:pt x="92" y="263"/>
                    <a:pt x="94" y="264"/>
                    <a:pt x="94" y="264"/>
                  </a:cubicBezTo>
                  <a:cubicBezTo>
                    <a:pt x="94" y="264"/>
                    <a:pt x="94" y="264"/>
                    <a:pt x="94" y="264"/>
                  </a:cubicBezTo>
                  <a:cubicBezTo>
                    <a:pt x="95" y="263"/>
                    <a:pt x="95" y="262"/>
                    <a:pt x="95" y="260"/>
                  </a:cubicBezTo>
                  <a:cubicBezTo>
                    <a:pt x="95" y="258"/>
                    <a:pt x="95" y="256"/>
                    <a:pt x="96" y="254"/>
                  </a:cubicBezTo>
                  <a:cubicBezTo>
                    <a:pt x="95" y="253"/>
                    <a:pt x="95" y="251"/>
                    <a:pt x="96" y="250"/>
                  </a:cubicBezTo>
                  <a:cubicBezTo>
                    <a:pt x="98" y="246"/>
                    <a:pt x="106" y="246"/>
                    <a:pt x="111" y="246"/>
                  </a:cubicBezTo>
                  <a:cubicBezTo>
                    <a:pt x="116" y="246"/>
                    <a:pt x="125" y="253"/>
                    <a:pt x="130" y="260"/>
                  </a:cubicBezTo>
                  <a:cubicBezTo>
                    <a:pt x="131" y="262"/>
                    <a:pt x="133" y="264"/>
                    <a:pt x="136" y="264"/>
                  </a:cubicBezTo>
                  <a:cubicBezTo>
                    <a:pt x="137" y="264"/>
                    <a:pt x="139" y="263"/>
                    <a:pt x="139" y="262"/>
                  </a:cubicBezTo>
                  <a:cubicBezTo>
                    <a:pt x="141" y="198"/>
                    <a:pt x="141" y="198"/>
                    <a:pt x="141" y="198"/>
                  </a:cubicBezTo>
                  <a:cubicBezTo>
                    <a:pt x="178" y="188"/>
                    <a:pt x="178" y="188"/>
                    <a:pt x="178" y="188"/>
                  </a:cubicBezTo>
                  <a:cubicBezTo>
                    <a:pt x="178" y="187"/>
                    <a:pt x="179" y="186"/>
                    <a:pt x="179" y="186"/>
                  </a:cubicBezTo>
                  <a:cubicBezTo>
                    <a:pt x="181" y="183"/>
                    <a:pt x="183" y="182"/>
                    <a:pt x="185" y="182"/>
                  </a:cubicBezTo>
                  <a:cubicBezTo>
                    <a:pt x="188" y="182"/>
                    <a:pt x="191" y="184"/>
                    <a:pt x="192" y="186"/>
                  </a:cubicBezTo>
                  <a:cubicBezTo>
                    <a:pt x="193" y="186"/>
                    <a:pt x="193" y="186"/>
                    <a:pt x="193" y="186"/>
                  </a:cubicBezTo>
                  <a:cubicBezTo>
                    <a:pt x="193" y="186"/>
                    <a:pt x="193" y="185"/>
                    <a:pt x="194" y="184"/>
                  </a:cubicBezTo>
                  <a:cubicBezTo>
                    <a:pt x="194" y="182"/>
                    <a:pt x="195" y="179"/>
                    <a:pt x="199" y="179"/>
                  </a:cubicBezTo>
                  <a:cubicBezTo>
                    <a:pt x="200" y="179"/>
                    <a:pt x="200" y="179"/>
                    <a:pt x="201" y="180"/>
                  </a:cubicBezTo>
                  <a:cubicBezTo>
                    <a:pt x="202" y="181"/>
                    <a:pt x="202" y="183"/>
                    <a:pt x="201" y="184"/>
                  </a:cubicBezTo>
                  <a:cubicBezTo>
                    <a:pt x="201" y="186"/>
                    <a:pt x="201" y="187"/>
                    <a:pt x="201" y="187"/>
                  </a:cubicBezTo>
                  <a:cubicBezTo>
                    <a:pt x="202" y="187"/>
                    <a:pt x="202" y="188"/>
                    <a:pt x="202" y="188"/>
                  </a:cubicBezTo>
                  <a:cubicBezTo>
                    <a:pt x="204" y="188"/>
                    <a:pt x="205" y="189"/>
                    <a:pt x="206" y="190"/>
                  </a:cubicBezTo>
                  <a:cubicBezTo>
                    <a:pt x="209" y="194"/>
                    <a:pt x="212" y="201"/>
                    <a:pt x="210" y="207"/>
                  </a:cubicBezTo>
                  <a:cubicBezTo>
                    <a:pt x="216" y="212"/>
                    <a:pt x="226" y="223"/>
                    <a:pt x="227" y="226"/>
                  </a:cubicBezTo>
                  <a:cubicBezTo>
                    <a:pt x="228" y="226"/>
                    <a:pt x="229" y="226"/>
                    <a:pt x="230" y="226"/>
                  </a:cubicBezTo>
                  <a:cubicBezTo>
                    <a:pt x="232" y="226"/>
                    <a:pt x="235" y="226"/>
                    <a:pt x="238" y="225"/>
                  </a:cubicBezTo>
                  <a:cubicBezTo>
                    <a:pt x="241" y="225"/>
                    <a:pt x="243" y="224"/>
                    <a:pt x="245" y="224"/>
                  </a:cubicBezTo>
                  <a:close/>
                  <a:moveTo>
                    <a:pt x="408" y="200"/>
                  </a:moveTo>
                  <a:cubicBezTo>
                    <a:pt x="406" y="200"/>
                    <a:pt x="405" y="199"/>
                    <a:pt x="404" y="196"/>
                  </a:cubicBezTo>
                  <a:cubicBezTo>
                    <a:pt x="402" y="191"/>
                    <a:pt x="402" y="180"/>
                    <a:pt x="406" y="175"/>
                  </a:cubicBezTo>
                  <a:cubicBezTo>
                    <a:pt x="410" y="171"/>
                    <a:pt x="421" y="168"/>
                    <a:pt x="432" y="168"/>
                  </a:cubicBezTo>
                  <a:cubicBezTo>
                    <a:pt x="437" y="168"/>
                    <a:pt x="441" y="169"/>
                    <a:pt x="444" y="170"/>
                  </a:cubicBezTo>
                  <a:cubicBezTo>
                    <a:pt x="446" y="170"/>
                    <a:pt x="449" y="170"/>
                    <a:pt x="453" y="170"/>
                  </a:cubicBezTo>
                  <a:cubicBezTo>
                    <a:pt x="459" y="170"/>
                    <a:pt x="467" y="169"/>
                    <a:pt x="472" y="169"/>
                  </a:cubicBezTo>
                  <a:cubicBezTo>
                    <a:pt x="476" y="168"/>
                    <a:pt x="479" y="168"/>
                    <a:pt x="481" y="168"/>
                  </a:cubicBezTo>
                  <a:cubicBezTo>
                    <a:pt x="482" y="169"/>
                    <a:pt x="482" y="169"/>
                    <a:pt x="482" y="169"/>
                  </a:cubicBezTo>
                  <a:cubicBezTo>
                    <a:pt x="481" y="172"/>
                    <a:pt x="476" y="176"/>
                    <a:pt x="465" y="176"/>
                  </a:cubicBezTo>
                  <a:cubicBezTo>
                    <a:pt x="463" y="176"/>
                    <a:pt x="459" y="175"/>
                    <a:pt x="455" y="175"/>
                  </a:cubicBezTo>
                  <a:cubicBezTo>
                    <a:pt x="451" y="175"/>
                    <a:pt x="445" y="174"/>
                    <a:pt x="440" y="174"/>
                  </a:cubicBezTo>
                  <a:cubicBezTo>
                    <a:pt x="428" y="174"/>
                    <a:pt x="421" y="176"/>
                    <a:pt x="416" y="181"/>
                  </a:cubicBezTo>
                  <a:cubicBezTo>
                    <a:pt x="410" y="188"/>
                    <a:pt x="410" y="193"/>
                    <a:pt x="410" y="196"/>
                  </a:cubicBezTo>
                  <a:cubicBezTo>
                    <a:pt x="410" y="198"/>
                    <a:pt x="411" y="199"/>
                    <a:pt x="408" y="200"/>
                  </a:cubicBezTo>
                  <a:cubicBezTo>
                    <a:pt x="408" y="200"/>
                    <a:pt x="408" y="200"/>
                    <a:pt x="408" y="200"/>
                  </a:cubicBezTo>
                  <a:close/>
                  <a:moveTo>
                    <a:pt x="432" y="169"/>
                  </a:moveTo>
                  <a:cubicBezTo>
                    <a:pt x="421" y="169"/>
                    <a:pt x="411" y="172"/>
                    <a:pt x="407" y="176"/>
                  </a:cubicBezTo>
                  <a:cubicBezTo>
                    <a:pt x="403" y="180"/>
                    <a:pt x="403" y="191"/>
                    <a:pt x="405" y="196"/>
                  </a:cubicBezTo>
                  <a:cubicBezTo>
                    <a:pt x="406" y="198"/>
                    <a:pt x="407" y="199"/>
                    <a:pt x="408" y="199"/>
                  </a:cubicBezTo>
                  <a:cubicBezTo>
                    <a:pt x="409" y="199"/>
                    <a:pt x="410" y="198"/>
                    <a:pt x="409" y="196"/>
                  </a:cubicBezTo>
                  <a:cubicBezTo>
                    <a:pt x="409" y="193"/>
                    <a:pt x="409" y="188"/>
                    <a:pt x="416" y="180"/>
                  </a:cubicBezTo>
                  <a:cubicBezTo>
                    <a:pt x="420" y="176"/>
                    <a:pt x="428" y="173"/>
                    <a:pt x="440" y="173"/>
                  </a:cubicBezTo>
                  <a:cubicBezTo>
                    <a:pt x="445" y="173"/>
                    <a:pt x="451" y="174"/>
                    <a:pt x="455" y="174"/>
                  </a:cubicBezTo>
                  <a:cubicBezTo>
                    <a:pt x="459" y="174"/>
                    <a:pt x="463" y="175"/>
                    <a:pt x="465" y="175"/>
                  </a:cubicBezTo>
                  <a:cubicBezTo>
                    <a:pt x="475" y="175"/>
                    <a:pt x="481" y="171"/>
                    <a:pt x="481" y="169"/>
                  </a:cubicBezTo>
                  <a:cubicBezTo>
                    <a:pt x="481" y="169"/>
                    <a:pt x="481" y="169"/>
                    <a:pt x="480" y="169"/>
                  </a:cubicBezTo>
                  <a:cubicBezTo>
                    <a:pt x="480" y="169"/>
                    <a:pt x="480" y="169"/>
                    <a:pt x="480" y="169"/>
                  </a:cubicBezTo>
                  <a:cubicBezTo>
                    <a:pt x="478" y="169"/>
                    <a:pt x="475" y="169"/>
                    <a:pt x="472" y="170"/>
                  </a:cubicBezTo>
                  <a:cubicBezTo>
                    <a:pt x="467" y="170"/>
                    <a:pt x="459" y="171"/>
                    <a:pt x="453" y="171"/>
                  </a:cubicBezTo>
                  <a:cubicBezTo>
                    <a:pt x="449" y="171"/>
                    <a:pt x="446" y="171"/>
                    <a:pt x="444" y="171"/>
                  </a:cubicBezTo>
                  <a:cubicBezTo>
                    <a:pt x="441" y="170"/>
                    <a:pt x="437" y="169"/>
                    <a:pt x="432" y="169"/>
                  </a:cubicBezTo>
                  <a:close/>
                  <a:moveTo>
                    <a:pt x="219" y="178"/>
                  </a:moveTo>
                  <a:cubicBezTo>
                    <a:pt x="213" y="178"/>
                    <a:pt x="202" y="174"/>
                    <a:pt x="201" y="171"/>
                  </a:cubicBezTo>
                  <a:cubicBezTo>
                    <a:pt x="200" y="171"/>
                    <a:pt x="200" y="171"/>
                    <a:pt x="201" y="170"/>
                  </a:cubicBezTo>
                  <a:cubicBezTo>
                    <a:pt x="201" y="170"/>
                    <a:pt x="202" y="169"/>
                    <a:pt x="204" y="169"/>
                  </a:cubicBezTo>
                  <a:cubicBezTo>
                    <a:pt x="209" y="169"/>
                    <a:pt x="220" y="171"/>
                    <a:pt x="222" y="175"/>
                  </a:cubicBezTo>
                  <a:cubicBezTo>
                    <a:pt x="222" y="176"/>
                    <a:pt x="222" y="176"/>
                    <a:pt x="222" y="177"/>
                  </a:cubicBezTo>
                  <a:cubicBezTo>
                    <a:pt x="221" y="178"/>
                    <a:pt x="220" y="178"/>
                    <a:pt x="219" y="178"/>
                  </a:cubicBezTo>
                  <a:close/>
                  <a:moveTo>
                    <a:pt x="204" y="170"/>
                  </a:moveTo>
                  <a:cubicBezTo>
                    <a:pt x="202" y="170"/>
                    <a:pt x="202" y="171"/>
                    <a:pt x="201" y="171"/>
                  </a:cubicBezTo>
                  <a:cubicBezTo>
                    <a:pt x="201" y="171"/>
                    <a:pt x="201" y="171"/>
                    <a:pt x="201" y="171"/>
                  </a:cubicBezTo>
                  <a:cubicBezTo>
                    <a:pt x="202" y="174"/>
                    <a:pt x="213" y="177"/>
                    <a:pt x="219" y="177"/>
                  </a:cubicBezTo>
                  <a:cubicBezTo>
                    <a:pt x="220" y="177"/>
                    <a:pt x="221" y="177"/>
                    <a:pt x="221" y="176"/>
                  </a:cubicBezTo>
                  <a:cubicBezTo>
                    <a:pt x="221" y="176"/>
                    <a:pt x="221" y="176"/>
                    <a:pt x="221" y="175"/>
                  </a:cubicBezTo>
                  <a:cubicBezTo>
                    <a:pt x="220" y="173"/>
                    <a:pt x="210" y="170"/>
                    <a:pt x="204" y="1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3" name="Freeform 160"/>
            <p:cNvSpPr>
              <a:spLocks noEditPoints="1"/>
            </p:cNvSpPr>
            <p:nvPr/>
          </p:nvSpPr>
          <p:spPr>
            <a:xfrm>
              <a:off x="5081589" y="3675063"/>
              <a:ext cx="454025" cy="468313"/>
            </a:xfrm>
            <a:custGeom>
              <a:gdLst>
                <a:gd name="T0" fmla="*/ 210 w 268"/>
                <a:gd name="T1" fmla="*/ 252 h 276"/>
                <a:gd name="T2" fmla="*/ 187 w 268"/>
                <a:gd name="T3" fmla="*/ 252 h 276"/>
                <a:gd name="T4" fmla="*/ 180 w 268"/>
                <a:gd name="T5" fmla="*/ 244 h 276"/>
                <a:gd name="T6" fmla="*/ 165 w 268"/>
                <a:gd name="T7" fmla="*/ 239 h 276"/>
                <a:gd name="T8" fmla="*/ 144 w 268"/>
                <a:gd name="T9" fmla="*/ 243 h 276"/>
                <a:gd name="T10" fmla="*/ 133 w 268"/>
                <a:gd name="T11" fmla="*/ 221 h 276"/>
                <a:gd name="T12" fmla="*/ 128 w 268"/>
                <a:gd name="T13" fmla="*/ 186 h 276"/>
                <a:gd name="T14" fmla="*/ 101 w 268"/>
                <a:gd name="T15" fmla="*/ 191 h 276"/>
                <a:gd name="T16" fmla="*/ 69 w 268"/>
                <a:gd name="T17" fmla="*/ 190 h 276"/>
                <a:gd name="T18" fmla="*/ 14 w 268"/>
                <a:gd name="T19" fmla="*/ 167 h 276"/>
                <a:gd name="T20" fmla="*/ 0 w 268"/>
                <a:gd name="T21" fmla="*/ 153 h 276"/>
                <a:gd name="T22" fmla="*/ 16 w 268"/>
                <a:gd name="T23" fmla="*/ 147 h 276"/>
                <a:gd name="T24" fmla="*/ 36 w 268"/>
                <a:gd name="T25" fmla="*/ 150 h 276"/>
                <a:gd name="T26" fmla="*/ 50 w 268"/>
                <a:gd name="T27" fmla="*/ 139 h 276"/>
                <a:gd name="T28" fmla="*/ 62 w 268"/>
                <a:gd name="T29" fmla="*/ 97 h 276"/>
                <a:gd name="T30" fmla="*/ 86 w 268"/>
                <a:gd name="T31" fmla="*/ 41 h 276"/>
                <a:gd name="T32" fmla="*/ 115 w 268"/>
                <a:gd name="T33" fmla="*/ 13 h 276"/>
                <a:gd name="T34" fmla="*/ 174 w 268"/>
                <a:gd name="T35" fmla="*/ 4 h 276"/>
                <a:gd name="T36" fmla="*/ 202 w 268"/>
                <a:gd name="T37" fmla="*/ 4 h 276"/>
                <a:gd name="T38" fmla="*/ 217 w 268"/>
                <a:gd name="T39" fmla="*/ 6 h 276"/>
                <a:gd name="T40" fmla="*/ 240 w 268"/>
                <a:gd name="T41" fmla="*/ 13 h 276"/>
                <a:gd name="T42" fmla="*/ 264 w 268"/>
                <a:gd name="T43" fmla="*/ 27 h 276"/>
                <a:gd name="T44" fmla="*/ 263 w 268"/>
                <a:gd name="T45" fmla="*/ 53 h 276"/>
                <a:gd name="T46" fmla="*/ 248 w 268"/>
                <a:gd name="T47" fmla="*/ 76 h 276"/>
                <a:gd name="T48" fmla="*/ 239 w 268"/>
                <a:gd name="T49" fmla="*/ 110 h 276"/>
                <a:gd name="T50" fmla="*/ 239 w 268"/>
                <a:gd name="T51" fmla="*/ 118 h 276"/>
                <a:gd name="T52" fmla="*/ 237 w 268"/>
                <a:gd name="T53" fmla="*/ 137 h 276"/>
                <a:gd name="T54" fmla="*/ 256 w 268"/>
                <a:gd name="T55" fmla="*/ 197 h 276"/>
                <a:gd name="T56" fmla="*/ 236 w 268"/>
                <a:gd name="T57" fmla="*/ 203 h 276"/>
                <a:gd name="T58" fmla="*/ 230 w 268"/>
                <a:gd name="T59" fmla="*/ 219 h 276"/>
                <a:gd name="T60" fmla="*/ 229 w 268"/>
                <a:gd name="T61" fmla="*/ 253 h 276"/>
                <a:gd name="T62" fmla="*/ 248 w 268"/>
                <a:gd name="T63" fmla="*/ 268 h 276"/>
                <a:gd name="T64" fmla="*/ 211 w 268"/>
                <a:gd name="T65" fmla="*/ 251 h 276"/>
                <a:gd name="T66" fmla="*/ 245 w 268"/>
                <a:gd name="T67" fmla="*/ 274 h 276"/>
                <a:gd name="T68" fmla="*/ 236 w 268"/>
                <a:gd name="T69" fmla="*/ 262 h 276"/>
                <a:gd name="T70" fmla="*/ 230 w 268"/>
                <a:gd name="T71" fmla="*/ 230 h 276"/>
                <a:gd name="T72" fmla="*/ 234 w 268"/>
                <a:gd name="T73" fmla="*/ 203 h 276"/>
                <a:gd name="T74" fmla="*/ 253 w 268"/>
                <a:gd name="T75" fmla="*/ 199 h 276"/>
                <a:gd name="T76" fmla="*/ 236 w 268"/>
                <a:gd name="T77" fmla="*/ 133 h 276"/>
                <a:gd name="T78" fmla="*/ 234 w 268"/>
                <a:gd name="T79" fmla="*/ 114 h 276"/>
                <a:gd name="T80" fmla="*/ 247 w 268"/>
                <a:gd name="T81" fmla="*/ 76 h 276"/>
                <a:gd name="T82" fmla="*/ 262 w 268"/>
                <a:gd name="T83" fmla="*/ 53 h 276"/>
                <a:gd name="T84" fmla="*/ 263 w 268"/>
                <a:gd name="T85" fmla="*/ 26 h 276"/>
                <a:gd name="T86" fmla="*/ 239 w 268"/>
                <a:gd name="T87" fmla="*/ 14 h 276"/>
                <a:gd name="T88" fmla="*/ 216 w 268"/>
                <a:gd name="T89" fmla="*/ 6 h 276"/>
                <a:gd name="T90" fmla="*/ 186 w 268"/>
                <a:gd name="T91" fmla="*/ 3 h 276"/>
                <a:gd name="T92" fmla="*/ 156 w 268"/>
                <a:gd name="T93" fmla="*/ 10 h 276"/>
                <a:gd name="T94" fmla="*/ 143 w 268"/>
                <a:gd name="T95" fmla="*/ 19 h 276"/>
                <a:gd name="T96" fmla="*/ 89 w 268"/>
                <a:gd name="T97" fmla="*/ 27 h 276"/>
                <a:gd name="T98" fmla="*/ 70 w 268"/>
                <a:gd name="T99" fmla="*/ 88 h 276"/>
                <a:gd name="T100" fmla="*/ 54 w 268"/>
                <a:gd name="T101" fmla="*/ 134 h 276"/>
                <a:gd name="T102" fmla="*/ 35 w 268"/>
                <a:gd name="T103" fmla="*/ 150 h 276"/>
                <a:gd name="T104" fmla="*/ 16 w 268"/>
                <a:gd name="T105" fmla="*/ 148 h 276"/>
                <a:gd name="T106" fmla="*/ 6 w 268"/>
                <a:gd name="T107" fmla="*/ 170 h 276"/>
                <a:gd name="T108" fmla="*/ 62 w 268"/>
                <a:gd name="T109" fmla="*/ 166 h 276"/>
                <a:gd name="T110" fmla="*/ 82 w 268"/>
                <a:gd name="T111" fmla="*/ 198 h 276"/>
                <a:gd name="T112" fmla="*/ 104 w 268"/>
                <a:gd name="T113" fmla="*/ 183 h 276"/>
                <a:gd name="T114" fmla="*/ 123 w 268"/>
                <a:gd name="T115" fmla="*/ 186 h 276"/>
                <a:gd name="T116" fmla="*/ 135 w 268"/>
                <a:gd name="T117" fmla="*/ 208 h 276"/>
                <a:gd name="T118" fmla="*/ 143 w 268"/>
                <a:gd name="T119" fmla="*/ 242 h 276"/>
                <a:gd name="T120" fmla="*/ 165 w 268"/>
                <a:gd name="T121" fmla="*/ 238 h 276"/>
                <a:gd name="T122" fmla="*/ 182 w 268"/>
                <a:gd name="T123" fmla="*/ 244 h 276"/>
                <a:gd name="T124" fmla="*/ 199 w 268"/>
                <a:gd name="T125" fmla="*/ 255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76">
                  <a:moveTo>
                    <a:pt x="239" y="276"/>
                  </a:moveTo>
                  <a:cubicBezTo>
                    <a:pt x="237" y="276"/>
                    <a:pt x="236" y="276"/>
                    <a:pt x="234" y="275"/>
                  </a:cubicBezTo>
                  <a:cubicBezTo>
                    <a:pt x="231" y="272"/>
                    <a:pt x="228" y="265"/>
                    <a:pt x="228" y="262"/>
                  </a:cubicBezTo>
                  <a:cubicBezTo>
                    <a:pt x="228" y="261"/>
                    <a:pt x="225" y="260"/>
                    <a:pt x="218" y="260"/>
                  </a:cubicBezTo>
                  <a:cubicBezTo>
                    <a:pt x="215" y="260"/>
                    <a:pt x="211" y="255"/>
                    <a:pt x="210" y="252"/>
                  </a:cubicBezTo>
                  <a:cubicBezTo>
                    <a:pt x="210" y="251"/>
                    <a:pt x="209" y="251"/>
                    <a:pt x="209" y="251"/>
                  </a:cubicBezTo>
                  <a:cubicBezTo>
                    <a:pt x="207" y="251"/>
                    <a:pt x="206" y="253"/>
                    <a:pt x="206" y="254"/>
                  </a:cubicBezTo>
                  <a:cubicBezTo>
                    <a:pt x="206" y="256"/>
                    <a:pt x="202" y="256"/>
                    <a:pt x="199" y="256"/>
                  </a:cubicBezTo>
                  <a:cubicBezTo>
                    <a:pt x="197" y="256"/>
                    <a:pt x="195" y="255"/>
                    <a:pt x="193" y="254"/>
                  </a:cubicBezTo>
                  <a:cubicBezTo>
                    <a:pt x="191" y="253"/>
                    <a:pt x="189" y="252"/>
                    <a:pt x="187" y="252"/>
                  </a:cubicBezTo>
                  <a:cubicBezTo>
                    <a:pt x="187" y="252"/>
                    <a:pt x="187" y="252"/>
                    <a:pt x="187" y="253"/>
                  </a:cubicBezTo>
                  <a:cubicBezTo>
                    <a:pt x="185" y="253"/>
                    <a:pt x="184" y="253"/>
                    <a:pt x="183" y="251"/>
                  </a:cubicBezTo>
                  <a:cubicBezTo>
                    <a:pt x="182" y="250"/>
                    <a:pt x="181" y="247"/>
                    <a:pt x="181" y="245"/>
                  </a:cubicBezTo>
                  <a:cubicBezTo>
                    <a:pt x="181" y="245"/>
                    <a:pt x="181" y="245"/>
                    <a:pt x="181" y="245"/>
                  </a:cubicBezTo>
                  <a:cubicBezTo>
                    <a:pt x="181" y="244"/>
                    <a:pt x="181" y="244"/>
                    <a:pt x="180" y="244"/>
                  </a:cubicBezTo>
                  <a:cubicBezTo>
                    <a:pt x="178" y="244"/>
                    <a:pt x="175" y="245"/>
                    <a:pt x="173" y="246"/>
                  </a:cubicBezTo>
                  <a:cubicBezTo>
                    <a:pt x="172" y="246"/>
                    <a:pt x="172" y="246"/>
                    <a:pt x="172" y="246"/>
                  </a:cubicBezTo>
                  <a:cubicBezTo>
                    <a:pt x="170" y="246"/>
                    <a:pt x="169" y="243"/>
                    <a:pt x="168" y="243"/>
                  </a:cubicBezTo>
                  <a:cubicBezTo>
                    <a:pt x="168" y="243"/>
                    <a:pt x="168" y="243"/>
                    <a:pt x="168" y="243"/>
                  </a:cubicBezTo>
                  <a:cubicBezTo>
                    <a:pt x="168" y="243"/>
                    <a:pt x="167" y="240"/>
                    <a:pt x="165" y="239"/>
                  </a:cubicBezTo>
                  <a:cubicBezTo>
                    <a:pt x="164" y="239"/>
                    <a:pt x="163" y="239"/>
                    <a:pt x="161" y="239"/>
                  </a:cubicBezTo>
                  <a:cubicBezTo>
                    <a:pt x="158" y="240"/>
                    <a:pt x="156" y="240"/>
                    <a:pt x="154" y="240"/>
                  </a:cubicBezTo>
                  <a:cubicBezTo>
                    <a:pt x="153" y="240"/>
                    <a:pt x="152" y="240"/>
                    <a:pt x="151" y="240"/>
                  </a:cubicBezTo>
                  <a:cubicBezTo>
                    <a:pt x="150" y="240"/>
                    <a:pt x="149" y="240"/>
                    <a:pt x="148" y="240"/>
                  </a:cubicBezTo>
                  <a:cubicBezTo>
                    <a:pt x="146" y="240"/>
                    <a:pt x="145" y="242"/>
                    <a:pt x="144" y="243"/>
                  </a:cubicBezTo>
                  <a:cubicBezTo>
                    <a:pt x="143" y="243"/>
                    <a:pt x="142" y="244"/>
                    <a:pt x="141" y="244"/>
                  </a:cubicBezTo>
                  <a:cubicBezTo>
                    <a:pt x="141" y="244"/>
                    <a:pt x="141" y="244"/>
                    <a:pt x="140" y="244"/>
                  </a:cubicBezTo>
                  <a:cubicBezTo>
                    <a:pt x="138" y="244"/>
                    <a:pt x="139" y="238"/>
                    <a:pt x="140" y="233"/>
                  </a:cubicBezTo>
                  <a:cubicBezTo>
                    <a:pt x="140" y="232"/>
                    <a:pt x="140" y="232"/>
                    <a:pt x="140" y="232"/>
                  </a:cubicBezTo>
                  <a:cubicBezTo>
                    <a:pt x="141" y="229"/>
                    <a:pt x="136" y="223"/>
                    <a:pt x="133" y="221"/>
                  </a:cubicBezTo>
                  <a:cubicBezTo>
                    <a:pt x="131" y="219"/>
                    <a:pt x="133" y="214"/>
                    <a:pt x="134" y="208"/>
                  </a:cubicBezTo>
                  <a:cubicBezTo>
                    <a:pt x="135" y="205"/>
                    <a:pt x="136" y="201"/>
                    <a:pt x="135" y="200"/>
                  </a:cubicBezTo>
                  <a:cubicBezTo>
                    <a:pt x="133" y="198"/>
                    <a:pt x="132" y="191"/>
                    <a:pt x="132" y="188"/>
                  </a:cubicBezTo>
                  <a:cubicBezTo>
                    <a:pt x="132" y="186"/>
                    <a:pt x="132" y="186"/>
                    <a:pt x="131" y="186"/>
                  </a:cubicBezTo>
                  <a:cubicBezTo>
                    <a:pt x="130" y="186"/>
                    <a:pt x="129" y="186"/>
                    <a:pt x="128" y="186"/>
                  </a:cubicBezTo>
                  <a:cubicBezTo>
                    <a:pt x="127" y="187"/>
                    <a:pt x="125" y="187"/>
                    <a:pt x="123" y="187"/>
                  </a:cubicBezTo>
                  <a:cubicBezTo>
                    <a:pt x="118" y="187"/>
                    <a:pt x="116" y="184"/>
                    <a:pt x="116" y="184"/>
                  </a:cubicBezTo>
                  <a:cubicBezTo>
                    <a:pt x="115" y="183"/>
                    <a:pt x="112" y="183"/>
                    <a:pt x="109" y="183"/>
                  </a:cubicBezTo>
                  <a:cubicBezTo>
                    <a:pt x="107" y="183"/>
                    <a:pt x="106" y="183"/>
                    <a:pt x="105" y="184"/>
                  </a:cubicBezTo>
                  <a:cubicBezTo>
                    <a:pt x="103" y="184"/>
                    <a:pt x="102" y="188"/>
                    <a:pt x="101" y="191"/>
                  </a:cubicBezTo>
                  <a:cubicBezTo>
                    <a:pt x="101" y="194"/>
                    <a:pt x="100" y="197"/>
                    <a:pt x="99" y="197"/>
                  </a:cubicBezTo>
                  <a:cubicBezTo>
                    <a:pt x="99" y="197"/>
                    <a:pt x="99" y="197"/>
                    <a:pt x="99" y="196"/>
                  </a:cubicBezTo>
                  <a:cubicBezTo>
                    <a:pt x="98" y="196"/>
                    <a:pt x="98" y="196"/>
                    <a:pt x="97" y="196"/>
                  </a:cubicBezTo>
                  <a:cubicBezTo>
                    <a:pt x="93" y="196"/>
                    <a:pt x="87" y="197"/>
                    <a:pt x="82" y="199"/>
                  </a:cubicBezTo>
                  <a:cubicBezTo>
                    <a:pt x="75" y="201"/>
                    <a:pt x="72" y="198"/>
                    <a:pt x="69" y="190"/>
                  </a:cubicBezTo>
                  <a:cubicBezTo>
                    <a:pt x="68" y="186"/>
                    <a:pt x="66" y="185"/>
                    <a:pt x="65" y="184"/>
                  </a:cubicBezTo>
                  <a:cubicBezTo>
                    <a:pt x="64" y="183"/>
                    <a:pt x="63" y="182"/>
                    <a:pt x="63" y="178"/>
                  </a:cubicBezTo>
                  <a:cubicBezTo>
                    <a:pt x="64" y="174"/>
                    <a:pt x="62" y="168"/>
                    <a:pt x="61" y="167"/>
                  </a:cubicBezTo>
                  <a:cubicBezTo>
                    <a:pt x="59" y="167"/>
                    <a:pt x="41" y="167"/>
                    <a:pt x="28" y="167"/>
                  </a:cubicBezTo>
                  <a:cubicBezTo>
                    <a:pt x="20" y="167"/>
                    <a:pt x="16" y="167"/>
                    <a:pt x="14" y="167"/>
                  </a:cubicBezTo>
                  <a:cubicBezTo>
                    <a:pt x="13" y="167"/>
                    <a:pt x="11" y="168"/>
                    <a:pt x="6" y="171"/>
                  </a:cubicBezTo>
                  <a:cubicBezTo>
                    <a:pt x="6" y="172"/>
                    <a:pt x="6" y="172"/>
                    <a:pt x="6" y="172"/>
                  </a:cubicBezTo>
                  <a:cubicBezTo>
                    <a:pt x="5" y="171"/>
                    <a:pt x="5" y="171"/>
                    <a:pt x="5" y="171"/>
                  </a:cubicBezTo>
                  <a:cubicBezTo>
                    <a:pt x="5" y="170"/>
                    <a:pt x="5" y="170"/>
                    <a:pt x="5" y="169"/>
                  </a:cubicBezTo>
                  <a:cubicBezTo>
                    <a:pt x="4" y="164"/>
                    <a:pt x="3" y="159"/>
                    <a:pt x="0" y="153"/>
                  </a:cubicBezTo>
                  <a:cubicBezTo>
                    <a:pt x="0" y="153"/>
                    <a:pt x="0" y="153"/>
                    <a:pt x="0" y="153"/>
                  </a:cubicBezTo>
                  <a:cubicBezTo>
                    <a:pt x="0" y="153"/>
                    <a:pt x="0" y="153"/>
                    <a:pt x="0" y="153"/>
                  </a:cubicBezTo>
                  <a:cubicBezTo>
                    <a:pt x="3" y="151"/>
                    <a:pt x="11" y="145"/>
                    <a:pt x="14" y="145"/>
                  </a:cubicBezTo>
                  <a:cubicBezTo>
                    <a:pt x="14" y="146"/>
                    <a:pt x="14" y="146"/>
                    <a:pt x="14" y="146"/>
                  </a:cubicBezTo>
                  <a:cubicBezTo>
                    <a:pt x="15" y="146"/>
                    <a:pt x="16" y="146"/>
                    <a:pt x="16" y="147"/>
                  </a:cubicBezTo>
                  <a:cubicBezTo>
                    <a:pt x="17" y="148"/>
                    <a:pt x="18" y="148"/>
                    <a:pt x="20" y="148"/>
                  </a:cubicBezTo>
                  <a:cubicBezTo>
                    <a:pt x="21" y="148"/>
                    <a:pt x="22" y="148"/>
                    <a:pt x="24" y="147"/>
                  </a:cubicBezTo>
                  <a:cubicBezTo>
                    <a:pt x="26" y="145"/>
                    <a:pt x="29" y="143"/>
                    <a:pt x="31" y="143"/>
                  </a:cubicBezTo>
                  <a:cubicBezTo>
                    <a:pt x="34" y="143"/>
                    <a:pt x="36" y="145"/>
                    <a:pt x="36" y="148"/>
                  </a:cubicBezTo>
                  <a:cubicBezTo>
                    <a:pt x="36" y="149"/>
                    <a:pt x="36" y="149"/>
                    <a:pt x="36" y="150"/>
                  </a:cubicBezTo>
                  <a:cubicBezTo>
                    <a:pt x="37" y="150"/>
                    <a:pt x="37" y="150"/>
                    <a:pt x="37" y="150"/>
                  </a:cubicBezTo>
                  <a:cubicBezTo>
                    <a:pt x="37" y="150"/>
                    <a:pt x="37" y="150"/>
                    <a:pt x="37" y="150"/>
                  </a:cubicBezTo>
                  <a:cubicBezTo>
                    <a:pt x="38" y="150"/>
                    <a:pt x="40" y="148"/>
                    <a:pt x="42" y="147"/>
                  </a:cubicBezTo>
                  <a:cubicBezTo>
                    <a:pt x="43" y="145"/>
                    <a:pt x="45" y="144"/>
                    <a:pt x="47" y="144"/>
                  </a:cubicBezTo>
                  <a:cubicBezTo>
                    <a:pt x="49" y="144"/>
                    <a:pt x="50" y="144"/>
                    <a:pt x="50" y="139"/>
                  </a:cubicBezTo>
                  <a:cubicBezTo>
                    <a:pt x="50" y="134"/>
                    <a:pt x="52" y="134"/>
                    <a:pt x="53" y="133"/>
                  </a:cubicBezTo>
                  <a:cubicBezTo>
                    <a:pt x="55" y="133"/>
                    <a:pt x="56" y="133"/>
                    <a:pt x="56" y="128"/>
                  </a:cubicBezTo>
                  <a:cubicBezTo>
                    <a:pt x="56" y="122"/>
                    <a:pt x="56" y="116"/>
                    <a:pt x="56" y="111"/>
                  </a:cubicBezTo>
                  <a:cubicBezTo>
                    <a:pt x="57" y="108"/>
                    <a:pt x="57" y="106"/>
                    <a:pt x="57" y="104"/>
                  </a:cubicBezTo>
                  <a:cubicBezTo>
                    <a:pt x="57" y="102"/>
                    <a:pt x="59" y="100"/>
                    <a:pt x="62" y="97"/>
                  </a:cubicBezTo>
                  <a:cubicBezTo>
                    <a:pt x="65" y="94"/>
                    <a:pt x="69" y="91"/>
                    <a:pt x="69" y="88"/>
                  </a:cubicBezTo>
                  <a:cubicBezTo>
                    <a:pt x="69" y="84"/>
                    <a:pt x="72" y="79"/>
                    <a:pt x="74" y="74"/>
                  </a:cubicBezTo>
                  <a:cubicBezTo>
                    <a:pt x="77" y="68"/>
                    <a:pt x="80" y="62"/>
                    <a:pt x="80" y="57"/>
                  </a:cubicBezTo>
                  <a:cubicBezTo>
                    <a:pt x="80" y="50"/>
                    <a:pt x="82" y="47"/>
                    <a:pt x="84" y="44"/>
                  </a:cubicBezTo>
                  <a:cubicBezTo>
                    <a:pt x="84" y="43"/>
                    <a:pt x="85" y="42"/>
                    <a:pt x="86" y="41"/>
                  </a:cubicBezTo>
                  <a:cubicBezTo>
                    <a:pt x="87" y="38"/>
                    <a:pt x="89" y="32"/>
                    <a:pt x="88" y="27"/>
                  </a:cubicBezTo>
                  <a:cubicBezTo>
                    <a:pt x="88" y="17"/>
                    <a:pt x="88" y="17"/>
                    <a:pt x="88" y="17"/>
                  </a:cubicBezTo>
                  <a:cubicBezTo>
                    <a:pt x="88" y="17"/>
                    <a:pt x="88" y="17"/>
                    <a:pt x="88" y="17"/>
                  </a:cubicBezTo>
                  <a:cubicBezTo>
                    <a:pt x="88" y="16"/>
                    <a:pt x="97" y="5"/>
                    <a:pt x="103" y="5"/>
                  </a:cubicBezTo>
                  <a:cubicBezTo>
                    <a:pt x="109" y="5"/>
                    <a:pt x="114" y="12"/>
                    <a:pt x="115" y="13"/>
                  </a:cubicBezTo>
                  <a:cubicBezTo>
                    <a:pt x="142" y="18"/>
                    <a:pt x="142" y="18"/>
                    <a:pt x="142" y="18"/>
                  </a:cubicBezTo>
                  <a:cubicBezTo>
                    <a:pt x="143" y="16"/>
                    <a:pt x="145" y="10"/>
                    <a:pt x="147" y="8"/>
                  </a:cubicBezTo>
                  <a:cubicBezTo>
                    <a:pt x="148" y="8"/>
                    <a:pt x="150" y="8"/>
                    <a:pt x="153" y="8"/>
                  </a:cubicBezTo>
                  <a:cubicBezTo>
                    <a:pt x="155" y="9"/>
                    <a:pt x="157" y="9"/>
                    <a:pt x="159" y="8"/>
                  </a:cubicBezTo>
                  <a:cubicBezTo>
                    <a:pt x="162" y="7"/>
                    <a:pt x="168" y="4"/>
                    <a:pt x="174" y="4"/>
                  </a:cubicBezTo>
                  <a:cubicBezTo>
                    <a:pt x="176" y="4"/>
                    <a:pt x="178" y="4"/>
                    <a:pt x="180" y="5"/>
                  </a:cubicBezTo>
                  <a:cubicBezTo>
                    <a:pt x="181" y="5"/>
                    <a:pt x="181" y="5"/>
                    <a:pt x="182" y="5"/>
                  </a:cubicBezTo>
                  <a:cubicBezTo>
                    <a:pt x="183" y="5"/>
                    <a:pt x="184" y="5"/>
                    <a:pt x="185" y="2"/>
                  </a:cubicBezTo>
                  <a:cubicBezTo>
                    <a:pt x="186" y="1"/>
                    <a:pt x="188" y="0"/>
                    <a:pt x="190" y="0"/>
                  </a:cubicBezTo>
                  <a:cubicBezTo>
                    <a:pt x="195" y="0"/>
                    <a:pt x="201" y="3"/>
                    <a:pt x="202" y="4"/>
                  </a:cubicBezTo>
                  <a:cubicBezTo>
                    <a:pt x="212" y="2"/>
                    <a:pt x="212" y="2"/>
                    <a:pt x="212" y="2"/>
                  </a:cubicBezTo>
                  <a:cubicBezTo>
                    <a:pt x="212" y="2"/>
                    <a:pt x="212" y="2"/>
                    <a:pt x="212" y="2"/>
                  </a:cubicBezTo>
                  <a:cubicBezTo>
                    <a:pt x="212" y="1"/>
                    <a:pt x="212" y="1"/>
                    <a:pt x="212" y="1"/>
                  </a:cubicBezTo>
                  <a:cubicBezTo>
                    <a:pt x="213" y="2"/>
                    <a:pt x="213" y="2"/>
                    <a:pt x="213" y="2"/>
                  </a:cubicBezTo>
                  <a:cubicBezTo>
                    <a:pt x="214" y="2"/>
                    <a:pt x="216" y="3"/>
                    <a:pt x="217" y="6"/>
                  </a:cubicBezTo>
                  <a:cubicBezTo>
                    <a:pt x="219" y="10"/>
                    <a:pt x="223" y="12"/>
                    <a:pt x="223" y="13"/>
                  </a:cubicBezTo>
                  <a:cubicBezTo>
                    <a:pt x="223" y="13"/>
                    <a:pt x="225" y="14"/>
                    <a:pt x="228" y="14"/>
                  </a:cubicBezTo>
                  <a:cubicBezTo>
                    <a:pt x="229" y="14"/>
                    <a:pt x="230" y="14"/>
                    <a:pt x="231" y="13"/>
                  </a:cubicBezTo>
                  <a:cubicBezTo>
                    <a:pt x="232" y="12"/>
                    <a:pt x="233" y="11"/>
                    <a:pt x="235" y="11"/>
                  </a:cubicBezTo>
                  <a:cubicBezTo>
                    <a:pt x="237" y="11"/>
                    <a:pt x="239" y="13"/>
                    <a:pt x="240" y="13"/>
                  </a:cubicBezTo>
                  <a:cubicBezTo>
                    <a:pt x="241" y="13"/>
                    <a:pt x="243" y="11"/>
                    <a:pt x="245" y="11"/>
                  </a:cubicBezTo>
                  <a:cubicBezTo>
                    <a:pt x="246" y="11"/>
                    <a:pt x="247" y="11"/>
                    <a:pt x="247" y="12"/>
                  </a:cubicBezTo>
                  <a:cubicBezTo>
                    <a:pt x="249" y="13"/>
                    <a:pt x="257" y="20"/>
                    <a:pt x="264" y="26"/>
                  </a:cubicBezTo>
                  <a:cubicBezTo>
                    <a:pt x="265" y="26"/>
                    <a:pt x="265" y="26"/>
                    <a:pt x="265" y="26"/>
                  </a:cubicBezTo>
                  <a:cubicBezTo>
                    <a:pt x="264" y="27"/>
                    <a:pt x="264" y="27"/>
                    <a:pt x="264" y="27"/>
                  </a:cubicBezTo>
                  <a:cubicBezTo>
                    <a:pt x="264" y="28"/>
                    <a:pt x="263" y="36"/>
                    <a:pt x="263" y="39"/>
                  </a:cubicBezTo>
                  <a:cubicBezTo>
                    <a:pt x="263" y="41"/>
                    <a:pt x="264" y="41"/>
                    <a:pt x="265" y="42"/>
                  </a:cubicBezTo>
                  <a:cubicBezTo>
                    <a:pt x="266" y="43"/>
                    <a:pt x="268" y="44"/>
                    <a:pt x="268" y="46"/>
                  </a:cubicBezTo>
                  <a:cubicBezTo>
                    <a:pt x="268" y="48"/>
                    <a:pt x="266" y="49"/>
                    <a:pt x="265" y="51"/>
                  </a:cubicBezTo>
                  <a:cubicBezTo>
                    <a:pt x="264" y="52"/>
                    <a:pt x="263" y="53"/>
                    <a:pt x="263" y="53"/>
                  </a:cubicBezTo>
                  <a:cubicBezTo>
                    <a:pt x="263" y="55"/>
                    <a:pt x="261" y="57"/>
                    <a:pt x="257" y="58"/>
                  </a:cubicBezTo>
                  <a:cubicBezTo>
                    <a:pt x="255" y="59"/>
                    <a:pt x="255" y="60"/>
                    <a:pt x="254" y="62"/>
                  </a:cubicBezTo>
                  <a:cubicBezTo>
                    <a:pt x="253" y="64"/>
                    <a:pt x="253" y="65"/>
                    <a:pt x="252" y="66"/>
                  </a:cubicBezTo>
                  <a:cubicBezTo>
                    <a:pt x="250" y="67"/>
                    <a:pt x="250" y="69"/>
                    <a:pt x="249" y="71"/>
                  </a:cubicBezTo>
                  <a:cubicBezTo>
                    <a:pt x="249" y="73"/>
                    <a:pt x="249" y="75"/>
                    <a:pt x="248" y="76"/>
                  </a:cubicBezTo>
                  <a:cubicBezTo>
                    <a:pt x="247" y="80"/>
                    <a:pt x="246" y="84"/>
                    <a:pt x="246" y="89"/>
                  </a:cubicBezTo>
                  <a:cubicBezTo>
                    <a:pt x="246" y="91"/>
                    <a:pt x="245" y="97"/>
                    <a:pt x="243" y="99"/>
                  </a:cubicBezTo>
                  <a:cubicBezTo>
                    <a:pt x="242" y="100"/>
                    <a:pt x="242" y="101"/>
                    <a:pt x="241" y="101"/>
                  </a:cubicBezTo>
                  <a:cubicBezTo>
                    <a:pt x="238" y="102"/>
                    <a:pt x="238" y="108"/>
                    <a:pt x="239" y="110"/>
                  </a:cubicBezTo>
                  <a:cubicBezTo>
                    <a:pt x="239" y="110"/>
                    <a:pt x="239" y="110"/>
                    <a:pt x="239" y="110"/>
                  </a:cubicBezTo>
                  <a:cubicBezTo>
                    <a:pt x="238" y="110"/>
                    <a:pt x="238" y="110"/>
                    <a:pt x="238" y="110"/>
                  </a:cubicBezTo>
                  <a:cubicBezTo>
                    <a:pt x="238" y="110"/>
                    <a:pt x="235" y="111"/>
                    <a:pt x="235" y="114"/>
                  </a:cubicBezTo>
                  <a:cubicBezTo>
                    <a:pt x="235" y="116"/>
                    <a:pt x="237" y="117"/>
                    <a:pt x="238" y="118"/>
                  </a:cubicBezTo>
                  <a:cubicBezTo>
                    <a:pt x="239" y="118"/>
                    <a:pt x="239" y="118"/>
                    <a:pt x="239" y="118"/>
                  </a:cubicBezTo>
                  <a:cubicBezTo>
                    <a:pt x="239" y="118"/>
                    <a:pt x="239" y="118"/>
                    <a:pt x="239" y="118"/>
                  </a:cubicBezTo>
                  <a:cubicBezTo>
                    <a:pt x="239" y="119"/>
                    <a:pt x="239" y="119"/>
                    <a:pt x="239" y="119"/>
                  </a:cubicBezTo>
                  <a:cubicBezTo>
                    <a:pt x="240" y="132"/>
                    <a:pt x="240" y="132"/>
                    <a:pt x="240" y="132"/>
                  </a:cubicBezTo>
                  <a:cubicBezTo>
                    <a:pt x="239" y="130"/>
                    <a:pt x="239" y="130"/>
                    <a:pt x="239" y="130"/>
                  </a:cubicBezTo>
                  <a:cubicBezTo>
                    <a:pt x="238" y="129"/>
                    <a:pt x="238" y="129"/>
                    <a:pt x="238" y="129"/>
                  </a:cubicBezTo>
                  <a:cubicBezTo>
                    <a:pt x="238" y="129"/>
                    <a:pt x="237" y="129"/>
                    <a:pt x="237" y="137"/>
                  </a:cubicBezTo>
                  <a:cubicBezTo>
                    <a:pt x="237" y="153"/>
                    <a:pt x="240" y="179"/>
                    <a:pt x="245" y="182"/>
                  </a:cubicBezTo>
                  <a:cubicBezTo>
                    <a:pt x="248" y="183"/>
                    <a:pt x="251" y="188"/>
                    <a:pt x="253" y="193"/>
                  </a:cubicBezTo>
                  <a:cubicBezTo>
                    <a:pt x="254" y="194"/>
                    <a:pt x="255" y="195"/>
                    <a:pt x="256" y="197"/>
                  </a:cubicBezTo>
                  <a:cubicBezTo>
                    <a:pt x="256" y="197"/>
                    <a:pt x="256" y="197"/>
                    <a:pt x="256" y="197"/>
                  </a:cubicBezTo>
                  <a:cubicBezTo>
                    <a:pt x="256" y="197"/>
                    <a:pt x="256" y="197"/>
                    <a:pt x="256" y="197"/>
                  </a:cubicBezTo>
                  <a:cubicBezTo>
                    <a:pt x="255" y="198"/>
                    <a:pt x="255" y="199"/>
                    <a:pt x="255" y="199"/>
                  </a:cubicBezTo>
                  <a:cubicBezTo>
                    <a:pt x="254" y="200"/>
                    <a:pt x="254" y="200"/>
                    <a:pt x="254" y="200"/>
                  </a:cubicBezTo>
                  <a:cubicBezTo>
                    <a:pt x="254" y="200"/>
                    <a:pt x="254" y="200"/>
                    <a:pt x="254" y="200"/>
                  </a:cubicBezTo>
                  <a:cubicBezTo>
                    <a:pt x="251" y="203"/>
                    <a:pt x="243" y="203"/>
                    <a:pt x="238" y="203"/>
                  </a:cubicBezTo>
                  <a:cubicBezTo>
                    <a:pt x="237" y="203"/>
                    <a:pt x="237" y="203"/>
                    <a:pt x="236" y="203"/>
                  </a:cubicBezTo>
                  <a:cubicBezTo>
                    <a:pt x="235" y="203"/>
                    <a:pt x="235" y="203"/>
                    <a:pt x="234" y="203"/>
                  </a:cubicBezTo>
                  <a:cubicBezTo>
                    <a:pt x="234" y="204"/>
                    <a:pt x="234" y="206"/>
                    <a:pt x="234" y="207"/>
                  </a:cubicBezTo>
                  <a:cubicBezTo>
                    <a:pt x="234" y="209"/>
                    <a:pt x="234" y="211"/>
                    <a:pt x="233" y="213"/>
                  </a:cubicBezTo>
                  <a:cubicBezTo>
                    <a:pt x="231" y="214"/>
                    <a:pt x="229" y="216"/>
                    <a:pt x="229" y="218"/>
                  </a:cubicBezTo>
                  <a:cubicBezTo>
                    <a:pt x="229" y="219"/>
                    <a:pt x="230" y="219"/>
                    <a:pt x="230" y="219"/>
                  </a:cubicBezTo>
                  <a:cubicBezTo>
                    <a:pt x="233" y="220"/>
                    <a:pt x="232" y="226"/>
                    <a:pt x="231" y="231"/>
                  </a:cubicBezTo>
                  <a:cubicBezTo>
                    <a:pt x="230" y="233"/>
                    <a:pt x="230" y="235"/>
                    <a:pt x="230" y="236"/>
                  </a:cubicBezTo>
                  <a:cubicBezTo>
                    <a:pt x="230" y="238"/>
                    <a:pt x="229" y="240"/>
                    <a:pt x="228" y="243"/>
                  </a:cubicBezTo>
                  <a:cubicBezTo>
                    <a:pt x="227" y="245"/>
                    <a:pt x="226" y="249"/>
                    <a:pt x="227" y="249"/>
                  </a:cubicBezTo>
                  <a:cubicBezTo>
                    <a:pt x="227" y="250"/>
                    <a:pt x="228" y="251"/>
                    <a:pt x="229" y="253"/>
                  </a:cubicBezTo>
                  <a:cubicBezTo>
                    <a:pt x="231" y="256"/>
                    <a:pt x="234" y="260"/>
                    <a:pt x="236" y="261"/>
                  </a:cubicBezTo>
                  <a:cubicBezTo>
                    <a:pt x="237" y="261"/>
                    <a:pt x="237" y="261"/>
                    <a:pt x="238" y="261"/>
                  </a:cubicBezTo>
                  <a:cubicBezTo>
                    <a:pt x="240" y="261"/>
                    <a:pt x="242" y="260"/>
                    <a:pt x="243" y="259"/>
                  </a:cubicBezTo>
                  <a:cubicBezTo>
                    <a:pt x="244" y="258"/>
                    <a:pt x="245" y="257"/>
                    <a:pt x="246" y="257"/>
                  </a:cubicBezTo>
                  <a:cubicBezTo>
                    <a:pt x="248" y="257"/>
                    <a:pt x="248" y="262"/>
                    <a:pt x="248" y="268"/>
                  </a:cubicBezTo>
                  <a:cubicBezTo>
                    <a:pt x="248" y="273"/>
                    <a:pt x="246" y="275"/>
                    <a:pt x="245" y="275"/>
                  </a:cubicBezTo>
                  <a:cubicBezTo>
                    <a:pt x="245" y="275"/>
                    <a:pt x="245" y="275"/>
                    <a:pt x="245" y="275"/>
                  </a:cubicBezTo>
                  <a:cubicBezTo>
                    <a:pt x="245" y="275"/>
                    <a:pt x="242" y="276"/>
                    <a:pt x="239" y="276"/>
                  </a:cubicBezTo>
                  <a:close/>
                  <a:moveTo>
                    <a:pt x="209" y="250"/>
                  </a:moveTo>
                  <a:cubicBezTo>
                    <a:pt x="210" y="250"/>
                    <a:pt x="210" y="250"/>
                    <a:pt x="211" y="251"/>
                  </a:cubicBezTo>
                  <a:cubicBezTo>
                    <a:pt x="212" y="254"/>
                    <a:pt x="215" y="259"/>
                    <a:pt x="218" y="259"/>
                  </a:cubicBezTo>
                  <a:cubicBezTo>
                    <a:pt x="224" y="259"/>
                    <a:pt x="229" y="260"/>
                    <a:pt x="229" y="262"/>
                  </a:cubicBezTo>
                  <a:cubicBezTo>
                    <a:pt x="229" y="265"/>
                    <a:pt x="232" y="272"/>
                    <a:pt x="235" y="274"/>
                  </a:cubicBezTo>
                  <a:cubicBezTo>
                    <a:pt x="236" y="275"/>
                    <a:pt x="237" y="275"/>
                    <a:pt x="239" y="275"/>
                  </a:cubicBezTo>
                  <a:cubicBezTo>
                    <a:pt x="242" y="275"/>
                    <a:pt x="244" y="274"/>
                    <a:pt x="245" y="274"/>
                  </a:cubicBezTo>
                  <a:cubicBezTo>
                    <a:pt x="245" y="274"/>
                    <a:pt x="247" y="272"/>
                    <a:pt x="247" y="268"/>
                  </a:cubicBezTo>
                  <a:cubicBezTo>
                    <a:pt x="247" y="265"/>
                    <a:pt x="247" y="258"/>
                    <a:pt x="246" y="258"/>
                  </a:cubicBezTo>
                  <a:cubicBezTo>
                    <a:pt x="245" y="258"/>
                    <a:pt x="244" y="259"/>
                    <a:pt x="243" y="260"/>
                  </a:cubicBezTo>
                  <a:cubicBezTo>
                    <a:pt x="242" y="261"/>
                    <a:pt x="240" y="262"/>
                    <a:pt x="238" y="262"/>
                  </a:cubicBezTo>
                  <a:cubicBezTo>
                    <a:pt x="237" y="262"/>
                    <a:pt x="237" y="262"/>
                    <a:pt x="236" y="262"/>
                  </a:cubicBezTo>
                  <a:cubicBezTo>
                    <a:pt x="233" y="261"/>
                    <a:pt x="230" y="257"/>
                    <a:pt x="229" y="253"/>
                  </a:cubicBezTo>
                  <a:cubicBezTo>
                    <a:pt x="228" y="252"/>
                    <a:pt x="227" y="250"/>
                    <a:pt x="226" y="250"/>
                  </a:cubicBezTo>
                  <a:cubicBezTo>
                    <a:pt x="225" y="249"/>
                    <a:pt x="226" y="246"/>
                    <a:pt x="227" y="243"/>
                  </a:cubicBezTo>
                  <a:cubicBezTo>
                    <a:pt x="228" y="240"/>
                    <a:pt x="229" y="238"/>
                    <a:pt x="229" y="236"/>
                  </a:cubicBezTo>
                  <a:cubicBezTo>
                    <a:pt x="229" y="235"/>
                    <a:pt x="229" y="233"/>
                    <a:pt x="230" y="230"/>
                  </a:cubicBezTo>
                  <a:cubicBezTo>
                    <a:pt x="230" y="227"/>
                    <a:pt x="231" y="221"/>
                    <a:pt x="230" y="220"/>
                  </a:cubicBezTo>
                  <a:cubicBezTo>
                    <a:pt x="229" y="220"/>
                    <a:pt x="229" y="219"/>
                    <a:pt x="228" y="218"/>
                  </a:cubicBezTo>
                  <a:cubicBezTo>
                    <a:pt x="228" y="216"/>
                    <a:pt x="230" y="214"/>
                    <a:pt x="232" y="212"/>
                  </a:cubicBezTo>
                  <a:cubicBezTo>
                    <a:pt x="233" y="211"/>
                    <a:pt x="233" y="209"/>
                    <a:pt x="233" y="207"/>
                  </a:cubicBezTo>
                  <a:cubicBezTo>
                    <a:pt x="233" y="205"/>
                    <a:pt x="233" y="204"/>
                    <a:pt x="234" y="203"/>
                  </a:cubicBezTo>
                  <a:cubicBezTo>
                    <a:pt x="234" y="202"/>
                    <a:pt x="235" y="202"/>
                    <a:pt x="236" y="202"/>
                  </a:cubicBezTo>
                  <a:cubicBezTo>
                    <a:pt x="237" y="202"/>
                    <a:pt x="237" y="202"/>
                    <a:pt x="238" y="202"/>
                  </a:cubicBezTo>
                  <a:cubicBezTo>
                    <a:pt x="239" y="202"/>
                    <a:pt x="240" y="202"/>
                    <a:pt x="240" y="202"/>
                  </a:cubicBezTo>
                  <a:cubicBezTo>
                    <a:pt x="245" y="202"/>
                    <a:pt x="251" y="202"/>
                    <a:pt x="253" y="200"/>
                  </a:cubicBezTo>
                  <a:cubicBezTo>
                    <a:pt x="253" y="199"/>
                    <a:pt x="253" y="199"/>
                    <a:pt x="253" y="199"/>
                  </a:cubicBezTo>
                  <a:cubicBezTo>
                    <a:pt x="254" y="199"/>
                    <a:pt x="254" y="199"/>
                    <a:pt x="254" y="199"/>
                  </a:cubicBezTo>
                  <a:cubicBezTo>
                    <a:pt x="254" y="198"/>
                    <a:pt x="254" y="198"/>
                    <a:pt x="255" y="197"/>
                  </a:cubicBezTo>
                  <a:cubicBezTo>
                    <a:pt x="254" y="196"/>
                    <a:pt x="253" y="195"/>
                    <a:pt x="252" y="193"/>
                  </a:cubicBezTo>
                  <a:cubicBezTo>
                    <a:pt x="250" y="189"/>
                    <a:pt x="247" y="184"/>
                    <a:pt x="244" y="183"/>
                  </a:cubicBezTo>
                  <a:cubicBezTo>
                    <a:pt x="238" y="179"/>
                    <a:pt x="235" y="145"/>
                    <a:pt x="236" y="133"/>
                  </a:cubicBezTo>
                  <a:cubicBezTo>
                    <a:pt x="237" y="129"/>
                    <a:pt x="237" y="128"/>
                    <a:pt x="238" y="128"/>
                  </a:cubicBezTo>
                  <a:cubicBezTo>
                    <a:pt x="238" y="128"/>
                    <a:pt x="238" y="128"/>
                    <a:pt x="239" y="128"/>
                  </a:cubicBezTo>
                  <a:cubicBezTo>
                    <a:pt x="238" y="119"/>
                    <a:pt x="238" y="119"/>
                    <a:pt x="238" y="119"/>
                  </a:cubicBezTo>
                  <a:cubicBezTo>
                    <a:pt x="238" y="119"/>
                    <a:pt x="238" y="119"/>
                    <a:pt x="238" y="119"/>
                  </a:cubicBezTo>
                  <a:cubicBezTo>
                    <a:pt x="236" y="118"/>
                    <a:pt x="234" y="117"/>
                    <a:pt x="234" y="114"/>
                  </a:cubicBezTo>
                  <a:cubicBezTo>
                    <a:pt x="234" y="111"/>
                    <a:pt x="236" y="110"/>
                    <a:pt x="237" y="109"/>
                  </a:cubicBezTo>
                  <a:cubicBezTo>
                    <a:pt x="237" y="108"/>
                    <a:pt x="237" y="101"/>
                    <a:pt x="241" y="100"/>
                  </a:cubicBezTo>
                  <a:cubicBezTo>
                    <a:pt x="242" y="99"/>
                    <a:pt x="242" y="99"/>
                    <a:pt x="242" y="99"/>
                  </a:cubicBezTo>
                  <a:cubicBezTo>
                    <a:pt x="244" y="96"/>
                    <a:pt x="245" y="91"/>
                    <a:pt x="245" y="89"/>
                  </a:cubicBezTo>
                  <a:cubicBezTo>
                    <a:pt x="245" y="84"/>
                    <a:pt x="246" y="79"/>
                    <a:pt x="247" y="76"/>
                  </a:cubicBezTo>
                  <a:cubicBezTo>
                    <a:pt x="248" y="74"/>
                    <a:pt x="248" y="73"/>
                    <a:pt x="248" y="71"/>
                  </a:cubicBezTo>
                  <a:cubicBezTo>
                    <a:pt x="249" y="69"/>
                    <a:pt x="249" y="67"/>
                    <a:pt x="251" y="65"/>
                  </a:cubicBezTo>
                  <a:cubicBezTo>
                    <a:pt x="252" y="64"/>
                    <a:pt x="253" y="63"/>
                    <a:pt x="253" y="62"/>
                  </a:cubicBezTo>
                  <a:cubicBezTo>
                    <a:pt x="254" y="60"/>
                    <a:pt x="255" y="58"/>
                    <a:pt x="257" y="57"/>
                  </a:cubicBezTo>
                  <a:cubicBezTo>
                    <a:pt x="260" y="56"/>
                    <a:pt x="262" y="55"/>
                    <a:pt x="262" y="53"/>
                  </a:cubicBezTo>
                  <a:cubicBezTo>
                    <a:pt x="263" y="52"/>
                    <a:pt x="263" y="51"/>
                    <a:pt x="264" y="50"/>
                  </a:cubicBezTo>
                  <a:cubicBezTo>
                    <a:pt x="265" y="49"/>
                    <a:pt x="267" y="47"/>
                    <a:pt x="267" y="46"/>
                  </a:cubicBezTo>
                  <a:cubicBezTo>
                    <a:pt x="267" y="45"/>
                    <a:pt x="266" y="44"/>
                    <a:pt x="264" y="43"/>
                  </a:cubicBezTo>
                  <a:cubicBezTo>
                    <a:pt x="263" y="42"/>
                    <a:pt x="262" y="41"/>
                    <a:pt x="262" y="39"/>
                  </a:cubicBezTo>
                  <a:cubicBezTo>
                    <a:pt x="262" y="35"/>
                    <a:pt x="263" y="27"/>
                    <a:pt x="263" y="26"/>
                  </a:cubicBezTo>
                  <a:cubicBezTo>
                    <a:pt x="256" y="20"/>
                    <a:pt x="248" y="14"/>
                    <a:pt x="247" y="12"/>
                  </a:cubicBezTo>
                  <a:cubicBezTo>
                    <a:pt x="246" y="12"/>
                    <a:pt x="246" y="12"/>
                    <a:pt x="245" y="12"/>
                  </a:cubicBezTo>
                  <a:cubicBezTo>
                    <a:pt x="243" y="12"/>
                    <a:pt x="240" y="14"/>
                    <a:pt x="240" y="14"/>
                  </a:cubicBezTo>
                  <a:cubicBezTo>
                    <a:pt x="240" y="15"/>
                    <a:pt x="240" y="15"/>
                    <a:pt x="240" y="15"/>
                  </a:cubicBezTo>
                  <a:cubicBezTo>
                    <a:pt x="239" y="14"/>
                    <a:pt x="239" y="14"/>
                    <a:pt x="239" y="14"/>
                  </a:cubicBezTo>
                  <a:cubicBezTo>
                    <a:pt x="239" y="14"/>
                    <a:pt x="237" y="12"/>
                    <a:pt x="235" y="12"/>
                  </a:cubicBezTo>
                  <a:cubicBezTo>
                    <a:pt x="234" y="12"/>
                    <a:pt x="233" y="12"/>
                    <a:pt x="232" y="13"/>
                  </a:cubicBezTo>
                  <a:cubicBezTo>
                    <a:pt x="231" y="14"/>
                    <a:pt x="229" y="15"/>
                    <a:pt x="228" y="15"/>
                  </a:cubicBezTo>
                  <a:cubicBezTo>
                    <a:pt x="225" y="15"/>
                    <a:pt x="222" y="13"/>
                    <a:pt x="222" y="13"/>
                  </a:cubicBezTo>
                  <a:cubicBezTo>
                    <a:pt x="222" y="13"/>
                    <a:pt x="218" y="11"/>
                    <a:pt x="216" y="6"/>
                  </a:cubicBezTo>
                  <a:cubicBezTo>
                    <a:pt x="215" y="5"/>
                    <a:pt x="215" y="4"/>
                    <a:pt x="213" y="3"/>
                  </a:cubicBezTo>
                  <a:cubicBezTo>
                    <a:pt x="202" y="5"/>
                    <a:pt x="202" y="5"/>
                    <a:pt x="202" y="5"/>
                  </a:cubicBezTo>
                  <a:cubicBezTo>
                    <a:pt x="202" y="5"/>
                    <a:pt x="202" y="5"/>
                    <a:pt x="202" y="5"/>
                  </a:cubicBezTo>
                  <a:cubicBezTo>
                    <a:pt x="202" y="5"/>
                    <a:pt x="195" y="1"/>
                    <a:pt x="190" y="1"/>
                  </a:cubicBezTo>
                  <a:cubicBezTo>
                    <a:pt x="188" y="1"/>
                    <a:pt x="187" y="2"/>
                    <a:pt x="186" y="3"/>
                  </a:cubicBezTo>
                  <a:cubicBezTo>
                    <a:pt x="185" y="5"/>
                    <a:pt x="184" y="6"/>
                    <a:pt x="182" y="6"/>
                  </a:cubicBezTo>
                  <a:cubicBezTo>
                    <a:pt x="181" y="6"/>
                    <a:pt x="180" y="6"/>
                    <a:pt x="179" y="6"/>
                  </a:cubicBezTo>
                  <a:cubicBezTo>
                    <a:pt x="178" y="5"/>
                    <a:pt x="176" y="5"/>
                    <a:pt x="174" y="5"/>
                  </a:cubicBezTo>
                  <a:cubicBezTo>
                    <a:pt x="168" y="5"/>
                    <a:pt x="163" y="7"/>
                    <a:pt x="159" y="9"/>
                  </a:cubicBezTo>
                  <a:cubicBezTo>
                    <a:pt x="158" y="10"/>
                    <a:pt x="158" y="10"/>
                    <a:pt x="156" y="10"/>
                  </a:cubicBezTo>
                  <a:cubicBezTo>
                    <a:pt x="155" y="10"/>
                    <a:pt x="154" y="10"/>
                    <a:pt x="153" y="9"/>
                  </a:cubicBezTo>
                  <a:cubicBezTo>
                    <a:pt x="150" y="9"/>
                    <a:pt x="149" y="9"/>
                    <a:pt x="148" y="9"/>
                  </a:cubicBezTo>
                  <a:cubicBezTo>
                    <a:pt x="146" y="11"/>
                    <a:pt x="144" y="17"/>
                    <a:pt x="143" y="19"/>
                  </a:cubicBezTo>
                  <a:cubicBezTo>
                    <a:pt x="143" y="19"/>
                    <a:pt x="143" y="19"/>
                    <a:pt x="143" y="19"/>
                  </a:cubicBezTo>
                  <a:cubicBezTo>
                    <a:pt x="143" y="19"/>
                    <a:pt x="143" y="19"/>
                    <a:pt x="143" y="19"/>
                  </a:cubicBezTo>
                  <a:cubicBezTo>
                    <a:pt x="115" y="14"/>
                    <a:pt x="115" y="14"/>
                    <a:pt x="115" y="14"/>
                  </a:cubicBezTo>
                  <a:cubicBezTo>
                    <a:pt x="115" y="14"/>
                    <a:pt x="115" y="14"/>
                    <a:pt x="115" y="14"/>
                  </a:cubicBezTo>
                  <a:cubicBezTo>
                    <a:pt x="115" y="14"/>
                    <a:pt x="109" y="6"/>
                    <a:pt x="103" y="6"/>
                  </a:cubicBezTo>
                  <a:cubicBezTo>
                    <a:pt x="98" y="6"/>
                    <a:pt x="90" y="16"/>
                    <a:pt x="89" y="17"/>
                  </a:cubicBezTo>
                  <a:cubicBezTo>
                    <a:pt x="89" y="27"/>
                    <a:pt x="89" y="27"/>
                    <a:pt x="89" y="27"/>
                  </a:cubicBezTo>
                  <a:cubicBezTo>
                    <a:pt x="90" y="33"/>
                    <a:pt x="88" y="39"/>
                    <a:pt x="86" y="42"/>
                  </a:cubicBezTo>
                  <a:cubicBezTo>
                    <a:pt x="86" y="43"/>
                    <a:pt x="85" y="44"/>
                    <a:pt x="85" y="44"/>
                  </a:cubicBezTo>
                  <a:cubicBezTo>
                    <a:pt x="83" y="47"/>
                    <a:pt x="81" y="50"/>
                    <a:pt x="81" y="57"/>
                  </a:cubicBezTo>
                  <a:cubicBezTo>
                    <a:pt x="81" y="62"/>
                    <a:pt x="78" y="68"/>
                    <a:pt x="75" y="74"/>
                  </a:cubicBezTo>
                  <a:cubicBezTo>
                    <a:pt x="73" y="79"/>
                    <a:pt x="70" y="84"/>
                    <a:pt x="70" y="88"/>
                  </a:cubicBezTo>
                  <a:cubicBezTo>
                    <a:pt x="70" y="92"/>
                    <a:pt x="66" y="95"/>
                    <a:pt x="63" y="98"/>
                  </a:cubicBezTo>
                  <a:cubicBezTo>
                    <a:pt x="60" y="100"/>
                    <a:pt x="58" y="102"/>
                    <a:pt x="58" y="104"/>
                  </a:cubicBezTo>
                  <a:cubicBezTo>
                    <a:pt x="58" y="106"/>
                    <a:pt x="58" y="108"/>
                    <a:pt x="57" y="112"/>
                  </a:cubicBezTo>
                  <a:cubicBezTo>
                    <a:pt x="57" y="116"/>
                    <a:pt x="57" y="122"/>
                    <a:pt x="57" y="128"/>
                  </a:cubicBezTo>
                  <a:cubicBezTo>
                    <a:pt x="57" y="133"/>
                    <a:pt x="55" y="134"/>
                    <a:pt x="54" y="134"/>
                  </a:cubicBezTo>
                  <a:cubicBezTo>
                    <a:pt x="52" y="135"/>
                    <a:pt x="51" y="135"/>
                    <a:pt x="51" y="139"/>
                  </a:cubicBezTo>
                  <a:cubicBezTo>
                    <a:pt x="51" y="144"/>
                    <a:pt x="50" y="145"/>
                    <a:pt x="47" y="145"/>
                  </a:cubicBezTo>
                  <a:cubicBezTo>
                    <a:pt x="46" y="145"/>
                    <a:pt x="44" y="146"/>
                    <a:pt x="42" y="147"/>
                  </a:cubicBezTo>
                  <a:cubicBezTo>
                    <a:pt x="39" y="150"/>
                    <a:pt x="38" y="151"/>
                    <a:pt x="37" y="151"/>
                  </a:cubicBezTo>
                  <a:cubicBezTo>
                    <a:pt x="36" y="151"/>
                    <a:pt x="36" y="151"/>
                    <a:pt x="35" y="150"/>
                  </a:cubicBezTo>
                  <a:cubicBezTo>
                    <a:pt x="35" y="150"/>
                    <a:pt x="35" y="149"/>
                    <a:pt x="35" y="148"/>
                  </a:cubicBezTo>
                  <a:cubicBezTo>
                    <a:pt x="35" y="145"/>
                    <a:pt x="33" y="144"/>
                    <a:pt x="31" y="144"/>
                  </a:cubicBezTo>
                  <a:cubicBezTo>
                    <a:pt x="29" y="144"/>
                    <a:pt x="26" y="146"/>
                    <a:pt x="24" y="147"/>
                  </a:cubicBezTo>
                  <a:cubicBezTo>
                    <a:pt x="23" y="149"/>
                    <a:pt x="21" y="149"/>
                    <a:pt x="20" y="149"/>
                  </a:cubicBezTo>
                  <a:cubicBezTo>
                    <a:pt x="18" y="149"/>
                    <a:pt x="17" y="148"/>
                    <a:pt x="16" y="148"/>
                  </a:cubicBezTo>
                  <a:cubicBezTo>
                    <a:pt x="15" y="147"/>
                    <a:pt x="14" y="147"/>
                    <a:pt x="14" y="147"/>
                  </a:cubicBezTo>
                  <a:cubicBezTo>
                    <a:pt x="14" y="146"/>
                    <a:pt x="14" y="146"/>
                    <a:pt x="14" y="146"/>
                  </a:cubicBezTo>
                  <a:cubicBezTo>
                    <a:pt x="12" y="146"/>
                    <a:pt x="7" y="149"/>
                    <a:pt x="1" y="153"/>
                  </a:cubicBezTo>
                  <a:cubicBezTo>
                    <a:pt x="4" y="159"/>
                    <a:pt x="5" y="164"/>
                    <a:pt x="6" y="169"/>
                  </a:cubicBezTo>
                  <a:cubicBezTo>
                    <a:pt x="6" y="170"/>
                    <a:pt x="6" y="170"/>
                    <a:pt x="6" y="170"/>
                  </a:cubicBezTo>
                  <a:cubicBezTo>
                    <a:pt x="10" y="167"/>
                    <a:pt x="12" y="166"/>
                    <a:pt x="14" y="166"/>
                  </a:cubicBezTo>
                  <a:cubicBezTo>
                    <a:pt x="15" y="166"/>
                    <a:pt x="20" y="166"/>
                    <a:pt x="28" y="166"/>
                  </a:cubicBezTo>
                  <a:cubicBezTo>
                    <a:pt x="42" y="166"/>
                    <a:pt x="61" y="166"/>
                    <a:pt x="61" y="166"/>
                  </a:cubicBezTo>
                  <a:cubicBezTo>
                    <a:pt x="62" y="166"/>
                    <a:pt x="62" y="166"/>
                    <a:pt x="62" y="166"/>
                  </a:cubicBezTo>
                  <a:cubicBezTo>
                    <a:pt x="62" y="166"/>
                    <a:pt x="62" y="166"/>
                    <a:pt x="62" y="166"/>
                  </a:cubicBezTo>
                  <a:cubicBezTo>
                    <a:pt x="62" y="166"/>
                    <a:pt x="66" y="173"/>
                    <a:pt x="64" y="179"/>
                  </a:cubicBezTo>
                  <a:cubicBezTo>
                    <a:pt x="64" y="182"/>
                    <a:pt x="64" y="182"/>
                    <a:pt x="66" y="183"/>
                  </a:cubicBezTo>
                  <a:cubicBezTo>
                    <a:pt x="67" y="184"/>
                    <a:pt x="69" y="186"/>
                    <a:pt x="70" y="189"/>
                  </a:cubicBezTo>
                  <a:cubicBezTo>
                    <a:pt x="73" y="195"/>
                    <a:pt x="75" y="199"/>
                    <a:pt x="79" y="199"/>
                  </a:cubicBezTo>
                  <a:cubicBezTo>
                    <a:pt x="80" y="199"/>
                    <a:pt x="81" y="198"/>
                    <a:pt x="82" y="198"/>
                  </a:cubicBezTo>
                  <a:cubicBezTo>
                    <a:pt x="87" y="196"/>
                    <a:pt x="93" y="195"/>
                    <a:pt x="97" y="195"/>
                  </a:cubicBezTo>
                  <a:cubicBezTo>
                    <a:pt x="98" y="195"/>
                    <a:pt x="98" y="195"/>
                    <a:pt x="99" y="196"/>
                  </a:cubicBezTo>
                  <a:cubicBezTo>
                    <a:pt x="99" y="196"/>
                    <a:pt x="99" y="196"/>
                    <a:pt x="99" y="196"/>
                  </a:cubicBezTo>
                  <a:cubicBezTo>
                    <a:pt x="100" y="196"/>
                    <a:pt x="100" y="193"/>
                    <a:pt x="100" y="191"/>
                  </a:cubicBezTo>
                  <a:cubicBezTo>
                    <a:pt x="101" y="188"/>
                    <a:pt x="102" y="184"/>
                    <a:pt x="104" y="183"/>
                  </a:cubicBezTo>
                  <a:cubicBezTo>
                    <a:pt x="105" y="182"/>
                    <a:pt x="107" y="182"/>
                    <a:pt x="109" y="182"/>
                  </a:cubicBezTo>
                  <a:cubicBezTo>
                    <a:pt x="113" y="182"/>
                    <a:pt x="116" y="183"/>
                    <a:pt x="116" y="183"/>
                  </a:cubicBezTo>
                  <a:cubicBezTo>
                    <a:pt x="117" y="183"/>
                    <a:pt x="117" y="183"/>
                    <a:pt x="117" y="183"/>
                  </a:cubicBezTo>
                  <a:cubicBezTo>
                    <a:pt x="117" y="183"/>
                    <a:pt x="117" y="183"/>
                    <a:pt x="117" y="183"/>
                  </a:cubicBezTo>
                  <a:cubicBezTo>
                    <a:pt x="117" y="183"/>
                    <a:pt x="117" y="186"/>
                    <a:pt x="123" y="186"/>
                  </a:cubicBezTo>
                  <a:cubicBezTo>
                    <a:pt x="125" y="186"/>
                    <a:pt x="127" y="186"/>
                    <a:pt x="128" y="185"/>
                  </a:cubicBezTo>
                  <a:cubicBezTo>
                    <a:pt x="129" y="185"/>
                    <a:pt x="130" y="185"/>
                    <a:pt x="131" y="185"/>
                  </a:cubicBezTo>
                  <a:cubicBezTo>
                    <a:pt x="133" y="185"/>
                    <a:pt x="133" y="186"/>
                    <a:pt x="133" y="188"/>
                  </a:cubicBezTo>
                  <a:cubicBezTo>
                    <a:pt x="133" y="194"/>
                    <a:pt x="134" y="198"/>
                    <a:pt x="136" y="199"/>
                  </a:cubicBezTo>
                  <a:cubicBezTo>
                    <a:pt x="137" y="201"/>
                    <a:pt x="136" y="203"/>
                    <a:pt x="135" y="208"/>
                  </a:cubicBezTo>
                  <a:cubicBezTo>
                    <a:pt x="134" y="213"/>
                    <a:pt x="132" y="219"/>
                    <a:pt x="134" y="220"/>
                  </a:cubicBezTo>
                  <a:cubicBezTo>
                    <a:pt x="137" y="223"/>
                    <a:pt x="142" y="229"/>
                    <a:pt x="141" y="232"/>
                  </a:cubicBezTo>
                  <a:cubicBezTo>
                    <a:pt x="141" y="233"/>
                    <a:pt x="141" y="233"/>
                    <a:pt x="141" y="233"/>
                  </a:cubicBezTo>
                  <a:cubicBezTo>
                    <a:pt x="140" y="236"/>
                    <a:pt x="139" y="243"/>
                    <a:pt x="141" y="243"/>
                  </a:cubicBezTo>
                  <a:cubicBezTo>
                    <a:pt x="142" y="243"/>
                    <a:pt x="142" y="243"/>
                    <a:pt x="143" y="242"/>
                  </a:cubicBezTo>
                  <a:cubicBezTo>
                    <a:pt x="144" y="241"/>
                    <a:pt x="146" y="239"/>
                    <a:pt x="148" y="239"/>
                  </a:cubicBezTo>
                  <a:cubicBezTo>
                    <a:pt x="149" y="239"/>
                    <a:pt x="150" y="239"/>
                    <a:pt x="151" y="239"/>
                  </a:cubicBezTo>
                  <a:cubicBezTo>
                    <a:pt x="152" y="239"/>
                    <a:pt x="153" y="239"/>
                    <a:pt x="154" y="239"/>
                  </a:cubicBezTo>
                  <a:cubicBezTo>
                    <a:pt x="156" y="239"/>
                    <a:pt x="158" y="239"/>
                    <a:pt x="161" y="238"/>
                  </a:cubicBezTo>
                  <a:cubicBezTo>
                    <a:pt x="162" y="238"/>
                    <a:pt x="164" y="238"/>
                    <a:pt x="165" y="238"/>
                  </a:cubicBezTo>
                  <a:cubicBezTo>
                    <a:pt x="168" y="239"/>
                    <a:pt x="169" y="242"/>
                    <a:pt x="169" y="242"/>
                  </a:cubicBezTo>
                  <a:cubicBezTo>
                    <a:pt x="170" y="243"/>
                    <a:pt x="171" y="245"/>
                    <a:pt x="172" y="245"/>
                  </a:cubicBezTo>
                  <a:cubicBezTo>
                    <a:pt x="172" y="245"/>
                    <a:pt x="172" y="245"/>
                    <a:pt x="173" y="245"/>
                  </a:cubicBezTo>
                  <a:cubicBezTo>
                    <a:pt x="174" y="244"/>
                    <a:pt x="178" y="243"/>
                    <a:pt x="180" y="243"/>
                  </a:cubicBezTo>
                  <a:cubicBezTo>
                    <a:pt x="181" y="243"/>
                    <a:pt x="182" y="243"/>
                    <a:pt x="182" y="244"/>
                  </a:cubicBezTo>
                  <a:cubicBezTo>
                    <a:pt x="182" y="244"/>
                    <a:pt x="183" y="245"/>
                    <a:pt x="182" y="245"/>
                  </a:cubicBezTo>
                  <a:cubicBezTo>
                    <a:pt x="182" y="247"/>
                    <a:pt x="183" y="249"/>
                    <a:pt x="184" y="251"/>
                  </a:cubicBezTo>
                  <a:cubicBezTo>
                    <a:pt x="185" y="252"/>
                    <a:pt x="185" y="252"/>
                    <a:pt x="186" y="252"/>
                  </a:cubicBezTo>
                  <a:cubicBezTo>
                    <a:pt x="188" y="251"/>
                    <a:pt x="191" y="252"/>
                    <a:pt x="193" y="254"/>
                  </a:cubicBezTo>
                  <a:cubicBezTo>
                    <a:pt x="195" y="254"/>
                    <a:pt x="197" y="255"/>
                    <a:pt x="199" y="255"/>
                  </a:cubicBezTo>
                  <a:cubicBezTo>
                    <a:pt x="201" y="255"/>
                    <a:pt x="205" y="255"/>
                    <a:pt x="205" y="254"/>
                  </a:cubicBezTo>
                  <a:cubicBezTo>
                    <a:pt x="205" y="252"/>
                    <a:pt x="207" y="250"/>
                    <a:pt x="209" y="2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4" name="Freeform 161"/>
            <p:cNvSpPr>
              <a:spLocks noEditPoints="1"/>
            </p:cNvSpPr>
            <p:nvPr/>
          </p:nvSpPr>
          <p:spPr>
            <a:xfrm>
              <a:off x="5480051" y="3867150"/>
              <a:ext cx="46038" cy="55563"/>
            </a:xfrm>
            <a:custGeom>
              <a:gdLst>
                <a:gd name="T0" fmla="*/ 8 w 27"/>
                <a:gd name="T1" fmla="*/ 33 h 33"/>
                <a:gd name="T2" fmla="*/ 7 w 27"/>
                <a:gd name="T3" fmla="*/ 31 h 33"/>
                <a:gd name="T4" fmla="*/ 4 w 27"/>
                <a:gd name="T5" fmla="*/ 17 h 33"/>
                <a:gd name="T6" fmla="*/ 4 w 27"/>
                <a:gd name="T7" fmla="*/ 17 h 33"/>
                <a:gd name="T8" fmla="*/ 3 w 27"/>
                <a:gd name="T9" fmla="*/ 6 h 33"/>
                <a:gd name="T10" fmla="*/ 3 w 27"/>
                <a:gd name="T11" fmla="*/ 6 h 33"/>
                <a:gd name="T12" fmla="*/ 0 w 27"/>
                <a:gd name="T13" fmla="*/ 5 h 33"/>
                <a:gd name="T14" fmla="*/ 3 w 27"/>
                <a:gd name="T15" fmla="*/ 5 h 33"/>
                <a:gd name="T16" fmla="*/ 8 w 27"/>
                <a:gd name="T17" fmla="*/ 5 h 33"/>
                <a:gd name="T18" fmla="*/ 14 w 27"/>
                <a:gd name="T19" fmla="*/ 4 h 33"/>
                <a:gd name="T20" fmla="*/ 14 w 27"/>
                <a:gd name="T21" fmla="*/ 1 h 33"/>
                <a:gd name="T22" fmla="*/ 14 w 27"/>
                <a:gd name="T23" fmla="*/ 1 h 33"/>
                <a:gd name="T24" fmla="*/ 15 w 27"/>
                <a:gd name="T25" fmla="*/ 1 h 33"/>
                <a:gd name="T26" fmla="*/ 17 w 27"/>
                <a:gd name="T27" fmla="*/ 1 h 33"/>
                <a:gd name="T28" fmla="*/ 22 w 27"/>
                <a:gd name="T29" fmla="*/ 1 h 33"/>
                <a:gd name="T30" fmla="*/ 22 w 27"/>
                <a:gd name="T31" fmla="*/ 0 h 33"/>
                <a:gd name="T32" fmla="*/ 22 w 27"/>
                <a:gd name="T33" fmla="*/ 1 h 33"/>
                <a:gd name="T34" fmla="*/ 23 w 27"/>
                <a:gd name="T35" fmla="*/ 8 h 33"/>
                <a:gd name="T36" fmla="*/ 27 w 27"/>
                <a:gd name="T37" fmla="*/ 11 h 33"/>
                <a:gd name="T38" fmla="*/ 27 w 27"/>
                <a:gd name="T39" fmla="*/ 11 h 33"/>
                <a:gd name="T40" fmla="*/ 14 w 27"/>
                <a:gd name="T41" fmla="*/ 29 h 33"/>
                <a:gd name="T42" fmla="*/ 8 w 27"/>
                <a:gd name="T43" fmla="*/ 32 h 33"/>
                <a:gd name="T44" fmla="*/ 8 w 27"/>
                <a:gd name="T45" fmla="*/ 33 h 33"/>
                <a:gd name="T46" fmla="*/ 5 w 27"/>
                <a:gd name="T47" fmla="*/ 16 h 33"/>
                <a:gd name="T48" fmla="*/ 8 w 27"/>
                <a:gd name="T49" fmla="*/ 31 h 33"/>
                <a:gd name="T50" fmla="*/ 14 w 27"/>
                <a:gd name="T51" fmla="*/ 28 h 33"/>
                <a:gd name="T52" fmla="*/ 25 w 27"/>
                <a:gd name="T53" fmla="*/ 11 h 33"/>
                <a:gd name="T54" fmla="*/ 22 w 27"/>
                <a:gd name="T55" fmla="*/ 9 h 33"/>
                <a:gd name="T56" fmla="*/ 22 w 27"/>
                <a:gd name="T57" fmla="*/ 9 h 33"/>
                <a:gd name="T58" fmla="*/ 21 w 27"/>
                <a:gd name="T59" fmla="*/ 2 h 33"/>
                <a:gd name="T60" fmla="*/ 17 w 27"/>
                <a:gd name="T61" fmla="*/ 2 h 33"/>
                <a:gd name="T62" fmla="*/ 15 w 27"/>
                <a:gd name="T63" fmla="*/ 2 h 33"/>
                <a:gd name="T64" fmla="*/ 14 w 27"/>
                <a:gd name="T65" fmla="*/ 5 h 33"/>
                <a:gd name="T66" fmla="*/ 7 w 27"/>
                <a:gd name="T67" fmla="*/ 6 h 33"/>
                <a:gd name="T68" fmla="*/ 4 w 27"/>
                <a:gd name="T69" fmla="*/ 6 h 33"/>
                <a:gd name="T70" fmla="*/ 5 w 27"/>
                <a:gd name="T71" fmla="*/ 16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33">
                  <a:moveTo>
                    <a:pt x="8" y="33"/>
                  </a:moveTo>
                  <a:cubicBezTo>
                    <a:pt x="7" y="31"/>
                    <a:pt x="7" y="31"/>
                    <a:pt x="7" y="31"/>
                  </a:cubicBezTo>
                  <a:cubicBezTo>
                    <a:pt x="6" y="25"/>
                    <a:pt x="5" y="19"/>
                    <a:pt x="4" y="17"/>
                  </a:cubicBezTo>
                  <a:cubicBezTo>
                    <a:pt x="4" y="17"/>
                    <a:pt x="4" y="17"/>
                    <a:pt x="4" y="17"/>
                  </a:cubicBezTo>
                  <a:cubicBezTo>
                    <a:pt x="3" y="6"/>
                    <a:pt x="3" y="6"/>
                    <a:pt x="3" y="6"/>
                  </a:cubicBezTo>
                  <a:cubicBezTo>
                    <a:pt x="3" y="6"/>
                    <a:pt x="3" y="6"/>
                    <a:pt x="3" y="6"/>
                  </a:cubicBezTo>
                  <a:cubicBezTo>
                    <a:pt x="0" y="5"/>
                    <a:pt x="0" y="5"/>
                    <a:pt x="0" y="5"/>
                  </a:cubicBezTo>
                  <a:cubicBezTo>
                    <a:pt x="3" y="5"/>
                    <a:pt x="3" y="5"/>
                    <a:pt x="3" y="5"/>
                  </a:cubicBezTo>
                  <a:cubicBezTo>
                    <a:pt x="5" y="5"/>
                    <a:pt x="6" y="5"/>
                    <a:pt x="8" y="5"/>
                  </a:cubicBezTo>
                  <a:cubicBezTo>
                    <a:pt x="10" y="6"/>
                    <a:pt x="13" y="5"/>
                    <a:pt x="14" y="4"/>
                  </a:cubicBezTo>
                  <a:cubicBezTo>
                    <a:pt x="15" y="3"/>
                    <a:pt x="14" y="1"/>
                    <a:pt x="14" y="1"/>
                  </a:cubicBezTo>
                  <a:cubicBezTo>
                    <a:pt x="14" y="1"/>
                    <a:pt x="14" y="1"/>
                    <a:pt x="14" y="1"/>
                  </a:cubicBezTo>
                  <a:cubicBezTo>
                    <a:pt x="15" y="1"/>
                    <a:pt x="15" y="1"/>
                    <a:pt x="15" y="1"/>
                  </a:cubicBezTo>
                  <a:cubicBezTo>
                    <a:pt x="15" y="1"/>
                    <a:pt x="16" y="1"/>
                    <a:pt x="17" y="1"/>
                  </a:cubicBezTo>
                  <a:cubicBezTo>
                    <a:pt x="18" y="1"/>
                    <a:pt x="20" y="1"/>
                    <a:pt x="22" y="1"/>
                  </a:cubicBezTo>
                  <a:cubicBezTo>
                    <a:pt x="22" y="0"/>
                    <a:pt x="22" y="0"/>
                    <a:pt x="22" y="0"/>
                  </a:cubicBezTo>
                  <a:cubicBezTo>
                    <a:pt x="22" y="1"/>
                    <a:pt x="22" y="1"/>
                    <a:pt x="22" y="1"/>
                  </a:cubicBezTo>
                  <a:cubicBezTo>
                    <a:pt x="23" y="5"/>
                    <a:pt x="23" y="7"/>
                    <a:pt x="23" y="8"/>
                  </a:cubicBezTo>
                  <a:cubicBezTo>
                    <a:pt x="27" y="11"/>
                    <a:pt x="27" y="11"/>
                    <a:pt x="27" y="11"/>
                  </a:cubicBezTo>
                  <a:cubicBezTo>
                    <a:pt x="27" y="11"/>
                    <a:pt x="27" y="11"/>
                    <a:pt x="27" y="11"/>
                  </a:cubicBezTo>
                  <a:cubicBezTo>
                    <a:pt x="26" y="12"/>
                    <a:pt x="18" y="27"/>
                    <a:pt x="14" y="29"/>
                  </a:cubicBezTo>
                  <a:cubicBezTo>
                    <a:pt x="14" y="29"/>
                    <a:pt x="12" y="30"/>
                    <a:pt x="8" y="32"/>
                  </a:cubicBezTo>
                  <a:lnTo>
                    <a:pt x="8" y="33"/>
                  </a:lnTo>
                  <a:close/>
                  <a:moveTo>
                    <a:pt x="5" y="16"/>
                  </a:moveTo>
                  <a:cubicBezTo>
                    <a:pt x="6" y="19"/>
                    <a:pt x="7" y="25"/>
                    <a:pt x="8" y="31"/>
                  </a:cubicBezTo>
                  <a:cubicBezTo>
                    <a:pt x="11" y="29"/>
                    <a:pt x="13" y="28"/>
                    <a:pt x="14" y="28"/>
                  </a:cubicBezTo>
                  <a:cubicBezTo>
                    <a:pt x="17" y="26"/>
                    <a:pt x="23" y="16"/>
                    <a:pt x="25" y="11"/>
                  </a:cubicBezTo>
                  <a:cubicBezTo>
                    <a:pt x="22" y="9"/>
                    <a:pt x="22" y="9"/>
                    <a:pt x="22" y="9"/>
                  </a:cubicBezTo>
                  <a:cubicBezTo>
                    <a:pt x="22" y="9"/>
                    <a:pt x="22" y="9"/>
                    <a:pt x="22" y="9"/>
                  </a:cubicBezTo>
                  <a:cubicBezTo>
                    <a:pt x="22" y="9"/>
                    <a:pt x="22" y="6"/>
                    <a:pt x="21" y="2"/>
                  </a:cubicBezTo>
                  <a:cubicBezTo>
                    <a:pt x="20" y="2"/>
                    <a:pt x="18" y="2"/>
                    <a:pt x="17" y="2"/>
                  </a:cubicBezTo>
                  <a:cubicBezTo>
                    <a:pt x="16" y="2"/>
                    <a:pt x="16" y="2"/>
                    <a:pt x="15" y="2"/>
                  </a:cubicBezTo>
                  <a:cubicBezTo>
                    <a:pt x="15" y="2"/>
                    <a:pt x="15" y="4"/>
                    <a:pt x="14" y="5"/>
                  </a:cubicBezTo>
                  <a:cubicBezTo>
                    <a:pt x="13" y="6"/>
                    <a:pt x="11" y="7"/>
                    <a:pt x="7" y="6"/>
                  </a:cubicBezTo>
                  <a:cubicBezTo>
                    <a:pt x="7" y="6"/>
                    <a:pt x="5" y="6"/>
                    <a:pt x="4" y="6"/>
                  </a:cubicBezTo>
                  <a:lnTo>
                    <a:pt x="5" y="16"/>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5" name="Freeform 162"/>
            <p:cNvSpPr>
              <a:spLocks noEditPoints="1"/>
            </p:cNvSpPr>
            <p:nvPr/>
          </p:nvSpPr>
          <p:spPr>
            <a:xfrm>
              <a:off x="5508626" y="4070350"/>
              <a:ext cx="265113" cy="427038"/>
            </a:xfrm>
            <a:custGeom>
              <a:gdLst>
                <a:gd name="T0" fmla="*/ 24 w 156"/>
                <a:gd name="T1" fmla="*/ 208 h 251"/>
                <a:gd name="T2" fmla="*/ 14 w 156"/>
                <a:gd name="T3" fmla="*/ 180 h 251"/>
                <a:gd name="T4" fmla="*/ 32 w 156"/>
                <a:gd name="T5" fmla="*/ 156 h 251"/>
                <a:gd name="T6" fmla="*/ 39 w 156"/>
                <a:gd name="T7" fmla="*/ 136 h 251"/>
                <a:gd name="T8" fmla="*/ 40 w 156"/>
                <a:gd name="T9" fmla="*/ 105 h 251"/>
                <a:gd name="T10" fmla="*/ 5 w 156"/>
                <a:gd name="T11" fmla="*/ 83 h 251"/>
                <a:gd name="T12" fmla="*/ 0 w 156"/>
                <a:gd name="T13" fmla="*/ 67 h 251"/>
                <a:gd name="T14" fmla="*/ 51 w 156"/>
                <a:gd name="T15" fmla="*/ 59 h 251"/>
                <a:gd name="T16" fmla="*/ 63 w 156"/>
                <a:gd name="T17" fmla="*/ 61 h 251"/>
                <a:gd name="T18" fmla="*/ 72 w 156"/>
                <a:gd name="T19" fmla="*/ 94 h 251"/>
                <a:gd name="T20" fmla="*/ 83 w 156"/>
                <a:gd name="T21" fmla="*/ 66 h 251"/>
                <a:gd name="T22" fmla="*/ 72 w 156"/>
                <a:gd name="T23" fmla="*/ 52 h 251"/>
                <a:gd name="T24" fmla="*/ 67 w 156"/>
                <a:gd name="T25" fmla="*/ 16 h 251"/>
                <a:gd name="T26" fmla="*/ 82 w 156"/>
                <a:gd name="T27" fmla="*/ 15 h 251"/>
                <a:gd name="T28" fmla="*/ 95 w 156"/>
                <a:gd name="T29" fmla="*/ 18 h 251"/>
                <a:gd name="T30" fmla="*/ 110 w 156"/>
                <a:gd name="T31" fmla="*/ 17 h 251"/>
                <a:gd name="T32" fmla="*/ 120 w 156"/>
                <a:gd name="T33" fmla="*/ 13 h 251"/>
                <a:gd name="T34" fmla="*/ 133 w 156"/>
                <a:gd name="T35" fmla="*/ 9 h 251"/>
                <a:gd name="T36" fmla="*/ 150 w 156"/>
                <a:gd name="T37" fmla="*/ 1 h 251"/>
                <a:gd name="T38" fmla="*/ 155 w 156"/>
                <a:gd name="T39" fmla="*/ 65 h 251"/>
                <a:gd name="T40" fmla="*/ 94 w 156"/>
                <a:gd name="T41" fmla="*/ 118 h 251"/>
                <a:gd name="T42" fmla="*/ 74 w 156"/>
                <a:gd name="T43" fmla="*/ 135 h 251"/>
                <a:gd name="T44" fmla="*/ 69 w 156"/>
                <a:gd name="T45" fmla="*/ 156 h 251"/>
                <a:gd name="T46" fmla="*/ 75 w 156"/>
                <a:gd name="T47" fmla="*/ 199 h 251"/>
                <a:gd name="T48" fmla="*/ 36 w 156"/>
                <a:gd name="T49" fmla="*/ 238 h 251"/>
                <a:gd name="T50" fmla="*/ 39 w 156"/>
                <a:gd name="T51" fmla="*/ 250 h 251"/>
                <a:gd name="T52" fmla="*/ 16 w 156"/>
                <a:gd name="T53" fmla="*/ 180 h 251"/>
                <a:gd name="T54" fmla="*/ 27 w 156"/>
                <a:gd name="T55" fmla="*/ 234 h 251"/>
                <a:gd name="T56" fmla="*/ 39 w 156"/>
                <a:gd name="T57" fmla="*/ 242 h 251"/>
                <a:gd name="T58" fmla="*/ 33 w 156"/>
                <a:gd name="T59" fmla="*/ 237 h 251"/>
                <a:gd name="T60" fmla="*/ 75 w 156"/>
                <a:gd name="T61" fmla="*/ 187 h 251"/>
                <a:gd name="T62" fmla="*/ 66 w 156"/>
                <a:gd name="T63" fmla="*/ 151 h 251"/>
                <a:gd name="T64" fmla="*/ 75 w 156"/>
                <a:gd name="T65" fmla="*/ 132 h 251"/>
                <a:gd name="T66" fmla="*/ 102 w 156"/>
                <a:gd name="T67" fmla="*/ 107 h 251"/>
                <a:gd name="T68" fmla="*/ 150 w 156"/>
                <a:gd name="T69" fmla="*/ 36 h 251"/>
                <a:gd name="T70" fmla="*/ 131 w 156"/>
                <a:gd name="T71" fmla="*/ 11 h 251"/>
                <a:gd name="T72" fmla="*/ 117 w 156"/>
                <a:gd name="T73" fmla="*/ 13 h 251"/>
                <a:gd name="T74" fmla="*/ 107 w 156"/>
                <a:gd name="T75" fmla="*/ 19 h 251"/>
                <a:gd name="T76" fmla="*/ 89 w 156"/>
                <a:gd name="T77" fmla="*/ 20 h 251"/>
                <a:gd name="T78" fmla="*/ 78 w 156"/>
                <a:gd name="T79" fmla="*/ 17 h 251"/>
                <a:gd name="T80" fmla="*/ 70 w 156"/>
                <a:gd name="T81" fmla="*/ 41 h 251"/>
                <a:gd name="T82" fmla="*/ 83 w 156"/>
                <a:gd name="T83" fmla="*/ 75 h 251"/>
                <a:gd name="T84" fmla="*/ 73 w 156"/>
                <a:gd name="T85" fmla="*/ 98 h 251"/>
                <a:gd name="T86" fmla="*/ 62 w 156"/>
                <a:gd name="T87" fmla="*/ 62 h 251"/>
                <a:gd name="T88" fmla="*/ 44 w 156"/>
                <a:gd name="T89" fmla="*/ 56 h 251"/>
                <a:gd name="T90" fmla="*/ 3 w 156"/>
                <a:gd name="T91" fmla="*/ 79 h 251"/>
                <a:gd name="T92" fmla="*/ 40 w 156"/>
                <a:gd name="T93" fmla="*/ 93 h 251"/>
                <a:gd name="T94" fmla="*/ 37 w 156"/>
                <a:gd name="T95" fmla="*/ 128 h 251"/>
                <a:gd name="T96" fmla="*/ 34 w 156"/>
                <a:gd name="T97" fmla="*/ 151 h 251"/>
                <a:gd name="T98" fmla="*/ 16 w 156"/>
                <a:gd name="T99" fmla="*/ 180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6" h="251">
                  <a:moveTo>
                    <a:pt x="27" y="251"/>
                  </a:moveTo>
                  <a:cubicBezTo>
                    <a:pt x="27" y="250"/>
                    <a:pt x="27" y="250"/>
                    <a:pt x="27" y="250"/>
                  </a:cubicBezTo>
                  <a:cubicBezTo>
                    <a:pt x="27" y="249"/>
                    <a:pt x="25" y="236"/>
                    <a:pt x="26" y="234"/>
                  </a:cubicBezTo>
                  <a:cubicBezTo>
                    <a:pt x="26" y="231"/>
                    <a:pt x="28" y="210"/>
                    <a:pt x="24" y="208"/>
                  </a:cubicBezTo>
                  <a:cubicBezTo>
                    <a:pt x="22" y="206"/>
                    <a:pt x="20" y="197"/>
                    <a:pt x="17" y="187"/>
                  </a:cubicBezTo>
                  <a:cubicBezTo>
                    <a:pt x="16" y="184"/>
                    <a:pt x="16" y="181"/>
                    <a:pt x="15" y="180"/>
                  </a:cubicBezTo>
                  <a:cubicBezTo>
                    <a:pt x="15" y="180"/>
                    <a:pt x="15" y="180"/>
                    <a:pt x="15" y="180"/>
                  </a:cubicBezTo>
                  <a:cubicBezTo>
                    <a:pt x="14" y="180"/>
                    <a:pt x="14" y="180"/>
                    <a:pt x="14" y="180"/>
                  </a:cubicBezTo>
                  <a:cubicBezTo>
                    <a:pt x="15" y="179"/>
                    <a:pt x="15" y="179"/>
                    <a:pt x="15" y="179"/>
                  </a:cubicBezTo>
                  <a:cubicBezTo>
                    <a:pt x="16" y="178"/>
                    <a:pt x="18" y="176"/>
                    <a:pt x="19" y="175"/>
                  </a:cubicBezTo>
                  <a:cubicBezTo>
                    <a:pt x="23" y="171"/>
                    <a:pt x="28" y="167"/>
                    <a:pt x="29" y="165"/>
                  </a:cubicBezTo>
                  <a:cubicBezTo>
                    <a:pt x="31" y="162"/>
                    <a:pt x="31" y="159"/>
                    <a:pt x="32" y="156"/>
                  </a:cubicBezTo>
                  <a:cubicBezTo>
                    <a:pt x="32" y="154"/>
                    <a:pt x="32" y="151"/>
                    <a:pt x="33" y="150"/>
                  </a:cubicBezTo>
                  <a:cubicBezTo>
                    <a:pt x="36" y="149"/>
                    <a:pt x="42" y="142"/>
                    <a:pt x="42" y="140"/>
                  </a:cubicBezTo>
                  <a:cubicBezTo>
                    <a:pt x="42" y="140"/>
                    <a:pt x="42" y="140"/>
                    <a:pt x="41" y="140"/>
                  </a:cubicBezTo>
                  <a:cubicBezTo>
                    <a:pt x="40" y="140"/>
                    <a:pt x="40" y="138"/>
                    <a:pt x="39" y="136"/>
                  </a:cubicBezTo>
                  <a:cubicBezTo>
                    <a:pt x="39" y="134"/>
                    <a:pt x="39" y="131"/>
                    <a:pt x="37" y="129"/>
                  </a:cubicBezTo>
                  <a:cubicBezTo>
                    <a:pt x="34" y="127"/>
                    <a:pt x="36" y="125"/>
                    <a:pt x="37" y="123"/>
                  </a:cubicBezTo>
                  <a:cubicBezTo>
                    <a:pt x="39" y="121"/>
                    <a:pt x="41" y="119"/>
                    <a:pt x="40" y="116"/>
                  </a:cubicBezTo>
                  <a:cubicBezTo>
                    <a:pt x="40" y="113"/>
                    <a:pt x="40" y="109"/>
                    <a:pt x="40" y="105"/>
                  </a:cubicBezTo>
                  <a:cubicBezTo>
                    <a:pt x="41" y="101"/>
                    <a:pt x="41" y="94"/>
                    <a:pt x="40" y="94"/>
                  </a:cubicBezTo>
                  <a:cubicBezTo>
                    <a:pt x="39" y="93"/>
                    <a:pt x="38" y="93"/>
                    <a:pt x="36" y="92"/>
                  </a:cubicBezTo>
                  <a:cubicBezTo>
                    <a:pt x="32" y="92"/>
                    <a:pt x="27" y="90"/>
                    <a:pt x="23" y="88"/>
                  </a:cubicBezTo>
                  <a:cubicBezTo>
                    <a:pt x="18" y="84"/>
                    <a:pt x="5" y="83"/>
                    <a:pt x="5" y="83"/>
                  </a:cubicBezTo>
                  <a:cubicBezTo>
                    <a:pt x="4" y="83"/>
                    <a:pt x="4" y="83"/>
                    <a:pt x="4" y="83"/>
                  </a:cubicBezTo>
                  <a:cubicBezTo>
                    <a:pt x="2" y="78"/>
                    <a:pt x="2" y="78"/>
                    <a:pt x="2" y="78"/>
                  </a:cubicBezTo>
                  <a:cubicBezTo>
                    <a:pt x="3" y="78"/>
                    <a:pt x="3" y="78"/>
                    <a:pt x="3" y="78"/>
                  </a:cubicBezTo>
                  <a:cubicBezTo>
                    <a:pt x="0" y="67"/>
                    <a:pt x="0" y="67"/>
                    <a:pt x="0" y="67"/>
                  </a:cubicBezTo>
                  <a:cubicBezTo>
                    <a:pt x="0" y="67"/>
                    <a:pt x="0" y="67"/>
                    <a:pt x="0" y="67"/>
                  </a:cubicBezTo>
                  <a:cubicBezTo>
                    <a:pt x="7" y="65"/>
                    <a:pt x="40" y="52"/>
                    <a:pt x="41" y="52"/>
                  </a:cubicBezTo>
                  <a:cubicBezTo>
                    <a:pt x="42" y="52"/>
                    <a:pt x="42" y="53"/>
                    <a:pt x="44" y="55"/>
                  </a:cubicBezTo>
                  <a:cubicBezTo>
                    <a:pt x="46" y="57"/>
                    <a:pt x="49" y="59"/>
                    <a:pt x="51" y="59"/>
                  </a:cubicBezTo>
                  <a:cubicBezTo>
                    <a:pt x="51" y="59"/>
                    <a:pt x="51" y="59"/>
                    <a:pt x="51" y="59"/>
                  </a:cubicBezTo>
                  <a:cubicBezTo>
                    <a:pt x="51" y="59"/>
                    <a:pt x="52" y="59"/>
                    <a:pt x="53" y="59"/>
                  </a:cubicBezTo>
                  <a:cubicBezTo>
                    <a:pt x="54" y="58"/>
                    <a:pt x="56" y="58"/>
                    <a:pt x="58" y="58"/>
                  </a:cubicBezTo>
                  <a:cubicBezTo>
                    <a:pt x="61" y="58"/>
                    <a:pt x="62" y="59"/>
                    <a:pt x="63" y="61"/>
                  </a:cubicBezTo>
                  <a:cubicBezTo>
                    <a:pt x="64" y="65"/>
                    <a:pt x="62" y="70"/>
                    <a:pt x="61" y="74"/>
                  </a:cubicBezTo>
                  <a:cubicBezTo>
                    <a:pt x="60" y="77"/>
                    <a:pt x="60" y="79"/>
                    <a:pt x="60" y="80"/>
                  </a:cubicBezTo>
                  <a:cubicBezTo>
                    <a:pt x="61" y="83"/>
                    <a:pt x="70" y="97"/>
                    <a:pt x="72" y="98"/>
                  </a:cubicBezTo>
                  <a:cubicBezTo>
                    <a:pt x="72" y="97"/>
                    <a:pt x="72" y="96"/>
                    <a:pt x="72" y="94"/>
                  </a:cubicBezTo>
                  <a:cubicBezTo>
                    <a:pt x="72" y="91"/>
                    <a:pt x="71" y="87"/>
                    <a:pt x="74" y="84"/>
                  </a:cubicBezTo>
                  <a:cubicBezTo>
                    <a:pt x="75" y="83"/>
                    <a:pt x="77" y="83"/>
                    <a:pt x="78" y="83"/>
                  </a:cubicBezTo>
                  <a:cubicBezTo>
                    <a:pt x="80" y="82"/>
                    <a:pt x="82" y="82"/>
                    <a:pt x="82" y="75"/>
                  </a:cubicBezTo>
                  <a:cubicBezTo>
                    <a:pt x="81" y="71"/>
                    <a:pt x="82" y="68"/>
                    <a:pt x="83" y="66"/>
                  </a:cubicBezTo>
                  <a:cubicBezTo>
                    <a:pt x="83" y="64"/>
                    <a:pt x="83" y="63"/>
                    <a:pt x="81" y="61"/>
                  </a:cubicBezTo>
                  <a:cubicBezTo>
                    <a:pt x="80" y="59"/>
                    <a:pt x="77" y="56"/>
                    <a:pt x="73" y="53"/>
                  </a:cubicBezTo>
                  <a:cubicBezTo>
                    <a:pt x="72" y="52"/>
                    <a:pt x="72" y="52"/>
                    <a:pt x="72" y="52"/>
                  </a:cubicBezTo>
                  <a:cubicBezTo>
                    <a:pt x="72" y="52"/>
                    <a:pt x="72" y="52"/>
                    <a:pt x="72" y="52"/>
                  </a:cubicBezTo>
                  <a:cubicBezTo>
                    <a:pt x="72" y="50"/>
                    <a:pt x="71" y="46"/>
                    <a:pt x="70" y="41"/>
                  </a:cubicBezTo>
                  <a:cubicBezTo>
                    <a:pt x="67" y="34"/>
                    <a:pt x="64" y="26"/>
                    <a:pt x="66" y="21"/>
                  </a:cubicBezTo>
                  <a:cubicBezTo>
                    <a:pt x="67" y="20"/>
                    <a:pt x="67" y="18"/>
                    <a:pt x="67" y="16"/>
                  </a:cubicBezTo>
                  <a:cubicBezTo>
                    <a:pt x="67" y="16"/>
                    <a:pt x="67" y="16"/>
                    <a:pt x="67" y="16"/>
                  </a:cubicBezTo>
                  <a:cubicBezTo>
                    <a:pt x="68" y="16"/>
                    <a:pt x="68" y="16"/>
                    <a:pt x="68" y="16"/>
                  </a:cubicBezTo>
                  <a:cubicBezTo>
                    <a:pt x="69" y="16"/>
                    <a:pt x="74" y="17"/>
                    <a:pt x="76" y="17"/>
                  </a:cubicBezTo>
                  <a:cubicBezTo>
                    <a:pt x="76" y="17"/>
                    <a:pt x="77" y="16"/>
                    <a:pt x="78" y="16"/>
                  </a:cubicBezTo>
                  <a:cubicBezTo>
                    <a:pt x="79" y="15"/>
                    <a:pt x="81" y="15"/>
                    <a:pt x="82" y="15"/>
                  </a:cubicBezTo>
                  <a:cubicBezTo>
                    <a:pt x="83" y="15"/>
                    <a:pt x="84" y="15"/>
                    <a:pt x="84" y="15"/>
                  </a:cubicBezTo>
                  <a:cubicBezTo>
                    <a:pt x="87" y="16"/>
                    <a:pt x="87" y="17"/>
                    <a:pt x="87" y="18"/>
                  </a:cubicBezTo>
                  <a:cubicBezTo>
                    <a:pt x="88" y="19"/>
                    <a:pt x="88" y="19"/>
                    <a:pt x="89" y="19"/>
                  </a:cubicBezTo>
                  <a:cubicBezTo>
                    <a:pt x="91" y="19"/>
                    <a:pt x="93" y="19"/>
                    <a:pt x="95" y="18"/>
                  </a:cubicBezTo>
                  <a:cubicBezTo>
                    <a:pt x="98" y="18"/>
                    <a:pt x="100" y="17"/>
                    <a:pt x="102" y="18"/>
                  </a:cubicBezTo>
                  <a:cubicBezTo>
                    <a:pt x="102" y="18"/>
                    <a:pt x="102" y="18"/>
                    <a:pt x="102" y="18"/>
                  </a:cubicBezTo>
                  <a:cubicBezTo>
                    <a:pt x="103" y="18"/>
                    <a:pt x="105" y="18"/>
                    <a:pt x="107" y="18"/>
                  </a:cubicBezTo>
                  <a:cubicBezTo>
                    <a:pt x="109" y="18"/>
                    <a:pt x="109" y="18"/>
                    <a:pt x="110" y="17"/>
                  </a:cubicBezTo>
                  <a:cubicBezTo>
                    <a:pt x="110" y="16"/>
                    <a:pt x="111" y="11"/>
                    <a:pt x="114" y="11"/>
                  </a:cubicBezTo>
                  <a:cubicBezTo>
                    <a:pt x="115" y="11"/>
                    <a:pt x="115" y="11"/>
                    <a:pt x="115" y="11"/>
                  </a:cubicBezTo>
                  <a:cubicBezTo>
                    <a:pt x="116" y="11"/>
                    <a:pt x="117" y="12"/>
                    <a:pt x="117" y="12"/>
                  </a:cubicBezTo>
                  <a:cubicBezTo>
                    <a:pt x="118" y="12"/>
                    <a:pt x="119" y="13"/>
                    <a:pt x="120" y="13"/>
                  </a:cubicBezTo>
                  <a:cubicBezTo>
                    <a:pt x="121" y="13"/>
                    <a:pt x="122" y="13"/>
                    <a:pt x="123" y="12"/>
                  </a:cubicBezTo>
                  <a:cubicBezTo>
                    <a:pt x="125" y="10"/>
                    <a:pt x="128" y="10"/>
                    <a:pt x="130" y="10"/>
                  </a:cubicBezTo>
                  <a:cubicBezTo>
                    <a:pt x="130" y="10"/>
                    <a:pt x="130" y="10"/>
                    <a:pt x="131" y="10"/>
                  </a:cubicBezTo>
                  <a:cubicBezTo>
                    <a:pt x="132" y="10"/>
                    <a:pt x="133" y="10"/>
                    <a:pt x="133" y="9"/>
                  </a:cubicBezTo>
                  <a:cubicBezTo>
                    <a:pt x="134" y="9"/>
                    <a:pt x="134" y="7"/>
                    <a:pt x="149" y="1"/>
                  </a:cubicBezTo>
                  <a:cubicBezTo>
                    <a:pt x="150" y="0"/>
                    <a:pt x="150" y="0"/>
                    <a:pt x="150" y="0"/>
                  </a:cubicBezTo>
                  <a:cubicBezTo>
                    <a:pt x="150" y="1"/>
                    <a:pt x="150" y="1"/>
                    <a:pt x="150" y="1"/>
                  </a:cubicBezTo>
                  <a:cubicBezTo>
                    <a:pt x="150" y="1"/>
                    <a:pt x="150" y="1"/>
                    <a:pt x="150" y="1"/>
                  </a:cubicBezTo>
                  <a:cubicBezTo>
                    <a:pt x="150" y="2"/>
                    <a:pt x="150" y="2"/>
                    <a:pt x="150" y="2"/>
                  </a:cubicBezTo>
                  <a:cubicBezTo>
                    <a:pt x="150" y="5"/>
                    <a:pt x="150" y="10"/>
                    <a:pt x="150" y="16"/>
                  </a:cubicBezTo>
                  <a:cubicBezTo>
                    <a:pt x="151" y="24"/>
                    <a:pt x="152" y="32"/>
                    <a:pt x="151" y="37"/>
                  </a:cubicBezTo>
                  <a:cubicBezTo>
                    <a:pt x="150" y="44"/>
                    <a:pt x="153" y="61"/>
                    <a:pt x="155" y="65"/>
                  </a:cubicBezTo>
                  <a:cubicBezTo>
                    <a:pt x="156" y="69"/>
                    <a:pt x="140" y="90"/>
                    <a:pt x="131" y="96"/>
                  </a:cubicBezTo>
                  <a:cubicBezTo>
                    <a:pt x="127" y="98"/>
                    <a:pt x="123" y="99"/>
                    <a:pt x="119" y="101"/>
                  </a:cubicBezTo>
                  <a:cubicBezTo>
                    <a:pt x="114" y="102"/>
                    <a:pt x="108" y="104"/>
                    <a:pt x="103" y="108"/>
                  </a:cubicBezTo>
                  <a:cubicBezTo>
                    <a:pt x="98" y="112"/>
                    <a:pt x="96" y="115"/>
                    <a:pt x="94" y="118"/>
                  </a:cubicBezTo>
                  <a:cubicBezTo>
                    <a:pt x="92" y="121"/>
                    <a:pt x="90" y="123"/>
                    <a:pt x="88" y="125"/>
                  </a:cubicBezTo>
                  <a:cubicBezTo>
                    <a:pt x="85" y="127"/>
                    <a:pt x="83" y="127"/>
                    <a:pt x="82" y="128"/>
                  </a:cubicBezTo>
                  <a:cubicBezTo>
                    <a:pt x="79" y="129"/>
                    <a:pt x="77" y="129"/>
                    <a:pt x="76" y="132"/>
                  </a:cubicBezTo>
                  <a:cubicBezTo>
                    <a:pt x="75" y="133"/>
                    <a:pt x="75" y="134"/>
                    <a:pt x="74" y="135"/>
                  </a:cubicBezTo>
                  <a:cubicBezTo>
                    <a:pt x="73" y="139"/>
                    <a:pt x="72" y="140"/>
                    <a:pt x="69" y="140"/>
                  </a:cubicBezTo>
                  <a:cubicBezTo>
                    <a:pt x="68" y="140"/>
                    <a:pt x="67" y="141"/>
                    <a:pt x="67" y="141"/>
                  </a:cubicBezTo>
                  <a:cubicBezTo>
                    <a:pt x="65" y="143"/>
                    <a:pt x="65" y="146"/>
                    <a:pt x="67" y="151"/>
                  </a:cubicBezTo>
                  <a:cubicBezTo>
                    <a:pt x="67" y="153"/>
                    <a:pt x="68" y="154"/>
                    <a:pt x="69" y="156"/>
                  </a:cubicBezTo>
                  <a:cubicBezTo>
                    <a:pt x="71" y="159"/>
                    <a:pt x="73" y="162"/>
                    <a:pt x="74" y="169"/>
                  </a:cubicBezTo>
                  <a:cubicBezTo>
                    <a:pt x="74" y="174"/>
                    <a:pt x="75" y="177"/>
                    <a:pt x="76" y="179"/>
                  </a:cubicBezTo>
                  <a:cubicBezTo>
                    <a:pt x="77" y="183"/>
                    <a:pt x="77" y="185"/>
                    <a:pt x="76" y="188"/>
                  </a:cubicBezTo>
                  <a:cubicBezTo>
                    <a:pt x="75" y="190"/>
                    <a:pt x="75" y="195"/>
                    <a:pt x="75" y="199"/>
                  </a:cubicBezTo>
                  <a:cubicBezTo>
                    <a:pt x="75" y="203"/>
                    <a:pt x="75" y="207"/>
                    <a:pt x="75" y="209"/>
                  </a:cubicBezTo>
                  <a:cubicBezTo>
                    <a:pt x="73" y="213"/>
                    <a:pt x="68" y="216"/>
                    <a:pt x="56" y="220"/>
                  </a:cubicBezTo>
                  <a:cubicBezTo>
                    <a:pt x="43" y="225"/>
                    <a:pt x="33" y="233"/>
                    <a:pt x="34" y="237"/>
                  </a:cubicBezTo>
                  <a:cubicBezTo>
                    <a:pt x="34" y="238"/>
                    <a:pt x="35" y="238"/>
                    <a:pt x="36" y="238"/>
                  </a:cubicBezTo>
                  <a:cubicBezTo>
                    <a:pt x="37" y="238"/>
                    <a:pt x="38" y="238"/>
                    <a:pt x="39" y="239"/>
                  </a:cubicBezTo>
                  <a:cubicBezTo>
                    <a:pt x="40" y="239"/>
                    <a:pt x="40" y="241"/>
                    <a:pt x="40" y="242"/>
                  </a:cubicBezTo>
                  <a:cubicBezTo>
                    <a:pt x="40" y="244"/>
                    <a:pt x="39" y="246"/>
                    <a:pt x="39" y="250"/>
                  </a:cubicBezTo>
                  <a:cubicBezTo>
                    <a:pt x="39" y="250"/>
                    <a:pt x="39" y="250"/>
                    <a:pt x="39" y="250"/>
                  </a:cubicBezTo>
                  <a:cubicBezTo>
                    <a:pt x="38" y="250"/>
                    <a:pt x="38" y="250"/>
                    <a:pt x="38" y="250"/>
                  </a:cubicBezTo>
                  <a:cubicBezTo>
                    <a:pt x="33" y="250"/>
                    <a:pt x="28" y="251"/>
                    <a:pt x="28" y="251"/>
                  </a:cubicBezTo>
                  <a:lnTo>
                    <a:pt x="27" y="251"/>
                  </a:lnTo>
                  <a:close/>
                  <a:moveTo>
                    <a:pt x="16" y="180"/>
                  </a:moveTo>
                  <a:cubicBezTo>
                    <a:pt x="16" y="180"/>
                    <a:pt x="16" y="180"/>
                    <a:pt x="16" y="180"/>
                  </a:cubicBezTo>
                  <a:cubicBezTo>
                    <a:pt x="17" y="181"/>
                    <a:pt x="17" y="183"/>
                    <a:pt x="18" y="187"/>
                  </a:cubicBezTo>
                  <a:cubicBezTo>
                    <a:pt x="20" y="194"/>
                    <a:pt x="23" y="205"/>
                    <a:pt x="25" y="207"/>
                  </a:cubicBezTo>
                  <a:cubicBezTo>
                    <a:pt x="29" y="209"/>
                    <a:pt x="27" y="233"/>
                    <a:pt x="27" y="234"/>
                  </a:cubicBezTo>
                  <a:cubicBezTo>
                    <a:pt x="26" y="235"/>
                    <a:pt x="27" y="245"/>
                    <a:pt x="28" y="250"/>
                  </a:cubicBezTo>
                  <a:cubicBezTo>
                    <a:pt x="30" y="250"/>
                    <a:pt x="34" y="249"/>
                    <a:pt x="38" y="249"/>
                  </a:cubicBezTo>
                  <a:cubicBezTo>
                    <a:pt x="38" y="249"/>
                    <a:pt x="38" y="249"/>
                    <a:pt x="38" y="249"/>
                  </a:cubicBezTo>
                  <a:cubicBezTo>
                    <a:pt x="38" y="247"/>
                    <a:pt x="39" y="244"/>
                    <a:pt x="39" y="242"/>
                  </a:cubicBezTo>
                  <a:cubicBezTo>
                    <a:pt x="39" y="241"/>
                    <a:pt x="39" y="240"/>
                    <a:pt x="38" y="239"/>
                  </a:cubicBezTo>
                  <a:cubicBezTo>
                    <a:pt x="38" y="239"/>
                    <a:pt x="38" y="239"/>
                    <a:pt x="37" y="239"/>
                  </a:cubicBezTo>
                  <a:cubicBezTo>
                    <a:pt x="37" y="239"/>
                    <a:pt x="37" y="239"/>
                    <a:pt x="37" y="239"/>
                  </a:cubicBezTo>
                  <a:cubicBezTo>
                    <a:pt x="35" y="239"/>
                    <a:pt x="34" y="239"/>
                    <a:pt x="33" y="237"/>
                  </a:cubicBezTo>
                  <a:cubicBezTo>
                    <a:pt x="31" y="232"/>
                    <a:pt x="43" y="224"/>
                    <a:pt x="56" y="220"/>
                  </a:cubicBezTo>
                  <a:cubicBezTo>
                    <a:pt x="69" y="215"/>
                    <a:pt x="73" y="212"/>
                    <a:pt x="74" y="208"/>
                  </a:cubicBezTo>
                  <a:cubicBezTo>
                    <a:pt x="74" y="207"/>
                    <a:pt x="74" y="203"/>
                    <a:pt x="74" y="199"/>
                  </a:cubicBezTo>
                  <a:cubicBezTo>
                    <a:pt x="74" y="195"/>
                    <a:pt x="74" y="190"/>
                    <a:pt x="75" y="187"/>
                  </a:cubicBezTo>
                  <a:cubicBezTo>
                    <a:pt x="76" y="185"/>
                    <a:pt x="76" y="183"/>
                    <a:pt x="75" y="179"/>
                  </a:cubicBezTo>
                  <a:cubicBezTo>
                    <a:pt x="74" y="177"/>
                    <a:pt x="73" y="174"/>
                    <a:pt x="73" y="169"/>
                  </a:cubicBezTo>
                  <a:cubicBezTo>
                    <a:pt x="72" y="163"/>
                    <a:pt x="70" y="160"/>
                    <a:pt x="68" y="157"/>
                  </a:cubicBezTo>
                  <a:cubicBezTo>
                    <a:pt x="67" y="155"/>
                    <a:pt x="66" y="153"/>
                    <a:pt x="66" y="151"/>
                  </a:cubicBezTo>
                  <a:cubicBezTo>
                    <a:pt x="64" y="146"/>
                    <a:pt x="64" y="143"/>
                    <a:pt x="66" y="141"/>
                  </a:cubicBezTo>
                  <a:cubicBezTo>
                    <a:pt x="66" y="140"/>
                    <a:pt x="67" y="139"/>
                    <a:pt x="69" y="139"/>
                  </a:cubicBezTo>
                  <a:cubicBezTo>
                    <a:pt x="71" y="139"/>
                    <a:pt x="72" y="138"/>
                    <a:pt x="73" y="135"/>
                  </a:cubicBezTo>
                  <a:cubicBezTo>
                    <a:pt x="74" y="134"/>
                    <a:pt x="74" y="133"/>
                    <a:pt x="75" y="132"/>
                  </a:cubicBezTo>
                  <a:cubicBezTo>
                    <a:pt x="77" y="128"/>
                    <a:pt x="79" y="128"/>
                    <a:pt x="81" y="127"/>
                  </a:cubicBezTo>
                  <a:cubicBezTo>
                    <a:pt x="83" y="126"/>
                    <a:pt x="85" y="126"/>
                    <a:pt x="87" y="124"/>
                  </a:cubicBezTo>
                  <a:cubicBezTo>
                    <a:pt x="90" y="122"/>
                    <a:pt x="91" y="120"/>
                    <a:pt x="93" y="118"/>
                  </a:cubicBezTo>
                  <a:cubicBezTo>
                    <a:pt x="95" y="115"/>
                    <a:pt x="97" y="111"/>
                    <a:pt x="102" y="107"/>
                  </a:cubicBezTo>
                  <a:cubicBezTo>
                    <a:pt x="108" y="103"/>
                    <a:pt x="113" y="101"/>
                    <a:pt x="119" y="100"/>
                  </a:cubicBezTo>
                  <a:cubicBezTo>
                    <a:pt x="123" y="98"/>
                    <a:pt x="127" y="97"/>
                    <a:pt x="131" y="95"/>
                  </a:cubicBezTo>
                  <a:cubicBezTo>
                    <a:pt x="140" y="89"/>
                    <a:pt x="155" y="69"/>
                    <a:pt x="154" y="65"/>
                  </a:cubicBezTo>
                  <a:cubicBezTo>
                    <a:pt x="152" y="61"/>
                    <a:pt x="149" y="44"/>
                    <a:pt x="150" y="36"/>
                  </a:cubicBezTo>
                  <a:cubicBezTo>
                    <a:pt x="151" y="32"/>
                    <a:pt x="150" y="24"/>
                    <a:pt x="149" y="16"/>
                  </a:cubicBezTo>
                  <a:cubicBezTo>
                    <a:pt x="149" y="11"/>
                    <a:pt x="149" y="6"/>
                    <a:pt x="149" y="2"/>
                  </a:cubicBezTo>
                  <a:cubicBezTo>
                    <a:pt x="136" y="8"/>
                    <a:pt x="134" y="9"/>
                    <a:pt x="134" y="10"/>
                  </a:cubicBezTo>
                  <a:cubicBezTo>
                    <a:pt x="134" y="11"/>
                    <a:pt x="132" y="11"/>
                    <a:pt x="131" y="11"/>
                  </a:cubicBezTo>
                  <a:cubicBezTo>
                    <a:pt x="130" y="11"/>
                    <a:pt x="130" y="11"/>
                    <a:pt x="130" y="11"/>
                  </a:cubicBezTo>
                  <a:cubicBezTo>
                    <a:pt x="128" y="11"/>
                    <a:pt x="125" y="11"/>
                    <a:pt x="124" y="12"/>
                  </a:cubicBezTo>
                  <a:cubicBezTo>
                    <a:pt x="123" y="13"/>
                    <a:pt x="121" y="14"/>
                    <a:pt x="120" y="14"/>
                  </a:cubicBezTo>
                  <a:cubicBezTo>
                    <a:pt x="119" y="14"/>
                    <a:pt x="118" y="13"/>
                    <a:pt x="117" y="13"/>
                  </a:cubicBezTo>
                  <a:cubicBezTo>
                    <a:pt x="116" y="13"/>
                    <a:pt x="115" y="12"/>
                    <a:pt x="115" y="12"/>
                  </a:cubicBezTo>
                  <a:cubicBezTo>
                    <a:pt x="114" y="12"/>
                    <a:pt x="114" y="12"/>
                    <a:pt x="114" y="12"/>
                  </a:cubicBezTo>
                  <a:cubicBezTo>
                    <a:pt x="112" y="12"/>
                    <a:pt x="111" y="15"/>
                    <a:pt x="111" y="17"/>
                  </a:cubicBezTo>
                  <a:cubicBezTo>
                    <a:pt x="110" y="19"/>
                    <a:pt x="109" y="19"/>
                    <a:pt x="107" y="19"/>
                  </a:cubicBezTo>
                  <a:cubicBezTo>
                    <a:pt x="105" y="19"/>
                    <a:pt x="103" y="19"/>
                    <a:pt x="102" y="19"/>
                  </a:cubicBezTo>
                  <a:cubicBezTo>
                    <a:pt x="101" y="19"/>
                    <a:pt x="101" y="19"/>
                    <a:pt x="101" y="19"/>
                  </a:cubicBezTo>
                  <a:cubicBezTo>
                    <a:pt x="100" y="18"/>
                    <a:pt x="98" y="19"/>
                    <a:pt x="95" y="19"/>
                  </a:cubicBezTo>
                  <a:cubicBezTo>
                    <a:pt x="93" y="20"/>
                    <a:pt x="91" y="20"/>
                    <a:pt x="89" y="20"/>
                  </a:cubicBezTo>
                  <a:cubicBezTo>
                    <a:pt x="87" y="20"/>
                    <a:pt x="87" y="19"/>
                    <a:pt x="86" y="18"/>
                  </a:cubicBezTo>
                  <a:cubicBezTo>
                    <a:pt x="86" y="17"/>
                    <a:pt x="86" y="17"/>
                    <a:pt x="84" y="16"/>
                  </a:cubicBezTo>
                  <a:cubicBezTo>
                    <a:pt x="84" y="16"/>
                    <a:pt x="83" y="16"/>
                    <a:pt x="82" y="16"/>
                  </a:cubicBezTo>
                  <a:cubicBezTo>
                    <a:pt x="81" y="16"/>
                    <a:pt x="80" y="16"/>
                    <a:pt x="78" y="17"/>
                  </a:cubicBezTo>
                  <a:cubicBezTo>
                    <a:pt x="78" y="17"/>
                    <a:pt x="77" y="18"/>
                    <a:pt x="76" y="18"/>
                  </a:cubicBezTo>
                  <a:cubicBezTo>
                    <a:pt x="74" y="18"/>
                    <a:pt x="70" y="17"/>
                    <a:pt x="68" y="17"/>
                  </a:cubicBezTo>
                  <a:cubicBezTo>
                    <a:pt x="68" y="19"/>
                    <a:pt x="68" y="20"/>
                    <a:pt x="67" y="22"/>
                  </a:cubicBezTo>
                  <a:cubicBezTo>
                    <a:pt x="65" y="26"/>
                    <a:pt x="68" y="34"/>
                    <a:pt x="70" y="41"/>
                  </a:cubicBezTo>
                  <a:cubicBezTo>
                    <a:pt x="72" y="45"/>
                    <a:pt x="73" y="49"/>
                    <a:pt x="73" y="52"/>
                  </a:cubicBezTo>
                  <a:cubicBezTo>
                    <a:pt x="78" y="56"/>
                    <a:pt x="80" y="58"/>
                    <a:pt x="82" y="60"/>
                  </a:cubicBezTo>
                  <a:cubicBezTo>
                    <a:pt x="84" y="63"/>
                    <a:pt x="84" y="64"/>
                    <a:pt x="84" y="67"/>
                  </a:cubicBezTo>
                  <a:cubicBezTo>
                    <a:pt x="83" y="68"/>
                    <a:pt x="82" y="71"/>
                    <a:pt x="83" y="75"/>
                  </a:cubicBezTo>
                  <a:cubicBezTo>
                    <a:pt x="83" y="82"/>
                    <a:pt x="81" y="83"/>
                    <a:pt x="78" y="84"/>
                  </a:cubicBezTo>
                  <a:cubicBezTo>
                    <a:pt x="77" y="84"/>
                    <a:pt x="76" y="84"/>
                    <a:pt x="74" y="85"/>
                  </a:cubicBezTo>
                  <a:cubicBezTo>
                    <a:pt x="72" y="87"/>
                    <a:pt x="73" y="91"/>
                    <a:pt x="73" y="94"/>
                  </a:cubicBezTo>
                  <a:cubicBezTo>
                    <a:pt x="73" y="96"/>
                    <a:pt x="73" y="97"/>
                    <a:pt x="73" y="98"/>
                  </a:cubicBezTo>
                  <a:cubicBezTo>
                    <a:pt x="73" y="99"/>
                    <a:pt x="73" y="99"/>
                    <a:pt x="72" y="99"/>
                  </a:cubicBezTo>
                  <a:cubicBezTo>
                    <a:pt x="70" y="99"/>
                    <a:pt x="60" y="83"/>
                    <a:pt x="59" y="81"/>
                  </a:cubicBezTo>
                  <a:cubicBezTo>
                    <a:pt x="58" y="79"/>
                    <a:pt x="59" y="77"/>
                    <a:pt x="60" y="74"/>
                  </a:cubicBezTo>
                  <a:cubicBezTo>
                    <a:pt x="61" y="70"/>
                    <a:pt x="63" y="65"/>
                    <a:pt x="62" y="62"/>
                  </a:cubicBezTo>
                  <a:cubicBezTo>
                    <a:pt x="61" y="60"/>
                    <a:pt x="60" y="59"/>
                    <a:pt x="58" y="59"/>
                  </a:cubicBezTo>
                  <a:cubicBezTo>
                    <a:pt x="56" y="59"/>
                    <a:pt x="54" y="59"/>
                    <a:pt x="53" y="60"/>
                  </a:cubicBezTo>
                  <a:cubicBezTo>
                    <a:pt x="52" y="60"/>
                    <a:pt x="51" y="60"/>
                    <a:pt x="51" y="60"/>
                  </a:cubicBezTo>
                  <a:cubicBezTo>
                    <a:pt x="49" y="61"/>
                    <a:pt x="46" y="58"/>
                    <a:pt x="44" y="56"/>
                  </a:cubicBezTo>
                  <a:cubicBezTo>
                    <a:pt x="43" y="55"/>
                    <a:pt x="41" y="53"/>
                    <a:pt x="41" y="53"/>
                  </a:cubicBezTo>
                  <a:cubicBezTo>
                    <a:pt x="40" y="54"/>
                    <a:pt x="17" y="62"/>
                    <a:pt x="1" y="68"/>
                  </a:cubicBezTo>
                  <a:cubicBezTo>
                    <a:pt x="4" y="79"/>
                    <a:pt x="4" y="79"/>
                    <a:pt x="4" y="79"/>
                  </a:cubicBezTo>
                  <a:cubicBezTo>
                    <a:pt x="3" y="79"/>
                    <a:pt x="3" y="79"/>
                    <a:pt x="3" y="79"/>
                  </a:cubicBezTo>
                  <a:cubicBezTo>
                    <a:pt x="5" y="83"/>
                    <a:pt x="5" y="83"/>
                    <a:pt x="5" y="83"/>
                  </a:cubicBezTo>
                  <a:cubicBezTo>
                    <a:pt x="7" y="83"/>
                    <a:pt x="18" y="83"/>
                    <a:pt x="24" y="87"/>
                  </a:cubicBezTo>
                  <a:cubicBezTo>
                    <a:pt x="27" y="89"/>
                    <a:pt x="32" y="91"/>
                    <a:pt x="36" y="91"/>
                  </a:cubicBezTo>
                  <a:cubicBezTo>
                    <a:pt x="38" y="92"/>
                    <a:pt x="40" y="92"/>
                    <a:pt x="40" y="93"/>
                  </a:cubicBezTo>
                  <a:cubicBezTo>
                    <a:pt x="42" y="94"/>
                    <a:pt x="42" y="98"/>
                    <a:pt x="41" y="105"/>
                  </a:cubicBezTo>
                  <a:cubicBezTo>
                    <a:pt x="41" y="109"/>
                    <a:pt x="41" y="113"/>
                    <a:pt x="41" y="116"/>
                  </a:cubicBezTo>
                  <a:cubicBezTo>
                    <a:pt x="42" y="120"/>
                    <a:pt x="40" y="122"/>
                    <a:pt x="38" y="124"/>
                  </a:cubicBezTo>
                  <a:cubicBezTo>
                    <a:pt x="36" y="126"/>
                    <a:pt x="36" y="127"/>
                    <a:pt x="37" y="128"/>
                  </a:cubicBezTo>
                  <a:cubicBezTo>
                    <a:pt x="40" y="131"/>
                    <a:pt x="40" y="134"/>
                    <a:pt x="40" y="136"/>
                  </a:cubicBezTo>
                  <a:cubicBezTo>
                    <a:pt x="41" y="138"/>
                    <a:pt x="41" y="139"/>
                    <a:pt x="42" y="139"/>
                  </a:cubicBezTo>
                  <a:cubicBezTo>
                    <a:pt x="42" y="139"/>
                    <a:pt x="42" y="140"/>
                    <a:pt x="43" y="140"/>
                  </a:cubicBezTo>
                  <a:cubicBezTo>
                    <a:pt x="43" y="143"/>
                    <a:pt x="37" y="150"/>
                    <a:pt x="34" y="151"/>
                  </a:cubicBezTo>
                  <a:cubicBezTo>
                    <a:pt x="33" y="152"/>
                    <a:pt x="33" y="154"/>
                    <a:pt x="33" y="156"/>
                  </a:cubicBezTo>
                  <a:cubicBezTo>
                    <a:pt x="32" y="159"/>
                    <a:pt x="32" y="162"/>
                    <a:pt x="30" y="165"/>
                  </a:cubicBezTo>
                  <a:cubicBezTo>
                    <a:pt x="28" y="168"/>
                    <a:pt x="24" y="172"/>
                    <a:pt x="20" y="176"/>
                  </a:cubicBezTo>
                  <a:cubicBezTo>
                    <a:pt x="19" y="177"/>
                    <a:pt x="17" y="178"/>
                    <a:pt x="16" y="18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6" name="Freeform 163"/>
            <p:cNvSpPr>
              <a:spLocks noEditPoints="1"/>
            </p:cNvSpPr>
            <p:nvPr/>
          </p:nvSpPr>
          <p:spPr>
            <a:xfrm>
              <a:off x="5491164" y="3830638"/>
              <a:ext cx="271463" cy="274638"/>
            </a:xfrm>
            <a:custGeom>
              <a:gdLst>
                <a:gd name="T0" fmla="*/ 94 w 160"/>
                <a:gd name="T1" fmla="*/ 157 h 161"/>
                <a:gd name="T2" fmla="*/ 86 w 160"/>
                <a:gd name="T3" fmla="*/ 159 h 161"/>
                <a:gd name="T4" fmla="*/ 77 w 160"/>
                <a:gd name="T5" fmla="*/ 157 h 161"/>
                <a:gd name="T6" fmla="*/ 65 w 160"/>
                <a:gd name="T7" fmla="*/ 129 h 161"/>
                <a:gd name="T8" fmla="*/ 55 w 160"/>
                <a:gd name="T9" fmla="*/ 129 h 161"/>
                <a:gd name="T10" fmla="*/ 54 w 160"/>
                <a:gd name="T11" fmla="*/ 128 h 161"/>
                <a:gd name="T12" fmla="*/ 22 w 160"/>
                <a:gd name="T13" fmla="*/ 114 h 161"/>
                <a:gd name="T14" fmla="*/ 11 w 160"/>
                <a:gd name="T15" fmla="*/ 108 h 161"/>
                <a:gd name="T16" fmla="*/ 13 w 160"/>
                <a:gd name="T17" fmla="*/ 105 h 161"/>
                <a:gd name="T18" fmla="*/ 21 w 160"/>
                <a:gd name="T19" fmla="*/ 111 h 161"/>
                <a:gd name="T20" fmla="*/ 17 w 160"/>
                <a:gd name="T21" fmla="*/ 100 h 161"/>
                <a:gd name="T22" fmla="*/ 0 w 160"/>
                <a:gd name="T23" fmla="*/ 53 h 161"/>
                <a:gd name="T24" fmla="*/ 7 w 160"/>
                <a:gd name="T25" fmla="*/ 49 h 161"/>
                <a:gd name="T26" fmla="*/ 15 w 160"/>
                <a:gd name="T27" fmla="*/ 30 h 161"/>
                <a:gd name="T28" fmla="*/ 15 w 160"/>
                <a:gd name="T29" fmla="*/ 22 h 161"/>
                <a:gd name="T30" fmla="*/ 15 w 160"/>
                <a:gd name="T31" fmla="*/ 3 h 161"/>
                <a:gd name="T32" fmla="*/ 36 w 160"/>
                <a:gd name="T33" fmla="*/ 0 h 161"/>
                <a:gd name="T34" fmla="*/ 35 w 160"/>
                <a:gd name="T35" fmla="*/ 22 h 161"/>
                <a:gd name="T36" fmla="*/ 58 w 160"/>
                <a:gd name="T37" fmla="*/ 23 h 161"/>
                <a:gd name="T38" fmla="*/ 56 w 160"/>
                <a:gd name="T39" fmla="*/ 16 h 161"/>
                <a:gd name="T40" fmla="*/ 64 w 160"/>
                <a:gd name="T41" fmla="*/ 0 h 161"/>
                <a:gd name="T42" fmla="*/ 144 w 160"/>
                <a:gd name="T43" fmla="*/ 56 h 161"/>
                <a:gd name="T44" fmla="*/ 137 w 160"/>
                <a:gd name="T45" fmla="*/ 79 h 161"/>
                <a:gd name="T46" fmla="*/ 142 w 160"/>
                <a:gd name="T47" fmla="*/ 101 h 161"/>
                <a:gd name="T48" fmla="*/ 144 w 160"/>
                <a:gd name="T49" fmla="*/ 114 h 161"/>
                <a:gd name="T50" fmla="*/ 154 w 160"/>
                <a:gd name="T51" fmla="*/ 135 h 161"/>
                <a:gd name="T52" fmla="*/ 159 w 160"/>
                <a:gd name="T53" fmla="*/ 143 h 161"/>
                <a:gd name="T54" fmla="*/ 141 w 160"/>
                <a:gd name="T55" fmla="*/ 152 h 161"/>
                <a:gd name="T56" fmla="*/ 130 w 160"/>
                <a:gd name="T57" fmla="*/ 155 h 161"/>
                <a:gd name="T58" fmla="*/ 124 w 160"/>
                <a:gd name="T59" fmla="*/ 153 h 161"/>
                <a:gd name="T60" fmla="*/ 112 w 160"/>
                <a:gd name="T61" fmla="*/ 160 h 161"/>
                <a:gd name="T62" fmla="*/ 99 w 160"/>
                <a:gd name="T63" fmla="*/ 161 h 161"/>
                <a:gd name="T64" fmla="*/ 97 w 160"/>
                <a:gd name="T65" fmla="*/ 159 h 161"/>
                <a:gd name="T66" fmla="*/ 112 w 160"/>
                <a:gd name="T67" fmla="*/ 159 h 161"/>
                <a:gd name="T68" fmla="*/ 120 w 160"/>
                <a:gd name="T69" fmla="*/ 158 h 161"/>
                <a:gd name="T70" fmla="*/ 127 w 160"/>
                <a:gd name="T71" fmla="*/ 153 h 161"/>
                <a:gd name="T72" fmla="*/ 140 w 160"/>
                <a:gd name="T73" fmla="*/ 151 h 161"/>
                <a:gd name="T74" fmla="*/ 143 w 160"/>
                <a:gd name="T75" fmla="*/ 150 h 161"/>
                <a:gd name="T76" fmla="*/ 148 w 160"/>
                <a:gd name="T77" fmla="*/ 129 h 161"/>
                <a:gd name="T78" fmla="*/ 143 w 160"/>
                <a:gd name="T79" fmla="*/ 112 h 161"/>
                <a:gd name="T80" fmla="*/ 144 w 160"/>
                <a:gd name="T81" fmla="*/ 91 h 161"/>
                <a:gd name="T82" fmla="*/ 143 w 160"/>
                <a:gd name="T83" fmla="*/ 57 h 161"/>
                <a:gd name="T84" fmla="*/ 118 w 160"/>
                <a:gd name="T85" fmla="*/ 39 h 161"/>
                <a:gd name="T86" fmla="*/ 58 w 160"/>
                <a:gd name="T87" fmla="*/ 15 h 161"/>
                <a:gd name="T88" fmla="*/ 60 w 160"/>
                <a:gd name="T89" fmla="*/ 23 h 161"/>
                <a:gd name="T90" fmla="*/ 41 w 160"/>
                <a:gd name="T91" fmla="*/ 22 h 161"/>
                <a:gd name="T92" fmla="*/ 34 w 160"/>
                <a:gd name="T93" fmla="*/ 23 h 161"/>
                <a:gd name="T94" fmla="*/ 23 w 160"/>
                <a:gd name="T95" fmla="*/ 2 h 161"/>
                <a:gd name="T96" fmla="*/ 19 w 160"/>
                <a:gd name="T97" fmla="*/ 9 h 161"/>
                <a:gd name="T98" fmla="*/ 16 w 160"/>
                <a:gd name="T99" fmla="*/ 29 h 161"/>
                <a:gd name="T100" fmla="*/ 7 w 160"/>
                <a:gd name="T101" fmla="*/ 50 h 161"/>
                <a:gd name="T102" fmla="*/ 17 w 160"/>
                <a:gd name="T103" fmla="*/ 95 h 161"/>
                <a:gd name="T104" fmla="*/ 23 w 160"/>
                <a:gd name="T105" fmla="*/ 110 h 161"/>
                <a:gd name="T106" fmla="*/ 13 w 160"/>
                <a:gd name="T107" fmla="*/ 106 h 161"/>
                <a:gd name="T108" fmla="*/ 22 w 160"/>
                <a:gd name="T109" fmla="*/ 113 h 161"/>
                <a:gd name="T110" fmla="*/ 55 w 160"/>
                <a:gd name="T111" fmla="*/ 127 h 161"/>
                <a:gd name="T112" fmla="*/ 67 w 160"/>
                <a:gd name="T113" fmla="*/ 127 h 161"/>
                <a:gd name="T114" fmla="*/ 86 w 160"/>
                <a:gd name="T115" fmla="*/ 158 h 1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1">
                  <a:moveTo>
                    <a:pt x="99" y="161"/>
                  </a:moveTo>
                  <a:cubicBezTo>
                    <a:pt x="97" y="161"/>
                    <a:pt x="97" y="160"/>
                    <a:pt x="96" y="159"/>
                  </a:cubicBezTo>
                  <a:cubicBezTo>
                    <a:pt x="96" y="158"/>
                    <a:pt x="96" y="158"/>
                    <a:pt x="94" y="157"/>
                  </a:cubicBezTo>
                  <a:cubicBezTo>
                    <a:pt x="94" y="157"/>
                    <a:pt x="93" y="157"/>
                    <a:pt x="92" y="157"/>
                  </a:cubicBezTo>
                  <a:cubicBezTo>
                    <a:pt x="91" y="157"/>
                    <a:pt x="90" y="157"/>
                    <a:pt x="88" y="158"/>
                  </a:cubicBezTo>
                  <a:cubicBezTo>
                    <a:pt x="88" y="158"/>
                    <a:pt x="87" y="159"/>
                    <a:pt x="86" y="159"/>
                  </a:cubicBezTo>
                  <a:cubicBezTo>
                    <a:pt x="84" y="159"/>
                    <a:pt x="79" y="158"/>
                    <a:pt x="77" y="158"/>
                  </a:cubicBezTo>
                  <a:cubicBezTo>
                    <a:pt x="77" y="158"/>
                    <a:pt x="77" y="158"/>
                    <a:pt x="77" y="158"/>
                  </a:cubicBezTo>
                  <a:cubicBezTo>
                    <a:pt x="77" y="157"/>
                    <a:pt x="77" y="157"/>
                    <a:pt x="77" y="157"/>
                  </a:cubicBezTo>
                  <a:cubicBezTo>
                    <a:pt x="77" y="148"/>
                    <a:pt x="73" y="134"/>
                    <a:pt x="69" y="129"/>
                  </a:cubicBezTo>
                  <a:cubicBezTo>
                    <a:pt x="68" y="129"/>
                    <a:pt x="68" y="128"/>
                    <a:pt x="67" y="128"/>
                  </a:cubicBezTo>
                  <a:cubicBezTo>
                    <a:pt x="66" y="128"/>
                    <a:pt x="66" y="129"/>
                    <a:pt x="65" y="129"/>
                  </a:cubicBezTo>
                  <a:cubicBezTo>
                    <a:pt x="65" y="129"/>
                    <a:pt x="65" y="129"/>
                    <a:pt x="65" y="129"/>
                  </a:cubicBezTo>
                  <a:cubicBezTo>
                    <a:pt x="65" y="129"/>
                    <a:pt x="65" y="129"/>
                    <a:pt x="65" y="129"/>
                  </a:cubicBezTo>
                  <a:cubicBezTo>
                    <a:pt x="63" y="129"/>
                    <a:pt x="60" y="129"/>
                    <a:pt x="55" y="129"/>
                  </a:cubicBezTo>
                  <a:cubicBezTo>
                    <a:pt x="55" y="129"/>
                    <a:pt x="55" y="129"/>
                    <a:pt x="55" y="129"/>
                  </a:cubicBezTo>
                  <a:cubicBezTo>
                    <a:pt x="55" y="129"/>
                    <a:pt x="55" y="129"/>
                    <a:pt x="55" y="129"/>
                  </a:cubicBezTo>
                  <a:cubicBezTo>
                    <a:pt x="54" y="128"/>
                    <a:pt x="54" y="128"/>
                    <a:pt x="54" y="128"/>
                  </a:cubicBezTo>
                  <a:cubicBezTo>
                    <a:pt x="52" y="126"/>
                    <a:pt x="39" y="120"/>
                    <a:pt x="35" y="120"/>
                  </a:cubicBezTo>
                  <a:cubicBezTo>
                    <a:pt x="34" y="119"/>
                    <a:pt x="32" y="118"/>
                    <a:pt x="29" y="117"/>
                  </a:cubicBezTo>
                  <a:cubicBezTo>
                    <a:pt x="27" y="116"/>
                    <a:pt x="24" y="114"/>
                    <a:pt x="22" y="114"/>
                  </a:cubicBezTo>
                  <a:cubicBezTo>
                    <a:pt x="20" y="114"/>
                    <a:pt x="17" y="112"/>
                    <a:pt x="11" y="108"/>
                  </a:cubicBezTo>
                  <a:cubicBezTo>
                    <a:pt x="11" y="108"/>
                    <a:pt x="11" y="108"/>
                    <a:pt x="11" y="108"/>
                  </a:cubicBezTo>
                  <a:cubicBezTo>
                    <a:pt x="11" y="108"/>
                    <a:pt x="11" y="108"/>
                    <a:pt x="11" y="108"/>
                  </a:cubicBezTo>
                  <a:cubicBezTo>
                    <a:pt x="11" y="107"/>
                    <a:pt x="11" y="107"/>
                    <a:pt x="11" y="107"/>
                  </a:cubicBezTo>
                  <a:cubicBezTo>
                    <a:pt x="12" y="107"/>
                    <a:pt x="12" y="107"/>
                    <a:pt x="12" y="107"/>
                  </a:cubicBezTo>
                  <a:cubicBezTo>
                    <a:pt x="12" y="106"/>
                    <a:pt x="12" y="106"/>
                    <a:pt x="13" y="105"/>
                  </a:cubicBezTo>
                  <a:cubicBezTo>
                    <a:pt x="13" y="104"/>
                    <a:pt x="13" y="104"/>
                    <a:pt x="13" y="104"/>
                  </a:cubicBezTo>
                  <a:cubicBezTo>
                    <a:pt x="14" y="105"/>
                    <a:pt x="14" y="105"/>
                    <a:pt x="14" y="105"/>
                  </a:cubicBezTo>
                  <a:cubicBezTo>
                    <a:pt x="16" y="108"/>
                    <a:pt x="18" y="112"/>
                    <a:pt x="21" y="111"/>
                  </a:cubicBezTo>
                  <a:cubicBezTo>
                    <a:pt x="22" y="110"/>
                    <a:pt x="22" y="110"/>
                    <a:pt x="22" y="110"/>
                  </a:cubicBezTo>
                  <a:cubicBezTo>
                    <a:pt x="23" y="108"/>
                    <a:pt x="21" y="106"/>
                    <a:pt x="20" y="104"/>
                  </a:cubicBezTo>
                  <a:cubicBezTo>
                    <a:pt x="19" y="103"/>
                    <a:pt x="18" y="101"/>
                    <a:pt x="17" y="100"/>
                  </a:cubicBezTo>
                  <a:cubicBezTo>
                    <a:pt x="17" y="98"/>
                    <a:pt x="16" y="97"/>
                    <a:pt x="16" y="95"/>
                  </a:cubicBezTo>
                  <a:cubicBezTo>
                    <a:pt x="16" y="91"/>
                    <a:pt x="15" y="86"/>
                    <a:pt x="10" y="81"/>
                  </a:cubicBezTo>
                  <a:cubicBezTo>
                    <a:pt x="5" y="77"/>
                    <a:pt x="3" y="63"/>
                    <a:pt x="0" y="53"/>
                  </a:cubicBezTo>
                  <a:cubicBezTo>
                    <a:pt x="0" y="52"/>
                    <a:pt x="0" y="52"/>
                    <a:pt x="0" y="52"/>
                  </a:cubicBezTo>
                  <a:cubicBezTo>
                    <a:pt x="1" y="52"/>
                    <a:pt x="1" y="52"/>
                    <a:pt x="1" y="52"/>
                  </a:cubicBezTo>
                  <a:cubicBezTo>
                    <a:pt x="4" y="50"/>
                    <a:pt x="6" y="49"/>
                    <a:pt x="7" y="49"/>
                  </a:cubicBezTo>
                  <a:cubicBezTo>
                    <a:pt x="10" y="47"/>
                    <a:pt x="16" y="37"/>
                    <a:pt x="18" y="32"/>
                  </a:cubicBezTo>
                  <a:cubicBezTo>
                    <a:pt x="15" y="30"/>
                    <a:pt x="15" y="30"/>
                    <a:pt x="15" y="30"/>
                  </a:cubicBezTo>
                  <a:cubicBezTo>
                    <a:pt x="15" y="30"/>
                    <a:pt x="15" y="30"/>
                    <a:pt x="15" y="30"/>
                  </a:cubicBezTo>
                  <a:cubicBezTo>
                    <a:pt x="15" y="30"/>
                    <a:pt x="15" y="26"/>
                    <a:pt x="14" y="22"/>
                  </a:cubicBezTo>
                  <a:cubicBezTo>
                    <a:pt x="14" y="22"/>
                    <a:pt x="14" y="22"/>
                    <a:pt x="14" y="22"/>
                  </a:cubicBezTo>
                  <a:cubicBezTo>
                    <a:pt x="15" y="22"/>
                    <a:pt x="15" y="22"/>
                    <a:pt x="15" y="22"/>
                  </a:cubicBezTo>
                  <a:cubicBezTo>
                    <a:pt x="18" y="21"/>
                    <a:pt x="20" y="20"/>
                    <a:pt x="20" y="19"/>
                  </a:cubicBezTo>
                  <a:cubicBezTo>
                    <a:pt x="21" y="16"/>
                    <a:pt x="18" y="10"/>
                    <a:pt x="18" y="10"/>
                  </a:cubicBezTo>
                  <a:cubicBezTo>
                    <a:pt x="15" y="3"/>
                    <a:pt x="15" y="3"/>
                    <a:pt x="15" y="3"/>
                  </a:cubicBezTo>
                  <a:cubicBezTo>
                    <a:pt x="16" y="3"/>
                    <a:pt x="16" y="3"/>
                    <a:pt x="16" y="3"/>
                  </a:cubicBezTo>
                  <a:cubicBezTo>
                    <a:pt x="19" y="2"/>
                    <a:pt x="23" y="1"/>
                    <a:pt x="23" y="1"/>
                  </a:cubicBezTo>
                  <a:cubicBezTo>
                    <a:pt x="36" y="0"/>
                    <a:pt x="36" y="0"/>
                    <a:pt x="36" y="0"/>
                  </a:cubicBezTo>
                  <a:cubicBezTo>
                    <a:pt x="35" y="1"/>
                    <a:pt x="35" y="1"/>
                    <a:pt x="35" y="1"/>
                  </a:cubicBezTo>
                  <a:cubicBezTo>
                    <a:pt x="32" y="10"/>
                    <a:pt x="31" y="19"/>
                    <a:pt x="33" y="22"/>
                  </a:cubicBezTo>
                  <a:cubicBezTo>
                    <a:pt x="33" y="22"/>
                    <a:pt x="34" y="23"/>
                    <a:pt x="35" y="22"/>
                  </a:cubicBezTo>
                  <a:cubicBezTo>
                    <a:pt x="37" y="22"/>
                    <a:pt x="39" y="21"/>
                    <a:pt x="41" y="21"/>
                  </a:cubicBezTo>
                  <a:cubicBezTo>
                    <a:pt x="44" y="21"/>
                    <a:pt x="48" y="22"/>
                    <a:pt x="51" y="23"/>
                  </a:cubicBezTo>
                  <a:cubicBezTo>
                    <a:pt x="54" y="23"/>
                    <a:pt x="57" y="24"/>
                    <a:pt x="58" y="23"/>
                  </a:cubicBezTo>
                  <a:cubicBezTo>
                    <a:pt x="59" y="23"/>
                    <a:pt x="59" y="23"/>
                    <a:pt x="59" y="23"/>
                  </a:cubicBezTo>
                  <a:cubicBezTo>
                    <a:pt x="60" y="22"/>
                    <a:pt x="59" y="21"/>
                    <a:pt x="58" y="20"/>
                  </a:cubicBezTo>
                  <a:cubicBezTo>
                    <a:pt x="57" y="19"/>
                    <a:pt x="56" y="17"/>
                    <a:pt x="56" y="16"/>
                  </a:cubicBezTo>
                  <a:cubicBezTo>
                    <a:pt x="56" y="15"/>
                    <a:pt x="57" y="15"/>
                    <a:pt x="57" y="15"/>
                  </a:cubicBezTo>
                  <a:cubicBezTo>
                    <a:pt x="61" y="13"/>
                    <a:pt x="64" y="8"/>
                    <a:pt x="64" y="1"/>
                  </a:cubicBezTo>
                  <a:cubicBezTo>
                    <a:pt x="64" y="0"/>
                    <a:pt x="64" y="0"/>
                    <a:pt x="64" y="0"/>
                  </a:cubicBezTo>
                  <a:cubicBezTo>
                    <a:pt x="120" y="30"/>
                    <a:pt x="120" y="30"/>
                    <a:pt x="120" y="30"/>
                  </a:cubicBezTo>
                  <a:cubicBezTo>
                    <a:pt x="119" y="39"/>
                    <a:pt x="119" y="39"/>
                    <a:pt x="119" y="39"/>
                  </a:cubicBezTo>
                  <a:cubicBezTo>
                    <a:pt x="121" y="40"/>
                    <a:pt x="133" y="49"/>
                    <a:pt x="144" y="56"/>
                  </a:cubicBezTo>
                  <a:cubicBezTo>
                    <a:pt x="144" y="57"/>
                    <a:pt x="144" y="57"/>
                    <a:pt x="144" y="57"/>
                  </a:cubicBezTo>
                  <a:cubicBezTo>
                    <a:pt x="144" y="57"/>
                    <a:pt x="144" y="57"/>
                    <a:pt x="144" y="57"/>
                  </a:cubicBezTo>
                  <a:cubicBezTo>
                    <a:pt x="139" y="69"/>
                    <a:pt x="137" y="76"/>
                    <a:pt x="137" y="79"/>
                  </a:cubicBezTo>
                  <a:cubicBezTo>
                    <a:pt x="138" y="81"/>
                    <a:pt x="140" y="83"/>
                    <a:pt x="142" y="85"/>
                  </a:cubicBezTo>
                  <a:cubicBezTo>
                    <a:pt x="145" y="86"/>
                    <a:pt x="147" y="88"/>
                    <a:pt x="145" y="91"/>
                  </a:cubicBezTo>
                  <a:cubicBezTo>
                    <a:pt x="142" y="96"/>
                    <a:pt x="141" y="100"/>
                    <a:pt x="142" y="101"/>
                  </a:cubicBezTo>
                  <a:cubicBezTo>
                    <a:pt x="142" y="102"/>
                    <a:pt x="142" y="102"/>
                    <a:pt x="142" y="102"/>
                  </a:cubicBezTo>
                  <a:cubicBezTo>
                    <a:pt x="145" y="102"/>
                    <a:pt x="144" y="107"/>
                    <a:pt x="144" y="112"/>
                  </a:cubicBezTo>
                  <a:cubicBezTo>
                    <a:pt x="144" y="114"/>
                    <a:pt x="144" y="114"/>
                    <a:pt x="144" y="114"/>
                  </a:cubicBezTo>
                  <a:cubicBezTo>
                    <a:pt x="144" y="117"/>
                    <a:pt x="145" y="118"/>
                    <a:pt x="146" y="120"/>
                  </a:cubicBezTo>
                  <a:cubicBezTo>
                    <a:pt x="148" y="122"/>
                    <a:pt x="149" y="124"/>
                    <a:pt x="149" y="129"/>
                  </a:cubicBezTo>
                  <a:cubicBezTo>
                    <a:pt x="150" y="133"/>
                    <a:pt x="152" y="134"/>
                    <a:pt x="154" y="135"/>
                  </a:cubicBezTo>
                  <a:cubicBezTo>
                    <a:pt x="157" y="136"/>
                    <a:pt x="159" y="138"/>
                    <a:pt x="160" y="142"/>
                  </a:cubicBezTo>
                  <a:cubicBezTo>
                    <a:pt x="160" y="142"/>
                    <a:pt x="160" y="142"/>
                    <a:pt x="160" y="142"/>
                  </a:cubicBezTo>
                  <a:cubicBezTo>
                    <a:pt x="159" y="143"/>
                    <a:pt x="159" y="143"/>
                    <a:pt x="159" y="143"/>
                  </a:cubicBezTo>
                  <a:cubicBezTo>
                    <a:pt x="146" y="149"/>
                    <a:pt x="144" y="150"/>
                    <a:pt x="144" y="151"/>
                  </a:cubicBezTo>
                  <a:cubicBezTo>
                    <a:pt x="144" y="152"/>
                    <a:pt x="142" y="152"/>
                    <a:pt x="141" y="152"/>
                  </a:cubicBezTo>
                  <a:cubicBezTo>
                    <a:pt x="141" y="152"/>
                    <a:pt x="141" y="152"/>
                    <a:pt x="141" y="152"/>
                  </a:cubicBezTo>
                  <a:cubicBezTo>
                    <a:pt x="140" y="152"/>
                    <a:pt x="140" y="152"/>
                    <a:pt x="140" y="152"/>
                  </a:cubicBezTo>
                  <a:cubicBezTo>
                    <a:pt x="138" y="152"/>
                    <a:pt x="135" y="152"/>
                    <a:pt x="134" y="153"/>
                  </a:cubicBezTo>
                  <a:cubicBezTo>
                    <a:pt x="133" y="154"/>
                    <a:pt x="131" y="155"/>
                    <a:pt x="130" y="155"/>
                  </a:cubicBezTo>
                  <a:cubicBezTo>
                    <a:pt x="129" y="155"/>
                    <a:pt x="128" y="154"/>
                    <a:pt x="127" y="154"/>
                  </a:cubicBezTo>
                  <a:cubicBezTo>
                    <a:pt x="126" y="154"/>
                    <a:pt x="125" y="153"/>
                    <a:pt x="125" y="153"/>
                  </a:cubicBezTo>
                  <a:cubicBezTo>
                    <a:pt x="124" y="153"/>
                    <a:pt x="124" y="153"/>
                    <a:pt x="124" y="153"/>
                  </a:cubicBezTo>
                  <a:cubicBezTo>
                    <a:pt x="122" y="153"/>
                    <a:pt x="121" y="156"/>
                    <a:pt x="121" y="158"/>
                  </a:cubicBezTo>
                  <a:cubicBezTo>
                    <a:pt x="120" y="160"/>
                    <a:pt x="119" y="160"/>
                    <a:pt x="117" y="160"/>
                  </a:cubicBezTo>
                  <a:cubicBezTo>
                    <a:pt x="115" y="160"/>
                    <a:pt x="113" y="160"/>
                    <a:pt x="112" y="160"/>
                  </a:cubicBezTo>
                  <a:cubicBezTo>
                    <a:pt x="111" y="160"/>
                    <a:pt x="111" y="160"/>
                    <a:pt x="111" y="160"/>
                  </a:cubicBezTo>
                  <a:cubicBezTo>
                    <a:pt x="110" y="159"/>
                    <a:pt x="108" y="160"/>
                    <a:pt x="105" y="160"/>
                  </a:cubicBezTo>
                  <a:cubicBezTo>
                    <a:pt x="103" y="161"/>
                    <a:pt x="101" y="161"/>
                    <a:pt x="99" y="161"/>
                  </a:cubicBezTo>
                  <a:close/>
                  <a:moveTo>
                    <a:pt x="92" y="156"/>
                  </a:moveTo>
                  <a:cubicBezTo>
                    <a:pt x="93" y="156"/>
                    <a:pt x="94" y="156"/>
                    <a:pt x="94" y="156"/>
                  </a:cubicBezTo>
                  <a:cubicBezTo>
                    <a:pt x="97" y="157"/>
                    <a:pt x="97" y="158"/>
                    <a:pt x="97" y="159"/>
                  </a:cubicBezTo>
                  <a:cubicBezTo>
                    <a:pt x="98" y="160"/>
                    <a:pt x="98" y="160"/>
                    <a:pt x="99" y="160"/>
                  </a:cubicBezTo>
                  <a:cubicBezTo>
                    <a:pt x="101" y="160"/>
                    <a:pt x="103" y="160"/>
                    <a:pt x="105" y="159"/>
                  </a:cubicBezTo>
                  <a:cubicBezTo>
                    <a:pt x="108" y="159"/>
                    <a:pt x="110" y="158"/>
                    <a:pt x="112" y="159"/>
                  </a:cubicBezTo>
                  <a:cubicBezTo>
                    <a:pt x="112" y="159"/>
                    <a:pt x="112" y="159"/>
                    <a:pt x="112" y="159"/>
                  </a:cubicBezTo>
                  <a:cubicBezTo>
                    <a:pt x="113" y="159"/>
                    <a:pt x="115" y="159"/>
                    <a:pt x="117" y="159"/>
                  </a:cubicBezTo>
                  <a:cubicBezTo>
                    <a:pt x="119" y="159"/>
                    <a:pt x="119" y="159"/>
                    <a:pt x="120" y="158"/>
                  </a:cubicBezTo>
                  <a:cubicBezTo>
                    <a:pt x="120" y="157"/>
                    <a:pt x="121" y="152"/>
                    <a:pt x="124" y="152"/>
                  </a:cubicBezTo>
                  <a:cubicBezTo>
                    <a:pt x="125" y="152"/>
                    <a:pt x="125" y="152"/>
                    <a:pt x="125" y="152"/>
                  </a:cubicBezTo>
                  <a:cubicBezTo>
                    <a:pt x="126" y="152"/>
                    <a:pt x="127" y="153"/>
                    <a:pt x="127" y="153"/>
                  </a:cubicBezTo>
                  <a:cubicBezTo>
                    <a:pt x="128" y="153"/>
                    <a:pt x="129" y="154"/>
                    <a:pt x="130" y="154"/>
                  </a:cubicBezTo>
                  <a:cubicBezTo>
                    <a:pt x="131" y="154"/>
                    <a:pt x="132" y="154"/>
                    <a:pt x="133" y="153"/>
                  </a:cubicBezTo>
                  <a:cubicBezTo>
                    <a:pt x="135" y="151"/>
                    <a:pt x="138" y="151"/>
                    <a:pt x="140" y="151"/>
                  </a:cubicBezTo>
                  <a:cubicBezTo>
                    <a:pt x="140" y="151"/>
                    <a:pt x="140" y="151"/>
                    <a:pt x="141" y="151"/>
                  </a:cubicBezTo>
                  <a:cubicBezTo>
                    <a:pt x="141" y="151"/>
                    <a:pt x="141" y="151"/>
                    <a:pt x="141" y="151"/>
                  </a:cubicBezTo>
                  <a:cubicBezTo>
                    <a:pt x="142" y="151"/>
                    <a:pt x="143" y="151"/>
                    <a:pt x="143" y="150"/>
                  </a:cubicBezTo>
                  <a:cubicBezTo>
                    <a:pt x="144" y="150"/>
                    <a:pt x="144" y="148"/>
                    <a:pt x="159" y="142"/>
                  </a:cubicBezTo>
                  <a:cubicBezTo>
                    <a:pt x="158" y="138"/>
                    <a:pt x="156" y="137"/>
                    <a:pt x="154" y="136"/>
                  </a:cubicBezTo>
                  <a:cubicBezTo>
                    <a:pt x="151" y="135"/>
                    <a:pt x="149" y="134"/>
                    <a:pt x="148" y="129"/>
                  </a:cubicBezTo>
                  <a:cubicBezTo>
                    <a:pt x="148" y="124"/>
                    <a:pt x="147" y="122"/>
                    <a:pt x="145" y="120"/>
                  </a:cubicBezTo>
                  <a:cubicBezTo>
                    <a:pt x="144" y="119"/>
                    <a:pt x="143" y="117"/>
                    <a:pt x="143" y="114"/>
                  </a:cubicBezTo>
                  <a:cubicBezTo>
                    <a:pt x="143" y="112"/>
                    <a:pt x="143" y="112"/>
                    <a:pt x="143" y="112"/>
                  </a:cubicBezTo>
                  <a:cubicBezTo>
                    <a:pt x="143" y="108"/>
                    <a:pt x="143" y="103"/>
                    <a:pt x="142" y="103"/>
                  </a:cubicBezTo>
                  <a:cubicBezTo>
                    <a:pt x="141" y="102"/>
                    <a:pt x="141" y="102"/>
                    <a:pt x="141" y="101"/>
                  </a:cubicBezTo>
                  <a:cubicBezTo>
                    <a:pt x="140" y="99"/>
                    <a:pt x="141" y="95"/>
                    <a:pt x="144" y="91"/>
                  </a:cubicBezTo>
                  <a:cubicBezTo>
                    <a:pt x="146" y="88"/>
                    <a:pt x="144" y="87"/>
                    <a:pt x="142" y="85"/>
                  </a:cubicBezTo>
                  <a:cubicBezTo>
                    <a:pt x="140" y="84"/>
                    <a:pt x="137" y="82"/>
                    <a:pt x="136" y="79"/>
                  </a:cubicBezTo>
                  <a:cubicBezTo>
                    <a:pt x="136" y="76"/>
                    <a:pt x="138" y="69"/>
                    <a:pt x="143" y="57"/>
                  </a:cubicBezTo>
                  <a:cubicBezTo>
                    <a:pt x="131" y="49"/>
                    <a:pt x="119" y="40"/>
                    <a:pt x="119" y="40"/>
                  </a:cubicBezTo>
                  <a:cubicBezTo>
                    <a:pt x="118" y="40"/>
                    <a:pt x="118" y="40"/>
                    <a:pt x="118" y="40"/>
                  </a:cubicBezTo>
                  <a:cubicBezTo>
                    <a:pt x="118" y="39"/>
                    <a:pt x="118" y="39"/>
                    <a:pt x="118" y="39"/>
                  </a:cubicBezTo>
                  <a:cubicBezTo>
                    <a:pt x="119" y="31"/>
                    <a:pt x="119" y="31"/>
                    <a:pt x="119" y="31"/>
                  </a:cubicBezTo>
                  <a:cubicBezTo>
                    <a:pt x="65" y="2"/>
                    <a:pt x="65" y="2"/>
                    <a:pt x="65" y="2"/>
                  </a:cubicBezTo>
                  <a:cubicBezTo>
                    <a:pt x="65" y="8"/>
                    <a:pt x="62" y="14"/>
                    <a:pt x="58" y="15"/>
                  </a:cubicBezTo>
                  <a:cubicBezTo>
                    <a:pt x="57" y="16"/>
                    <a:pt x="57" y="16"/>
                    <a:pt x="57" y="16"/>
                  </a:cubicBezTo>
                  <a:cubicBezTo>
                    <a:pt x="57" y="17"/>
                    <a:pt x="58" y="18"/>
                    <a:pt x="59" y="20"/>
                  </a:cubicBezTo>
                  <a:cubicBezTo>
                    <a:pt x="60" y="21"/>
                    <a:pt x="61" y="22"/>
                    <a:pt x="60" y="23"/>
                  </a:cubicBezTo>
                  <a:cubicBezTo>
                    <a:pt x="60" y="24"/>
                    <a:pt x="60" y="24"/>
                    <a:pt x="59" y="24"/>
                  </a:cubicBezTo>
                  <a:cubicBezTo>
                    <a:pt x="57" y="25"/>
                    <a:pt x="54" y="24"/>
                    <a:pt x="51" y="24"/>
                  </a:cubicBezTo>
                  <a:cubicBezTo>
                    <a:pt x="48" y="23"/>
                    <a:pt x="44" y="22"/>
                    <a:pt x="41" y="22"/>
                  </a:cubicBezTo>
                  <a:cubicBezTo>
                    <a:pt x="39" y="22"/>
                    <a:pt x="37" y="22"/>
                    <a:pt x="35" y="23"/>
                  </a:cubicBezTo>
                  <a:cubicBezTo>
                    <a:pt x="34" y="23"/>
                    <a:pt x="34" y="23"/>
                    <a:pt x="34" y="23"/>
                  </a:cubicBezTo>
                  <a:cubicBezTo>
                    <a:pt x="34" y="23"/>
                    <a:pt x="34" y="23"/>
                    <a:pt x="34" y="23"/>
                  </a:cubicBezTo>
                  <a:cubicBezTo>
                    <a:pt x="33" y="23"/>
                    <a:pt x="33" y="23"/>
                    <a:pt x="32" y="22"/>
                  </a:cubicBezTo>
                  <a:cubicBezTo>
                    <a:pt x="30" y="19"/>
                    <a:pt x="31" y="9"/>
                    <a:pt x="34" y="1"/>
                  </a:cubicBezTo>
                  <a:cubicBezTo>
                    <a:pt x="23" y="2"/>
                    <a:pt x="23" y="2"/>
                    <a:pt x="23" y="2"/>
                  </a:cubicBezTo>
                  <a:cubicBezTo>
                    <a:pt x="23" y="2"/>
                    <a:pt x="23" y="2"/>
                    <a:pt x="23" y="2"/>
                  </a:cubicBezTo>
                  <a:cubicBezTo>
                    <a:pt x="23" y="2"/>
                    <a:pt x="20" y="3"/>
                    <a:pt x="17" y="4"/>
                  </a:cubicBezTo>
                  <a:cubicBezTo>
                    <a:pt x="19" y="9"/>
                    <a:pt x="19" y="9"/>
                    <a:pt x="19" y="9"/>
                  </a:cubicBezTo>
                  <a:cubicBezTo>
                    <a:pt x="19" y="10"/>
                    <a:pt x="22" y="16"/>
                    <a:pt x="21" y="19"/>
                  </a:cubicBezTo>
                  <a:cubicBezTo>
                    <a:pt x="21" y="21"/>
                    <a:pt x="19" y="22"/>
                    <a:pt x="15" y="22"/>
                  </a:cubicBezTo>
                  <a:cubicBezTo>
                    <a:pt x="16" y="26"/>
                    <a:pt x="16" y="29"/>
                    <a:pt x="16" y="29"/>
                  </a:cubicBezTo>
                  <a:cubicBezTo>
                    <a:pt x="20" y="32"/>
                    <a:pt x="20" y="32"/>
                    <a:pt x="20" y="32"/>
                  </a:cubicBezTo>
                  <a:cubicBezTo>
                    <a:pt x="20" y="32"/>
                    <a:pt x="20" y="32"/>
                    <a:pt x="20" y="32"/>
                  </a:cubicBezTo>
                  <a:cubicBezTo>
                    <a:pt x="19" y="33"/>
                    <a:pt x="11" y="48"/>
                    <a:pt x="7" y="50"/>
                  </a:cubicBezTo>
                  <a:cubicBezTo>
                    <a:pt x="7" y="50"/>
                    <a:pt x="5" y="51"/>
                    <a:pt x="2" y="53"/>
                  </a:cubicBezTo>
                  <a:cubicBezTo>
                    <a:pt x="4" y="63"/>
                    <a:pt x="6" y="76"/>
                    <a:pt x="10" y="80"/>
                  </a:cubicBezTo>
                  <a:cubicBezTo>
                    <a:pt x="16" y="85"/>
                    <a:pt x="17" y="91"/>
                    <a:pt x="17" y="95"/>
                  </a:cubicBezTo>
                  <a:cubicBezTo>
                    <a:pt x="17" y="97"/>
                    <a:pt x="18" y="98"/>
                    <a:pt x="18" y="99"/>
                  </a:cubicBezTo>
                  <a:cubicBezTo>
                    <a:pt x="19" y="101"/>
                    <a:pt x="20" y="102"/>
                    <a:pt x="21" y="104"/>
                  </a:cubicBezTo>
                  <a:cubicBezTo>
                    <a:pt x="22" y="106"/>
                    <a:pt x="24" y="108"/>
                    <a:pt x="23" y="110"/>
                  </a:cubicBezTo>
                  <a:cubicBezTo>
                    <a:pt x="23" y="111"/>
                    <a:pt x="22" y="111"/>
                    <a:pt x="21" y="112"/>
                  </a:cubicBezTo>
                  <a:cubicBezTo>
                    <a:pt x="20" y="112"/>
                    <a:pt x="20" y="112"/>
                    <a:pt x="20" y="112"/>
                  </a:cubicBezTo>
                  <a:cubicBezTo>
                    <a:pt x="17" y="112"/>
                    <a:pt x="15" y="109"/>
                    <a:pt x="13" y="106"/>
                  </a:cubicBezTo>
                  <a:cubicBezTo>
                    <a:pt x="13" y="107"/>
                    <a:pt x="13" y="107"/>
                    <a:pt x="13" y="107"/>
                  </a:cubicBezTo>
                  <a:cubicBezTo>
                    <a:pt x="13" y="108"/>
                    <a:pt x="12" y="108"/>
                    <a:pt x="12" y="108"/>
                  </a:cubicBezTo>
                  <a:cubicBezTo>
                    <a:pt x="19" y="112"/>
                    <a:pt x="21" y="113"/>
                    <a:pt x="22" y="113"/>
                  </a:cubicBezTo>
                  <a:cubicBezTo>
                    <a:pt x="24" y="113"/>
                    <a:pt x="27" y="115"/>
                    <a:pt x="30" y="116"/>
                  </a:cubicBezTo>
                  <a:cubicBezTo>
                    <a:pt x="32" y="117"/>
                    <a:pt x="34" y="118"/>
                    <a:pt x="36" y="119"/>
                  </a:cubicBezTo>
                  <a:cubicBezTo>
                    <a:pt x="39" y="119"/>
                    <a:pt x="53" y="125"/>
                    <a:pt x="55" y="127"/>
                  </a:cubicBezTo>
                  <a:cubicBezTo>
                    <a:pt x="55" y="128"/>
                    <a:pt x="55" y="128"/>
                    <a:pt x="55" y="128"/>
                  </a:cubicBezTo>
                  <a:cubicBezTo>
                    <a:pt x="60" y="128"/>
                    <a:pt x="63" y="128"/>
                    <a:pt x="65" y="128"/>
                  </a:cubicBezTo>
                  <a:cubicBezTo>
                    <a:pt x="65" y="128"/>
                    <a:pt x="66" y="127"/>
                    <a:pt x="67" y="127"/>
                  </a:cubicBezTo>
                  <a:cubicBezTo>
                    <a:pt x="68" y="127"/>
                    <a:pt x="69" y="128"/>
                    <a:pt x="70" y="129"/>
                  </a:cubicBezTo>
                  <a:cubicBezTo>
                    <a:pt x="74" y="133"/>
                    <a:pt x="78" y="147"/>
                    <a:pt x="78" y="157"/>
                  </a:cubicBezTo>
                  <a:cubicBezTo>
                    <a:pt x="80" y="157"/>
                    <a:pt x="84" y="158"/>
                    <a:pt x="86" y="158"/>
                  </a:cubicBezTo>
                  <a:cubicBezTo>
                    <a:pt x="86" y="158"/>
                    <a:pt x="87" y="157"/>
                    <a:pt x="88" y="157"/>
                  </a:cubicBezTo>
                  <a:cubicBezTo>
                    <a:pt x="89" y="156"/>
                    <a:pt x="91" y="156"/>
                    <a:pt x="92" y="1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7" name="Freeform 164"/>
            <p:cNvSpPr>
              <a:spLocks noEditPoints="1"/>
            </p:cNvSpPr>
            <p:nvPr/>
          </p:nvSpPr>
          <p:spPr>
            <a:xfrm>
              <a:off x="5570539" y="4048125"/>
              <a:ext cx="80963" cy="190500"/>
            </a:xfrm>
            <a:custGeom>
              <a:gdLst>
                <a:gd name="T0" fmla="*/ 35 w 47"/>
                <a:gd name="T1" fmla="*/ 112 h 112"/>
                <a:gd name="T2" fmla="*/ 23 w 47"/>
                <a:gd name="T3" fmla="*/ 87 h 112"/>
                <a:gd name="T4" fmla="*/ 21 w 47"/>
                <a:gd name="T5" fmla="*/ 72 h 112"/>
                <a:gd name="T6" fmla="*/ 14 w 47"/>
                <a:gd name="T7" fmla="*/ 73 h 112"/>
                <a:gd name="T8" fmla="*/ 4 w 47"/>
                <a:gd name="T9" fmla="*/ 66 h 112"/>
                <a:gd name="T10" fmla="*/ 3 w 47"/>
                <a:gd name="T11" fmla="*/ 66 h 112"/>
                <a:gd name="T12" fmla="*/ 2 w 47"/>
                <a:gd name="T13" fmla="*/ 64 h 112"/>
                <a:gd name="T14" fmla="*/ 1 w 47"/>
                <a:gd name="T15" fmla="*/ 59 h 112"/>
                <a:gd name="T16" fmla="*/ 7 w 47"/>
                <a:gd name="T17" fmla="*/ 43 h 112"/>
                <a:gd name="T18" fmla="*/ 9 w 47"/>
                <a:gd name="T19" fmla="*/ 42 h 112"/>
                <a:gd name="T20" fmla="*/ 11 w 47"/>
                <a:gd name="T21" fmla="*/ 16 h 112"/>
                <a:gd name="T22" fmla="*/ 13 w 47"/>
                <a:gd name="T23" fmla="*/ 16 h 112"/>
                <a:gd name="T24" fmla="*/ 8 w 47"/>
                <a:gd name="T25" fmla="*/ 1 h 112"/>
                <a:gd name="T26" fmla="*/ 8 w 47"/>
                <a:gd name="T27" fmla="*/ 0 h 112"/>
                <a:gd name="T28" fmla="*/ 19 w 47"/>
                <a:gd name="T29" fmla="*/ 0 h 112"/>
                <a:gd name="T30" fmla="*/ 22 w 47"/>
                <a:gd name="T31" fmla="*/ 19 h 112"/>
                <a:gd name="T32" fmla="*/ 20 w 47"/>
                <a:gd name="T33" fmla="*/ 45 h 112"/>
                <a:gd name="T34" fmla="*/ 35 w 47"/>
                <a:gd name="T35" fmla="*/ 67 h 112"/>
                <a:gd name="T36" fmla="*/ 35 w 47"/>
                <a:gd name="T37" fmla="*/ 64 h 112"/>
                <a:gd name="T38" fmla="*/ 45 w 47"/>
                <a:gd name="T39" fmla="*/ 73 h 112"/>
                <a:gd name="T40" fmla="*/ 46 w 47"/>
                <a:gd name="T41" fmla="*/ 88 h 112"/>
                <a:gd name="T42" fmla="*/ 37 w 47"/>
                <a:gd name="T43" fmla="*/ 98 h 112"/>
                <a:gd name="T44" fmla="*/ 36 w 47"/>
                <a:gd name="T45" fmla="*/ 111 h 112"/>
                <a:gd name="T46" fmla="*/ 21 w 47"/>
                <a:gd name="T47" fmla="*/ 71 h 112"/>
                <a:gd name="T48" fmla="*/ 24 w 47"/>
                <a:gd name="T49" fmla="*/ 87 h 112"/>
                <a:gd name="T50" fmla="*/ 35 w 47"/>
                <a:gd name="T51" fmla="*/ 111 h 112"/>
                <a:gd name="T52" fmla="*/ 37 w 47"/>
                <a:gd name="T53" fmla="*/ 97 h 112"/>
                <a:gd name="T54" fmla="*/ 45 w 47"/>
                <a:gd name="T55" fmla="*/ 88 h 112"/>
                <a:gd name="T56" fmla="*/ 44 w 47"/>
                <a:gd name="T57" fmla="*/ 74 h 112"/>
                <a:gd name="T58" fmla="*/ 36 w 47"/>
                <a:gd name="T59" fmla="*/ 68 h 112"/>
                <a:gd name="T60" fmla="*/ 19 w 47"/>
                <a:gd name="T61" fmla="*/ 45 h 112"/>
                <a:gd name="T62" fmla="*/ 21 w 47"/>
                <a:gd name="T63" fmla="*/ 20 h 112"/>
                <a:gd name="T64" fmla="*/ 9 w 47"/>
                <a:gd name="T65" fmla="*/ 1 h 112"/>
                <a:gd name="T66" fmla="*/ 13 w 47"/>
                <a:gd name="T67" fmla="*/ 17 h 112"/>
                <a:gd name="T68" fmla="*/ 9 w 47"/>
                <a:gd name="T69" fmla="*/ 18 h 112"/>
                <a:gd name="T70" fmla="*/ 10 w 47"/>
                <a:gd name="T71" fmla="*/ 43 h 112"/>
                <a:gd name="T72" fmla="*/ 4 w 47"/>
                <a:gd name="T73" fmla="*/ 45 h 112"/>
                <a:gd name="T74" fmla="*/ 3 w 47"/>
                <a:gd name="T75" fmla="*/ 63 h 112"/>
                <a:gd name="T76" fmla="*/ 7 w 47"/>
                <a:gd name="T77" fmla="*/ 68 h 112"/>
                <a:gd name="T78" fmla="*/ 14 w 47"/>
                <a:gd name="T79" fmla="*/ 72 h 112"/>
                <a:gd name="T80" fmla="*/ 21 w 47"/>
                <a:gd name="T81" fmla="*/ 71 h 1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112">
                  <a:moveTo>
                    <a:pt x="35" y="112"/>
                  </a:moveTo>
                  <a:cubicBezTo>
                    <a:pt x="35" y="112"/>
                    <a:pt x="35" y="112"/>
                    <a:pt x="35" y="112"/>
                  </a:cubicBezTo>
                  <a:cubicBezTo>
                    <a:pt x="33" y="112"/>
                    <a:pt x="23" y="96"/>
                    <a:pt x="22" y="94"/>
                  </a:cubicBezTo>
                  <a:cubicBezTo>
                    <a:pt x="21" y="92"/>
                    <a:pt x="22" y="90"/>
                    <a:pt x="23" y="87"/>
                  </a:cubicBezTo>
                  <a:cubicBezTo>
                    <a:pt x="24" y="83"/>
                    <a:pt x="26" y="78"/>
                    <a:pt x="25" y="75"/>
                  </a:cubicBezTo>
                  <a:cubicBezTo>
                    <a:pt x="24" y="73"/>
                    <a:pt x="23" y="72"/>
                    <a:pt x="21" y="72"/>
                  </a:cubicBezTo>
                  <a:cubicBezTo>
                    <a:pt x="19" y="72"/>
                    <a:pt x="17" y="72"/>
                    <a:pt x="16" y="73"/>
                  </a:cubicBezTo>
                  <a:cubicBezTo>
                    <a:pt x="15" y="73"/>
                    <a:pt x="14" y="73"/>
                    <a:pt x="14" y="73"/>
                  </a:cubicBezTo>
                  <a:cubicBezTo>
                    <a:pt x="12" y="74"/>
                    <a:pt x="9" y="71"/>
                    <a:pt x="7" y="69"/>
                  </a:cubicBezTo>
                  <a:cubicBezTo>
                    <a:pt x="6" y="68"/>
                    <a:pt x="4" y="67"/>
                    <a:pt x="4" y="66"/>
                  </a:cubicBezTo>
                  <a:cubicBezTo>
                    <a:pt x="4" y="66"/>
                    <a:pt x="4" y="66"/>
                    <a:pt x="4" y="66"/>
                  </a:cubicBezTo>
                  <a:cubicBezTo>
                    <a:pt x="3" y="66"/>
                    <a:pt x="3" y="66"/>
                    <a:pt x="3" y="66"/>
                  </a:cubicBezTo>
                  <a:cubicBezTo>
                    <a:pt x="3" y="66"/>
                    <a:pt x="3" y="66"/>
                    <a:pt x="3" y="66"/>
                  </a:cubicBezTo>
                  <a:cubicBezTo>
                    <a:pt x="3" y="65"/>
                    <a:pt x="2" y="64"/>
                    <a:pt x="2" y="64"/>
                  </a:cubicBezTo>
                  <a:cubicBezTo>
                    <a:pt x="1" y="61"/>
                    <a:pt x="0" y="60"/>
                    <a:pt x="0" y="60"/>
                  </a:cubicBezTo>
                  <a:cubicBezTo>
                    <a:pt x="1" y="59"/>
                    <a:pt x="1" y="59"/>
                    <a:pt x="1" y="59"/>
                  </a:cubicBezTo>
                  <a:cubicBezTo>
                    <a:pt x="2" y="59"/>
                    <a:pt x="3" y="49"/>
                    <a:pt x="3" y="45"/>
                  </a:cubicBezTo>
                  <a:cubicBezTo>
                    <a:pt x="3" y="43"/>
                    <a:pt x="5" y="43"/>
                    <a:pt x="7" y="43"/>
                  </a:cubicBezTo>
                  <a:cubicBezTo>
                    <a:pt x="8" y="43"/>
                    <a:pt x="9" y="43"/>
                    <a:pt x="9" y="43"/>
                  </a:cubicBezTo>
                  <a:cubicBezTo>
                    <a:pt x="9" y="42"/>
                    <a:pt x="9" y="42"/>
                    <a:pt x="9" y="42"/>
                  </a:cubicBezTo>
                  <a:cubicBezTo>
                    <a:pt x="6" y="39"/>
                    <a:pt x="7" y="21"/>
                    <a:pt x="8" y="18"/>
                  </a:cubicBezTo>
                  <a:cubicBezTo>
                    <a:pt x="9" y="16"/>
                    <a:pt x="10" y="16"/>
                    <a:pt x="11" y="16"/>
                  </a:cubicBezTo>
                  <a:cubicBezTo>
                    <a:pt x="12" y="16"/>
                    <a:pt x="12" y="16"/>
                    <a:pt x="12" y="16"/>
                  </a:cubicBezTo>
                  <a:cubicBezTo>
                    <a:pt x="12" y="16"/>
                    <a:pt x="12" y="16"/>
                    <a:pt x="13" y="16"/>
                  </a:cubicBezTo>
                  <a:cubicBezTo>
                    <a:pt x="13" y="16"/>
                    <a:pt x="13" y="16"/>
                    <a:pt x="13" y="15"/>
                  </a:cubicBezTo>
                  <a:cubicBezTo>
                    <a:pt x="13" y="13"/>
                    <a:pt x="10" y="5"/>
                    <a:pt x="8" y="1"/>
                  </a:cubicBezTo>
                  <a:cubicBezTo>
                    <a:pt x="7" y="0"/>
                    <a:pt x="7" y="0"/>
                    <a:pt x="7" y="0"/>
                  </a:cubicBezTo>
                  <a:cubicBezTo>
                    <a:pt x="8" y="0"/>
                    <a:pt x="8" y="0"/>
                    <a:pt x="8" y="0"/>
                  </a:cubicBezTo>
                  <a:cubicBezTo>
                    <a:pt x="13" y="0"/>
                    <a:pt x="16" y="0"/>
                    <a:pt x="18" y="0"/>
                  </a:cubicBezTo>
                  <a:cubicBezTo>
                    <a:pt x="19" y="0"/>
                    <a:pt x="19" y="0"/>
                    <a:pt x="19" y="0"/>
                  </a:cubicBezTo>
                  <a:cubicBezTo>
                    <a:pt x="18" y="1"/>
                    <a:pt x="18" y="1"/>
                    <a:pt x="18" y="1"/>
                  </a:cubicBezTo>
                  <a:cubicBezTo>
                    <a:pt x="16" y="3"/>
                    <a:pt x="17" y="10"/>
                    <a:pt x="22" y="19"/>
                  </a:cubicBezTo>
                  <a:cubicBezTo>
                    <a:pt x="24" y="25"/>
                    <a:pt x="23" y="29"/>
                    <a:pt x="22" y="34"/>
                  </a:cubicBezTo>
                  <a:cubicBezTo>
                    <a:pt x="21" y="37"/>
                    <a:pt x="20" y="41"/>
                    <a:pt x="20" y="45"/>
                  </a:cubicBezTo>
                  <a:cubicBezTo>
                    <a:pt x="21" y="54"/>
                    <a:pt x="29" y="68"/>
                    <a:pt x="34" y="68"/>
                  </a:cubicBezTo>
                  <a:cubicBezTo>
                    <a:pt x="34" y="68"/>
                    <a:pt x="35" y="68"/>
                    <a:pt x="35" y="67"/>
                  </a:cubicBezTo>
                  <a:cubicBezTo>
                    <a:pt x="35" y="67"/>
                    <a:pt x="35" y="66"/>
                    <a:pt x="35" y="65"/>
                  </a:cubicBezTo>
                  <a:cubicBezTo>
                    <a:pt x="35" y="64"/>
                    <a:pt x="35" y="64"/>
                    <a:pt x="35" y="64"/>
                  </a:cubicBezTo>
                  <a:cubicBezTo>
                    <a:pt x="36" y="65"/>
                    <a:pt x="36" y="65"/>
                    <a:pt x="36" y="65"/>
                  </a:cubicBezTo>
                  <a:cubicBezTo>
                    <a:pt x="40" y="68"/>
                    <a:pt x="43" y="71"/>
                    <a:pt x="45" y="73"/>
                  </a:cubicBezTo>
                  <a:cubicBezTo>
                    <a:pt x="47" y="76"/>
                    <a:pt x="47" y="77"/>
                    <a:pt x="47" y="80"/>
                  </a:cubicBezTo>
                  <a:cubicBezTo>
                    <a:pt x="46" y="81"/>
                    <a:pt x="45" y="84"/>
                    <a:pt x="46" y="88"/>
                  </a:cubicBezTo>
                  <a:cubicBezTo>
                    <a:pt x="46" y="95"/>
                    <a:pt x="44" y="96"/>
                    <a:pt x="41" y="97"/>
                  </a:cubicBezTo>
                  <a:cubicBezTo>
                    <a:pt x="40" y="97"/>
                    <a:pt x="39" y="97"/>
                    <a:pt x="37" y="98"/>
                  </a:cubicBezTo>
                  <a:cubicBezTo>
                    <a:pt x="35" y="100"/>
                    <a:pt x="36" y="104"/>
                    <a:pt x="36" y="107"/>
                  </a:cubicBezTo>
                  <a:cubicBezTo>
                    <a:pt x="36" y="109"/>
                    <a:pt x="36" y="110"/>
                    <a:pt x="36" y="111"/>
                  </a:cubicBezTo>
                  <a:cubicBezTo>
                    <a:pt x="36" y="112"/>
                    <a:pt x="36" y="112"/>
                    <a:pt x="35" y="112"/>
                  </a:cubicBezTo>
                  <a:close/>
                  <a:moveTo>
                    <a:pt x="21" y="71"/>
                  </a:moveTo>
                  <a:cubicBezTo>
                    <a:pt x="24" y="71"/>
                    <a:pt x="25" y="72"/>
                    <a:pt x="26" y="74"/>
                  </a:cubicBezTo>
                  <a:cubicBezTo>
                    <a:pt x="27" y="78"/>
                    <a:pt x="25" y="83"/>
                    <a:pt x="24" y="87"/>
                  </a:cubicBezTo>
                  <a:cubicBezTo>
                    <a:pt x="23" y="90"/>
                    <a:pt x="23" y="92"/>
                    <a:pt x="23" y="93"/>
                  </a:cubicBezTo>
                  <a:cubicBezTo>
                    <a:pt x="24" y="96"/>
                    <a:pt x="33" y="110"/>
                    <a:pt x="35" y="111"/>
                  </a:cubicBezTo>
                  <a:cubicBezTo>
                    <a:pt x="35" y="110"/>
                    <a:pt x="35" y="109"/>
                    <a:pt x="35" y="107"/>
                  </a:cubicBezTo>
                  <a:cubicBezTo>
                    <a:pt x="35" y="104"/>
                    <a:pt x="34" y="100"/>
                    <a:pt x="37" y="97"/>
                  </a:cubicBezTo>
                  <a:cubicBezTo>
                    <a:pt x="38" y="96"/>
                    <a:pt x="40" y="96"/>
                    <a:pt x="41" y="96"/>
                  </a:cubicBezTo>
                  <a:cubicBezTo>
                    <a:pt x="43" y="95"/>
                    <a:pt x="45" y="95"/>
                    <a:pt x="45" y="88"/>
                  </a:cubicBezTo>
                  <a:cubicBezTo>
                    <a:pt x="44" y="84"/>
                    <a:pt x="45" y="81"/>
                    <a:pt x="46" y="79"/>
                  </a:cubicBezTo>
                  <a:cubicBezTo>
                    <a:pt x="46" y="77"/>
                    <a:pt x="46" y="76"/>
                    <a:pt x="44" y="74"/>
                  </a:cubicBezTo>
                  <a:cubicBezTo>
                    <a:pt x="43" y="72"/>
                    <a:pt x="40" y="70"/>
                    <a:pt x="36" y="66"/>
                  </a:cubicBezTo>
                  <a:cubicBezTo>
                    <a:pt x="36" y="67"/>
                    <a:pt x="36" y="67"/>
                    <a:pt x="36" y="68"/>
                  </a:cubicBezTo>
                  <a:cubicBezTo>
                    <a:pt x="35" y="69"/>
                    <a:pt x="35" y="69"/>
                    <a:pt x="34" y="69"/>
                  </a:cubicBezTo>
                  <a:cubicBezTo>
                    <a:pt x="29" y="69"/>
                    <a:pt x="20" y="54"/>
                    <a:pt x="19" y="45"/>
                  </a:cubicBezTo>
                  <a:cubicBezTo>
                    <a:pt x="19" y="41"/>
                    <a:pt x="20" y="37"/>
                    <a:pt x="21" y="34"/>
                  </a:cubicBezTo>
                  <a:cubicBezTo>
                    <a:pt x="22" y="29"/>
                    <a:pt x="23" y="25"/>
                    <a:pt x="21" y="20"/>
                  </a:cubicBezTo>
                  <a:cubicBezTo>
                    <a:pt x="18" y="13"/>
                    <a:pt x="15" y="5"/>
                    <a:pt x="17" y="1"/>
                  </a:cubicBezTo>
                  <a:cubicBezTo>
                    <a:pt x="15" y="1"/>
                    <a:pt x="12" y="1"/>
                    <a:pt x="9" y="1"/>
                  </a:cubicBezTo>
                  <a:cubicBezTo>
                    <a:pt x="11" y="5"/>
                    <a:pt x="14" y="12"/>
                    <a:pt x="14" y="15"/>
                  </a:cubicBezTo>
                  <a:cubicBezTo>
                    <a:pt x="14" y="16"/>
                    <a:pt x="14" y="17"/>
                    <a:pt x="13" y="17"/>
                  </a:cubicBezTo>
                  <a:cubicBezTo>
                    <a:pt x="12" y="17"/>
                    <a:pt x="12" y="17"/>
                    <a:pt x="12" y="17"/>
                  </a:cubicBezTo>
                  <a:cubicBezTo>
                    <a:pt x="11" y="16"/>
                    <a:pt x="10" y="16"/>
                    <a:pt x="9" y="18"/>
                  </a:cubicBezTo>
                  <a:cubicBezTo>
                    <a:pt x="8" y="22"/>
                    <a:pt x="7" y="39"/>
                    <a:pt x="10" y="41"/>
                  </a:cubicBezTo>
                  <a:cubicBezTo>
                    <a:pt x="10" y="42"/>
                    <a:pt x="11" y="42"/>
                    <a:pt x="10" y="43"/>
                  </a:cubicBezTo>
                  <a:cubicBezTo>
                    <a:pt x="10" y="44"/>
                    <a:pt x="9" y="44"/>
                    <a:pt x="7" y="44"/>
                  </a:cubicBezTo>
                  <a:cubicBezTo>
                    <a:pt x="5" y="44"/>
                    <a:pt x="4" y="44"/>
                    <a:pt x="4" y="45"/>
                  </a:cubicBezTo>
                  <a:cubicBezTo>
                    <a:pt x="4" y="46"/>
                    <a:pt x="4" y="59"/>
                    <a:pt x="1" y="60"/>
                  </a:cubicBezTo>
                  <a:cubicBezTo>
                    <a:pt x="1" y="60"/>
                    <a:pt x="2" y="62"/>
                    <a:pt x="3" y="63"/>
                  </a:cubicBezTo>
                  <a:cubicBezTo>
                    <a:pt x="3" y="64"/>
                    <a:pt x="4" y="65"/>
                    <a:pt x="4" y="65"/>
                  </a:cubicBezTo>
                  <a:cubicBezTo>
                    <a:pt x="5" y="66"/>
                    <a:pt x="6" y="66"/>
                    <a:pt x="7" y="68"/>
                  </a:cubicBezTo>
                  <a:cubicBezTo>
                    <a:pt x="9" y="70"/>
                    <a:pt x="12" y="72"/>
                    <a:pt x="14" y="72"/>
                  </a:cubicBezTo>
                  <a:cubicBezTo>
                    <a:pt x="14" y="72"/>
                    <a:pt x="14" y="72"/>
                    <a:pt x="14" y="72"/>
                  </a:cubicBezTo>
                  <a:cubicBezTo>
                    <a:pt x="14" y="72"/>
                    <a:pt x="15" y="72"/>
                    <a:pt x="16" y="72"/>
                  </a:cubicBezTo>
                  <a:cubicBezTo>
                    <a:pt x="17" y="71"/>
                    <a:pt x="19" y="71"/>
                    <a:pt x="21" y="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8" name="Freeform 165"/>
            <p:cNvSpPr>
              <a:spLocks noEditPoints="1"/>
            </p:cNvSpPr>
            <p:nvPr/>
          </p:nvSpPr>
          <p:spPr>
            <a:xfrm>
              <a:off x="8810626" y="4332288"/>
              <a:ext cx="74613" cy="52388"/>
            </a:xfrm>
            <a:custGeom>
              <a:gdLst>
                <a:gd name="T0" fmla="*/ 42 w 44"/>
                <a:gd name="T1" fmla="*/ 31 h 31"/>
                <a:gd name="T2" fmla="*/ 0 w 44"/>
                <a:gd name="T3" fmla="*/ 1 h 31"/>
                <a:gd name="T4" fmla="*/ 0 w 44"/>
                <a:gd name="T5" fmla="*/ 1 h 31"/>
                <a:gd name="T6" fmla="*/ 1 w 44"/>
                <a:gd name="T7" fmla="*/ 0 h 31"/>
                <a:gd name="T8" fmla="*/ 44 w 44"/>
                <a:gd name="T9" fmla="*/ 29 h 31"/>
                <a:gd name="T10" fmla="*/ 43 w 44"/>
                <a:gd name="T11" fmla="*/ 31 h 31"/>
                <a:gd name="T12" fmla="*/ 42 w 44"/>
                <a:gd name="T13" fmla="*/ 31 h 31"/>
                <a:gd name="T14" fmla="*/ 1 w 44"/>
                <a:gd name="T15" fmla="*/ 1 h 31"/>
                <a:gd name="T16" fmla="*/ 1 w 44"/>
                <a:gd name="T17" fmla="*/ 1 h 31"/>
                <a:gd name="T18" fmla="*/ 42 w 44"/>
                <a:gd name="T19" fmla="*/ 30 h 31"/>
                <a:gd name="T20" fmla="*/ 42 w 44"/>
                <a:gd name="T21" fmla="*/ 30 h 31"/>
                <a:gd name="T22" fmla="*/ 43 w 44"/>
                <a:gd name="T23" fmla="*/ 30 h 31"/>
                <a:gd name="T24" fmla="*/ 1 w 44"/>
                <a:gd name="T25" fmla="*/ 1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31">
                  <a:moveTo>
                    <a:pt x="42" y="31"/>
                  </a:moveTo>
                  <a:cubicBezTo>
                    <a:pt x="33" y="31"/>
                    <a:pt x="1" y="7"/>
                    <a:pt x="0" y="1"/>
                  </a:cubicBezTo>
                  <a:cubicBezTo>
                    <a:pt x="0" y="1"/>
                    <a:pt x="0" y="1"/>
                    <a:pt x="0" y="1"/>
                  </a:cubicBezTo>
                  <a:cubicBezTo>
                    <a:pt x="1" y="0"/>
                    <a:pt x="1" y="0"/>
                    <a:pt x="1" y="0"/>
                  </a:cubicBezTo>
                  <a:cubicBezTo>
                    <a:pt x="7" y="0"/>
                    <a:pt x="42" y="23"/>
                    <a:pt x="44" y="29"/>
                  </a:cubicBezTo>
                  <a:cubicBezTo>
                    <a:pt x="44" y="30"/>
                    <a:pt x="43" y="31"/>
                    <a:pt x="43" y="31"/>
                  </a:cubicBezTo>
                  <a:cubicBezTo>
                    <a:pt x="42" y="31"/>
                    <a:pt x="42" y="31"/>
                    <a:pt x="42" y="31"/>
                  </a:cubicBezTo>
                  <a:close/>
                  <a:moveTo>
                    <a:pt x="1" y="1"/>
                  </a:moveTo>
                  <a:cubicBezTo>
                    <a:pt x="1" y="1"/>
                    <a:pt x="1" y="1"/>
                    <a:pt x="1" y="1"/>
                  </a:cubicBezTo>
                  <a:cubicBezTo>
                    <a:pt x="2" y="6"/>
                    <a:pt x="34" y="30"/>
                    <a:pt x="42" y="30"/>
                  </a:cubicBezTo>
                  <a:cubicBezTo>
                    <a:pt x="42" y="30"/>
                    <a:pt x="42" y="30"/>
                    <a:pt x="42" y="30"/>
                  </a:cubicBezTo>
                  <a:cubicBezTo>
                    <a:pt x="43" y="30"/>
                    <a:pt x="43" y="30"/>
                    <a:pt x="43" y="30"/>
                  </a:cubicBezTo>
                  <a:cubicBezTo>
                    <a:pt x="41" y="24"/>
                    <a:pt x="6" y="1"/>
                    <a:pt x="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39" name="Freeform 166"/>
            <p:cNvSpPr>
              <a:spLocks noEditPoints="1"/>
            </p:cNvSpPr>
            <p:nvPr/>
          </p:nvSpPr>
          <p:spPr>
            <a:xfrm>
              <a:off x="6448426" y="2733675"/>
              <a:ext cx="190500" cy="127000"/>
            </a:xfrm>
            <a:custGeom>
              <a:gdLst>
                <a:gd name="T0" fmla="*/ 60 w 112"/>
                <a:gd name="T1" fmla="*/ 74 h 75"/>
                <a:gd name="T2" fmla="*/ 56 w 112"/>
                <a:gd name="T3" fmla="*/ 49 h 75"/>
                <a:gd name="T4" fmla="*/ 34 w 112"/>
                <a:gd name="T5" fmla="*/ 61 h 75"/>
                <a:gd name="T6" fmla="*/ 21 w 112"/>
                <a:gd name="T7" fmla="*/ 66 h 75"/>
                <a:gd name="T8" fmla="*/ 10 w 112"/>
                <a:gd name="T9" fmla="*/ 69 h 75"/>
                <a:gd name="T10" fmla="*/ 5 w 112"/>
                <a:gd name="T11" fmla="*/ 67 h 75"/>
                <a:gd name="T12" fmla="*/ 9 w 112"/>
                <a:gd name="T13" fmla="*/ 39 h 75"/>
                <a:gd name="T14" fmla="*/ 9 w 112"/>
                <a:gd name="T15" fmla="*/ 23 h 75"/>
                <a:gd name="T16" fmla="*/ 19 w 112"/>
                <a:gd name="T17" fmla="*/ 14 h 75"/>
                <a:gd name="T18" fmla="*/ 32 w 112"/>
                <a:gd name="T19" fmla="*/ 4 h 75"/>
                <a:gd name="T20" fmla="*/ 45 w 112"/>
                <a:gd name="T21" fmla="*/ 0 h 75"/>
                <a:gd name="T22" fmla="*/ 42 w 112"/>
                <a:gd name="T23" fmla="*/ 14 h 75"/>
                <a:gd name="T24" fmla="*/ 29 w 112"/>
                <a:gd name="T25" fmla="*/ 19 h 75"/>
                <a:gd name="T26" fmla="*/ 35 w 112"/>
                <a:gd name="T27" fmla="*/ 22 h 75"/>
                <a:gd name="T28" fmla="*/ 51 w 112"/>
                <a:gd name="T29" fmla="*/ 24 h 75"/>
                <a:gd name="T30" fmla="*/ 62 w 112"/>
                <a:gd name="T31" fmla="*/ 24 h 75"/>
                <a:gd name="T32" fmla="*/ 71 w 112"/>
                <a:gd name="T33" fmla="*/ 26 h 75"/>
                <a:gd name="T34" fmla="*/ 92 w 112"/>
                <a:gd name="T35" fmla="*/ 25 h 75"/>
                <a:gd name="T36" fmla="*/ 109 w 112"/>
                <a:gd name="T37" fmla="*/ 47 h 75"/>
                <a:gd name="T38" fmla="*/ 112 w 112"/>
                <a:gd name="T39" fmla="*/ 67 h 75"/>
                <a:gd name="T40" fmla="*/ 107 w 112"/>
                <a:gd name="T41" fmla="*/ 68 h 75"/>
                <a:gd name="T42" fmla="*/ 93 w 112"/>
                <a:gd name="T43" fmla="*/ 63 h 75"/>
                <a:gd name="T44" fmla="*/ 76 w 112"/>
                <a:gd name="T45" fmla="*/ 71 h 75"/>
                <a:gd name="T46" fmla="*/ 68 w 112"/>
                <a:gd name="T47" fmla="*/ 74 h 75"/>
                <a:gd name="T48" fmla="*/ 54 w 112"/>
                <a:gd name="T49" fmla="*/ 43 h 75"/>
                <a:gd name="T50" fmla="*/ 62 w 112"/>
                <a:gd name="T51" fmla="*/ 65 h 75"/>
                <a:gd name="T52" fmla="*/ 64 w 112"/>
                <a:gd name="T53" fmla="*/ 74 h 75"/>
                <a:gd name="T54" fmla="*/ 75 w 112"/>
                <a:gd name="T55" fmla="*/ 71 h 75"/>
                <a:gd name="T56" fmla="*/ 91 w 112"/>
                <a:gd name="T57" fmla="*/ 60 h 75"/>
                <a:gd name="T58" fmla="*/ 98 w 112"/>
                <a:gd name="T59" fmla="*/ 64 h 75"/>
                <a:gd name="T60" fmla="*/ 108 w 112"/>
                <a:gd name="T61" fmla="*/ 47 h 75"/>
                <a:gd name="T62" fmla="*/ 94 w 112"/>
                <a:gd name="T63" fmla="*/ 38 h 75"/>
                <a:gd name="T64" fmla="*/ 73 w 112"/>
                <a:gd name="T65" fmla="*/ 27 h 75"/>
                <a:gd name="T66" fmla="*/ 67 w 112"/>
                <a:gd name="T67" fmla="*/ 27 h 75"/>
                <a:gd name="T68" fmla="*/ 56 w 112"/>
                <a:gd name="T69" fmla="*/ 24 h 75"/>
                <a:gd name="T70" fmla="*/ 41 w 112"/>
                <a:gd name="T71" fmla="*/ 23 h 75"/>
                <a:gd name="T72" fmla="*/ 27 w 112"/>
                <a:gd name="T73" fmla="*/ 22 h 75"/>
                <a:gd name="T74" fmla="*/ 42 w 112"/>
                <a:gd name="T75" fmla="*/ 13 h 75"/>
                <a:gd name="T76" fmla="*/ 38 w 112"/>
                <a:gd name="T77" fmla="*/ 4 h 75"/>
                <a:gd name="T78" fmla="*/ 30 w 112"/>
                <a:gd name="T79" fmla="*/ 5 h 75"/>
                <a:gd name="T80" fmla="*/ 17 w 112"/>
                <a:gd name="T81" fmla="*/ 18 h 75"/>
                <a:gd name="T82" fmla="*/ 1 w 112"/>
                <a:gd name="T83" fmla="*/ 28 h 75"/>
                <a:gd name="T84" fmla="*/ 12 w 112"/>
                <a:gd name="T85" fmla="*/ 45 h 75"/>
                <a:gd name="T86" fmla="*/ 10 w 112"/>
                <a:gd name="T87" fmla="*/ 68 h 75"/>
                <a:gd name="T88" fmla="*/ 23 w 112"/>
                <a:gd name="T89" fmla="*/ 65 h 75"/>
                <a:gd name="T90" fmla="*/ 41 w 112"/>
                <a:gd name="T91" fmla="*/ 57 h 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 h="75">
                  <a:moveTo>
                    <a:pt x="64" y="75"/>
                  </a:moveTo>
                  <a:cubicBezTo>
                    <a:pt x="64" y="75"/>
                    <a:pt x="64" y="75"/>
                    <a:pt x="64" y="75"/>
                  </a:cubicBezTo>
                  <a:cubicBezTo>
                    <a:pt x="62" y="75"/>
                    <a:pt x="61" y="74"/>
                    <a:pt x="60" y="74"/>
                  </a:cubicBezTo>
                  <a:cubicBezTo>
                    <a:pt x="59" y="72"/>
                    <a:pt x="60" y="68"/>
                    <a:pt x="61" y="65"/>
                  </a:cubicBezTo>
                  <a:cubicBezTo>
                    <a:pt x="62" y="61"/>
                    <a:pt x="63" y="58"/>
                    <a:pt x="60" y="56"/>
                  </a:cubicBezTo>
                  <a:cubicBezTo>
                    <a:pt x="56" y="55"/>
                    <a:pt x="56" y="51"/>
                    <a:pt x="56" y="49"/>
                  </a:cubicBezTo>
                  <a:cubicBezTo>
                    <a:pt x="56" y="46"/>
                    <a:pt x="56" y="45"/>
                    <a:pt x="54" y="44"/>
                  </a:cubicBezTo>
                  <a:cubicBezTo>
                    <a:pt x="49" y="44"/>
                    <a:pt x="42" y="53"/>
                    <a:pt x="42" y="57"/>
                  </a:cubicBezTo>
                  <a:cubicBezTo>
                    <a:pt x="42" y="59"/>
                    <a:pt x="38" y="60"/>
                    <a:pt x="34" y="61"/>
                  </a:cubicBezTo>
                  <a:cubicBezTo>
                    <a:pt x="31" y="61"/>
                    <a:pt x="28" y="62"/>
                    <a:pt x="28" y="63"/>
                  </a:cubicBezTo>
                  <a:cubicBezTo>
                    <a:pt x="28" y="66"/>
                    <a:pt x="25" y="66"/>
                    <a:pt x="23" y="66"/>
                  </a:cubicBezTo>
                  <a:cubicBezTo>
                    <a:pt x="22" y="66"/>
                    <a:pt x="22" y="66"/>
                    <a:pt x="21" y="66"/>
                  </a:cubicBezTo>
                  <a:cubicBezTo>
                    <a:pt x="20" y="66"/>
                    <a:pt x="20" y="66"/>
                    <a:pt x="19" y="66"/>
                  </a:cubicBezTo>
                  <a:cubicBezTo>
                    <a:pt x="17" y="66"/>
                    <a:pt x="14" y="66"/>
                    <a:pt x="13" y="68"/>
                  </a:cubicBezTo>
                  <a:cubicBezTo>
                    <a:pt x="12" y="69"/>
                    <a:pt x="11" y="69"/>
                    <a:pt x="10" y="69"/>
                  </a:cubicBezTo>
                  <a:cubicBezTo>
                    <a:pt x="9" y="69"/>
                    <a:pt x="7" y="68"/>
                    <a:pt x="5" y="67"/>
                  </a:cubicBezTo>
                  <a:cubicBezTo>
                    <a:pt x="5" y="67"/>
                    <a:pt x="5" y="67"/>
                    <a:pt x="5" y="67"/>
                  </a:cubicBezTo>
                  <a:cubicBezTo>
                    <a:pt x="5" y="67"/>
                    <a:pt x="5" y="67"/>
                    <a:pt x="5" y="67"/>
                  </a:cubicBezTo>
                  <a:cubicBezTo>
                    <a:pt x="5" y="60"/>
                    <a:pt x="7" y="55"/>
                    <a:pt x="11" y="51"/>
                  </a:cubicBezTo>
                  <a:cubicBezTo>
                    <a:pt x="13" y="50"/>
                    <a:pt x="12" y="48"/>
                    <a:pt x="11" y="45"/>
                  </a:cubicBezTo>
                  <a:cubicBezTo>
                    <a:pt x="10" y="43"/>
                    <a:pt x="9" y="41"/>
                    <a:pt x="9" y="39"/>
                  </a:cubicBezTo>
                  <a:cubicBezTo>
                    <a:pt x="10" y="36"/>
                    <a:pt x="7" y="35"/>
                    <a:pt x="5" y="33"/>
                  </a:cubicBezTo>
                  <a:cubicBezTo>
                    <a:pt x="2" y="31"/>
                    <a:pt x="0" y="30"/>
                    <a:pt x="0" y="27"/>
                  </a:cubicBezTo>
                  <a:cubicBezTo>
                    <a:pt x="1" y="25"/>
                    <a:pt x="5" y="24"/>
                    <a:pt x="9" y="23"/>
                  </a:cubicBezTo>
                  <a:cubicBezTo>
                    <a:pt x="11" y="23"/>
                    <a:pt x="13" y="22"/>
                    <a:pt x="14" y="22"/>
                  </a:cubicBezTo>
                  <a:cubicBezTo>
                    <a:pt x="16" y="21"/>
                    <a:pt x="16" y="19"/>
                    <a:pt x="16" y="18"/>
                  </a:cubicBezTo>
                  <a:cubicBezTo>
                    <a:pt x="17" y="16"/>
                    <a:pt x="17" y="14"/>
                    <a:pt x="19" y="14"/>
                  </a:cubicBezTo>
                  <a:cubicBezTo>
                    <a:pt x="23" y="14"/>
                    <a:pt x="24" y="11"/>
                    <a:pt x="26" y="6"/>
                  </a:cubicBezTo>
                  <a:cubicBezTo>
                    <a:pt x="26" y="4"/>
                    <a:pt x="28" y="4"/>
                    <a:pt x="30" y="4"/>
                  </a:cubicBezTo>
                  <a:cubicBezTo>
                    <a:pt x="30" y="4"/>
                    <a:pt x="31" y="4"/>
                    <a:pt x="32" y="4"/>
                  </a:cubicBezTo>
                  <a:cubicBezTo>
                    <a:pt x="32" y="4"/>
                    <a:pt x="33" y="4"/>
                    <a:pt x="34" y="4"/>
                  </a:cubicBezTo>
                  <a:cubicBezTo>
                    <a:pt x="35" y="4"/>
                    <a:pt x="36" y="4"/>
                    <a:pt x="37" y="3"/>
                  </a:cubicBezTo>
                  <a:cubicBezTo>
                    <a:pt x="40" y="2"/>
                    <a:pt x="43" y="0"/>
                    <a:pt x="45" y="0"/>
                  </a:cubicBezTo>
                  <a:cubicBezTo>
                    <a:pt x="47" y="0"/>
                    <a:pt x="47" y="1"/>
                    <a:pt x="48" y="1"/>
                  </a:cubicBezTo>
                  <a:cubicBezTo>
                    <a:pt x="49" y="3"/>
                    <a:pt x="47" y="7"/>
                    <a:pt x="43" y="14"/>
                  </a:cubicBezTo>
                  <a:cubicBezTo>
                    <a:pt x="42" y="14"/>
                    <a:pt x="42" y="14"/>
                    <a:pt x="42" y="14"/>
                  </a:cubicBezTo>
                  <a:cubicBezTo>
                    <a:pt x="42" y="14"/>
                    <a:pt x="42" y="14"/>
                    <a:pt x="42" y="14"/>
                  </a:cubicBezTo>
                  <a:cubicBezTo>
                    <a:pt x="40" y="14"/>
                    <a:pt x="39" y="14"/>
                    <a:pt x="38" y="14"/>
                  </a:cubicBezTo>
                  <a:cubicBezTo>
                    <a:pt x="35" y="14"/>
                    <a:pt x="31" y="16"/>
                    <a:pt x="29" y="19"/>
                  </a:cubicBezTo>
                  <a:cubicBezTo>
                    <a:pt x="28" y="20"/>
                    <a:pt x="28" y="21"/>
                    <a:pt x="28" y="22"/>
                  </a:cubicBezTo>
                  <a:cubicBezTo>
                    <a:pt x="28" y="22"/>
                    <a:pt x="28" y="23"/>
                    <a:pt x="30" y="23"/>
                  </a:cubicBezTo>
                  <a:cubicBezTo>
                    <a:pt x="32" y="23"/>
                    <a:pt x="33" y="22"/>
                    <a:pt x="35" y="22"/>
                  </a:cubicBezTo>
                  <a:cubicBezTo>
                    <a:pt x="37" y="22"/>
                    <a:pt x="39" y="22"/>
                    <a:pt x="41" y="22"/>
                  </a:cubicBezTo>
                  <a:cubicBezTo>
                    <a:pt x="45" y="22"/>
                    <a:pt x="47" y="22"/>
                    <a:pt x="48" y="23"/>
                  </a:cubicBezTo>
                  <a:cubicBezTo>
                    <a:pt x="49" y="24"/>
                    <a:pt x="50" y="24"/>
                    <a:pt x="51" y="24"/>
                  </a:cubicBezTo>
                  <a:cubicBezTo>
                    <a:pt x="53" y="24"/>
                    <a:pt x="54" y="24"/>
                    <a:pt x="55" y="23"/>
                  </a:cubicBezTo>
                  <a:cubicBezTo>
                    <a:pt x="57" y="23"/>
                    <a:pt x="58" y="23"/>
                    <a:pt x="59" y="23"/>
                  </a:cubicBezTo>
                  <a:cubicBezTo>
                    <a:pt x="60" y="23"/>
                    <a:pt x="61" y="23"/>
                    <a:pt x="62" y="24"/>
                  </a:cubicBezTo>
                  <a:cubicBezTo>
                    <a:pt x="63" y="26"/>
                    <a:pt x="64" y="26"/>
                    <a:pt x="67" y="26"/>
                  </a:cubicBezTo>
                  <a:cubicBezTo>
                    <a:pt x="67" y="26"/>
                    <a:pt x="68" y="26"/>
                    <a:pt x="69" y="26"/>
                  </a:cubicBezTo>
                  <a:cubicBezTo>
                    <a:pt x="70" y="26"/>
                    <a:pt x="71" y="26"/>
                    <a:pt x="71" y="26"/>
                  </a:cubicBezTo>
                  <a:cubicBezTo>
                    <a:pt x="72" y="26"/>
                    <a:pt x="73" y="26"/>
                    <a:pt x="73" y="26"/>
                  </a:cubicBezTo>
                  <a:cubicBezTo>
                    <a:pt x="74" y="26"/>
                    <a:pt x="75" y="27"/>
                    <a:pt x="76" y="27"/>
                  </a:cubicBezTo>
                  <a:cubicBezTo>
                    <a:pt x="82" y="27"/>
                    <a:pt x="92" y="25"/>
                    <a:pt x="92" y="25"/>
                  </a:cubicBezTo>
                  <a:cubicBezTo>
                    <a:pt x="93" y="25"/>
                    <a:pt x="93" y="25"/>
                    <a:pt x="93" y="25"/>
                  </a:cubicBezTo>
                  <a:cubicBezTo>
                    <a:pt x="95" y="38"/>
                    <a:pt x="95" y="38"/>
                    <a:pt x="95" y="38"/>
                  </a:cubicBezTo>
                  <a:cubicBezTo>
                    <a:pt x="97" y="39"/>
                    <a:pt x="109" y="43"/>
                    <a:pt x="109" y="47"/>
                  </a:cubicBezTo>
                  <a:cubicBezTo>
                    <a:pt x="110" y="52"/>
                    <a:pt x="112" y="67"/>
                    <a:pt x="112" y="67"/>
                  </a:cubicBezTo>
                  <a:cubicBezTo>
                    <a:pt x="112" y="67"/>
                    <a:pt x="112" y="67"/>
                    <a:pt x="112" y="67"/>
                  </a:cubicBezTo>
                  <a:cubicBezTo>
                    <a:pt x="112" y="67"/>
                    <a:pt x="112" y="67"/>
                    <a:pt x="112" y="67"/>
                  </a:cubicBezTo>
                  <a:cubicBezTo>
                    <a:pt x="112" y="67"/>
                    <a:pt x="110" y="68"/>
                    <a:pt x="107" y="68"/>
                  </a:cubicBezTo>
                  <a:cubicBezTo>
                    <a:pt x="107" y="68"/>
                    <a:pt x="107" y="68"/>
                    <a:pt x="107" y="68"/>
                  </a:cubicBezTo>
                  <a:cubicBezTo>
                    <a:pt x="107" y="68"/>
                    <a:pt x="107" y="68"/>
                    <a:pt x="107" y="68"/>
                  </a:cubicBezTo>
                  <a:cubicBezTo>
                    <a:pt x="105" y="66"/>
                    <a:pt x="101" y="65"/>
                    <a:pt x="98" y="65"/>
                  </a:cubicBezTo>
                  <a:cubicBezTo>
                    <a:pt x="97" y="65"/>
                    <a:pt x="97" y="65"/>
                    <a:pt x="97" y="65"/>
                  </a:cubicBezTo>
                  <a:cubicBezTo>
                    <a:pt x="95" y="65"/>
                    <a:pt x="94" y="64"/>
                    <a:pt x="93" y="63"/>
                  </a:cubicBezTo>
                  <a:cubicBezTo>
                    <a:pt x="93" y="63"/>
                    <a:pt x="92" y="62"/>
                    <a:pt x="91" y="61"/>
                  </a:cubicBezTo>
                  <a:cubicBezTo>
                    <a:pt x="91" y="61"/>
                    <a:pt x="91" y="61"/>
                    <a:pt x="90" y="61"/>
                  </a:cubicBezTo>
                  <a:cubicBezTo>
                    <a:pt x="88" y="61"/>
                    <a:pt x="81" y="67"/>
                    <a:pt x="76" y="71"/>
                  </a:cubicBezTo>
                  <a:cubicBezTo>
                    <a:pt x="75" y="71"/>
                    <a:pt x="75" y="71"/>
                    <a:pt x="75" y="71"/>
                  </a:cubicBezTo>
                  <a:cubicBezTo>
                    <a:pt x="74" y="72"/>
                    <a:pt x="73" y="72"/>
                    <a:pt x="72" y="73"/>
                  </a:cubicBezTo>
                  <a:cubicBezTo>
                    <a:pt x="71" y="73"/>
                    <a:pt x="69" y="74"/>
                    <a:pt x="68" y="74"/>
                  </a:cubicBezTo>
                  <a:cubicBezTo>
                    <a:pt x="66" y="75"/>
                    <a:pt x="65" y="75"/>
                    <a:pt x="64" y="75"/>
                  </a:cubicBezTo>
                  <a:close/>
                  <a:moveTo>
                    <a:pt x="54" y="43"/>
                  </a:moveTo>
                  <a:cubicBezTo>
                    <a:pt x="54" y="43"/>
                    <a:pt x="54" y="43"/>
                    <a:pt x="54" y="43"/>
                  </a:cubicBezTo>
                  <a:cubicBezTo>
                    <a:pt x="57" y="44"/>
                    <a:pt x="57" y="46"/>
                    <a:pt x="57" y="49"/>
                  </a:cubicBezTo>
                  <a:cubicBezTo>
                    <a:pt x="57" y="51"/>
                    <a:pt x="57" y="54"/>
                    <a:pt x="60" y="56"/>
                  </a:cubicBezTo>
                  <a:cubicBezTo>
                    <a:pt x="64" y="57"/>
                    <a:pt x="63" y="62"/>
                    <a:pt x="62" y="65"/>
                  </a:cubicBezTo>
                  <a:cubicBezTo>
                    <a:pt x="61" y="68"/>
                    <a:pt x="60" y="71"/>
                    <a:pt x="61" y="73"/>
                  </a:cubicBezTo>
                  <a:cubicBezTo>
                    <a:pt x="62" y="74"/>
                    <a:pt x="62" y="74"/>
                    <a:pt x="64" y="74"/>
                  </a:cubicBezTo>
                  <a:cubicBezTo>
                    <a:pt x="64" y="74"/>
                    <a:pt x="64" y="74"/>
                    <a:pt x="64" y="74"/>
                  </a:cubicBezTo>
                  <a:cubicBezTo>
                    <a:pt x="65" y="74"/>
                    <a:pt x="66" y="74"/>
                    <a:pt x="67" y="73"/>
                  </a:cubicBezTo>
                  <a:cubicBezTo>
                    <a:pt x="69" y="73"/>
                    <a:pt x="70" y="72"/>
                    <a:pt x="72" y="72"/>
                  </a:cubicBezTo>
                  <a:cubicBezTo>
                    <a:pt x="73" y="71"/>
                    <a:pt x="74" y="71"/>
                    <a:pt x="75" y="71"/>
                  </a:cubicBezTo>
                  <a:cubicBezTo>
                    <a:pt x="76" y="70"/>
                    <a:pt x="76" y="70"/>
                    <a:pt x="76" y="70"/>
                  </a:cubicBezTo>
                  <a:cubicBezTo>
                    <a:pt x="81" y="65"/>
                    <a:pt x="87" y="60"/>
                    <a:pt x="90" y="60"/>
                  </a:cubicBezTo>
                  <a:cubicBezTo>
                    <a:pt x="91" y="60"/>
                    <a:pt x="91" y="60"/>
                    <a:pt x="91" y="60"/>
                  </a:cubicBezTo>
                  <a:cubicBezTo>
                    <a:pt x="93" y="61"/>
                    <a:pt x="94" y="62"/>
                    <a:pt x="94" y="63"/>
                  </a:cubicBezTo>
                  <a:cubicBezTo>
                    <a:pt x="95" y="64"/>
                    <a:pt x="95" y="64"/>
                    <a:pt x="97" y="64"/>
                  </a:cubicBezTo>
                  <a:cubicBezTo>
                    <a:pt x="97" y="64"/>
                    <a:pt x="97" y="64"/>
                    <a:pt x="98" y="64"/>
                  </a:cubicBezTo>
                  <a:cubicBezTo>
                    <a:pt x="101" y="64"/>
                    <a:pt x="105" y="65"/>
                    <a:pt x="107" y="67"/>
                  </a:cubicBezTo>
                  <a:cubicBezTo>
                    <a:pt x="109" y="67"/>
                    <a:pt x="110" y="67"/>
                    <a:pt x="111" y="67"/>
                  </a:cubicBezTo>
                  <a:cubicBezTo>
                    <a:pt x="111" y="64"/>
                    <a:pt x="109" y="52"/>
                    <a:pt x="108" y="47"/>
                  </a:cubicBezTo>
                  <a:cubicBezTo>
                    <a:pt x="108" y="44"/>
                    <a:pt x="98" y="40"/>
                    <a:pt x="94" y="39"/>
                  </a:cubicBezTo>
                  <a:cubicBezTo>
                    <a:pt x="94" y="39"/>
                    <a:pt x="94" y="39"/>
                    <a:pt x="94" y="39"/>
                  </a:cubicBezTo>
                  <a:cubicBezTo>
                    <a:pt x="94" y="38"/>
                    <a:pt x="94" y="38"/>
                    <a:pt x="94" y="38"/>
                  </a:cubicBezTo>
                  <a:cubicBezTo>
                    <a:pt x="92" y="26"/>
                    <a:pt x="92" y="26"/>
                    <a:pt x="92" y="26"/>
                  </a:cubicBezTo>
                  <a:cubicBezTo>
                    <a:pt x="90" y="26"/>
                    <a:pt x="81" y="28"/>
                    <a:pt x="76" y="28"/>
                  </a:cubicBezTo>
                  <a:cubicBezTo>
                    <a:pt x="75" y="28"/>
                    <a:pt x="74" y="27"/>
                    <a:pt x="73" y="27"/>
                  </a:cubicBezTo>
                  <a:cubicBezTo>
                    <a:pt x="73" y="27"/>
                    <a:pt x="72" y="27"/>
                    <a:pt x="71" y="27"/>
                  </a:cubicBezTo>
                  <a:cubicBezTo>
                    <a:pt x="71" y="27"/>
                    <a:pt x="70" y="27"/>
                    <a:pt x="69" y="27"/>
                  </a:cubicBezTo>
                  <a:cubicBezTo>
                    <a:pt x="68" y="27"/>
                    <a:pt x="68" y="27"/>
                    <a:pt x="67" y="27"/>
                  </a:cubicBezTo>
                  <a:cubicBezTo>
                    <a:pt x="65" y="27"/>
                    <a:pt x="62" y="27"/>
                    <a:pt x="61" y="25"/>
                  </a:cubicBezTo>
                  <a:cubicBezTo>
                    <a:pt x="60" y="24"/>
                    <a:pt x="60" y="24"/>
                    <a:pt x="59" y="24"/>
                  </a:cubicBezTo>
                  <a:cubicBezTo>
                    <a:pt x="58" y="24"/>
                    <a:pt x="57" y="24"/>
                    <a:pt x="56" y="24"/>
                  </a:cubicBezTo>
                  <a:cubicBezTo>
                    <a:pt x="54" y="25"/>
                    <a:pt x="53" y="25"/>
                    <a:pt x="51" y="25"/>
                  </a:cubicBezTo>
                  <a:cubicBezTo>
                    <a:pt x="50" y="25"/>
                    <a:pt x="49" y="25"/>
                    <a:pt x="48" y="24"/>
                  </a:cubicBezTo>
                  <a:cubicBezTo>
                    <a:pt x="46" y="23"/>
                    <a:pt x="44" y="23"/>
                    <a:pt x="41" y="23"/>
                  </a:cubicBezTo>
                  <a:cubicBezTo>
                    <a:pt x="39" y="23"/>
                    <a:pt x="37" y="23"/>
                    <a:pt x="35" y="23"/>
                  </a:cubicBezTo>
                  <a:cubicBezTo>
                    <a:pt x="33" y="23"/>
                    <a:pt x="32" y="24"/>
                    <a:pt x="30" y="24"/>
                  </a:cubicBezTo>
                  <a:cubicBezTo>
                    <a:pt x="29" y="24"/>
                    <a:pt x="27" y="23"/>
                    <a:pt x="27" y="22"/>
                  </a:cubicBezTo>
                  <a:cubicBezTo>
                    <a:pt x="27" y="21"/>
                    <a:pt x="27" y="20"/>
                    <a:pt x="29" y="18"/>
                  </a:cubicBezTo>
                  <a:cubicBezTo>
                    <a:pt x="31" y="15"/>
                    <a:pt x="35" y="13"/>
                    <a:pt x="38" y="13"/>
                  </a:cubicBezTo>
                  <a:cubicBezTo>
                    <a:pt x="39" y="13"/>
                    <a:pt x="40" y="13"/>
                    <a:pt x="42" y="13"/>
                  </a:cubicBezTo>
                  <a:cubicBezTo>
                    <a:pt x="46" y="6"/>
                    <a:pt x="47" y="3"/>
                    <a:pt x="47" y="2"/>
                  </a:cubicBezTo>
                  <a:cubicBezTo>
                    <a:pt x="47" y="1"/>
                    <a:pt x="46" y="1"/>
                    <a:pt x="45" y="1"/>
                  </a:cubicBezTo>
                  <a:cubicBezTo>
                    <a:pt x="43" y="1"/>
                    <a:pt x="40" y="2"/>
                    <a:pt x="38" y="4"/>
                  </a:cubicBezTo>
                  <a:cubicBezTo>
                    <a:pt x="36" y="5"/>
                    <a:pt x="35" y="5"/>
                    <a:pt x="34" y="5"/>
                  </a:cubicBezTo>
                  <a:cubicBezTo>
                    <a:pt x="33" y="5"/>
                    <a:pt x="32" y="5"/>
                    <a:pt x="32" y="5"/>
                  </a:cubicBezTo>
                  <a:cubicBezTo>
                    <a:pt x="31" y="5"/>
                    <a:pt x="30" y="5"/>
                    <a:pt x="30" y="5"/>
                  </a:cubicBezTo>
                  <a:cubicBezTo>
                    <a:pt x="28" y="5"/>
                    <a:pt x="27" y="6"/>
                    <a:pt x="27" y="7"/>
                  </a:cubicBezTo>
                  <a:cubicBezTo>
                    <a:pt x="25" y="11"/>
                    <a:pt x="23" y="15"/>
                    <a:pt x="19" y="15"/>
                  </a:cubicBezTo>
                  <a:cubicBezTo>
                    <a:pt x="18" y="15"/>
                    <a:pt x="18" y="16"/>
                    <a:pt x="17" y="18"/>
                  </a:cubicBezTo>
                  <a:cubicBezTo>
                    <a:pt x="17" y="20"/>
                    <a:pt x="17" y="22"/>
                    <a:pt x="15" y="23"/>
                  </a:cubicBezTo>
                  <a:cubicBezTo>
                    <a:pt x="13" y="23"/>
                    <a:pt x="11" y="24"/>
                    <a:pt x="9" y="24"/>
                  </a:cubicBezTo>
                  <a:cubicBezTo>
                    <a:pt x="6" y="25"/>
                    <a:pt x="2" y="25"/>
                    <a:pt x="1" y="28"/>
                  </a:cubicBezTo>
                  <a:cubicBezTo>
                    <a:pt x="1" y="29"/>
                    <a:pt x="3" y="31"/>
                    <a:pt x="5" y="32"/>
                  </a:cubicBezTo>
                  <a:cubicBezTo>
                    <a:pt x="8" y="34"/>
                    <a:pt x="11" y="36"/>
                    <a:pt x="10" y="39"/>
                  </a:cubicBezTo>
                  <a:cubicBezTo>
                    <a:pt x="10" y="41"/>
                    <a:pt x="11" y="43"/>
                    <a:pt x="12" y="45"/>
                  </a:cubicBezTo>
                  <a:cubicBezTo>
                    <a:pt x="13" y="47"/>
                    <a:pt x="14" y="50"/>
                    <a:pt x="12" y="52"/>
                  </a:cubicBezTo>
                  <a:cubicBezTo>
                    <a:pt x="9" y="54"/>
                    <a:pt x="6" y="58"/>
                    <a:pt x="6" y="67"/>
                  </a:cubicBezTo>
                  <a:cubicBezTo>
                    <a:pt x="8" y="68"/>
                    <a:pt x="9" y="68"/>
                    <a:pt x="10" y="68"/>
                  </a:cubicBezTo>
                  <a:cubicBezTo>
                    <a:pt x="11" y="68"/>
                    <a:pt x="11" y="68"/>
                    <a:pt x="12" y="67"/>
                  </a:cubicBezTo>
                  <a:cubicBezTo>
                    <a:pt x="13" y="65"/>
                    <a:pt x="17" y="65"/>
                    <a:pt x="21" y="65"/>
                  </a:cubicBezTo>
                  <a:cubicBezTo>
                    <a:pt x="22" y="65"/>
                    <a:pt x="22" y="65"/>
                    <a:pt x="23" y="65"/>
                  </a:cubicBezTo>
                  <a:cubicBezTo>
                    <a:pt x="26" y="65"/>
                    <a:pt x="27" y="64"/>
                    <a:pt x="27" y="63"/>
                  </a:cubicBezTo>
                  <a:cubicBezTo>
                    <a:pt x="27" y="61"/>
                    <a:pt x="30" y="60"/>
                    <a:pt x="34" y="60"/>
                  </a:cubicBezTo>
                  <a:cubicBezTo>
                    <a:pt x="37" y="59"/>
                    <a:pt x="41" y="58"/>
                    <a:pt x="41" y="57"/>
                  </a:cubicBezTo>
                  <a:cubicBezTo>
                    <a:pt x="41" y="53"/>
                    <a:pt x="48" y="43"/>
                    <a:pt x="54" y="4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0" name="Freeform 167"/>
            <p:cNvSpPr>
              <a:spLocks noEditPoints="1"/>
            </p:cNvSpPr>
            <p:nvPr/>
          </p:nvSpPr>
          <p:spPr>
            <a:xfrm>
              <a:off x="2832101" y="3168650"/>
              <a:ext cx="22225" cy="39688"/>
            </a:xfrm>
            <a:custGeom>
              <a:gdLst>
                <a:gd name="T0" fmla="*/ 10 w 13"/>
                <a:gd name="T1" fmla="*/ 23 h 23"/>
                <a:gd name="T2" fmla="*/ 5 w 13"/>
                <a:gd name="T3" fmla="*/ 17 h 23"/>
                <a:gd name="T4" fmla="*/ 3 w 13"/>
                <a:gd name="T5" fmla="*/ 14 h 23"/>
                <a:gd name="T6" fmla="*/ 0 w 13"/>
                <a:gd name="T7" fmla="*/ 7 h 23"/>
                <a:gd name="T8" fmla="*/ 3 w 13"/>
                <a:gd name="T9" fmla="*/ 0 h 23"/>
                <a:gd name="T10" fmla="*/ 6 w 13"/>
                <a:gd name="T11" fmla="*/ 2 h 23"/>
                <a:gd name="T12" fmla="*/ 8 w 13"/>
                <a:gd name="T13" fmla="*/ 11 h 23"/>
                <a:gd name="T14" fmla="*/ 8 w 13"/>
                <a:gd name="T15" fmla="*/ 13 h 23"/>
                <a:gd name="T16" fmla="*/ 9 w 13"/>
                <a:gd name="T17" fmla="*/ 16 h 23"/>
                <a:gd name="T18" fmla="*/ 12 w 13"/>
                <a:gd name="T19" fmla="*/ 23 h 23"/>
                <a:gd name="T20" fmla="*/ 10 w 13"/>
                <a:gd name="T21" fmla="*/ 23 h 23"/>
                <a:gd name="T22" fmla="*/ 3 w 13"/>
                <a:gd name="T23" fmla="*/ 1 h 23"/>
                <a:gd name="T24" fmla="*/ 1 w 13"/>
                <a:gd name="T25" fmla="*/ 7 h 23"/>
                <a:gd name="T26" fmla="*/ 4 w 13"/>
                <a:gd name="T27" fmla="*/ 13 h 23"/>
                <a:gd name="T28" fmla="*/ 6 w 13"/>
                <a:gd name="T29" fmla="*/ 17 h 23"/>
                <a:gd name="T30" fmla="*/ 10 w 13"/>
                <a:gd name="T31" fmla="*/ 22 h 23"/>
                <a:gd name="T32" fmla="*/ 11 w 13"/>
                <a:gd name="T33" fmla="*/ 22 h 23"/>
                <a:gd name="T34" fmla="*/ 9 w 13"/>
                <a:gd name="T35" fmla="*/ 17 h 23"/>
                <a:gd name="T36" fmla="*/ 7 w 13"/>
                <a:gd name="T37" fmla="*/ 14 h 23"/>
                <a:gd name="T38" fmla="*/ 7 w 13"/>
                <a:gd name="T39" fmla="*/ 11 h 23"/>
                <a:gd name="T40" fmla="*/ 5 w 13"/>
                <a:gd name="T41" fmla="*/ 3 h 23"/>
                <a:gd name="T42" fmla="*/ 3 w 13"/>
                <a:gd name="T43" fmla="*/ 1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23">
                  <a:moveTo>
                    <a:pt x="10" y="23"/>
                  </a:moveTo>
                  <a:cubicBezTo>
                    <a:pt x="8" y="23"/>
                    <a:pt x="5" y="20"/>
                    <a:pt x="5" y="17"/>
                  </a:cubicBezTo>
                  <a:cubicBezTo>
                    <a:pt x="5" y="15"/>
                    <a:pt x="4" y="15"/>
                    <a:pt x="3" y="14"/>
                  </a:cubicBezTo>
                  <a:cubicBezTo>
                    <a:pt x="2" y="12"/>
                    <a:pt x="0" y="10"/>
                    <a:pt x="0" y="7"/>
                  </a:cubicBezTo>
                  <a:cubicBezTo>
                    <a:pt x="0" y="3"/>
                    <a:pt x="1" y="0"/>
                    <a:pt x="3" y="0"/>
                  </a:cubicBezTo>
                  <a:cubicBezTo>
                    <a:pt x="4" y="0"/>
                    <a:pt x="5" y="1"/>
                    <a:pt x="6" y="2"/>
                  </a:cubicBezTo>
                  <a:cubicBezTo>
                    <a:pt x="8" y="6"/>
                    <a:pt x="8" y="9"/>
                    <a:pt x="8" y="11"/>
                  </a:cubicBezTo>
                  <a:cubicBezTo>
                    <a:pt x="8" y="12"/>
                    <a:pt x="8" y="13"/>
                    <a:pt x="8" y="13"/>
                  </a:cubicBezTo>
                  <a:cubicBezTo>
                    <a:pt x="8" y="14"/>
                    <a:pt x="9" y="15"/>
                    <a:pt x="9" y="16"/>
                  </a:cubicBezTo>
                  <a:cubicBezTo>
                    <a:pt x="11" y="18"/>
                    <a:pt x="13" y="20"/>
                    <a:pt x="12" y="23"/>
                  </a:cubicBezTo>
                  <a:cubicBezTo>
                    <a:pt x="11" y="23"/>
                    <a:pt x="11" y="23"/>
                    <a:pt x="10" y="23"/>
                  </a:cubicBezTo>
                  <a:close/>
                  <a:moveTo>
                    <a:pt x="3" y="1"/>
                  </a:moveTo>
                  <a:cubicBezTo>
                    <a:pt x="2" y="1"/>
                    <a:pt x="1" y="3"/>
                    <a:pt x="1" y="7"/>
                  </a:cubicBezTo>
                  <a:cubicBezTo>
                    <a:pt x="1" y="10"/>
                    <a:pt x="2" y="12"/>
                    <a:pt x="4" y="13"/>
                  </a:cubicBezTo>
                  <a:cubicBezTo>
                    <a:pt x="5" y="14"/>
                    <a:pt x="6" y="15"/>
                    <a:pt x="6" y="17"/>
                  </a:cubicBezTo>
                  <a:cubicBezTo>
                    <a:pt x="6" y="19"/>
                    <a:pt x="9" y="22"/>
                    <a:pt x="10" y="22"/>
                  </a:cubicBezTo>
                  <a:cubicBezTo>
                    <a:pt x="11" y="22"/>
                    <a:pt x="11" y="22"/>
                    <a:pt x="11" y="22"/>
                  </a:cubicBezTo>
                  <a:cubicBezTo>
                    <a:pt x="12" y="20"/>
                    <a:pt x="10" y="19"/>
                    <a:pt x="9" y="17"/>
                  </a:cubicBezTo>
                  <a:cubicBezTo>
                    <a:pt x="8" y="16"/>
                    <a:pt x="7" y="15"/>
                    <a:pt x="7" y="14"/>
                  </a:cubicBezTo>
                  <a:cubicBezTo>
                    <a:pt x="6" y="13"/>
                    <a:pt x="7" y="12"/>
                    <a:pt x="7" y="11"/>
                  </a:cubicBezTo>
                  <a:cubicBezTo>
                    <a:pt x="7" y="9"/>
                    <a:pt x="7" y="6"/>
                    <a:pt x="5" y="3"/>
                  </a:cubicBezTo>
                  <a:cubicBezTo>
                    <a:pt x="4" y="1"/>
                    <a:pt x="3" y="1"/>
                    <a:pt x="3"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1" name="Freeform 168"/>
            <p:cNvSpPr>
              <a:spLocks noEditPoints="1"/>
            </p:cNvSpPr>
            <p:nvPr/>
          </p:nvSpPr>
          <p:spPr>
            <a:xfrm>
              <a:off x="3241676" y="3541713"/>
              <a:ext cx="25400" cy="20638"/>
            </a:xfrm>
            <a:custGeom>
              <a:gdLst>
                <a:gd name="T0" fmla="*/ 4 w 15"/>
                <a:gd name="T1" fmla="*/ 13 h 13"/>
                <a:gd name="T2" fmla="*/ 1 w 15"/>
                <a:gd name="T3" fmla="*/ 12 h 13"/>
                <a:gd name="T4" fmla="*/ 1 w 15"/>
                <a:gd name="T5" fmla="*/ 8 h 13"/>
                <a:gd name="T6" fmla="*/ 1 w 15"/>
                <a:gd name="T7" fmla="*/ 5 h 13"/>
                <a:gd name="T8" fmla="*/ 0 w 15"/>
                <a:gd name="T9" fmla="*/ 4 h 13"/>
                <a:gd name="T10" fmla="*/ 9 w 15"/>
                <a:gd name="T11" fmla="*/ 0 h 13"/>
                <a:gd name="T12" fmla="*/ 12 w 15"/>
                <a:gd name="T13" fmla="*/ 2 h 13"/>
                <a:gd name="T14" fmla="*/ 15 w 15"/>
                <a:gd name="T15" fmla="*/ 8 h 13"/>
                <a:gd name="T16" fmla="*/ 13 w 15"/>
                <a:gd name="T17" fmla="*/ 11 h 13"/>
                <a:gd name="T18" fmla="*/ 4 w 15"/>
                <a:gd name="T19" fmla="*/ 13 h 13"/>
                <a:gd name="T20" fmla="*/ 9 w 15"/>
                <a:gd name="T21" fmla="*/ 1 h 13"/>
                <a:gd name="T22" fmla="*/ 1 w 15"/>
                <a:gd name="T23" fmla="*/ 4 h 13"/>
                <a:gd name="T24" fmla="*/ 1 w 15"/>
                <a:gd name="T25" fmla="*/ 4 h 13"/>
                <a:gd name="T26" fmla="*/ 2 w 15"/>
                <a:gd name="T27" fmla="*/ 9 h 13"/>
                <a:gd name="T28" fmla="*/ 2 w 15"/>
                <a:gd name="T29" fmla="*/ 11 h 13"/>
                <a:gd name="T30" fmla="*/ 4 w 15"/>
                <a:gd name="T31" fmla="*/ 12 h 13"/>
                <a:gd name="T32" fmla="*/ 12 w 15"/>
                <a:gd name="T33" fmla="*/ 10 h 13"/>
                <a:gd name="T34" fmla="*/ 14 w 15"/>
                <a:gd name="T35" fmla="*/ 8 h 13"/>
                <a:gd name="T36" fmla="*/ 12 w 15"/>
                <a:gd name="T37" fmla="*/ 2 h 13"/>
                <a:gd name="T38" fmla="*/ 9 w 15"/>
                <a:gd name="T39" fmla="*/ 1 h 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4" y="13"/>
                  </a:moveTo>
                  <a:cubicBezTo>
                    <a:pt x="3" y="13"/>
                    <a:pt x="2" y="13"/>
                    <a:pt x="1" y="12"/>
                  </a:cubicBezTo>
                  <a:cubicBezTo>
                    <a:pt x="0" y="11"/>
                    <a:pt x="1" y="10"/>
                    <a:pt x="1" y="8"/>
                  </a:cubicBezTo>
                  <a:cubicBezTo>
                    <a:pt x="2" y="7"/>
                    <a:pt x="2" y="6"/>
                    <a:pt x="1" y="5"/>
                  </a:cubicBezTo>
                  <a:cubicBezTo>
                    <a:pt x="0" y="5"/>
                    <a:pt x="0" y="4"/>
                    <a:pt x="0" y="4"/>
                  </a:cubicBezTo>
                  <a:cubicBezTo>
                    <a:pt x="0" y="2"/>
                    <a:pt x="5" y="0"/>
                    <a:pt x="9" y="0"/>
                  </a:cubicBezTo>
                  <a:cubicBezTo>
                    <a:pt x="10" y="0"/>
                    <a:pt x="11" y="1"/>
                    <a:pt x="12" y="2"/>
                  </a:cubicBezTo>
                  <a:cubicBezTo>
                    <a:pt x="14" y="3"/>
                    <a:pt x="15" y="6"/>
                    <a:pt x="15" y="8"/>
                  </a:cubicBezTo>
                  <a:cubicBezTo>
                    <a:pt x="15" y="9"/>
                    <a:pt x="14" y="10"/>
                    <a:pt x="13" y="11"/>
                  </a:cubicBezTo>
                  <a:cubicBezTo>
                    <a:pt x="11" y="12"/>
                    <a:pt x="7" y="13"/>
                    <a:pt x="4" y="13"/>
                  </a:cubicBezTo>
                  <a:close/>
                  <a:moveTo>
                    <a:pt x="9" y="1"/>
                  </a:moveTo>
                  <a:cubicBezTo>
                    <a:pt x="5" y="1"/>
                    <a:pt x="1" y="3"/>
                    <a:pt x="1" y="4"/>
                  </a:cubicBezTo>
                  <a:cubicBezTo>
                    <a:pt x="1" y="4"/>
                    <a:pt x="1" y="4"/>
                    <a:pt x="1" y="4"/>
                  </a:cubicBezTo>
                  <a:cubicBezTo>
                    <a:pt x="4" y="5"/>
                    <a:pt x="3" y="7"/>
                    <a:pt x="2" y="9"/>
                  </a:cubicBezTo>
                  <a:cubicBezTo>
                    <a:pt x="2" y="10"/>
                    <a:pt x="1" y="11"/>
                    <a:pt x="2" y="11"/>
                  </a:cubicBezTo>
                  <a:cubicBezTo>
                    <a:pt x="2" y="12"/>
                    <a:pt x="3" y="12"/>
                    <a:pt x="4" y="12"/>
                  </a:cubicBezTo>
                  <a:cubicBezTo>
                    <a:pt x="7" y="12"/>
                    <a:pt x="10" y="11"/>
                    <a:pt x="12" y="10"/>
                  </a:cubicBezTo>
                  <a:cubicBezTo>
                    <a:pt x="14" y="9"/>
                    <a:pt x="14" y="8"/>
                    <a:pt x="14" y="8"/>
                  </a:cubicBezTo>
                  <a:cubicBezTo>
                    <a:pt x="14" y="6"/>
                    <a:pt x="13" y="4"/>
                    <a:pt x="12" y="2"/>
                  </a:cubicBezTo>
                  <a:cubicBezTo>
                    <a:pt x="11" y="2"/>
                    <a:pt x="10" y="1"/>
                    <a:pt x="9"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2" name="Freeform 169"/>
            <p:cNvSpPr>
              <a:spLocks noEditPoints="1"/>
            </p:cNvSpPr>
            <p:nvPr/>
          </p:nvSpPr>
          <p:spPr>
            <a:xfrm>
              <a:off x="5838826" y="2717800"/>
              <a:ext cx="85725" cy="73025"/>
            </a:xfrm>
            <a:custGeom>
              <a:gdLst>
                <a:gd name="T0" fmla="*/ 40 w 50"/>
                <a:gd name="T1" fmla="*/ 43 h 43"/>
                <a:gd name="T2" fmla="*/ 37 w 50"/>
                <a:gd name="T3" fmla="*/ 35 h 43"/>
                <a:gd name="T4" fmla="*/ 32 w 50"/>
                <a:gd name="T5" fmla="*/ 33 h 43"/>
                <a:gd name="T6" fmla="*/ 28 w 50"/>
                <a:gd name="T7" fmla="*/ 32 h 43"/>
                <a:gd name="T8" fmla="*/ 23 w 50"/>
                <a:gd name="T9" fmla="*/ 30 h 43"/>
                <a:gd name="T10" fmla="*/ 19 w 50"/>
                <a:gd name="T11" fmla="*/ 26 h 43"/>
                <a:gd name="T12" fmla="*/ 18 w 50"/>
                <a:gd name="T13" fmla="*/ 26 h 43"/>
                <a:gd name="T14" fmla="*/ 15 w 50"/>
                <a:gd name="T15" fmla="*/ 21 h 43"/>
                <a:gd name="T16" fmla="*/ 11 w 50"/>
                <a:gd name="T17" fmla="*/ 21 h 43"/>
                <a:gd name="T18" fmla="*/ 2 w 50"/>
                <a:gd name="T19" fmla="*/ 10 h 43"/>
                <a:gd name="T20" fmla="*/ 0 w 50"/>
                <a:gd name="T21" fmla="*/ 4 h 43"/>
                <a:gd name="T22" fmla="*/ 8 w 50"/>
                <a:gd name="T23" fmla="*/ 2 h 43"/>
                <a:gd name="T24" fmla="*/ 29 w 50"/>
                <a:gd name="T25" fmla="*/ 2 h 43"/>
                <a:gd name="T26" fmla="*/ 29 w 50"/>
                <a:gd name="T27" fmla="*/ 2 h 43"/>
                <a:gd name="T28" fmla="*/ 33 w 50"/>
                <a:gd name="T29" fmla="*/ 11 h 43"/>
                <a:gd name="T30" fmla="*/ 38 w 50"/>
                <a:gd name="T31" fmla="*/ 23 h 43"/>
                <a:gd name="T32" fmla="*/ 47 w 50"/>
                <a:gd name="T33" fmla="*/ 33 h 43"/>
                <a:gd name="T34" fmla="*/ 50 w 50"/>
                <a:gd name="T35" fmla="*/ 41 h 43"/>
                <a:gd name="T36" fmla="*/ 40 w 50"/>
                <a:gd name="T37" fmla="*/ 43 h 43"/>
                <a:gd name="T38" fmla="*/ 37 w 50"/>
                <a:gd name="T39" fmla="*/ 35 h 43"/>
                <a:gd name="T40" fmla="*/ 49 w 50"/>
                <a:gd name="T41" fmla="*/ 41 h 43"/>
                <a:gd name="T42" fmla="*/ 42 w 50"/>
                <a:gd name="T43" fmla="*/ 29 h 43"/>
                <a:gd name="T44" fmla="*/ 34 w 50"/>
                <a:gd name="T45" fmla="*/ 17 h 43"/>
                <a:gd name="T46" fmla="*/ 30 w 50"/>
                <a:gd name="T47" fmla="*/ 5 h 43"/>
                <a:gd name="T48" fmla="*/ 16 w 50"/>
                <a:gd name="T49" fmla="*/ 2 h 43"/>
                <a:gd name="T50" fmla="*/ 2 w 50"/>
                <a:gd name="T51" fmla="*/ 5 h 43"/>
                <a:gd name="T52" fmla="*/ 5 w 50"/>
                <a:gd name="T53" fmla="*/ 16 h 43"/>
                <a:gd name="T54" fmla="*/ 13 w 50"/>
                <a:gd name="T55" fmla="*/ 20 h 43"/>
                <a:gd name="T56" fmla="*/ 18 w 50"/>
                <a:gd name="T57" fmla="*/ 25 h 43"/>
                <a:gd name="T58" fmla="*/ 24 w 50"/>
                <a:gd name="T59" fmla="*/ 29 h 43"/>
                <a:gd name="T60" fmla="*/ 31 w 50"/>
                <a:gd name="T61" fmla="*/ 32 h 43"/>
                <a:gd name="T62" fmla="*/ 33 w 50"/>
                <a:gd name="T63" fmla="*/ 32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43">
                  <a:moveTo>
                    <a:pt x="40" y="43"/>
                  </a:moveTo>
                  <a:cubicBezTo>
                    <a:pt x="40" y="43"/>
                    <a:pt x="40" y="43"/>
                    <a:pt x="40" y="43"/>
                  </a:cubicBezTo>
                  <a:cubicBezTo>
                    <a:pt x="40" y="43"/>
                    <a:pt x="40" y="43"/>
                    <a:pt x="40" y="43"/>
                  </a:cubicBezTo>
                  <a:cubicBezTo>
                    <a:pt x="40" y="40"/>
                    <a:pt x="40" y="39"/>
                    <a:pt x="37" y="35"/>
                  </a:cubicBezTo>
                  <a:cubicBezTo>
                    <a:pt x="35" y="33"/>
                    <a:pt x="34" y="33"/>
                    <a:pt x="33" y="33"/>
                  </a:cubicBezTo>
                  <a:cubicBezTo>
                    <a:pt x="32" y="33"/>
                    <a:pt x="32" y="33"/>
                    <a:pt x="32" y="33"/>
                  </a:cubicBezTo>
                  <a:cubicBezTo>
                    <a:pt x="31" y="33"/>
                    <a:pt x="31" y="33"/>
                    <a:pt x="30" y="33"/>
                  </a:cubicBezTo>
                  <a:cubicBezTo>
                    <a:pt x="30" y="33"/>
                    <a:pt x="29" y="32"/>
                    <a:pt x="28" y="32"/>
                  </a:cubicBezTo>
                  <a:cubicBezTo>
                    <a:pt x="27" y="31"/>
                    <a:pt x="25" y="30"/>
                    <a:pt x="23" y="30"/>
                  </a:cubicBezTo>
                  <a:cubicBezTo>
                    <a:pt x="23" y="30"/>
                    <a:pt x="23" y="30"/>
                    <a:pt x="23" y="30"/>
                  </a:cubicBezTo>
                  <a:cubicBezTo>
                    <a:pt x="23" y="29"/>
                    <a:pt x="23" y="29"/>
                    <a:pt x="23" y="29"/>
                  </a:cubicBezTo>
                  <a:cubicBezTo>
                    <a:pt x="22" y="28"/>
                    <a:pt x="22" y="27"/>
                    <a:pt x="19" y="26"/>
                  </a:cubicBezTo>
                  <a:cubicBezTo>
                    <a:pt x="18" y="26"/>
                    <a:pt x="18" y="26"/>
                    <a:pt x="18" y="26"/>
                  </a:cubicBezTo>
                  <a:cubicBezTo>
                    <a:pt x="18" y="26"/>
                    <a:pt x="18" y="26"/>
                    <a:pt x="18" y="26"/>
                  </a:cubicBezTo>
                  <a:cubicBezTo>
                    <a:pt x="18" y="26"/>
                    <a:pt x="18" y="26"/>
                    <a:pt x="18" y="26"/>
                  </a:cubicBezTo>
                  <a:cubicBezTo>
                    <a:pt x="16" y="23"/>
                    <a:pt x="15" y="21"/>
                    <a:pt x="15" y="21"/>
                  </a:cubicBezTo>
                  <a:cubicBezTo>
                    <a:pt x="15" y="21"/>
                    <a:pt x="14" y="21"/>
                    <a:pt x="13" y="21"/>
                  </a:cubicBezTo>
                  <a:cubicBezTo>
                    <a:pt x="11" y="21"/>
                    <a:pt x="11" y="21"/>
                    <a:pt x="11" y="21"/>
                  </a:cubicBezTo>
                  <a:cubicBezTo>
                    <a:pt x="8" y="21"/>
                    <a:pt x="5" y="20"/>
                    <a:pt x="4" y="16"/>
                  </a:cubicBezTo>
                  <a:cubicBezTo>
                    <a:pt x="3" y="13"/>
                    <a:pt x="2" y="11"/>
                    <a:pt x="2" y="10"/>
                  </a:cubicBezTo>
                  <a:cubicBezTo>
                    <a:pt x="2" y="8"/>
                    <a:pt x="2" y="7"/>
                    <a:pt x="0" y="5"/>
                  </a:cubicBezTo>
                  <a:cubicBezTo>
                    <a:pt x="0" y="4"/>
                    <a:pt x="0" y="4"/>
                    <a:pt x="0" y="4"/>
                  </a:cubicBezTo>
                  <a:cubicBezTo>
                    <a:pt x="1" y="4"/>
                    <a:pt x="1" y="4"/>
                    <a:pt x="1" y="4"/>
                  </a:cubicBezTo>
                  <a:cubicBezTo>
                    <a:pt x="3" y="3"/>
                    <a:pt x="5" y="3"/>
                    <a:pt x="8" y="2"/>
                  </a:cubicBezTo>
                  <a:cubicBezTo>
                    <a:pt x="10" y="2"/>
                    <a:pt x="13" y="1"/>
                    <a:pt x="16" y="1"/>
                  </a:cubicBezTo>
                  <a:cubicBezTo>
                    <a:pt x="19" y="0"/>
                    <a:pt x="23" y="1"/>
                    <a:pt x="29" y="2"/>
                  </a:cubicBezTo>
                  <a:cubicBezTo>
                    <a:pt x="29" y="2"/>
                    <a:pt x="29" y="2"/>
                    <a:pt x="29" y="2"/>
                  </a:cubicBezTo>
                  <a:cubicBezTo>
                    <a:pt x="29" y="2"/>
                    <a:pt x="29" y="2"/>
                    <a:pt x="29" y="2"/>
                  </a:cubicBezTo>
                  <a:cubicBezTo>
                    <a:pt x="29" y="3"/>
                    <a:pt x="30" y="4"/>
                    <a:pt x="30" y="5"/>
                  </a:cubicBezTo>
                  <a:cubicBezTo>
                    <a:pt x="32" y="7"/>
                    <a:pt x="34" y="9"/>
                    <a:pt x="33" y="11"/>
                  </a:cubicBezTo>
                  <a:cubicBezTo>
                    <a:pt x="33" y="13"/>
                    <a:pt x="34" y="15"/>
                    <a:pt x="35" y="16"/>
                  </a:cubicBezTo>
                  <a:cubicBezTo>
                    <a:pt x="37" y="18"/>
                    <a:pt x="38" y="20"/>
                    <a:pt x="38" y="23"/>
                  </a:cubicBezTo>
                  <a:cubicBezTo>
                    <a:pt x="38" y="25"/>
                    <a:pt x="41" y="27"/>
                    <a:pt x="43" y="28"/>
                  </a:cubicBezTo>
                  <a:cubicBezTo>
                    <a:pt x="45" y="30"/>
                    <a:pt x="47" y="32"/>
                    <a:pt x="47" y="33"/>
                  </a:cubicBezTo>
                  <a:cubicBezTo>
                    <a:pt x="47" y="35"/>
                    <a:pt x="48" y="37"/>
                    <a:pt x="50" y="41"/>
                  </a:cubicBezTo>
                  <a:cubicBezTo>
                    <a:pt x="50" y="41"/>
                    <a:pt x="50" y="41"/>
                    <a:pt x="50" y="41"/>
                  </a:cubicBezTo>
                  <a:cubicBezTo>
                    <a:pt x="50" y="41"/>
                    <a:pt x="50" y="41"/>
                    <a:pt x="50" y="41"/>
                  </a:cubicBezTo>
                  <a:cubicBezTo>
                    <a:pt x="47" y="43"/>
                    <a:pt x="43" y="43"/>
                    <a:pt x="40" y="43"/>
                  </a:cubicBezTo>
                  <a:close/>
                  <a:moveTo>
                    <a:pt x="33" y="32"/>
                  </a:moveTo>
                  <a:cubicBezTo>
                    <a:pt x="34" y="32"/>
                    <a:pt x="36" y="33"/>
                    <a:pt x="37" y="35"/>
                  </a:cubicBezTo>
                  <a:cubicBezTo>
                    <a:pt x="41" y="38"/>
                    <a:pt x="41" y="39"/>
                    <a:pt x="41" y="42"/>
                  </a:cubicBezTo>
                  <a:cubicBezTo>
                    <a:pt x="43" y="42"/>
                    <a:pt x="46" y="42"/>
                    <a:pt x="49" y="41"/>
                  </a:cubicBezTo>
                  <a:cubicBezTo>
                    <a:pt x="47" y="37"/>
                    <a:pt x="46" y="35"/>
                    <a:pt x="46" y="33"/>
                  </a:cubicBezTo>
                  <a:cubicBezTo>
                    <a:pt x="46" y="32"/>
                    <a:pt x="44" y="31"/>
                    <a:pt x="42" y="29"/>
                  </a:cubicBezTo>
                  <a:cubicBezTo>
                    <a:pt x="40" y="27"/>
                    <a:pt x="37" y="25"/>
                    <a:pt x="37" y="23"/>
                  </a:cubicBezTo>
                  <a:cubicBezTo>
                    <a:pt x="37" y="21"/>
                    <a:pt x="36" y="19"/>
                    <a:pt x="34" y="17"/>
                  </a:cubicBezTo>
                  <a:cubicBezTo>
                    <a:pt x="33" y="15"/>
                    <a:pt x="32" y="13"/>
                    <a:pt x="32" y="11"/>
                  </a:cubicBezTo>
                  <a:cubicBezTo>
                    <a:pt x="32" y="9"/>
                    <a:pt x="31" y="7"/>
                    <a:pt x="30" y="5"/>
                  </a:cubicBezTo>
                  <a:cubicBezTo>
                    <a:pt x="29" y="4"/>
                    <a:pt x="29" y="4"/>
                    <a:pt x="28" y="3"/>
                  </a:cubicBezTo>
                  <a:cubicBezTo>
                    <a:pt x="23" y="2"/>
                    <a:pt x="19" y="2"/>
                    <a:pt x="16" y="2"/>
                  </a:cubicBezTo>
                  <a:cubicBezTo>
                    <a:pt x="13" y="2"/>
                    <a:pt x="10" y="3"/>
                    <a:pt x="8" y="3"/>
                  </a:cubicBezTo>
                  <a:cubicBezTo>
                    <a:pt x="6" y="4"/>
                    <a:pt x="4" y="4"/>
                    <a:pt x="2" y="5"/>
                  </a:cubicBezTo>
                  <a:cubicBezTo>
                    <a:pt x="3" y="7"/>
                    <a:pt x="3" y="8"/>
                    <a:pt x="3" y="10"/>
                  </a:cubicBezTo>
                  <a:cubicBezTo>
                    <a:pt x="3" y="11"/>
                    <a:pt x="4" y="13"/>
                    <a:pt x="5" y="16"/>
                  </a:cubicBezTo>
                  <a:cubicBezTo>
                    <a:pt x="6" y="19"/>
                    <a:pt x="9" y="20"/>
                    <a:pt x="11" y="20"/>
                  </a:cubicBezTo>
                  <a:cubicBezTo>
                    <a:pt x="13" y="20"/>
                    <a:pt x="13" y="20"/>
                    <a:pt x="13" y="20"/>
                  </a:cubicBezTo>
                  <a:cubicBezTo>
                    <a:pt x="14" y="20"/>
                    <a:pt x="15" y="20"/>
                    <a:pt x="16" y="20"/>
                  </a:cubicBezTo>
                  <a:cubicBezTo>
                    <a:pt x="16" y="21"/>
                    <a:pt x="17" y="22"/>
                    <a:pt x="18" y="25"/>
                  </a:cubicBezTo>
                  <a:cubicBezTo>
                    <a:pt x="19" y="25"/>
                    <a:pt x="19" y="25"/>
                    <a:pt x="19" y="25"/>
                  </a:cubicBezTo>
                  <a:cubicBezTo>
                    <a:pt x="22" y="26"/>
                    <a:pt x="23" y="27"/>
                    <a:pt x="24" y="29"/>
                  </a:cubicBezTo>
                  <a:cubicBezTo>
                    <a:pt x="26" y="29"/>
                    <a:pt x="28" y="30"/>
                    <a:pt x="29" y="31"/>
                  </a:cubicBezTo>
                  <a:cubicBezTo>
                    <a:pt x="30" y="32"/>
                    <a:pt x="30" y="32"/>
                    <a:pt x="31" y="32"/>
                  </a:cubicBezTo>
                  <a:cubicBezTo>
                    <a:pt x="31" y="32"/>
                    <a:pt x="31" y="32"/>
                    <a:pt x="32" y="32"/>
                  </a:cubicBezTo>
                  <a:cubicBezTo>
                    <a:pt x="33" y="32"/>
                    <a:pt x="33" y="32"/>
                    <a:pt x="33" y="3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3" name="Freeform 170"/>
            <p:cNvSpPr>
              <a:spLocks noEditPoints="1"/>
            </p:cNvSpPr>
            <p:nvPr/>
          </p:nvSpPr>
          <p:spPr>
            <a:xfrm>
              <a:off x="5876926" y="2701925"/>
              <a:ext cx="125413" cy="103188"/>
            </a:xfrm>
            <a:custGeom>
              <a:gdLst>
                <a:gd name="T0" fmla="*/ 58 w 74"/>
                <a:gd name="T1" fmla="*/ 60 h 60"/>
                <a:gd name="T2" fmla="*/ 47 w 74"/>
                <a:gd name="T3" fmla="*/ 52 h 60"/>
                <a:gd name="T4" fmla="*/ 45 w 74"/>
                <a:gd name="T5" fmla="*/ 39 h 60"/>
                <a:gd name="T6" fmla="*/ 28 w 74"/>
                <a:gd name="T7" fmla="*/ 50 h 60"/>
                <a:gd name="T8" fmla="*/ 27 w 74"/>
                <a:gd name="T9" fmla="*/ 50 h 60"/>
                <a:gd name="T10" fmla="*/ 20 w 74"/>
                <a:gd name="T11" fmla="*/ 38 h 60"/>
                <a:gd name="T12" fmla="*/ 12 w 74"/>
                <a:gd name="T13" fmla="*/ 26 h 60"/>
                <a:gd name="T14" fmla="*/ 8 w 74"/>
                <a:gd name="T15" fmla="*/ 14 h 60"/>
                <a:gd name="T16" fmla="*/ 8 w 74"/>
                <a:gd name="T17" fmla="*/ 7 h 60"/>
                <a:gd name="T18" fmla="*/ 23 w 74"/>
                <a:gd name="T19" fmla="*/ 13 h 60"/>
                <a:gd name="T20" fmla="*/ 27 w 74"/>
                <a:gd name="T21" fmla="*/ 11 h 60"/>
                <a:gd name="T22" fmla="*/ 22 w 74"/>
                <a:gd name="T23" fmla="*/ 6 h 60"/>
                <a:gd name="T24" fmla="*/ 25 w 74"/>
                <a:gd name="T25" fmla="*/ 0 h 60"/>
                <a:gd name="T26" fmla="*/ 30 w 74"/>
                <a:gd name="T27" fmla="*/ 2 h 60"/>
                <a:gd name="T28" fmla="*/ 40 w 74"/>
                <a:gd name="T29" fmla="*/ 10 h 60"/>
                <a:gd name="T30" fmla="*/ 43 w 74"/>
                <a:gd name="T31" fmla="*/ 10 h 60"/>
                <a:gd name="T32" fmla="*/ 47 w 74"/>
                <a:gd name="T33" fmla="*/ 10 h 60"/>
                <a:gd name="T34" fmla="*/ 56 w 74"/>
                <a:gd name="T35" fmla="*/ 3 h 60"/>
                <a:gd name="T36" fmla="*/ 59 w 74"/>
                <a:gd name="T37" fmla="*/ 6 h 60"/>
                <a:gd name="T38" fmla="*/ 61 w 74"/>
                <a:gd name="T39" fmla="*/ 51 h 60"/>
                <a:gd name="T40" fmla="*/ 47 w 74"/>
                <a:gd name="T41" fmla="*/ 38 h 60"/>
                <a:gd name="T42" fmla="*/ 48 w 74"/>
                <a:gd name="T43" fmla="*/ 52 h 60"/>
                <a:gd name="T44" fmla="*/ 58 w 74"/>
                <a:gd name="T45" fmla="*/ 59 h 60"/>
                <a:gd name="T46" fmla="*/ 69 w 74"/>
                <a:gd name="T47" fmla="*/ 20 h 60"/>
                <a:gd name="T48" fmla="*/ 57 w 74"/>
                <a:gd name="T49" fmla="*/ 4 h 60"/>
                <a:gd name="T50" fmla="*/ 48 w 74"/>
                <a:gd name="T51" fmla="*/ 10 h 60"/>
                <a:gd name="T52" fmla="*/ 43 w 74"/>
                <a:gd name="T53" fmla="*/ 11 h 60"/>
                <a:gd name="T54" fmla="*/ 36 w 74"/>
                <a:gd name="T55" fmla="*/ 8 h 60"/>
                <a:gd name="T56" fmla="*/ 25 w 74"/>
                <a:gd name="T57" fmla="*/ 1 h 60"/>
                <a:gd name="T58" fmla="*/ 25 w 74"/>
                <a:gd name="T59" fmla="*/ 8 h 60"/>
                <a:gd name="T60" fmla="*/ 27 w 74"/>
                <a:gd name="T61" fmla="*/ 13 h 60"/>
                <a:gd name="T62" fmla="*/ 15 w 74"/>
                <a:gd name="T63" fmla="*/ 12 h 60"/>
                <a:gd name="T64" fmla="*/ 6 w 74"/>
                <a:gd name="T65" fmla="*/ 9 h 60"/>
                <a:gd name="T66" fmla="*/ 11 w 74"/>
                <a:gd name="T67" fmla="*/ 20 h 60"/>
                <a:gd name="T68" fmla="*/ 16 w 74"/>
                <a:gd name="T69" fmla="*/ 32 h 60"/>
                <a:gd name="T70" fmla="*/ 25 w 74"/>
                <a:gd name="T71" fmla="*/ 42 h 60"/>
                <a:gd name="T72" fmla="*/ 39 w 74"/>
                <a:gd name="T73" fmla="*/ 43 h 60"/>
                <a:gd name="T74" fmla="*/ 47 w 74"/>
                <a:gd name="T75" fmla="*/ 38 h 60"/>
                <a:gd name="T76" fmla="*/ 18 w 74"/>
                <a:gd name="T77" fmla="*/ 52 h 60"/>
                <a:gd name="T78" fmla="*/ 8 w 74"/>
                <a:gd name="T79" fmla="*/ 49 h 60"/>
                <a:gd name="T80" fmla="*/ 1 w 74"/>
                <a:gd name="T81" fmla="*/ 40 h 60"/>
                <a:gd name="T82" fmla="*/ 0 w 74"/>
                <a:gd name="T83" fmla="*/ 37 h 60"/>
                <a:gd name="T84" fmla="*/ 7 w 74"/>
                <a:gd name="T85" fmla="*/ 40 h 60"/>
                <a:gd name="T86" fmla="*/ 10 w 74"/>
                <a:gd name="T87" fmla="*/ 41 h 60"/>
                <a:gd name="T88" fmla="*/ 15 w 74"/>
                <a:gd name="T89" fmla="*/ 44 h 60"/>
                <a:gd name="T90" fmla="*/ 2 w 74"/>
                <a:gd name="T91" fmla="*/ 39 h 60"/>
                <a:gd name="T92" fmla="*/ 6 w 74"/>
                <a:gd name="T93" fmla="*/ 45 h 60"/>
                <a:gd name="T94" fmla="*/ 16 w 74"/>
                <a:gd name="T95" fmla="*/ 51 h 60"/>
                <a:gd name="T96" fmla="*/ 15 w 74"/>
                <a:gd name="T97" fmla="*/ 44 h 60"/>
                <a:gd name="T98" fmla="*/ 10 w 74"/>
                <a:gd name="T99" fmla="*/ 42 h 60"/>
                <a:gd name="T100" fmla="*/ 6 w 74"/>
                <a:gd name="T101" fmla="*/ 41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60">
                  <a:moveTo>
                    <a:pt x="59" y="60"/>
                  </a:moveTo>
                  <a:cubicBezTo>
                    <a:pt x="58" y="60"/>
                    <a:pt x="58" y="60"/>
                    <a:pt x="58" y="60"/>
                  </a:cubicBezTo>
                  <a:cubicBezTo>
                    <a:pt x="54" y="58"/>
                    <a:pt x="48" y="55"/>
                    <a:pt x="47" y="53"/>
                  </a:cubicBezTo>
                  <a:cubicBezTo>
                    <a:pt x="47" y="52"/>
                    <a:pt x="47" y="52"/>
                    <a:pt x="47" y="52"/>
                  </a:cubicBezTo>
                  <a:cubicBezTo>
                    <a:pt x="48" y="50"/>
                    <a:pt x="50" y="42"/>
                    <a:pt x="48" y="40"/>
                  </a:cubicBezTo>
                  <a:cubicBezTo>
                    <a:pt x="48" y="39"/>
                    <a:pt x="47" y="39"/>
                    <a:pt x="45" y="39"/>
                  </a:cubicBezTo>
                  <a:cubicBezTo>
                    <a:pt x="43" y="40"/>
                    <a:pt x="41" y="42"/>
                    <a:pt x="39" y="43"/>
                  </a:cubicBezTo>
                  <a:cubicBezTo>
                    <a:pt x="36" y="46"/>
                    <a:pt x="32" y="48"/>
                    <a:pt x="28" y="50"/>
                  </a:cubicBezTo>
                  <a:cubicBezTo>
                    <a:pt x="27" y="50"/>
                    <a:pt x="27" y="50"/>
                    <a:pt x="27" y="50"/>
                  </a:cubicBezTo>
                  <a:cubicBezTo>
                    <a:pt x="27" y="50"/>
                    <a:pt x="27" y="50"/>
                    <a:pt x="27" y="50"/>
                  </a:cubicBezTo>
                  <a:cubicBezTo>
                    <a:pt x="25" y="47"/>
                    <a:pt x="24" y="44"/>
                    <a:pt x="24" y="42"/>
                  </a:cubicBezTo>
                  <a:cubicBezTo>
                    <a:pt x="24" y="41"/>
                    <a:pt x="22" y="40"/>
                    <a:pt x="20" y="38"/>
                  </a:cubicBezTo>
                  <a:cubicBezTo>
                    <a:pt x="18" y="36"/>
                    <a:pt x="15" y="34"/>
                    <a:pt x="15" y="32"/>
                  </a:cubicBezTo>
                  <a:cubicBezTo>
                    <a:pt x="15" y="30"/>
                    <a:pt x="14" y="28"/>
                    <a:pt x="12" y="26"/>
                  </a:cubicBezTo>
                  <a:cubicBezTo>
                    <a:pt x="11" y="24"/>
                    <a:pt x="10" y="22"/>
                    <a:pt x="10" y="20"/>
                  </a:cubicBezTo>
                  <a:cubicBezTo>
                    <a:pt x="10" y="18"/>
                    <a:pt x="9" y="16"/>
                    <a:pt x="8" y="14"/>
                  </a:cubicBezTo>
                  <a:cubicBezTo>
                    <a:pt x="6" y="12"/>
                    <a:pt x="5" y="10"/>
                    <a:pt x="5" y="8"/>
                  </a:cubicBezTo>
                  <a:cubicBezTo>
                    <a:pt x="6" y="8"/>
                    <a:pt x="6" y="7"/>
                    <a:pt x="8" y="7"/>
                  </a:cubicBezTo>
                  <a:cubicBezTo>
                    <a:pt x="10" y="7"/>
                    <a:pt x="14" y="10"/>
                    <a:pt x="16" y="11"/>
                  </a:cubicBezTo>
                  <a:cubicBezTo>
                    <a:pt x="17" y="12"/>
                    <a:pt x="20" y="13"/>
                    <a:pt x="23" y="13"/>
                  </a:cubicBezTo>
                  <a:cubicBezTo>
                    <a:pt x="24" y="13"/>
                    <a:pt x="26" y="13"/>
                    <a:pt x="27" y="12"/>
                  </a:cubicBezTo>
                  <a:cubicBezTo>
                    <a:pt x="27" y="11"/>
                    <a:pt x="27" y="11"/>
                    <a:pt x="27" y="11"/>
                  </a:cubicBezTo>
                  <a:cubicBezTo>
                    <a:pt x="27" y="11"/>
                    <a:pt x="25" y="10"/>
                    <a:pt x="24" y="9"/>
                  </a:cubicBezTo>
                  <a:cubicBezTo>
                    <a:pt x="23" y="8"/>
                    <a:pt x="22" y="7"/>
                    <a:pt x="22" y="6"/>
                  </a:cubicBezTo>
                  <a:cubicBezTo>
                    <a:pt x="21" y="5"/>
                    <a:pt x="22" y="3"/>
                    <a:pt x="25" y="0"/>
                  </a:cubicBezTo>
                  <a:cubicBezTo>
                    <a:pt x="25" y="0"/>
                    <a:pt x="25" y="0"/>
                    <a:pt x="25" y="0"/>
                  </a:cubicBezTo>
                  <a:cubicBezTo>
                    <a:pt x="25" y="0"/>
                    <a:pt x="25" y="0"/>
                    <a:pt x="25" y="0"/>
                  </a:cubicBezTo>
                  <a:cubicBezTo>
                    <a:pt x="27" y="1"/>
                    <a:pt x="29" y="2"/>
                    <a:pt x="30" y="2"/>
                  </a:cubicBezTo>
                  <a:cubicBezTo>
                    <a:pt x="32" y="2"/>
                    <a:pt x="35" y="5"/>
                    <a:pt x="37" y="7"/>
                  </a:cubicBezTo>
                  <a:cubicBezTo>
                    <a:pt x="38" y="8"/>
                    <a:pt x="40" y="10"/>
                    <a:pt x="40" y="10"/>
                  </a:cubicBezTo>
                  <a:cubicBezTo>
                    <a:pt x="41" y="10"/>
                    <a:pt x="41" y="10"/>
                    <a:pt x="41" y="10"/>
                  </a:cubicBezTo>
                  <a:cubicBezTo>
                    <a:pt x="42" y="10"/>
                    <a:pt x="43" y="10"/>
                    <a:pt x="43" y="10"/>
                  </a:cubicBezTo>
                  <a:cubicBezTo>
                    <a:pt x="44" y="11"/>
                    <a:pt x="45" y="11"/>
                    <a:pt x="45" y="11"/>
                  </a:cubicBezTo>
                  <a:cubicBezTo>
                    <a:pt x="46" y="11"/>
                    <a:pt x="46" y="11"/>
                    <a:pt x="47" y="10"/>
                  </a:cubicBezTo>
                  <a:cubicBezTo>
                    <a:pt x="47" y="9"/>
                    <a:pt x="49" y="8"/>
                    <a:pt x="51" y="7"/>
                  </a:cubicBezTo>
                  <a:cubicBezTo>
                    <a:pt x="53" y="7"/>
                    <a:pt x="55" y="6"/>
                    <a:pt x="56" y="3"/>
                  </a:cubicBezTo>
                  <a:cubicBezTo>
                    <a:pt x="56" y="2"/>
                    <a:pt x="56" y="2"/>
                    <a:pt x="56" y="2"/>
                  </a:cubicBezTo>
                  <a:cubicBezTo>
                    <a:pt x="59" y="6"/>
                    <a:pt x="59" y="6"/>
                    <a:pt x="59" y="6"/>
                  </a:cubicBezTo>
                  <a:cubicBezTo>
                    <a:pt x="64" y="12"/>
                    <a:pt x="68" y="17"/>
                    <a:pt x="70" y="20"/>
                  </a:cubicBezTo>
                  <a:cubicBezTo>
                    <a:pt x="74" y="28"/>
                    <a:pt x="69" y="42"/>
                    <a:pt x="61" y="51"/>
                  </a:cubicBezTo>
                  <a:cubicBezTo>
                    <a:pt x="59" y="54"/>
                    <a:pt x="59" y="56"/>
                    <a:pt x="59" y="60"/>
                  </a:cubicBezTo>
                  <a:close/>
                  <a:moveTo>
                    <a:pt x="47" y="38"/>
                  </a:moveTo>
                  <a:cubicBezTo>
                    <a:pt x="48" y="38"/>
                    <a:pt x="49" y="38"/>
                    <a:pt x="49" y="39"/>
                  </a:cubicBezTo>
                  <a:cubicBezTo>
                    <a:pt x="51" y="42"/>
                    <a:pt x="49" y="51"/>
                    <a:pt x="48" y="52"/>
                  </a:cubicBezTo>
                  <a:cubicBezTo>
                    <a:pt x="48" y="53"/>
                    <a:pt x="48" y="53"/>
                    <a:pt x="48" y="53"/>
                  </a:cubicBezTo>
                  <a:cubicBezTo>
                    <a:pt x="49" y="54"/>
                    <a:pt x="53" y="57"/>
                    <a:pt x="58" y="59"/>
                  </a:cubicBezTo>
                  <a:cubicBezTo>
                    <a:pt x="58" y="56"/>
                    <a:pt x="59" y="53"/>
                    <a:pt x="60" y="51"/>
                  </a:cubicBezTo>
                  <a:cubicBezTo>
                    <a:pt x="68" y="42"/>
                    <a:pt x="73" y="28"/>
                    <a:pt x="69" y="20"/>
                  </a:cubicBezTo>
                  <a:cubicBezTo>
                    <a:pt x="68" y="18"/>
                    <a:pt x="63" y="12"/>
                    <a:pt x="58" y="6"/>
                  </a:cubicBezTo>
                  <a:cubicBezTo>
                    <a:pt x="57" y="4"/>
                    <a:pt x="57" y="4"/>
                    <a:pt x="57" y="4"/>
                  </a:cubicBezTo>
                  <a:cubicBezTo>
                    <a:pt x="55" y="7"/>
                    <a:pt x="53" y="8"/>
                    <a:pt x="51" y="8"/>
                  </a:cubicBezTo>
                  <a:cubicBezTo>
                    <a:pt x="49" y="9"/>
                    <a:pt x="48" y="9"/>
                    <a:pt x="48" y="10"/>
                  </a:cubicBezTo>
                  <a:cubicBezTo>
                    <a:pt x="47" y="11"/>
                    <a:pt x="46" y="12"/>
                    <a:pt x="45" y="12"/>
                  </a:cubicBezTo>
                  <a:cubicBezTo>
                    <a:pt x="45" y="12"/>
                    <a:pt x="44" y="12"/>
                    <a:pt x="43" y="11"/>
                  </a:cubicBezTo>
                  <a:cubicBezTo>
                    <a:pt x="42" y="11"/>
                    <a:pt x="41" y="11"/>
                    <a:pt x="41" y="11"/>
                  </a:cubicBezTo>
                  <a:cubicBezTo>
                    <a:pt x="40" y="11"/>
                    <a:pt x="38" y="10"/>
                    <a:pt x="36" y="8"/>
                  </a:cubicBezTo>
                  <a:cubicBezTo>
                    <a:pt x="34" y="6"/>
                    <a:pt x="32" y="3"/>
                    <a:pt x="30" y="3"/>
                  </a:cubicBezTo>
                  <a:cubicBezTo>
                    <a:pt x="28" y="3"/>
                    <a:pt x="27" y="2"/>
                    <a:pt x="25" y="1"/>
                  </a:cubicBezTo>
                  <a:cubicBezTo>
                    <a:pt x="22" y="4"/>
                    <a:pt x="22" y="5"/>
                    <a:pt x="23" y="6"/>
                  </a:cubicBezTo>
                  <a:cubicBezTo>
                    <a:pt x="23" y="6"/>
                    <a:pt x="24" y="7"/>
                    <a:pt x="25" y="8"/>
                  </a:cubicBezTo>
                  <a:cubicBezTo>
                    <a:pt x="26" y="9"/>
                    <a:pt x="28" y="10"/>
                    <a:pt x="28" y="11"/>
                  </a:cubicBezTo>
                  <a:cubicBezTo>
                    <a:pt x="28" y="12"/>
                    <a:pt x="28" y="12"/>
                    <a:pt x="27" y="13"/>
                  </a:cubicBezTo>
                  <a:cubicBezTo>
                    <a:pt x="26" y="14"/>
                    <a:pt x="25" y="14"/>
                    <a:pt x="23" y="14"/>
                  </a:cubicBezTo>
                  <a:cubicBezTo>
                    <a:pt x="20" y="14"/>
                    <a:pt x="17" y="13"/>
                    <a:pt x="15" y="12"/>
                  </a:cubicBezTo>
                  <a:cubicBezTo>
                    <a:pt x="14" y="10"/>
                    <a:pt x="10" y="8"/>
                    <a:pt x="8" y="8"/>
                  </a:cubicBezTo>
                  <a:cubicBezTo>
                    <a:pt x="7" y="8"/>
                    <a:pt x="6" y="9"/>
                    <a:pt x="6" y="9"/>
                  </a:cubicBezTo>
                  <a:cubicBezTo>
                    <a:pt x="6" y="10"/>
                    <a:pt x="7" y="12"/>
                    <a:pt x="8" y="14"/>
                  </a:cubicBezTo>
                  <a:cubicBezTo>
                    <a:pt x="10" y="16"/>
                    <a:pt x="12" y="18"/>
                    <a:pt x="11" y="20"/>
                  </a:cubicBezTo>
                  <a:cubicBezTo>
                    <a:pt x="11" y="22"/>
                    <a:pt x="12" y="24"/>
                    <a:pt x="13" y="25"/>
                  </a:cubicBezTo>
                  <a:cubicBezTo>
                    <a:pt x="15" y="27"/>
                    <a:pt x="16" y="29"/>
                    <a:pt x="16" y="32"/>
                  </a:cubicBezTo>
                  <a:cubicBezTo>
                    <a:pt x="16" y="34"/>
                    <a:pt x="19" y="36"/>
                    <a:pt x="21" y="37"/>
                  </a:cubicBezTo>
                  <a:cubicBezTo>
                    <a:pt x="23" y="39"/>
                    <a:pt x="25" y="41"/>
                    <a:pt x="25" y="42"/>
                  </a:cubicBezTo>
                  <a:cubicBezTo>
                    <a:pt x="25" y="44"/>
                    <a:pt x="26" y="46"/>
                    <a:pt x="28" y="49"/>
                  </a:cubicBezTo>
                  <a:cubicBezTo>
                    <a:pt x="32" y="47"/>
                    <a:pt x="35" y="45"/>
                    <a:pt x="39" y="43"/>
                  </a:cubicBezTo>
                  <a:cubicBezTo>
                    <a:pt x="41" y="41"/>
                    <a:pt x="43" y="39"/>
                    <a:pt x="45" y="39"/>
                  </a:cubicBezTo>
                  <a:cubicBezTo>
                    <a:pt x="46" y="38"/>
                    <a:pt x="46" y="38"/>
                    <a:pt x="47" y="38"/>
                  </a:cubicBezTo>
                  <a:close/>
                  <a:moveTo>
                    <a:pt x="19" y="52"/>
                  </a:moveTo>
                  <a:cubicBezTo>
                    <a:pt x="18" y="52"/>
                    <a:pt x="18" y="52"/>
                    <a:pt x="18" y="52"/>
                  </a:cubicBezTo>
                  <a:cubicBezTo>
                    <a:pt x="17" y="52"/>
                    <a:pt x="17" y="52"/>
                    <a:pt x="16" y="52"/>
                  </a:cubicBezTo>
                  <a:cubicBezTo>
                    <a:pt x="9" y="51"/>
                    <a:pt x="8" y="50"/>
                    <a:pt x="8" y="49"/>
                  </a:cubicBezTo>
                  <a:cubicBezTo>
                    <a:pt x="8" y="48"/>
                    <a:pt x="8" y="47"/>
                    <a:pt x="6" y="46"/>
                  </a:cubicBezTo>
                  <a:cubicBezTo>
                    <a:pt x="2" y="45"/>
                    <a:pt x="2" y="42"/>
                    <a:pt x="1" y="40"/>
                  </a:cubicBezTo>
                  <a:cubicBezTo>
                    <a:pt x="1" y="39"/>
                    <a:pt x="1" y="39"/>
                    <a:pt x="1" y="38"/>
                  </a:cubicBezTo>
                  <a:cubicBezTo>
                    <a:pt x="0" y="37"/>
                    <a:pt x="0" y="37"/>
                    <a:pt x="0" y="37"/>
                  </a:cubicBezTo>
                  <a:cubicBezTo>
                    <a:pt x="1" y="38"/>
                    <a:pt x="1" y="38"/>
                    <a:pt x="1" y="38"/>
                  </a:cubicBezTo>
                  <a:cubicBezTo>
                    <a:pt x="3" y="38"/>
                    <a:pt x="6" y="39"/>
                    <a:pt x="7" y="40"/>
                  </a:cubicBezTo>
                  <a:cubicBezTo>
                    <a:pt x="8" y="41"/>
                    <a:pt x="8" y="41"/>
                    <a:pt x="8" y="41"/>
                  </a:cubicBezTo>
                  <a:cubicBezTo>
                    <a:pt x="9" y="41"/>
                    <a:pt x="9" y="41"/>
                    <a:pt x="10" y="41"/>
                  </a:cubicBezTo>
                  <a:cubicBezTo>
                    <a:pt x="11" y="41"/>
                    <a:pt x="11" y="41"/>
                    <a:pt x="11" y="41"/>
                  </a:cubicBezTo>
                  <a:cubicBezTo>
                    <a:pt x="12" y="41"/>
                    <a:pt x="14" y="42"/>
                    <a:pt x="15" y="44"/>
                  </a:cubicBezTo>
                  <a:cubicBezTo>
                    <a:pt x="19" y="47"/>
                    <a:pt x="19" y="48"/>
                    <a:pt x="19" y="52"/>
                  </a:cubicBezTo>
                  <a:close/>
                  <a:moveTo>
                    <a:pt x="2" y="39"/>
                  </a:moveTo>
                  <a:cubicBezTo>
                    <a:pt x="2" y="39"/>
                    <a:pt x="2" y="39"/>
                    <a:pt x="2" y="40"/>
                  </a:cubicBezTo>
                  <a:cubicBezTo>
                    <a:pt x="3" y="42"/>
                    <a:pt x="3" y="44"/>
                    <a:pt x="6" y="45"/>
                  </a:cubicBezTo>
                  <a:cubicBezTo>
                    <a:pt x="9" y="47"/>
                    <a:pt x="9" y="48"/>
                    <a:pt x="9" y="49"/>
                  </a:cubicBezTo>
                  <a:cubicBezTo>
                    <a:pt x="9" y="49"/>
                    <a:pt x="9" y="50"/>
                    <a:pt x="16" y="51"/>
                  </a:cubicBezTo>
                  <a:cubicBezTo>
                    <a:pt x="16" y="51"/>
                    <a:pt x="17" y="51"/>
                    <a:pt x="18" y="51"/>
                  </a:cubicBezTo>
                  <a:cubicBezTo>
                    <a:pt x="18" y="49"/>
                    <a:pt x="18" y="48"/>
                    <a:pt x="15" y="44"/>
                  </a:cubicBezTo>
                  <a:cubicBezTo>
                    <a:pt x="13" y="42"/>
                    <a:pt x="12" y="42"/>
                    <a:pt x="11" y="42"/>
                  </a:cubicBezTo>
                  <a:cubicBezTo>
                    <a:pt x="10" y="42"/>
                    <a:pt x="10" y="42"/>
                    <a:pt x="10" y="42"/>
                  </a:cubicBezTo>
                  <a:cubicBezTo>
                    <a:pt x="9" y="42"/>
                    <a:pt x="9" y="42"/>
                    <a:pt x="8" y="42"/>
                  </a:cubicBezTo>
                  <a:cubicBezTo>
                    <a:pt x="8" y="42"/>
                    <a:pt x="7" y="41"/>
                    <a:pt x="6" y="41"/>
                  </a:cubicBezTo>
                  <a:cubicBezTo>
                    <a:pt x="5" y="40"/>
                    <a:pt x="4" y="39"/>
                    <a:pt x="2"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4" name="Freeform 171"/>
            <p:cNvSpPr>
              <a:spLocks noEditPoints="1"/>
            </p:cNvSpPr>
            <p:nvPr/>
          </p:nvSpPr>
          <p:spPr>
            <a:xfrm>
              <a:off x="6272214" y="2806700"/>
              <a:ext cx="354013" cy="252413"/>
            </a:xfrm>
            <a:custGeom>
              <a:gdLst>
                <a:gd name="T0" fmla="*/ 7 w 209"/>
                <a:gd name="T1" fmla="*/ 146 h 149"/>
                <a:gd name="T2" fmla="*/ 18 w 209"/>
                <a:gd name="T3" fmla="*/ 121 h 149"/>
                <a:gd name="T4" fmla="*/ 2 w 209"/>
                <a:gd name="T5" fmla="*/ 97 h 149"/>
                <a:gd name="T6" fmla="*/ 3 w 209"/>
                <a:gd name="T7" fmla="*/ 68 h 149"/>
                <a:gd name="T8" fmla="*/ 15 w 209"/>
                <a:gd name="T9" fmla="*/ 49 h 149"/>
                <a:gd name="T10" fmla="*/ 20 w 209"/>
                <a:gd name="T11" fmla="*/ 50 h 149"/>
                <a:gd name="T12" fmla="*/ 38 w 209"/>
                <a:gd name="T13" fmla="*/ 48 h 149"/>
                <a:gd name="T14" fmla="*/ 67 w 209"/>
                <a:gd name="T15" fmla="*/ 21 h 149"/>
                <a:gd name="T16" fmla="*/ 84 w 209"/>
                <a:gd name="T17" fmla="*/ 16 h 149"/>
                <a:gd name="T18" fmla="*/ 99 w 209"/>
                <a:gd name="T19" fmla="*/ 19 h 149"/>
                <a:gd name="T20" fmla="*/ 116 w 209"/>
                <a:gd name="T21" fmla="*/ 24 h 149"/>
                <a:gd name="T22" fmla="*/ 138 w 209"/>
                <a:gd name="T23" fmla="*/ 17 h 149"/>
                <a:gd name="T24" fmla="*/ 161 w 209"/>
                <a:gd name="T25" fmla="*/ 6 h 149"/>
                <a:gd name="T26" fmla="*/ 172 w 209"/>
                <a:gd name="T27" fmla="*/ 30 h 149"/>
                <a:gd name="T28" fmla="*/ 194 w 209"/>
                <a:gd name="T29" fmla="*/ 17 h 149"/>
                <a:gd name="T30" fmla="*/ 202 w 209"/>
                <a:gd name="T31" fmla="*/ 21 h 149"/>
                <a:gd name="T32" fmla="*/ 197 w 209"/>
                <a:gd name="T33" fmla="*/ 29 h 149"/>
                <a:gd name="T34" fmla="*/ 174 w 209"/>
                <a:gd name="T35" fmla="*/ 34 h 149"/>
                <a:gd name="T36" fmla="*/ 162 w 209"/>
                <a:gd name="T37" fmla="*/ 44 h 149"/>
                <a:gd name="T38" fmla="*/ 158 w 209"/>
                <a:gd name="T39" fmla="*/ 63 h 149"/>
                <a:gd name="T40" fmla="*/ 146 w 209"/>
                <a:gd name="T41" fmla="*/ 75 h 149"/>
                <a:gd name="T42" fmla="*/ 145 w 209"/>
                <a:gd name="T43" fmla="*/ 84 h 149"/>
                <a:gd name="T44" fmla="*/ 131 w 209"/>
                <a:gd name="T45" fmla="*/ 105 h 149"/>
                <a:gd name="T46" fmla="*/ 108 w 209"/>
                <a:gd name="T47" fmla="*/ 117 h 149"/>
                <a:gd name="T48" fmla="*/ 87 w 209"/>
                <a:gd name="T49" fmla="*/ 127 h 149"/>
                <a:gd name="T50" fmla="*/ 7 w 209"/>
                <a:gd name="T51" fmla="*/ 145 h 149"/>
                <a:gd name="T52" fmla="*/ 87 w 209"/>
                <a:gd name="T53" fmla="*/ 133 h 149"/>
                <a:gd name="T54" fmla="*/ 103 w 209"/>
                <a:gd name="T55" fmla="*/ 119 h 149"/>
                <a:gd name="T56" fmla="*/ 126 w 209"/>
                <a:gd name="T57" fmla="*/ 113 h 149"/>
                <a:gd name="T58" fmla="*/ 144 w 209"/>
                <a:gd name="T59" fmla="*/ 86 h 149"/>
                <a:gd name="T60" fmla="*/ 141 w 209"/>
                <a:gd name="T61" fmla="*/ 74 h 149"/>
                <a:gd name="T62" fmla="*/ 156 w 209"/>
                <a:gd name="T63" fmla="*/ 69 h 149"/>
                <a:gd name="T64" fmla="*/ 164 w 209"/>
                <a:gd name="T65" fmla="*/ 51 h 149"/>
                <a:gd name="T66" fmla="*/ 166 w 209"/>
                <a:gd name="T67" fmla="*/ 36 h 149"/>
                <a:gd name="T68" fmla="*/ 194 w 209"/>
                <a:gd name="T69" fmla="*/ 27 h 149"/>
                <a:gd name="T70" fmla="*/ 197 w 209"/>
                <a:gd name="T71" fmla="*/ 20 h 149"/>
                <a:gd name="T72" fmla="*/ 179 w 209"/>
                <a:gd name="T73" fmla="*/ 28 h 149"/>
                <a:gd name="T74" fmla="*/ 164 w 209"/>
                <a:gd name="T75" fmla="*/ 31 h 149"/>
                <a:gd name="T76" fmla="*/ 158 w 209"/>
                <a:gd name="T77" fmla="*/ 1 h 149"/>
                <a:gd name="T78" fmla="*/ 127 w 209"/>
                <a:gd name="T79" fmla="*/ 23 h 149"/>
                <a:gd name="T80" fmla="*/ 114 w 209"/>
                <a:gd name="T81" fmla="*/ 26 h 149"/>
                <a:gd name="T82" fmla="*/ 94 w 209"/>
                <a:gd name="T83" fmla="*/ 17 h 149"/>
                <a:gd name="T84" fmla="*/ 80 w 209"/>
                <a:gd name="T85" fmla="*/ 15 h 149"/>
                <a:gd name="T86" fmla="*/ 67 w 209"/>
                <a:gd name="T87" fmla="*/ 22 h 149"/>
                <a:gd name="T88" fmla="*/ 39 w 209"/>
                <a:gd name="T89" fmla="*/ 48 h 149"/>
                <a:gd name="T90" fmla="*/ 19 w 209"/>
                <a:gd name="T91" fmla="*/ 51 h 149"/>
                <a:gd name="T92" fmla="*/ 10 w 209"/>
                <a:gd name="T93" fmla="*/ 57 h 149"/>
                <a:gd name="T94" fmla="*/ 3 w 209"/>
                <a:gd name="T95" fmla="*/ 81 h 149"/>
                <a:gd name="T96" fmla="*/ 5 w 209"/>
                <a:gd name="T97" fmla="*/ 113 h 149"/>
                <a:gd name="T98" fmla="*/ 4 w 209"/>
                <a:gd name="T99" fmla="*/ 141 h 1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149">
                  <a:moveTo>
                    <a:pt x="33" y="149"/>
                  </a:moveTo>
                  <a:cubicBezTo>
                    <a:pt x="31" y="149"/>
                    <a:pt x="30" y="149"/>
                    <a:pt x="29" y="149"/>
                  </a:cubicBezTo>
                  <a:cubicBezTo>
                    <a:pt x="22" y="148"/>
                    <a:pt x="14" y="147"/>
                    <a:pt x="7" y="146"/>
                  </a:cubicBezTo>
                  <a:cubicBezTo>
                    <a:pt x="7" y="146"/>
                    <a:pt x="7" y="146"/>
                    <a:pt x="7" y="146"/>
                  </a:cubicBezTo>
                  <a:cubicBezTo>
                    <a:pt x="6" y="146"/>
                    <a:pt x="6" y="146"/>
                    <a:pt x="6" y="146"/>
                  </a:cubicBezTo>
                  <a:cubicBezTo>
                    <a:pt x="5" y="145"/>
                    <a:pt x="3" y="143"/>
                    <a:pt x="3" y="141"/>
                  </a:cubicBezTo>
                  <a:cubicBezTo>
                    <a:pt x="4" y="140"/>
                    <a:pt x="6" y="137"/>
                    <a:pt x="9" y="134"/>
                  </a:cubicBezTo>
                  <a:cubicBezTo>
                    <a:pt x="13" y="130"/>
                    <a:pt x="20" y="124"/>
                    <a:pt x="18" y="121"/>
                  </a:cubicBezTo>
                  <a:cubicBezTo>
                    <a:pt x="17" y="117"/>
                    <a:pt x="12" y="116"/>
                    <a:pt x="9" y="115"/>
                  </a:cubicBezTo>
                  <a:cubicBezTo>
                    <a:pt x="6" y="115"/>
                    <a:pt x="5" y="114"/>
                    <a:pt x="4" y="113"/>
                  </a:cubicBezTo>
                  <a:cubicBezTo>
                    <a:pt x="3" y="112"/>
                    <a:pt x="3" y="110"/>
                    <a:pt x="3" y="108"/>
                  </a:cubicBezTo>
                  <a:cubicBezTo>
                    <a:pt x="3" y="105"/>
                    <a:pt x="3" y="100"/>
                    <a:pt x="2" y="97"/>
                  </a:cubicBezTo>
                  <a:cubicBezTo>
                    <a:pt x="0" y="93"/>
                    <a:pt x="1" y="89"/>
                    <a:pt x="2" y="87"/>
                  </a:cubicBezTo>
                  <a:cubicBezTo>
                    <a:pt x="2" y="84"/>
                    <a:pt x="3" y="82"/>
                    <a:pt x="2" y="81"/>
                  </a:cubicBezTo>
                  <a:cubicBezTo>
                    <a:pt x="0" y="78"/>
                    <a:pt x="2" y="73"/>
                    <a:pt x="3" y="70"/>
                  </a:cubicBezTo>
                  <a:cubicBezTo>
                    <a:pt x="3" y="69"/>
                    <a:pt x="3" y="68"/>
                    <a:pt x="3" y="68"/>
                  </a:cubicBezTo>
                  <a:cubicBezTo>
                    <a:pt x="4" y="67"/>
                    <a:pt x="4" y="66"/>
                    <a:pt x="5" y="65"/>
                  </a:cubicBezTo>
                  <a:cubicBezTo>
                    <a:pt x="7" y="63"/>
                    <a:pt x="9" y="60"/>
                    <a:pt x="9" y="57"/>
                  </a:cubicBezTo>
                  <a:cubicBezTo>
                    <a:pt x="9" y="54"/>
                    <a:pt x="10" y="52"/>
                    <a:pt x="11" y="51"/>
                  </a:cubicBezTo>
                  <a:cubicBezTo>
                    <a:pt x="12" y="50"/>
                    <a:pt x="13" y="49"/>
                    <a:pt x="15" y="49"/>
                  </a:cubicBezTo>
                  <a:cubicBezTo>
                    <a:pt x="16" y="49"/>
                    <a:pt x="16" y="49"/>
                    <a:pt x="16" y="49"/>
                  </a:cubicBezTo>
                  <a:cubicBezTo>
                    <a:pt x="17" y="50"/>
                    <a:pt x="18" y="50"/>
                    <a:pt x="18" y="50"/>
                  </a:cubicBezTo>
                  <a:cubicBezTo>
                    <a:pt x="19" y="50"/>
                    <a:pt x="19" y="50"/>
                    <a:pt x="19" y="50"/>
                  </a:cubicBezTo>
                  <a:cubicBezTo>
                    <a:pt x="20" y="50"/>
                    <a:pt x="20" y="50"/>
                    <a:pt x="20" y="50"/>
                  </a:cubicBezTo>
                  <a:cubicBezTo>
                    <a:pt x="22" y="50"/>
                    <a:pt x="26" y="50"/>
                    <a:pt x="27" y="53"/>
                  </a:cubicBezTo>
                  <a:cubicBezTo>
                    <a:pt x="27" y="54"/>
                    <a:pt x="28" y="54"/>
                    <a:pt x="30" y="54"/>
                  </a:cubicBezTo>
                  <a:cubicBezTo>
                    <a:pt x="33" y="54"/>
                    <a:pt x="36" y="53"/>
                    <a:pt x="37" y="51"/>
                  </a:cubicBezTo>
                  <a:cubicBezTo>
                    <a:pt x="38" y="50"/>
                    <a:pt x="39" y="49"/>
                    <a:pt x="38" y="48"/>
                  </a:cubicBezTo>
                  <a:cubicBezTo>
                    <a:pt x="38" y="44"/>
                    <a:pt x="43" y="43"/>
                    <a:pt x="49" y="41"/>
                  </a:cubicBezTo>
                  <a:cubicBezTo>
                    <a:pt x="54" y="40"/>
                    <a:pt x="58" y="38"/>
                    <a:pt x="59" y="36"/>
                  </a:cubicBezTo>
                  <a:cubicBezTo>
                    <a:pt x="59" y="35"/>
                    <a:pt x="59" y="34"/>
                    <a:pt x="60" y="34"/>
                  </a:cubicBezTo>
                  <a:cubicBezTo>
                    <a:pt x="61" y="28"/>
                    <a:pt x="63" y="21"/>
                    <a:pt x="67" y="21"/>
                  </a:cubicBezTo>
                  <a:cubicBezTo>
                    <a:pt x="68" y="21"/>
                    <a:pt x="68" y="21"/>
                    <a:pt x="68" y="21"/>
                  </a:cubicBezTo>
                  <a:cubicBezTo>
                    <a:pt x="70" y="22"/>
                    <a:pt x="72" y="20"/>
                    <a:pt x="74" y="18"/>
                  </a:cubicBezTo>
                  <a:cubicBezTo>
                    <a:pt x="76" y="16"/>
                    <a:pt x="78" y="14"/>
                    <a:pt x="80" y="14"/>
                  </a:cubicBezTo>
                  <a:cubicBezTo>
                    <a:pt x="81" y="14"/>
                    <a:pt x="83" y="15"/>
                    <a:pt x="84" y="16"/>
                  </a:cubicBezTo>
                  <a:cubicBezTo>
                    <a:pt x="85" y="16"/>
                    <a:pt x="87" y="17"/>
                    <a:pt x="89" y="17"/>
                  </a:cubicBezTo>
                  <a:cubicBezTo>
                    <a:pt x="90" y="17"/>
                    <a:pt x="91" y="17"/>
                    <a:pt x="92" y="17"/>
                  </a:cubicBezTo>
                  <a:cubicBezTo>
                    <a:pt x="92" y="16"/>
                    <a:pt x="93" y="16"/>
                    <a:pt x="94" y="16"/>
                  </a:cubicBezTo>
                  <a:cubicBezTo>
                    <a:pt x="96" y="16"/>
                    <a:pt x="98" y="17"/>
                    <a:pt x="99" y="19"/>
                  </a:cubicBezTo>
                  <a:cubicBezTo>
                    <a:pt x="101" y="20"/>
                    <a:pt x="102" y="21"/>
                    <a:pt x="104" y="21"/>
                  </a:cubicBezTo>
                  <a:cubicBezTo>
                    <a:pt x="106" y="21"/>
                    <a:pt x="108" y="22"/>
                    <a:pt x="110" y="23"/>
                  </a:cubicBezTo>
                  <a:cubicBezTo>
                    <a:pt x="111" y="24"/>
                    <a:pt x="113" y="25"/>
                    <a:pt x="114" y="25"/>
                  </a:cubicBezTo>
                  <a:cubicBezTo>
                    <a:pt x="115" y="25"/>
                    <a:pt x="115" y="25"/>
                    <a:pt x="116" y="24"/>
                  </a:cubicBezTo>
                  <a:cubicBezTo>
                    <a:pt x="117" y="22"/>
                    <a:pt x="121" y="22"/>
                    <a:pt x="125" y="22"/>
                  </a:cubicBezTo>
                  <a:cubicBezTo>
                    <a:pt x="126" y="22"/>
                    <a:pt x="126" y="22"/>
                    <a:pt x="127" y="22"/>
                  </a:cubicBezTo>
                  <a:cubicBezTo>
                    <a:pt x="130" y="22"/>
                    <a:pt x="131" y="21"/>
                    <a:pt x="131" y="20"/>
                  </a:cubicBezTo>
                  <a:cubicBezTo>
                    <a:pt x="131" y="18"/>
                    <a:pt x="134" y="17"/>
                    <a:pt x="138" y="17"/>
                  </a:cubicBezTo>
                  <a:cubicBezTo>
                    <a:pt x="141" y="16"/>
                    <a:pt x="145" y="15"/>
                    <a:pt x="145" y="14"/>
                  </a:cubicBezTo>
                  <a:cubicBezTo>
                    <a:pt x="145" y="10"/>
                    <a:pt x="152" y="0"/>
                    <a:pt x="158" y="0"/>
                  </a:cubicBezTo>
                  <a:cubicBezTo>
                    <a:pt x="158" y="0"/>
                    <a:pt x="158" y="0"/>
                    <a:pt x="158" y="0"/>
                  </a:cubicBezTo>
                  <a:cubicBezTo>
                    <a:pt x="161" y="1"/>
                    <a:pt x="161" y="3"/>
                    <a:pt x="161" y="6"/>
                  </a:cubicBezTo>
                  <a:cubicBezTo>
                    <a:pt x="161" y="8"/>
                    <a:pt x="161" y="11"/>
                    <a:pt x="164" y="13"/>
                  </a:cubicBezTo>
                  <a:cubicBezTo>
                    <a:pt x="168" y="14"/>
                    <a:pt x="167" y="19"/>
                    <a:pt x="166" y="22"/>
                  </a:cubicBezTo>
                  <a:cubicBezTo>
                    <a:pt x="165" y="25"/>
                    <a:pt x="164" y="28"/>
                    <a:pt x="165" y="30"/>
                  </a:cubicBezTo>
                  <a:cubicBezTo>
                    <a:pt x="166" y="31"/>
                    <a:pt x="168" y="31"/>
                    <a:pt x="172" y="30"/>
                  </a:cubicBezTo>
                  <a:cubicBezTo>
                    <a:pt x="173" y="30"/>
                    <a:pt x="175" y="29"/>
                    <a:pt x="176" y="29"/>
                  </a:cubicBezTo>
                  <a:cubicBezTo>
                    <a:pt x="177" y="28"/>
                    <a:pt x="178" y="28"/>
                    <a:pt x="179" y="28"/>
                  </a:cubicBezTo>
                  <a:cubicBezTo>
                    <a:pt x="180" y="27"/>
                    <a:pt x="180" y="27"/>
                    <a:pt x="180" y="27"/>
                  </a:cubicBezTo>
                  <a:cubicBezTo>
                    <a:pt x="185" y="22"/>
                    <a:pt x="191" y="17"/>
                    <a:pt x="194" y="17"/>
                  </a:cubicBezTo>
                  <a:cubicBezTo>
                    <a:pt x="195" y="17"/>
                    <a:pt x="195" y="17"/>
                    <a:pt x="195" y="17"/>
                  </a:cubicBezTo>
                  <a:cubicBezTo>
                    <a:pt x="197" y="18"/>
                    <a:pt x="198" y="19"/>
                    <a:pt x="198" y="20"/>
                  </a:cubicBezTo>
                  <a:cubicBezTo>
                    <a:pt x="199" y="21"/>
                    <a:pt x="199" y="21"/>
                    <a:pt x="201" y="21"/>
                  </a:cubicBezTo>
                  <a:cubicBezTo>
                    <a:pt x="201" y="21"/>
                    <a:pt x="201" y="21"/>
                    <a:pt x="202" y="21"/>
                  </a:cubicBezTo>
                  <a:cubicBezTo>
                    <a:pt x="204" y="21"/>
                    <a:pt x="206" y="22"/>
                    <a:pt x="209" y="23"/>
                  </a:cubicBezTo>
                  <a:cubicBezTo>
                    <a:pt x="209" y="23"/>
                    <a:pt x="209" y="23"/>
                    <a:pt x="209" y="23"/>
                  </a:cubicBezTo>
                  <a:cubicBezTo>
                    <a:pt x="209" y="23"/>
                    <a:pt x="209" y="23"/>
                    <a:pt x="209" y="23"/>
                  </a:cubicBezTo>
                  <a:cubicBezTo>
                    <a:pt x="205" y="27"/>
                    <a:pt x="200" y="29"/>
                    <a:pt x="197" y="29"/>
                  </a:cubicBezTo>
                  <a:cubicBezTo>
                    <a:pt x="197" y="29"/>
                    <a:pt x="197" y="29"/>
                    <a:pt x="197" y="29"/>
                  </a:cubicBezTo>
                  <a:cubicBezTo>
                    <a:pt x="195" y="29"/>
                    <a:pt x="194" y="28"/>
                    <a:pt x="193" y="28"/>
                  </a:cubicBezTo>
                  <a:cubicBezTo>
                    <a:pt x="193" y="28"/>
                    <a:pt x="192" y="28"/>
                    <a:pt x="191" y="28"/>
                  </a:cubicBezTo>
                  <a:cubicBezTo>
                    <a:pt x="186" y="28"/>
                    <a:pt x="179" y="31"/>
                    <a:pt x="174" y="34"/>
                  </a:cubicBezTo>
                  <a:cubicBezTo>
                    <a:pt x="172" y="35"/>
                    <a:pt x="170" y="36"/>
                    <a:pt x="167" y="37"/>
                  </a:cubicBezTo>
                  <a:cubicBezTo>
                    <a:pt x="166" y="37"/>
                    <a:pt x="165" y="37"/>
                    <a:pt x="164" y="37"/>
                  </a:cubicBezTo>
                  <a:cubicBezTo>
                    <a:pt x="163" y="38"/>
                    <a:pt x="162" y="38"/>
                    <a:pt x="161" y="40"/>
                  </a:cubicBezTo>
                  <a:cubicBezTo>
                    <a:pt x="161" y="41"/>
                    <a:pt x="161" y="43"/>
                    <a:pt x="162" y="44"/>
                  </a:cubicBezTo>
                  <a:cubicBezTo>
                    <a:pt x="165" y="46"/>
                    <a:pt x="165" y="48"/>
                    <a:pt x="165" y="51"/>
                  </a:cubicBezTo>
                  <a:cubicBezTo>
                    <a:pt x="165" y="51"/>
                    <a:pt x="165" y="52"/>
                    <a:pt x="165" y="53"/>
                  </a:cubicBezTo>
                  <a:cubicBezTo>
                    <a:pt x="165" y="55"/>
                    <a:pt x="163" y="58"/>
                    <a:pt x="161" y="60"/>
                  </a:cubicBezTo>
                  <a:cubicBezTo>
                    <a:pt x="160" y="61"/>
                    <a:pt x="159" y="62"/>
                    <a:pt x="158" y="63"/>
                  </a:cubicBezTo>
                  <a:cubicBezTo>
                    <a:pt x="157" y="65"/>
                    <a:pt x="157" y="67"/>
                    <a:pt x="157" y="69"/>
                  </a:cubicBezTo>
                  <a:cubicBezTo>
                    <a:pt x="158" y="71"/>
                    <a:pt x="158" y="73"/>
                    <a:pt x="157" y="75"/>
                  </a:cubicBezTo>
                  <a:cubicBezTo>
                    <a:pt x="156" y="76"/>
                    <a:pt x="155" y="77"/>
                    <a:pt x="153" y="77"/>
                  </a:cubicBezTo>
                  <a:cubicBezTo>
                    <a:pt x="151" y="77"/>
                    <a:pt x="149" y="76"/>
                    <a:pt x="146" y="75"/>
                  </a:cubicBezTo>
                  <a:cubicBezTo>
                    <a:pt x="144" y="75"/>
                    <a:pt x="142" y="75"/>
                    <a:pt x="141" y="75"/>
                  </a:cubicBezTo>
                  <a:cubicBezTo>
                    <a:pt x="141" y="75"/>
                    <a:pt x="141" y="75"/>
                    <a:pt x="140" y="75"/>
                  </a:cubicBezTo>
                  <a:cubicBezTo>
                    <a:pt x="140" y="75"/>
                    <a:pt x="141" y="78"/>
                    <a:pt x="143" y="79"/>
                  </a:cubicBezTo>
                  <a:cubicBezTo>
                    <a:pt x="144" y="81"/>
                    <a:pt x="145" y="83"/>
                    <a:pt x="145" y="84"/>
                  </a:cubicBezTo>
                  <a:cubicBezTo>
                    <a:pt x="145" y="85"/>
                    <a:pt x="145" y="85"/>
                    <a:pt x="145" y="86"/>
                  </a:cubicBezTo>
                  <a:cubicBezTo>
                    <a:pt x="143" y="88"/>
                    <a:pt x="139" y="90"/>
                    <a:pt x="135" y="90"/>
                  </a:cubicBezTo>
                  <a:cubicBezTo>
                    <a:pt x="131" y="91"/>
                    <a:pt x="131" y="94"/>
                    <a:pt x="131" y="101"/>
                  </a:cubicBezTo>
                  <a:cubicBezTo>
                    <a:pt x="131" y="103"/>
                    <a:pt x="131" y="104"/>
                    <a:pt x="131" y="105"/>
                  </a:cubicBezTo>
                  <a:cubicBezTo>
                    <a:pt x="130" y="111"/>
                    <a:pt x="128" y="114"/>
                    <a:pt x="126" y="114"/>
                  </a:cubicBezTo>
                  <a:cubicBezTo>
                    <a:pt x="124" y="114"/>
                    <a:pt x="123" y="113"/>
                    <a:pt x="123" y="112"/>
                  </a:cubicBezTo>
                  <a:cubicBezTo>
                    <a:pt x="123" y="111"/>
                    <a:pt x="121" y="111"/>
                    <a:pt x="121" y="111"/>
                  </a:cubicBezTo>
                  <a:cubicBezTo>
                    <a:pt x="116" y="111"/>
                    <a:pt x="108" y="115"/>
                    <a:pt x="108" y="117"/>
                  </a:cubicBezTo>
                  <a:cubicBezTo>
                    <a:pt x="108" y="120"/>
                    <a:pt x="106" y="120"/>
                    <a:pt x="103" y="120"/>
                  </a:cubicBezTo>
                  <a:cubicBezTo>
                    <a:pt x="102" y="120"/>
                    <a:pt x="101" y="120"/>
                    <a:pt x="99" y="120"/>
                  </a:cubicBezTo>
                  <a:cubicBezTo>
                    <a:pt x="98" y="120"/>
                    <a:pt x="98" y="120"/>
                    <a:pt x="98" y="120"/>
                  </a:cubicBezTo>
                  <a:cubicBezTo>
                    <a:pt x="93" y="120"/>
                    <a:pt x="87" y="125"/>
                    <a:pt x="87" y="127"/>
                  </a:cubicBezTo>
                  <a:cubicBezTo>
                    <a:pt x="87" y="127"/>
                    <a:pt x="87" y="130"/>
                    <a:pt x="88" y="133"/>
                  </a:cubicBezTo>
                  <a:cubicBezTo>
                    <a:pt x="88" y="137"/>
                    <a:pt x="89" y="140"/>
                    <a:pt x="88" y="141"/>
                  </a:cubicBezTo>
                  <a:cubicBezTo>
                    <a:pt x="87" y="143"/>
                    <a:pt x="47" y="149"/>
                    <a:pt x="33" y="149"/>
                  </a:cubicBezTo>
                  <a:close/>
                  <a:moveTo>
                    <a:pt x="7" y="145"/>
                  </a:moveTo>
                  <a:cubicBezTo>
                    <a:pt x="14" y="146"/>
                    <a:pt x="22" y="147"/>
                    <a:pt x="29" y="148"/>
                  </a:cubicBezTo>
                  <a:cubicBezTo>
                    <a:pt x="30" y="148"/>
                    <a:pt x="32" y="148"/>
                    <a:pt x="33" y="148"/>
                  </a:cubicBezTo>
                  <a:cubicBezTo>
                    <a:pt x="49" y="148"/>
                    <a:pt x="86" y="142"/>
                    <a:pt x="87" y="141"/>
                  </a:cubicBezTo>
                  <a:cubicBezTo>
                    <a:pt x="88" y="140"/>
                    <a:pt x="87" y="136"/>
                    <a:pt x="87" y="133"/>
                  </a:cubicBezTo>
                  <a:cubicBezTo>
                    <a:pt x="86" y="130"/>
                    <a:pt x="86" y="127"/>
                    <a:pt x="86" y="126"/>
                  </a:cubicBezTo>
                  <a:cubicBezTo>
                    <a:pt x="86" y="124"/>
                    <a:pt x="93" y="119"/>
                    <a:pt x="98" y="119"/>
                  </a:cubicBezTo>
                  <a:cubicBezTo>
                    <a:pt x="99" y="119"/>
                    <a:pt x="99" y="119"/>
                    <a:pt x="99" y="119"/>
                  </a:cubicBezTo>
                  <a:cubicBezTo>
                    <a:pt x="101" y="119"/>
                    <a:pt x="102" y="119"/>
                    <a:pt x="103" y="119"/>
                  </a:cubicBezTo>
                  <a:cubicBezTo>
                    <a:pt x="106" y="119"/>
                    <a:pt x="107" y="119"/>
                    <a:pt x="107" y="117"/>
                  </a:cubicBezTo>
                  <a:cubicBezTo>
                    <a:pt x="107" y="114"/>
                    <a:pt x="116" y="110"/>
                    <a:pt x="121" y="110"/>
                  </a:cubicBezTo>
                  <a:cubicBezTo>
                    <a:pt x="123" y="110"/>
                    <a:pt x="124" y="111"/>
                    <a:pt x="124" y="112"/>
                  </a:cubicBezTo>
                  <a:cubicBezTo>
                    <a:pt x="124" y="113"/>
                    <a:pt x="125" y="113"/>
                    <a:pt x="126" y="113"/>
                  </a:cubicBezTo>
                  <a:cubicBezTo>
                    <a:pt x="127" y="113"/>
                    <a:pt x="129" y="111"/>
                    <a:pt x="130" y="105"/>
                  </a:cubicBezTo>
                  <a:cubicBezTo>
                    <a:pt x="130" y="104"/>
                    <a:pt x="130" y="103"/>
                    <a:pt x="130" y="101"/>
                  </a:cubicBezTo>
                  <a:cubicBezTo>
                    <a:pt x="130" y="95"/>
                    <a:pt x="130" y="90"/>
                    <a:pt x="135" y="89"/>
                  </a:cubicBezTo>
                  <a:cubicBezTo>
                    <a:pt x="139" y="89"/>
                    <a:pt x="142" y="87"/>
                    <a:pt x="144" y="86"/>
                  </a:cubicBezTo>
                  <a:cubicBezTo>
                    <a:pt x="144" y="85"/>
                    <a:pt x="144" y="84"/>
                    <a:pt x="144" y="84"/>
                  </a:cubicBezTo>
                  <a:cubicBezTo>
                    <a:pt x="144" y="83"/>
                    <a:pt x="143" y="82"/>
                    <a:pt x="142" y="80"/>
                  </a:cubicBezTo>
                  <a:cubicBezTo>
                    <a:pt x="140" y="78"/>
                    <a:pt x="138" y="75"/>
                    <a:pt x="140" y="74"/>
                  </a:cubicBezTo>
                  <a:cubicBezTo>
                    <a:pt x="141" y="74"/>
                    <a:pt x="141" y="74"/>
                    <a:pt x="141" y="74"/>
                  </a:cubicBezTo>
                  <a:cubicBezTo>
                    <a:pt x="143" y="74"/>
                    <a:pt x="144" y="74"/>
                    <a:pt x="147" y="75"/>
                  </a:cubicBezTo>
                  <a:cubicBezTo>
                    <a:pt x="149" y="75"/>
                    <a:pt x="151" y="76"/>
                    <a:pt x="153" y="76"/>
                  </a:cubicBezTo>
                  <a:cubicBezTo>
                    <a:pt x="155" y="76"/>
                    <a:pt x="156" y="75"/>
                    <a:pt x="156" y="75"/>
                  </a:cubicBezTo>
                  <a:cubicBezTo>
                    <a:pt x="157" y="73"/>
                    <a:pt x="157" y="71"/>
                    <a:pt x="156" y="69"/>
                  </a:cubicBezTo>
                  <a:cubicBezTo>
                    <a:pt x="156" y="67"/>
                    <a:pt x="156" y="65"/>
                    <a:pt x="157" y="63"/>
                  </a:cubicBezTo>
                  <a:cubicBezTo>
                    <a:pt x="158" y="62"/>
                    <a:pt x="159" y="60"/>
                    <a:pt x="160" y="59"/>
                  </a:cubicBezTo>
                  <a:cubicBezTo>
                    <a:pt x="162" y="57"/>
                    <a:pt x="164" y="55"/>
                    <a:pt x="164" y="53"/>
                  </a:cubicBezTo>
                  <a:cubicBezTo>
                    <a:pt x="164" y="52"/>
                    <a:pt x="164" y="51"/>
                    <a:pt x="164" y="51"/>
                  </a:cubicBezTo>
                  <a:cubicBezTo>
                    <a:pt x="164" y="48"/>
                    <a:pt x="164" y="47"/>
                    <a:pt x="162" y="45"/>
                  </a:cubicBezTo>
                  <a:cubicBezTo>
                    <a:pt x="160" y="43"/>
                    <a:pt x="160" y="41"/>
                    <a:pt x="160" y="39"/>
                  </a:cubicBezTo>
                  <a:cubicBezTo>
                    <a:pt x="161" y="38"/>
                    <a:pt x="162" y="37"/>
                    <a:pt x="164" y="36"/>
                  </a:cubicBezTo>
                  <a:cubicBezTo>
                    <a:pt x="165" y="36"/>
                    <a:pt x="165" y="36"/>
                    <a:pt x="166" y="36"/>
                  </a:cubicBezTo>
                  <a:cubicBezTo>
                    <a:pt x="166" y="36"/>
                    <a:pt x="166" y="36"/>
                    <a:pt x="166" y="36"/>
                  </a:cubicBezTo>
                  <a:cubicBezTo>
                    <a:pt x="169" y="35"/>
                    <a:pt x="172" y="34"/>
                    <a:pt x="174" y="33"/>
                  </a:cubicBezTo>
                  <a:cubicBezTo>
                    <a:pt x="178" y="30"/>
                    <a:pt x="186" y="27"/>
                    <a:pt x="191" y="27"/>
                  </a:cubicBezTo>
                  <a:cubicBezTo>
                    <a:pt x="192" y="27"/>
                    <a:pt x="193" y="27"/>
                    <a:pt x="194" y="27"/>
                  </a:cubicBezTo>
                  <a:cubicBezTo>
                    <a:pt x="194" y="27"/>
                    <a:pt x="195" y="28"/>
                    <a:pt x="197" y="28"/>
                  </a:cubicBezTo>
                  <a:cubicBezTo>
                    <a:pt x="200" y="28"/>
                    <a:pt x="204" y="26"/>
                    <a:pt x="207" y="23"/>
                  </a:cubicBezTo>
                  <a:cubicBezTo>
                    <a:pt x="205" y="22"/>
                    <a:pt x="203" y="22"/>
                    <a:pt x="201" y="22"/>
                  </a:cubicBezTo>
                  <a:cubicBezTo>
                    <a:pt x="199" y="22"/>
                    <a:pt x="198" y="21"/>
                    <a:pt x="197" y="20"/>
                  </a:cubicBezTo>
                  <a:cubicBezTo>
                    <a:pt x="197" y="20"/>
                    <a:pt x="196" y="19"/>
                    <a:pt x="195" y="18"/>
                  </a:cubicBezTo>
                  <a:cubicBezTo>
                    <a:pt x="195" y="18"/>
                    <a:pt x="195" y="18"/>
                    <a:pt x="194" y="18"/>
                  </a:cubicBezTo>
                  <a:cubicBezTo>
                    <a:pt x="192" y="18"/>
                    <a:pt x="185" y="23"/>
                    <a:pt x="181" y="28"/>
                  </a:cubicBezTo>
                  <a:cubicBezTo>
                    <a:pt x="179" y="28"/>
                    <a:pt x="179" y="28"/>
                    <a:pt x="179" y="28"/>
                  </a:cubicBezTo>
                  <a:cubicBezTo>
                    <a:pt x="178" y="29"/>
                    <a:pt x="177" y="29"/>
                    <a:pt x="176" y="29"/>
                  </a:cubicBezTo>
                  <a:cubicBezTo>
                    <a:pt x="175" y="30"/>
                    <a:pt x="173" y="31"/>
                    <a:pt x="172" y="31"/>
                  </a:cubicBezTo>
                  <a:cubicBezTo>
                    <a:pt x="170" y="32"/>
                    <a:pt x="169" y="32"/>
                    <a:pt x="167" y="32"/>
                  </a:cubicBezTo>
                  <a:cubicBezTo>
                    <a:pt x="166" y="32"/>
                    <a:pt x="165" y="31"/>
                    <a:pt x="164" y="31"/>
                  </a:cubicBezTo>
                  <a:cubicBezTo>
                    <a:pt x="163" y="29"/>
                    <a:pt x="164" y="25"/>
                    <a:pt x="165" y="22"/>
                  </a:cubicBezTo>
                  <a:cubicBezTo>
                    <a:pt x="166" y="18"/>
                    <a:pt x="167" y="15"/>
                    <a:pt x="164" y="13"/>
                  </a:cubicBezTo>
                  <a:cubicBezTo>
                    <a:pt x="160" y="12"/>
                    <a:pt x="160" y="8"/>
                    <a:pt x="160" y="6"/>
                  </a:cubicBezTo>
                  <a:cubicBezTo>
                    <a:pt x="160" y="3"/>
                    <a:pt x="160" y="2"/>
                    <a:pt x="158" y="1"/>
                  </a:cubicBezTo>
                  <a:cubicBezTo>
                    <a:pt x="153" y="1"/>
                    <a:pt x="146" y="10"/>
                    <a:pt x="146" y="14"/>
                  </a:cubicBezTo>
                  <a:cubicBezTo>
                    <a:pt x="146" y="16"/>
                    <a:pt x="142" y="17"/>
                    <a:pt x="138" y="18"/>
                  </a:cubicBezTo>
                  <a:cubicBezTo>
                    <a:pt x="135" y="18"/>
                    <a:pt x="132" y="19"/>
                    <a:pt x="132" y="20"/>
                  </a:cubicBezTo>
                  <a:cubicBezTo>
                    <a:pt x="132" y="23"/>
                    <a:pt x="129" y="23"/>
                    <a:pt x="127" y="23"/>
                  </a:cubicBezTo>
                  <a:cubicBezTo>
                    <a:pt x="126" y="23"/>
                    <a:pt x="126" y="23"/>
                    <a:pt x="125" y="23"/>
                  </a:cubicBezTo>
                  <a:cubicBezTo>
                    <a:pt x="124" y="23"/>
                    <a:pt x="124" y="23"/>
                    <a:pt x="123" y="23"/>
                  </a:cubicBezTo>
                  <a:cubicBezTo>
                    <a:pt x="121" y="23"/>
                    <a:pt x="118" y="23"/>
                    <a:pt x="117" y="25"/>
                  </a:cubicBezTo>
                  <a:cubicBezTo>
                    <a:pt x="116" y="26"/>
                    <a:pt x="115" y="26"/>
                    <a:pt x="114" y="26"/>
                  </a:cubicBezTo>
                  <a:cubicBezTo>
                    <a:pt x="113" y="26"/>
                    <a:pt x="111" y="25"/>
                    <a:pt x="109" y="24"/>
                  </a:cubicBezTo>
                  <a:cubicBezTo>
                    <a:pt x="107" y="23"/>
                    <a:pt x="105" y="22"/>
                    <a:pt x="104" y="22"/>
                  </a:cubicBezTo>
                  <a:cubicBezTo>
                    <a:pt x="102" y="22"/>
                    <a:pt x="100" y="20"/>
                    <a:pt x="99" y="19"/>
                  </a:cubicBezTo>
                  <a:cubicBezTo>
                    <a:pt x="97" y="18"/>
                    <a:pt x="96" y="17"/>
                    <a:pt x="94" y="17"/>
                  </a:cubicBezTo>
                  <a:cubicBezTo>
                    <a:pt x="93" y="17"/>
                    <a:pt x="92" y="17"/>
                    <a:pt x="92" y="18"/>
                  </a:cubicBezTo>
                  <a:cubicBezTo>
                    <a:pt x="91" y="18"/>
                    <a:pt x="90" y="18"/>
                    <a:pt x="89" y="18"/>
                  </a:cubicBezTo>
                  <a:cubicBezTo>
                    <a:pt x="87" y="18"/>
                    <a:pt x="85" y="17"/>
                    <a:pt x="83" y="17"/>
                  </a:cubicBezTo>
                  <a:cubicBezTo>
                    <a:pt x="82" y="16"/>
                    <a:pt x="81" y="15"/>
                    <a:pt x="80" y="15"/>
                  </a:cubicBezTo>
                  <a:cubicBezTo>
                    <a:pt x="78" y="15"/>
                    <a:pt x="77" y="17"/>
                    <a:pt x="75" y="18"/>
                  </a:cubicBezTo>
                  <a:cubicBezTo>
                    <a:pt x="73" y="20"/>
                    <a:pt x="72" y="22"/>
                    <a:pt x="69" y="22"/>
                  </a:cubicBezTo>
                  <a:cubicBezTo>
                    <a:pt x="68" y="22"/>
                    <a:pt x="68" y="22"/>
                    <a:pt x="68" y="22"/>
                  </a:cubicBezTo>
                  <a:cubicBezTo>
                    <a:pt x="67" y="22"/>
                    <a:pt x="67" y="22"/>
                    <a:pt x="67" y="22"/>
                  </a:cubicBezTo>
                  <a:cubicBezTo>
                    <a:pt x="64" y="22"/>
                    <a:pt x="62" y="29"/>
                    <a:pt x="61" y="34"/>
                  </a:cubicBezTo>
                  <a:cubicBezTo>
                    <a:pt x="60" y="35"/>
                    <a:pt x="60" y="35"/>
                    <a:pt x="60" y="36"/>
                  </a:cubicBezTo>
                  <a:cubicBezTo>
                    <a:pt x="59" y="39"/>
                    <a:pt x="54" y="41"/>
                    <a:pt x="49" y="42"/>
                  </a:cubicBezTo>
                  <a:cubicBezTo>
                    <a:pt x="44" y="44"/>
                    <a:pt x="39" y="45"/>
                    <a:pt x="39" y="48"/>
                  </a:cubicBezTo>
                  <a:cubicBezTo>
                    <a:pt x="40" y="49"/>
                    <a:pt x="39" y="51"/>
                    <a:pt x="38" y="52"/>
                  </a:cubicBezTo>
                  <a:cubicBezTo>
                    <a:pt x="36" y="54"/>
                    <a:pt x="33" y="55"/>
                    <a:pt x="30" y="55"/>
                  </a:cubicBezTo>
                  <a:cubicBezTo>
                    <a:pt x="28" y="55"/>
                    <a:pt x="26" y="54"/>
                    <a:pt x="26" y="53"/>
                  </a:cubicBezTo>
                  <a:cubicBezTo>
                    <a:pt x="25" y="51"/>
                    <a:pt x="22" y="51"/>
                    <a:pt x="19" y="51"/>
                  </a:cubicBezTo>
                  <a:cubicBezTo>
                    <a:pt x="18" y="51"/>
                    <a:pt x="16" y="51"/>
                    <a:pt x="16" y="50"/>
                  </a:cubicBezTo>
                  <a:cubicBezTo>
                    <a:pt x="15" y="50"/>
                    <a:pt x="15" y="50"/>
                    <a:pt x="15" y="50"/>
                  </a:cubicBezTo>
                  <a:cubicBezTo>
                    <a:pt x="14" y="50"/>
                    <a:pt x="13" y="50"/>
                    <a:pt x="12" y="52"/>
                  </a:cubicBezTo>
                  <a:cubicBezTo>
                    <a:pt x="11" y="53"/>
                    <a:pt x="10" y="54"/>
                    <a:pt x="10" y="57"/>
                  </a:cubicBezTo>
                  <a:cubicBezTo>
                    <a:pt x="10" y="61"/>
                    <a:pt x="8" y="64"/>
                    <a:pt x="6" y="66"/>
                  </a:cubicBezTo>
                  <a:cubicBezTo>
                    <a:pt x="5" y="67"/>
                    <a:pt x="5" y="68"/>
                    <a:pt x="4" y="68"/>
                  </a:cubicBezTo>
                  <a:cubicBezTo>
                    <a:pt x="4" y="69"/>
                    <a:pt x="4" y="70"/>
                    <a:pt x="4" y="70"/>
                  </a:cubicBezTo>
                  <a:cubicBezTo>
                    <a:pt x="3" y="73"/>
                    <a:pt x="1" y="78"/>
                    <a:pt x="3" y="81"/>
                  </a:cubicBezTo>
                  <a:cubicBezTo>
                    <a:pt x="4" y="82"/>
                    <a:pt x="3" y="84"/>
                    <a:pt x="3" y="87"/>
                  </a:cubicBezTo>
                  <a:cubicBezTo>
                    <a:pt x="2" y="90"/>
                    <a:pt x="1" y="93"/>
                    <a:pt x="3" y="96"/>
                  </a:cubicBezTo>
                  <a:cubicBezTo>
                    <a:pt x="4" y="100"/>
                    <a:pt x="4" y="105"/>
                    <a:pt x="4" y="108"/>
                  </a:cubicBezTo>
                  <a:cubicBezTo>
                    <a:pt x="4" y="110"/>
                    <a:pt x="4" y="112"/>
                    <a:pt x="5" y="113"/>
                  </a:cubicBezTo>
                  <a:cubicBezTo>
                    <a:pt x="5" y="113"/>
                    <a:pt x="7" y="114"/>
                    <a:pt x="9" y="114"/>
                  </a:cubicBezTo>
                  <a:cubicBezTo>
                    <a:pt x="13" y="115"/>
                    <a:pt x="18" y="116"/>
                    <a:pt x="19" y="120"/>
                  </a:cubicBezTo>
                  <a:cubicBezTo>
                    <a:pt x="21" y="125"/>
                    <a:pt x="15" y="130"/>
                    <a:pt x="10" y="135"/>
                  </a:cubicBezTo>
                  <a:cubicBezTo>
                    <a:pt x="7" y="138"/>
                    <a:pt x="5" y="140"/>
                    <a:pt x="4" y="141"/>
                  </a:cubicBezTo>
                  <a:cubicBezTo>
                    <a:pt x="4" y="142"/>
                    <a:pt x="6" y="144"/>
                    <a:pt x="7" y="14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5" name="Freeform 172"/>
            <p:cNvSpPr>
              <a:spLocks noEditPoints="1"/>
            </p:cNvSpPr>
            <p:nvPr/>
          </p:nvSpPr>
          <p:spPr>
            <a:xfrm>
              <a:off x="6281739" y="2844800"/>
              <a:ext cx="411163" cy="369888"/>
            </a:xfrm>
            <a:custGeom>
              <a:gdLst>
                <a:gd name="T0" fmla="*/ 93 w 242"/>
                <a:gd name="T1" fmla="*/ 211 h 218"/>
                <a:gd name="T2" fmla="*/ 78 w 242"/>
                <a:gd name="T3" fmla="*/ 188 h 218"/>
                <a:gd name="T4" fmla="*/ 38 w 242"/>
                <a:gd name="T5" fmla="*/ 191 h 218"/>
                <a:gd name="T6" fmla="*/ 10 w 242"/>
                <a:gd name="T7" fmla="*/ 189 h 218"/>
                <a:gd name="T8" fmla="*/ 27 w 242"/>
                <a:gd name="T9" fmla="*/ 154 h 218"/>
                <a:gd name="T10" fmla="*/ 0 w 242"/>
                <a:gd name="T11" fmla="*/ 122 h 218"/>
                <a:gd name="T12" fmla="*/ 81 w 242"/>
                <a:gd name="T13" fmla="*/ 110 h 218"/>
                <a:gd name="T14" fmla="*/ 101 w 242"/>
                <a:gd name="T15" fmla="*/ 94 h 218"/>
                <a:gd name="T16" fmla="*/ 124 w 242"/>
                <a:gd name="T17" fmla="*/ 78 h 218"/>
                <a:gd name="T18" fmla="*/ 134 w 242"/>
                <a:gd name="T19" fmla="*/ 51 h 218"/>
                <a:gd name="T20" fmla="*/ 150 w 242"/>
                <a:gd name="T21" fmla="*/ 46 h 218"/>
                <a:gd name="T22" fmla="*/ 156 w 242"/>
                <a:gd name="T23" fmla="*/ 22 h 218"/>
                <a:gd name="T24" fmla="*/ 168 w 242"/>
                <a:gd name="T25" fmla="*/ 10 h 218"/>
                <a:gd name="T26" fmla="*/ 202 w 242"/>
                <a:gd name="T27" fmla="*/ 0 h 218"/>
                <a:gd name="T28" fmla="*/ 210 w 242"/>
                <a:gd name="T29" fmla="*/ 1 h 218"/>
                <a:gd name="T30" fmla="*/ 242 w 242"/>
                <a:gd name="T31" fmla="*/ 29 h 218"/>
                <a:gd name="T32" fmla="*/ 219 w 242"/>
                <a:gd name="T33" fmla="*/ 45 h 218"/>
                <a:gd name="T34" fmla="*/ 193 w 242"/>
                <a:gd name="T35" fmla="*/ 47 h 218"/>
                <a:gd name="T36" fmla="*/ 212 w 242"/>
                <a:gd name="T37" fmla="*/ 79 h 218"/>
                <a:gd name="T38" fmla="*/ 194 w 242"/>
                <a:gd name="T39" fmla="*/ 111 h 218"/>
                <a:gd name="T40" fmla="*/ 175 w 242"/>
                <a:gd name="T41" fmla="*/ 136 h 218"/>
                <a:gd name="T42" fmla="*/ 152 w 242"/>
                <a:gd name="T43" fmla="*/ 151 h 218"/>
                <a:gd name="T44" fmla="*/ 138 w 242"/>
                <a:gd name="T45" fmla="*/ 152 h 218"/>
                <a:gd name="T46" fmla="*/ 143 w 242"/>
                <a:gd name="T47" fmla="*/ 190 h 218"/>
                <a:gd name="T48" fmla="*/ 132 w 242"/>
                <a:gd name="T49" fmla="*/ 207 h 218"/>
                <a:gd name="T50" fmla="*/ 110 w 242"/>
                <a:gd name="T51" fmla="*/ 217 h 218"/>
                <a:gd name="T52" fmla="*/ 89 w 242"/>
                <a:gd name="T53" fmla="*/ 198 h 218"/>
                <a:gd name="T54" fmla="*/ 107 w 242"/>
                <a:gd name="T55" fmla="*/ 215 h 218"/>
                <a:gd name="T56" fmla="*/ 120 w 242"/>
                <a:gd name="T57" fmla="*/ 206 h 218"/>
                <a:gd name="T58" fmla="*/ 137 w 242"/>
                <a:gd name="T59" fmla="*/ 206 h 218"/>
                <a:gd name="T60" fmla="*/ 131 w 242"/>
                <a:gd name="T61" fmla="*/ 170 h 218"/>
                <a:gd name="T62" fmla="*/ 143 w 242"/>
                <a:gd name="T63" fmla="*/ 152 h 218"/>
                <a:gd name="T64" fmla="*/ 159 w 242"/>
                <a:gd name="T65" fmla="*/ 151 h 218"/>
                <a:gd name="T66" fmla="*/ 182 w 242"/>
                <a:gd name="T67" fmla="*/ 123 h 218"/>
                <a:gd name="T68" fmla="*/ 202 w 242"/>
                <a:gd name="T69" fmla="*/ 96 h 218"/>
                <a:gd name="T70" fmla="*/ 204 w 242"/>
                <a:gd name="T71" fmla="*/ 76 h 218"/>
                <a:gd name="T72" fmla="*/ 192 w 242"/>
                <a:gd name="T73" fmla="*/ 48 h 218"/>
                <a:gd name="T74" fmla="*/ 219 w 242"/>
                <a:gd name="T75" fmla="*/ 44 h 218"/>
                <a:gd name="T76" fmla="*/ 230 w 242"/>
                <a:gd name="T77" fmla="*/ 23 h 218"/>
                <a:gd name="T78" fmla="*/ 205 w 242"/>
                <a:gd name="T79" fmla="*/ 2 h 218"/>
                <a:gd name="T80" fmla="*/ 185 w 242"/>
                <a:gd name="T81" fmla="*/ 5 h 218"/>
                <a:gd name="T82" fmla="*/ 156 w 242"/>
                <a:gd name="T83" fmla="*/ 21 h 218"/>
                <a:gd name="T84" fmla="*/ 151 w 242"/>
                <a:gd name="T85" fmla="*/ 46 h 218"/>
                <a:gd name="T86" fmla="*/ 134 w 242"/>
                <a:gd name="T87" fmla="*/ 52 h 218"/>
                <a:gd name="T88" fmla="*/ 125 w 242"/>
                <a:gd name="T89" fmla="*/ 78 h 218"/>
                <a:gd name="T90" fmla="*/ 102 w 242"/>
                <a:gd name="T91" fmla="*/ 94 h 218"/>
                <a:gd name="T92" fmla="*/ 82 w 242"/>
                <a:gd name="T93" fmla="*/ 110 h 218"/>
                <a:gd name="T94" fmla="*/ 3 w 242"/>
                <a:gd name="T95" fmla="*/ 124 h 218"/>
                <a:gd name="T96" fmla="*/ 35 w 242"/>
                <a:gd name="T97" fmla="*/ 168 h 218"/>
                <a:gd name="T98" fmla="*/ 16 w 242"/>
                <a:gd name="T99" fmla="*/ 193 h 218"/>
                <a:gd name="T100" fmla="*/ 72 w 242"/>
                <a:gd name="T101" fmla="*/ 189 h 2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 h="218">
                  <a:moveTo>
                    <a:pt x="109" y="218"/>
                  </a:moveTo>
                  <a:cubicBezTo>
                    <a:pt x="109" y="218"/>
                    <a:pt x="109" y="218"/>
                    <a:pt x="109" y="218"/>
                  </a:cubicBezTo>
                  <a:cubicBezTo>
                    <a:pt x="108" y="217"/>
                    <a:pt x="107" y="217"/>
                    <a:pt x="106" y="216"/>
                  </a:cubicBezTo>
                  <a:cubicBezTo>
                    <a:pt x="104" y="215"/>
                    <a:pt x="102" y="215"/>
                    <a:pt x="100" y="214"/>
                  </a:cubicBezTo>
                  <a:cubicBezTo>
                    <a:pt x="97" y="214"/>
                    <a:pt x="95" y="213"/>
                    <a:pt x="93" y="211"/>
                  </a:cubicBezTo>
                  <a:cubicBezTo>
                    <a:pt x="92" y="209"/>
                    <a:pt x="92" y="207"/>
                    <a:pt x="92" y="206"/>
                  </a:cubicBezTo>
                  <a:cubicBezTo>
                    <a:pt x="92" y="204"/>
                    <a:pt x="92" y="202"/>
                    <a:pt x="91" y="201"/>
                  </a:cubicBezTo>
                  <a:cubicBezTo>
                    <a:pt x="90" y="200"/>
                    <a:pt x="89" y="199"/>
                    <a:pt x="88" y="199"/>
                  </a:cubicBezTo>
                  <a:cubicBezTo>
                    <a:pt x="86" y="197"/>
                    <a:pt x="84" y="195"/>
                    <a:pt x="84" y="193"/>
                  </a:cubicBezTo>
                  <a:cubicBezTo>
                    <a:pt x="84" y="190"/>
                    <a:pt x="82" y="188"/>
                    <a:pt x="78" y="188"/>
                  </a:cubicBezTo>
                  <a:cubicBezTo>
                    <a:pt x="77" y="188"/>
                    <a:pt x="75" y="188"/>
                    <a:pt x="73" y="189"/>
                  </a:cubicBezTo>
                  <a:cubicBezTo>
                    <a:pt x="70" y="191"/>
                    <a:pt x="66" y="192"/>
                    <a:pt x="61" y="192"/>
                  </a:cubicBezTo>
                  <a:cubicBezTo>
                    <a:pt x="56" y="192"/>
                    <a:pt x="51" y="191"/>
                    <a:pt x="49" y="190"/>
                  </a:cubicBezTo>
                  <a:cubicBezTo>
                    <a:pt x="48" y="189"/>
                    <a:pt x="47" y="189"/>
                    <a:pt x="45" y="189"/>
                  </a:cubicBezTo>
                  <a:cubicBezTo>
                    <a:pt x="43" y="189"/>
                    <a:pt x="40" y="190"/>
                    <a:pt x="38" y="191"/>
                  </a:cubicBezTo>
                  <a:cubicBezTo>
                    <a:pt x="37" y="193"/>
                    <a:pt x="21" y="194"/>
                    <a:pt x="16" y="194"/>
                  </a:cubicBezTo>
                  <a:cubicBezTo>
                    <a:pt x="15" y="194"/>
                    <a:pt x="13" y="193"/>
                    <a:pt x="11" y="193"/>
                  </a:cubicBezTo>
                  <a:cubicBezTo>
                    <a:pt x="10" y="193"/>
                    <a:pt x="10" y="193"/>
                    <a:pt x="10" y="193"/>
                  </a:cubicBezTo>
                  <a:cubicBezTo>
                    <a:pt x="10" y="193"/>
                    <a:pt x="10" y="193"/>
                    <a:pt x="10" y="193"/>
                  </a:cubicBezTo>
                  <a:cubicBezTo>
                    <a:pt x="10" y="192"/>
                    <a:pt x="10" y="190"/>
                    <a:pt x="10" y="189"/>
                  </a:cubicBezTo>
                  <a:cubicBezTo>
                    <a:pt x="9" y="183"/>
                    <a:pt x="14" y="176"/>
                    <a:pt x="19" y="174"/>
                  </a:cubicBezTo>
                  <a:cubicBezTo>
                    <a:pt x="24" y="172"/>
                    <a:pt x="28" y="170"/>
                    <a:pt x="33" y="170"/>
                  </a:cubicBezTo>
                  <a:cubicBezTo>
                    <a:pt x="34" y="170"/>
                    <a:pt x="34" y="169"/>
                    <a:pt x="34" y="168"/>
                  </a:cubicBezTo>
                  <a:cubicBezTo>
                    <a:pt x="35" y="166"/>
                    <a:pt x="32" y="161"/>
                    <a:pt x="29" y="160"/>
                  </a:cubicBezTo>
                  <a:cubicBezTo>
                    <a:pt x="28" y="159"/>
                    <a:pt x="27" y="157"/>
                    <a:pt x="27" y="154"/>
                  </a:cubicBezTo>
                  <a:cubicBezTo>
                    <a:pt x="27" y="150"/>
                    <a:pt x="26" y="145"/>
                    <a:pt x="22" y="144"/>
                  </a:cubicBezTo>
                  <a:cubicBezTo>
                    <a:pt x="15" y="141"/>
                    <a:pt x="9" y="136"/>
                    <a:pt x="7" y="131"/>
                  </a:cubicBezTo>
                  <a:cubicBezTo>
                    <a:pt x="6" y="129"/>
                    <a:pt x="4" y="127"/>
                    <a:pt x="2" y="125"/>
                  </a:cubicBezTo>
                  <a:cubicBezTo>
                    <a:pt x="2" y="124"/>
                    <a:pt x="1" y="124"/>
                    <a:pt x="0" y="123"/>
                  </a:cubicBezTo>
                  <a:cubicBezTo>
                    <a:pt x="0" y="122"/>
                    <a:pt x="0" y="122"/>
                    <a:pt x="0" y="122"/>
                  </a:cubicBezTo>
                  <a:cubicBezTo>
                    <a:pt x="1" y="122"/>
                    <a:pt x="1" y="122"/>
                    <a:pt x="1" y="122"/>
                  </a:cubicBezTo>
                  <a:cubicBezTo>
                    <a:pt x="8" y="123"/>
                    <a:pt x="16" y="124"/>
                    <a:pt x="23" y="125"/>
                  </a:cubicBezTo>
                  <a:cubicBezTo>
                    <a:pt x="24" y="125"/>
                    <a:pt x="26" y="125"/>
                    <a:pt x="27" y="125"/>
                  </a:cubicBezTo>
                  <a:cubicBezTo>
                    <a:pt x="43" y="125"/>
                    <a:pt x="80" y="119"/>
                    <a:pt x="81" y="118"/>
                  </a:cubicBezTo>
                  <a:cubicBezTo>
                    <a:pt x="82" y="117"/>
                    <a:pt x="81" y="113"/>
                    <a:pt x="81" y="110"/>
                  </a:cubicBezTo>
                  <a:cubicBezTo>
                    <a:pt x="80" y="107"/>
                    <a:pt x="80" y="104"/>
                    <a:pt x="80" y="103"/>
                  </a:cubicBezTo>
                  <a:cubicBezTo>
                    <a:pt x="80" y="101"/>
                    <a:pt x="87" y="96"/>
                    <a:pt x="92" y="96"/>
                  </a:cubicBezTo>
                  <a:cubicBezTo>
                    <a:pt x="93" y="96"/>
                    <a:pt x="93" y="96"/>
                    <a:pt x="93" y="96"/>
                  </a:cubicBezTo>
                  <a:cubicBezTo>
                    <a:pt x="95" y="96"/>
                    <a:pt x="96" y="96"/>
                    <a:pt x="97" y="96"/>
                  </a:cubicBezTo>
                  <a:cubicBezTo>
                    <a:pt x="100" y="96"/>
                    <a:pt x="101" y="96"/>
                    <a:pt x="101" y="94"/>
                  </a:cubicBezTo>
                  <a:cubicBezTo>
                    <a:pt x="101" y="91"/>
                    <a:pt x="110" y="87"/>
                    <a:pt x="115" y="87"/>
                  </a:cubicBezTo>
                  <a:cubicBezTo>
                    <a:pt x="117" y="87"/>
                    <a:pt x="118" y="88"/>
                    <a:pt x="118" y="89"/>
                  </a:cubicBezTo>
                  <a:cubicBezTo>
                    <a:pt x="118" y="90"/>
                    <a:pt x="119" y="90"/>
                    <a:pt x="120" y="90"/>
                  </a:cubicBezTo>
                  <a:cubicBezTo>
                    <a:pt x="121" y="90"/>
                    <a:pt x="123" y="88"/>
                    <a:pt x="124" y="82"/>
                  </a:cubicBezTo>
                  <a:cubicBezTo>
                    <a:pt x="124" y="81"/>
                    <a:pt x="124" y="80"/>
                    <a:pt x="124" y="78"/>
                  </a:cubicBezTo>
                  <a:cubicBezTo>
                    <a:pt x="124" y="72"/>
                    <a:pt x="124" y="67"/>
                    <a:pt x="129" y="66"/>
                  </a:cubicBezTo>
                  <a:cubicBezTo>
                    <a:pt x="133" y="66"/>
                    <a:pt x="136" y="64"/>
                    <a:pt x="138" y="63"/>
                  </a:cubicBezTo>
                  <a:cubicBezTo>
                    <a:pt x="138" y="62"/>
                    <a:pt x="138" y="61"/>
                    <a:pt x="138" y="61"/>
                  </a:cubicBezTo>
                  <a:cubicBezTo>
                    <a:pt x="138" y="60"/>
                    <a:pt x="137" y="59"/>
                    <a:pt x="136" y="57"/>
                  </a:cubicBezTo>
                  <a:cubicBezTo>
                    <a:pt x="134" y="55"/>
                    <a:pt x="132" y="52"/>
                    <a:pt x="134" y="51"/>
                  </a:cubicBezTo>
                  <a:cubicBezTo>
                    <a:pt x="135" y="51"/>
                    <a:pt x="135" y="51"/>
                    <a:pt x="135" y="51"/>
                  </a:cubicBezTo>
                  <a:cubicBezTo>
                    <a:pt x="137" y="51"/>
                    <a:pt x="138" y="51"/>
                    <a:pt x="141" y="52"/>
                  </a:cubicBezTo>
                  <a:cubicBezTo>
                    <a:pt x="143" y="52"/>
                    <a:pt x="145" y="53"/>
                    <a:pt x="147" y="53"/>
                  </a:cubicBezTo>
                  <a:cubicBezTo>
                    <a:pt x="149" y="53"/>
                    <a:pt x="150" y="52"/>
                    <a:pt x="150" y="52"/>
                  </a:cubicBezTo>
                  <a:cubicBezTo>
                    <a:pt x="151" y="50"/>
                    <a:pt x="151" y="48"/>
                    <a:pt x="150" y="46"/>
                  </a:cubicBezTo>
                  <a:cubicBezTo>
                    <a:pt x="150" y="44"/>
                    <a:pt x="150" y="42"/>
                    <a:pt x="151" y="40"/>
                  </a:cubicBezTo>
                  <a:cubicBezTo>
                    <a:pt x="152" y="39"/>
                    <a:pt x="153" y="37"/>
                    <a:pt x="154" y="36"/>
                  </a:cubicBezTo>
                  <a:cubicBezTo>
                    <a:pt x="156" y="34"/>
                    <a:pt x="158" y="32"/>
                    <a:pt x="158" y="30"/>
                  </a:cubicBezTo>
                  <a:cubicBezTo>
                    <a:pt x="158" y="29"/>
                    <a:pt x="158" y="28"/>
                    <a:pt x="158" y="28"/>
                  </a:cubicBezTo>
                  <a:cubicBezTo>
                    <a:pt x="158" y="25"/>
                    <a:pt x="158" y="24"/>
                    <a:pt x="156" y="22"/>
                  </a:cubicBezTo>
                  <a:cubicBezTo>
                    <a:pt x="154" y="20"/>
                    <a:pt x="154" y="18"/>
                    <a:pt x="154" y="16"/>
                  </a:cubicBezTo>
                  <a:cubicBezTo>
                    <a:pt x="155" y="15"/>
                    <a:pt x="156" y="14"/>
                    <a:pt x="158" y="13"/>
                  </a:cubicBezTo>
                  <a:cubicBezTo>
                    <a:pt x="159" y="13"/>
                    <a:pt x="159" y="13"/>
                    <a:pt x="160" y="13"/>
                  </a:cubicBezTo>
                  <a:cubicBezTo>
                    <a:pt x="160" y="13"/>
                    <a:pt x="160" y="13"/>
                    <a:pt x="160" y="13"/>
                  </a:cubicBezTo>
                  <a:cubicBezTo>
                    <a:pt x="163" y="12"/>
                    <a:pt x="166" y="11"/>
                    <a:pt x="168" y="10"/>
                  </a:cubicBezTo>
                  <a:cubicBezTo>
                    <a:pt x="172" y="7"/>
                    <a:pt x="180" y="4"/>
                    <a:pt x="185" y="4"/>
                  </a:cubicBezTo>
                  <a:cubicBezTo>
                    <a:pt x="186" y="4"/>
                    <a:pt x="187" y="4"/>
                    <a:pt x="188" y="4"/>
                  </a:cubicBezTo>
                  <a:cubicBezTo>
                    <a:pt x="188" y="4"/>
                    <a:pt x="189" y="5"/>
                    <a:pt x="191" y="5"/>
                  </a:cubicBezTo>
                  <a:cubicBezTo>
                    <a:pt x="194" y="5"/>
                    <a:pt x="199" y="3"/>
                    <a:pt x="202" y="0"/>
                  </a:cubicBezTo>
                  <a:cubicBezTo>
                    <a:pt x="202" y="0"/>
                    <a:pt x="202" y="0"/>
                    <a:pt x="202" y="0"/>
                  </a:cubicBezTo>
                  <a:cubicBezTo>
                    <a:pt x="203" y="0"/>
                    <a:pt x="203" y="0"/>
                    <a:pt x="203" y="0"/>
                  </a:cubicBezTo>
                  <a:cubicBezTo>
                    <a:pt x="204" y="0"/>
                    <a:pt x="204" y="1"/>
                    <a:pt x="205" y="1"/>
                  </a:cubicBezTo>
                  <a:cubicBezTo>
                    <a:pt x="207" y="1"/>
                    <a:pt x="208" y="1"/>
                    <a:pt x="209" y="0"/>
                  </a:cubicBezTo>
                  <a:cubicBezTo>
                    <a:pt x="210" y="0"/>
                    <a:pt x="210" y="0"/>
                    <a:pt x="210" y="0"/>
                  </a:cubicBezTo>
                  <a:cubicBezTo>
                    <a:pt x="210" y="1"/>
                    <a:pt x="210" y="1"/>
                    <a:pt x="210" y="1"/>
                  </a:cubicBezTo>
                  <a:cubicBezTo>
                    <a:pt x="211" y="2"/>
                    <a:pt x="213" y="3"/>
                    <a:pt x="215" y="5"/>
                  </a:cubicBezTo>
                  <a:cubicBezTo>
                    <a:pt x="220" y="8"/>
                    <a:pt x="223" y="10"/>
                    <a:pt x="223" y="12"/>
                  </a:cubicBezTo>
                  <a:cubicBezTo>
                    <a:pt x="223" y="13"/>
                    <a:pt x="224" y="19"/>
                    <a:pt x="230" y="22"/>
                  </a:cubicBezTo>
                  <a:cubicBezTo>
                    <a:pt x="234" y="24"/>
                    <a:pt x="239" y="26"/>
                    <a:pt x="242" y="28"/>
                  </a:cubicBezTo>
                  <a:cubicBezTo>
                    <a:pt x="242" y="29"/>
                    <a:pt x="242" y="29"/>
                    <a:pt x="242" y="29"/>
                  </a:cubicBezTo>
                  <a:cubicBezTo>
                    <a:pt x="242" y="29"/>
                    <a:pt x="242" y="29"/>
                    <a:pt x="242" y="29"/>
                  </a:cubicBezTo>
                  <a:cubicBezTo>
                    <a:pt x="241" y="32"/>
                    <a:pt x="238" y="37"/>
                    <a:pt x="236" y="38"/>
                  </a:cubicBezTo>
                  <a:cubicBezTo>
                    <a:pt x="236" y="39"/>
                    <a:pt x="234" y="39"/>
                    <a:pt x="232" y="40"/>
                  </a:cubicBezTo>
                  <a:cubicBezTo>
                    <a:pt x="229" y="41"/>
                    <a:pt x="225" y="42"/>
                    <a:pt x="222" y="44"/>
                  </a:cubicBezTo>
                  <a:cubicBezTo>
                    <a:pt x="221" y="44"/>
                    <a:pt x="220" y="45"/>
                    <a:pt x="219" y="45"/>
                  </a:cubicBezTo>
                  <a:cubicBezTo>
                    <a:pt x="219" y="45"/>
                    <a:pt x="219" y="45"/>
                    <a:pt x="219" y="45"/>
                  </a:cubicBezTo>
                  <a:cubicBezTo>
                    <a:pt x="217" y="45"/>
                    <a:pt x="213" y="43"/>
                    <a:pt x="210" y="42"/>
                  </a:cubicBezTo>
                  <a:cubicBezTo>
                    <a:pt x="206" y="41"/>
                    <a:pt x="203" y="40"/>
                    <a:pt x="200" y="40"/>
                  </a:cubicBezTo>
                  <a:cubicBezTo>
                    <a:pt x="196" y="40"/>
                    <a:pt x="193" y="43"/>
                    <a:pt x="192" y="45"/>
                  </a:cubicBezTo>
                  <a:cubicBezTo>
                    <a:pt x="192" y="46"/>
                    <a:pt x="192" y="47"/>
                    <a:pt x="193" y="47"/>
                  </a:cubicBezTo>
                  <a:cubicBezTo>
                    <a:pt x="196" y="49"/>
                    <a:pt x="195" y="60"/>
                    <a:pt x="195" y="61"/>
                  </a:cubicBezTo>
                  <a:cubicBezTo>
                    <a:pt x="196" y="65"/>
                    <a:pt x="199" y="75"/>
                    <a:pt x="203" y="75"/>
                  </a:cubicBezTo>
                  <a:cubicBezTo>
                    <a:pt x="203" y="75"/>
                    <a:pt x="203" y="75"/>
                    <a:pt x="203" y="75"/>
                  </a:cubicBezTo>
                  <a:cubicBezTo>
                    <a:pt x="204" y="74"/>
                    <a:pt x="204" y="74"/>
                    <a:pt x="205" y="74"/>
                  </a:cubicBezTo>
                  <a:cubicBezTo>
                    <a:pt x="208" y="74"/>
                    <a:pt x="212" y="77"/>
                    <a:pt x="212" y="79"/>
                  </a:cubicBezTo>
                  <a:cubicBezTo>
                    <a:pt x="212" y="80"/>
                    <a:pt x="212" y="81"/>
                    <a:pt x="210" y="82"/>
                  </a:cubicBezTo>
                  <a:cubicBezTo>
                    <a:pt x="206" y="83"/>
                    <a:pt x="204" y="88"/>
                    <a:pt x="203" y="92"/>
                  </a:cubicBezTo>
                  <a:cubicBezTo>
                    <a:pt x="203" y="94"/>
                    <a:pt x="203" y="95"/>
                    <a:pt x="203" y="96"/>
                  </a:cubicBezTo>
                  <a:cubicBezTo>
                    <a:pt x="203" y="100"/>
                    <a:pt x="203" y="103"/>
                    <a:pt x="200" y="104"/>
                  </a:cubicBezTo>
                  <a:cubicBezTo>
                    <a:pt x="197" y="104"/>
                    <a:pt x="194" y="105"/>
                    <a:pt x="194" y="111"/>
                  </a:cubicBezTo>
                  <a:cubicBezTo>
                    <a:pt x="194" y="116"/>
                    <a:pt x="190" y="116"/>
                    <a:pt x="188" y="117"/>
                  </a:cubicBezTo>
                  <a:cubicBezTo>
                    <a:pt x="186" y="117"/>
                    <a:pt x="185" y="118"/>
                    <a:pt x="185" y="118"/>
                  </a:cubicBezTo>
                  <a:cubicBezTo>
                    <a:pt x="185" y="119"/>
                    <a:pt x="184" y="121"/>
                    <a:pt x="183" y="124"/>
                  </a:cubicBezTo>
                  <a:cubicBezTo>
                    <a:pt x="182" y="129"/>
                    <a:pt x="180" y="133"/>
                    <a:pt x="179" y="134"/>
                  </a:cubicBezTo>
                  <a:cubicBezTo>
                    <a:pt x="178" y="135"/>
                    <a:pt x="177" y="135"/>
                    <a:pt x="175" y="136"/>
                  </a:cubicBezTo>
                  <a:cubicBezTo>
                    <a:pt x="172" y="137"/>
                    <a:pt x="168" y="138"/>
                    <a:pt x="167" y="141"/>
                  </a:cubicBezTo>
                  <a:cubicBezTo>
                    <a:pt x="167" y="146"/>
                    <a:pt x="162" y="153"/>
                    <a:pt x="159" y="153"/>
                  </a:cubicBezTo>
                  <a:cubicBezTo>
                    <a:pt x="159" y="153"/>
                    <a:pt x="159" y="153"/>
                    <a:pt x="159" y="152"/>
                  </a:cubicBezTo>
                  <a:cubicBezTo>
                    <a:pt x="158" y="152"/>
                    <a:pt x="157" y="152"/>
                    <a:pt x="157" y="152"/>
                  </a:cubicBezTo>
                  <a:cubicBezTo>
                    <a:pt x="155" y="152"/>
                    <a:pt x="154" y="151"/>
                    <a:pt x="152" y="151"/>
                  </a:cubicBezTo>
                  <a:cubicBezTo>
                    <a:pt x="151" y="151"/>
                    <a:pt x="150" y="152"/>
                    <a:pt x="149" y="153"/>
                  </a:cubicBezTo>
                  <a:cubicBezTo>
                    <a:pt x="149" y="154"/>
                    <a:pt x="148" y="154"/>
                    <a:pt x="147" y="154"/>
                  </a:cubicBezTo>
                  <a:cubicBezTo>
                    <a:pt x="146" y="154"/>
                    <a:pt x="144" y="153"/>
                    <a:pt x="142" y="153"/>
                  </a:cubicBezTo>
                  <a:cubicBezTo>
                    <a:pt x="141" y="152"/>
                    <a:pt x="140" y="152"/>
                    <a:pt x="139" y="152"/>
                  </a:cubicBezTo>
                  <a:cubicBezTo>
                    <a:pt x="138" y="152"/>
                    <a:pt x="138" y="152"/>
                    <a:pt x="138" y="152"/>
                  </a:cubicBezTo>
                  <a:cubicBezTo>
                    <a:pt x="138" y="152"/>
                    <a:pt x="138" y="152"/>
                    <a:pt x="137" y="153"/>
                  </a:cubicBezTo>
                  <a:cubicBezTo>
                    <a:pt x="134" y="156"/>
                    <a:pt x="128" y="162"/>
                    <a:pt x="128" y="165"/>
                  </a:cubicBezTo>
                  <a:cubicBezTo>
                    <a:pt x="128" y="167"/>
                    <a:pt x="130" y="168"/>
                    <a:pt x="132" y="169"/>
                  </a:cubicBezTo>
                  <a:cubicBezTo>
                    <a:pt x="134" y="171"/>
                    <a:pt x="137" y="172"/>
                    <a:pt x="137" y="176"/>
                  </a:cubicBezTo>
                  <a:cubicBezTo>
                    <a:pt x="136" y="181"/>
                    <a:pt x="140" y="187"/>
                    <a:pt x="143" y="190"/>
                  </a:cubicBezTo>
                  <a:cubicBezTo>
                    <a:pt x="146" y="193"/>
                    <a:pt x="151" y="200"/>
                    <a:pt x="148" y="204"/>
                  </a:cubicBezTo>
                  <a:cubicBezTo>
                    <a:pt x="147" y="206"/>
                    <a:pt x="144" y="208"/>
                    <a:pt x="141" y="208"/>
                  </a:cubicBezTo>
                  <a:cubicBezTo>
                    <a:pt x="140" y="208"/>
                    <a:pt x="138" y="207"/>
                    <a:pt x="137" y="207"/>
                  </a:cubicBezTo>
                  <a:cubicBezTo>
                    <a:pt x="136" y="207"/>
                    <a:pt x="135" y="207"/>
                    <a:pt x="135" y="207"/>
                  </a:cubicBezTo>
                  <a:cubicBezTo>
                    <a:pt x="134" y="207"/>
                    <a:pt x="133" y="207"/>
                    <a:pt x="132" y="207"/>
                  </a:cubicBezTo>
                  <a:cubicBezTo>
                    <a:pt x="131" y="208"/>
                    <a:pt x="130" y="208"/>
                    <a:pt x="128" y="208"/>
                  </a:cubicBezTo>
                  <a:cubicBezTo>
                    <a:pt x="126" y="208"/>
                    <a:pt x="125" y="208"/>
                    <a:pt x="123" y="208"/>
                  </a:cubicBezTo>
                  <a:cubicBezTo>
                    <a:pt x="122" y="207"/>
                    <a:pt x="121" y="207"/>
                    <a:pt x="120" y="207"/>
                  </a:cubicBezTo>
                  <a:cubicBezTo>
                    <a:pt x="116" y="207"/>
                    <a:pt x="114" y="210"/>
                    <a:pt x="113" y="213"/>
                  </a:cubicBezTo>
                  <a:cubicBezTo>
                    <a:pt x="112" y="214"/>
                    <a:pt x="111" y="216"/>
                    <a:pt x="110" y="217"/>
                  </a:cubicBezTo>
                  <a:cubicBezTo>
                    <a:pt x="110" y="217"/>
                    <a:pt x="110" y="217"/>
                    <a:pt x="110" y="217"/>
                  </a:cubicBezTo>
                  <a:cubicBezTo>
                    <a:pt x="110" y="217"/>
                    <a:pt x="110" y="217"/>
                    <a:pt x="109" y="218"/>
                  </a:cubicBezTo>
                  <a:close/>
                  <a:moveTo>
                    <a:pt x="78" y="187"/>
                  </a:moveTo>
                  <a:cubicBezTo>
                    <a:pt x="82" y="187"/>
                    <a:pt x="85" y="190"/>
                    <a:pt x="85" y="192"/>
                  </a:cubicBezTo>
                  <a:cubicBezTo>
                    <a:pt x="85" y="195"/>
                    <a:pt x="87" y="196"/>
                    <a:pt x="89" y="198"/>
                  </a:cubicBezTo>
                  <a:cubicBezTo>
                    <a:pt x="90" y="199"/>
                    <a:pt x="90" y="199"/>
                    <a:pt x="91" y="200"/>
                  </a:cubicBezTo>
                  <a:cubicBezTo>
                    <a:pt x="93" y="202"/>
                    <a:pt x="93" y="204"/>
                    <a:pt x="93" y="206"/>
                  </a:cubicBezTo>
                  <a:cubicBezTo>
                    <a:pt x="93" y="207"/>
                    <a:pt x="93" y="209"/>
                    <a:pt x="94" y="210"/>
                  </a:cubicBezTo>
                  <a:cubicBezTo>
                    <a:pt x="96" y="212"/>
                    <a:pt x="98" y="213"/>
                    <a:pt x="100" y="213"/>
                  </a:cubicBezTo>
                  <a:cubicBezTo>
                    <a:pt x="102" y="214"/>
                    <a:pt x="104" y="214"/>
                    <a:pt x="107" y="215"/>
                  </a:cubicBezTo>
                  <a:cubicBezTo>
                    <a:pt x="107" y="216"/>
                    <a:pt x="108" y="216"/>
                    <a:pt x="109" y="217"/>
                  </a:cubicBezTo>
                  <a:cubicBezTo>
                    <a:pt x="109" y="216"/>
                    <a:pt x="109" y="216"/>
                    <a:pt x="109" y="216"/>
                  </a:cubicBezTo>
                  <a:cubicBezTo>
                    <a:pt x="109" y="216"/>
                    <a:pt x="109" y="216"/>
                    <a:pt x="109" y="216"/>
                  </a:cubicBezTo>
                  <a:cubicBezTo>
                    <a:pt x="110" y="215"/>
                    <a:pt x="111" y="214"/>
                    <a:pt x="112" y="213"/>
                  </a:cubicBezTo>
                  <a:cubicBezTo>
                    <a:pt x="113" y="210"/>
                    <a:pt x="115" y="206"/>
                    <a:pt x="120" y="206"/>
                  </a:cubicBezTo>
                  <a:cubicBezTo>
                    <a:pt x="121" y="206"/>
                    <a:pt x="122" y="206"/>
                    <a:pt x="123" y="207"/>
                  </a:cubicBezTo>
                  <a:cubicBezTo>
                    <a:pt x="125" y="207"/>
                    <a:pt x="126" y="207"/>
                    <a:pt x="128" y="207"/>
                  </a:cubicBezTo>
                  <a:cubicBezTo>
                    <a:pt x="130" y="207"/>
                    <a:pt x="131" y="207"/>
                    <a:pt x="132" y="206"/>
                  </a:cubicBezTo>
                  <a:cubicBezTo>
                    <a:pt x="133" y="206"/>
                    <a:pt x="134" y="206"/>
                    <a:pt x="135" y="206"/>
                  </a:cubicBezTo>
                  <a:cubicBezTo>
                    <a:pt x="136" y="206"/>
                    <a:pt x="136" y="206"/>
                    <a:pt x="137" y="206"/>
                  </a:cubicBezTo>
                  <a:cubicBezTo>
                    <a:pt x="139" y="206"/>
                    <a:pt x="140" y="207"/>
                    <a:pt x="141" y="207"/>
                  </a:cubicBezTo>
                  <a:cubicBezTo>
                    <a:pt x="144" y="207"/>
                    <a:pt x="146" y="206"/>
                    <a:pt x="147" y="203"/>
                  </a:cubicBezTo>
                  <a:cubicBezTo>
                    <a:pt x="149" y="200"/>
                    <a:pt x="145" y="194"/>
                    <a:pt x="142" y="191"/>
                  </a:cubicBezTo>
                  <a:cubicBezTo>
                    <a:pt x="139" y="188"/>
                    <a:pt x="135" y="181"/>
                    <a:pt x="136" y="175"/>
                  </a:cubicBezTo>
                  <a:cubicBezTo>
                    <a:pt x="136" y="173"/>
                    <a:pt x="134" y="171"/>
                    <a:pt x="131" y="170"/>
                  </a:cubicBezTo>
                  <a:cubicBezTo>
                    <a:pt x="129" y="169"/>
                    <a:pt x="127" y="168"/>
                    <a:pt x="127" y="165"/>
                  </a:cubicBezTo>
                  <a:cubicBezTo>
                    <a:pt x="127" y="161"/>
                    <a:pt x="133" y="155"/>
                    <a:pt x="136" y="152"/>
                  </a:cubicBezTo>
                  <a:cubicBezTo>
                    <a:pt x="137" y="152"/>
                    <a:pt x="137" y="151"/>
                    <a:pt x="138" y="151"/>
                  </a:cubicBezTo>
                  <a:cubicBezTo>
                    <a:pt x="138" y="151"/>
                    <a:pt x="138" y="151"/>
                    <a:pt x="139" y="151"/>
                  </a:cubicBezTo>
                  <a:cubicBezTo>
                    <a:pt x="140" y="151"/>
                    <a:pt x="141" y="151"/>
                    <a:pt x="143" y="152"/>
                  </a:cubicBezTo>
                  <a:cubicBezTo>
                    <a:pt x="144" y="152"/>
                    <a:pt x="146" y="153"/>
                    <a:pt x="147" y="153"/>
                  </a:cubicBezTo>
                  <a:cubicBezTo>
                    <a:pt x="148" y="153"/>
                    <a:pt x="148" y="153"/>
                    <a:pt x="148" y="152"/>
                  </a:cubicBezTo>
                  <a:cubicBezTo>
                    <a:pt x="149" y="151"/>
                    <a:pt x="150" y="150"/>
                    <a:pt x="152" y="150"/>
                  </a:cubicBezTo>
                  <a:cubicBezTo>
                    <a:pt x="154" y="150"/>
                    <a:pt x="156" y="151"/>
                    <a:pt x="157" y="151"/>
                  </a:cubicBezTo>
                  <a:cubicBezTo>
                    <a:pt x="158" y="151"/>
                    <a:pt x="158" y="151"/>
                    <a:pt x="159" y="151"/>
                  </a:cubicBezTo>
                  <a:cubicBezTo>
                    <a:pt x="159" y="152"/>
                    <a:pt x="159" y="152"/>
                    <a:pt x="159" y="152"/>
                  </a:cubicBezTo>
                  <a:cubicBezTo>
                    <a:pt x="161" y="152"/>
                    <a:pt x="166" y="146"/>
                    <a:pt x="166" y="141"/>
                  </a:cubicBezTo>
                  <a:cubicBezTo>
                    <a:pt x="167" y="137"/>
                    <a:pt x="171" y="136"/>
                    <a:pt x="175" y="135"/>
                  </a:cubicBezTo>
                  <a:cubicBezTo>
                    <a:pt x="176" y="134"/>
                    <a:pt x="178" y="134"/>
                    <a:pt x="178" y="133"/>
                  </a:cubicBezTo>
                  <a:cubicBezTo>
                    <a:pt x="179" y="132"/>
                    <a:pt x="181" y="127"/>
                    <a:pt x="182" y="123"/>
                  </a:cubicBezTo>
                  <a:cubicBezTo>
                    <a:pt x="183" y="121"/>
                    <a:pt x="184" y="119"/>
                    <a:pt x="184" y="118"/>
                  </a:cubicBezTo>
                  <a:cubicBezTo>
                    <a:pt x="185" y="117"/>
                    <a:pt x="186" y="117"/>
                    <a:pt x="187" y="116"/>
                  </a:cubicBezTo>
                  <a:cubicBezTo>
                    <a:pt x="190" y="116"/>
                    <a:pt x="193" y="115"/>
                    <a:pt x="193" y="111"/>
                  </a:cubicBezTo>
                  <a:cubicBezTo>
                    <a:pt x="193" y="105"/>
                    <a:pt x="196" y="103"/>
                    <a:pt x="200" y="103"/>
                  </a:cubicBezTo>
                  <a:cubicBezTo>
                    <a:pt x="202" y="102"/>
                    <a:pt x="202" y="100"/>
                    <a:pt x="202" y="96"/>
                  </a:cubicBezTo>
                  <a:cubicBezTo>
                    <a:pt x="202" y="95"/>
                    <a:pt x="202" y="93"/>
                    <a:pt x="202" y="92"/>
                  </a:cubicBezTo>
                  <a:cubicBezTo>
                    <a:pt x="203" y="88"/>
                    <a:pt x="205" y="82"/>
                    <a:pt x="210" y="81"/>
                  </a:cubicBezTo>
                  <a:cubicBezTo>
                    <a:pt x="212" y="81"/>
                    <a:pt x="211" y="80"/>
                    <a:pt x="211" y="80"/>
                  </a:cubicBezTo>
                  <a:cubicBezTo>
                    <a:pt x="211" y="78"/>
                    <a:pt x="208" y="75"/>
                    <a:pt x="205" y="75"/>
                  </a:cubicBezTo>
                  <a:cubicBezTo>
                    <a:pt x="204" y="75"/>
                    <a:pt x="204" y="75"/>
                    <a:pt x="204" y="76"/>
                  </a:cubicBezTo>
                  <a:cubicBezTo>
                    <a:pt x="203" y="76"/>
                    <a:pt x="203" y="76"/>
                    <a:pt x="203" y="76"/>
                  </a:cubicBezTo>
                  <a:cubicBezTo>
                    <a:pt x="198" y="76"/>
                    <a:pt x="195" y="63"/>
                    <a:pt x="194" y="61"/>
                  </a:cubicBezTo>
                  <a:cubicBezTo>
                    <a:pt x="194" y="61"/>
                    <a:pt x="194" y="61"/>
                    <a:pt x="194" y="61"/>
                  </a:cubicBezTo>
                  <a:cubicBezTo>
                    <a:pt x="194" y="61"/>
                    <a:pt x="194" y="61"/>
                    <a:pt x="194" y="61"/>
                  </a:cubicBezTo>
                  <a:cubicBezTo>
                    <a:pt x="195" y="57"/>
                    <a:pt x="194" y="49"/>
                    <a:pt x="192" y="48"/>
                  </a:cubicBezTo>
                  <a:cubicBezTo>
                    <a:pt x="191" y="47"/>
                    <a:pt x="191" y="46"/>
                    <a:pt x="191" y="45"/>
                  </a:cubicBezTo>
                  <a:cubicBezTo>
                    <a:pt x="192" y="42"/>
                    <a:pt x="196" y="39"/>
                    <a:pt x="200" y="39"/>
                  </a:cubicBezTo>
                  <a:cubicBezTo>
                    <a:pt x="203" y="39"/>
                    <a:pt x="206" y="40"/>
                    <a:pt x="210" y="41"/>
                  </a:cubicBezTo>
                  <a:cubicBezTo>
                    <a:pt x="213" y="42"/>
                    <a:pt x="217" y="44"/>
                    <a:pt x="219" y="44"/>
                  </a:cubicBezTo>
                  <a:cubicBezTo>
                    <a:pt x="219" y="44"/>
                    <a:pt x="219" y="44"/>
                    <a:pt x="219" y="44"/>
                  </a:cubicBezTo>
                  <a:cubicBezTo>
                    <a:pt x="220" y="44"/>
                    <a:pt x="221" y="43"/>
                    <a:pt x="222" y="43"/>
                  </a:cubicBezTo>
                  <a:cubicBezTo>
                    <a:pt x="224" y="41"/>
                    <a:pt x="229" y="40"/>
                    <a:pt x="232" y="39"/>
                  </a:cubicBezTo>
                  <a:cubicBezTo>
                    <a:pt x="234" y="38"/>
                    <a:pt x="235" y="38"/>
                    <a:pt x="236" y="37"/>
                  </a:cubicBezTo>
                  <a:cubicBezTo>
                    <a:pt x="237" y="37"/>
                    <a:pt x="239" y="34"/>
                    <a:pt x="241" y="29"/>
                  </a:cubicBezTo>
                  <a:cubicBezTo>
                    <a:pt x="238" y="27"/>
                    <a:pt x="234" y="25"/>
                    <a:pt x="230" y="23"/>
                  </a:cubicBezTo>
                  <a:cubicBezTo>
                    <a:pt x="223" y="20"/>
                    <a:pt x="222" y="14"/>
                    <a:pt x="222" y="12"/>
                  </a:cubicBezTo>
                  <a:cubicBezTo>
                    <a:pt x="222" y="11"/>
                    <a:pt x="218" y="8"/>
                    <a:pt x="215" y="6"/>
                  </a:cubicBezTo>
                  <a:cubicBezTo>
                    <a:pt x="213" y="4"/>
                    <a:pt x="211" y="3"/>
                    <a:pt x="209" y="2"/>
                  </a:cubicBezTo>
                  <a:cubicBezTo>
                    <a:pt x="208" y="2"/>
                    <a:pt x="207" y="2"/>
                    <a:pt x="205" y="2"/>
                  </a:cubicBezTo>
                  <a:cubicBezTo>
                    <a:pt x="205" y="2"/>
                    <a:pt x="205" y="2"/>
                    <a:pt x="205" y="2"/>
                  </a:cubicBezTo>
                  <a:cubicBezTo>
                    <a:pt x="205" y="2"/>
                    <a:pt x="205" y="2"/>
                    <a:pt x="205" y="2"/>
                  </a:cubicBezTo>
                  <a:cubicBezTo>
                    <a:pt x="204" y="2"/>
                    <a:pt x="203" y="1"/>
                    <a:pt x="202" y="1"/>
                  </a:cubicBezTo>
                  <a:cubicBezTo>
                    <a:pt x="199" y="4"/>
                    <a:pt x="194" y="6"/>
                    <a:pt x="191" y="6"/>
                  </a:cubicBezTo>
                  <a:cubicBezTo>
                    <a:pt x="189" y="6"/>
                    <a:pt x="188" y="5"/>
                    <a:pt x="187" y="5"/>
                  </a:cubicBezTo>
                  <a:cubicBezTo>
                    <a:pt x="187" y="5"/>
                    <a:pt x="186" y="5"/>
                    <a:pt x="185" y="5"/>
                  </a:cubicBezTo>
                  <a:cubicBezTo>
                    <a:pt x="180" y="5"/>
                    <a:pt x="173" y="8"/>
                    <a:pt x="168" y="11"/>
                  </a:cubicBezTo>
                  <a:cubicBezTo>
                    <a:pt x="166" y="12"/>
                    <a:pt x="164" y="13"/>
                    <a:pt x="161" y="14"/>
                  </a:cubicBezTo>
                  <a:cubicBezTo>
                    <a:pt x="160" y="14"/>
                    <a:pt x="159" y="14"/>
                    <a:pt x="158" y="14"/>
                  </a:cubicBezTo>
                  <a:cubicBezTo>
                    <a:pt x="157" y="15"/>
                    <a:pt x="156" y="15"/>
                    <a:pt x="155" y="17"/>
                  </a:cubicBezTo>
                  <a:cubicBezTo>
                    <a:pt x="155" y="18"/>
                    <a:pt x="155" y="20"/>
                    <a:pt x="156" y="21"/>
                  </a:cubicBezTo>
                  <a:cubicBezTo>
                    <a:pt x="159" y="23"/>
                    <a:pt x="159" y="25"/>
                    <a:pt x="159" y="28"/>
                  </a:cubicBezTo>
                  <a:cubicBezTo>
                    <a:pt x="159" y="28"/>
                    <a:pt x="159" y="29"/>
                    <a:pt x="159" y="30"/>
                  </a:cubicBezTo>
                  <a:cubicBezTo>
                    <a:pt x="159" y="32"/>
                    <a:pt x="157" y="35"/>
                    <a:pt x="155" y="37"/>
                  </a:cubicBezTo>
                  <a:cubicBezTo>
                    <a:pt x="154" y="38"/>
                    <a:pt x="153" y="39"/>
                    <a:pt x="152" y="40"/>
                  </a:cubicBezTo>
                  <a:cubicBezTo>
                    <a:pt x="151" y="42"/>
                    <a:pt x="151" y="44"/>
                    <a:pt x="151" y="46"/>
                  </a:cubicBezTo>
                  <a:cubicBezTo>
                    <a:pt x="152" y="48"/>
                    <a:pt x="152" y="50"/>
                    <a:pt x="151" y="52"/>
                  </a:cubicBezTo>
                  <a:cubicBezTo>
                    <a:pt x="150" y="53"/>
                    <a:pt x="149" y="54"/>
                    <a:pt x="147" y="54"/>
                  </a:cubicBezTo>
                  <a:cubicBezTo>
                    <a:pt x="145" y="54"/>
                    <a:pt x="143" y="53"/>
                    <a:pt x="140" y="52"/>
                  </a:cubicBezTo>
                  <a:cubicBezTo>
                    <a:pt x="138" y="52"/>
                    <a:pt x="136" y="52"/>
                    <a:pt x="135" y="52"/>
                  </a:cubicBezTo>
                  <a:cubicBezTo>
                    <a:pt x="135" y="52"/>
                    <a:pt x="135" y="52"/>
                    <a:pt x="134" y="52"/>
                  </a:cubicBezTo>
                  <a:cubicBezTo>
                    <a:pt x="134" y="52"/>
                    <a:pt x="135" y="55"/>
                    <a:pt x="137" y="56"/>
                  </a:cubicBezTo>
                  <a:cubicBezTo>
                    <a:pt x="138" y="58"/>
                    <a:pt x="139" y="60"/>
                    <a:pt x="139" y="61"/>
                  </a:cubicBezTo>
                  <a:cubicBezTo>
                    <a:pt x="139" y="62"/>
                    <a:pt x="139" y="62"/>
                    <a:pt x="139" y="63"/>
                  </a:cubicBezTo>
                  <a:cubicBezTo>
                    <a:pt x="137" y="65"/>
                    <a:pt x="133" y="67"/>
                    <a:pt x="129" y="67"/>
                  </a:cubicBezTo>
                  <a:cubicBezTo>
                    <a:pt x="125" y="68"/>
                    <a:pt x="125" y="71"/>
                    <a:pt x="125" y="78"/>
                  </a:cubicBezTo>
                  <a:cubicBezTo>
                    <a:pt x="125" y="80"/>
                    <a:pt x="125" y="81"/>
                    <a:pt x="125" y="82"/>
                  </a:cubicBezTo>
                  <a:cubicBezTo>
                    <a:pt x="124" y="88"/>
                    <a:pt x="122" y="91"/>
                    <a:pt x="120" y="91"/>
                  </a:cubicBezTo>
                  <a:cubicBezTo>
                    <a:pt x="118" y="91"/>
                    <a:pt x="117" y="90"/>
                    <a:pt x="117" y="89"/>
                  </a:cubicBezTo>
                  <a:cubicBezTo>
                    <a:pt x="117" y="88"/>
                    <a:pt x="115" y="88"/>
                    <a:pt x="115" y="88"/>
                  </a:cubicBezTo>
                  <a:cubicBezTo>
                    <a:pt x="110" y="88"/>
                    <a:pt x="102" y="92"/>
                    <a:pt x="102" y="94"/>
                  </a:cubicBezTo>
                  <a:cubicBezTo>
                    <a:pt x="102" y="97"/>
                    <a:pt x="100" y="97"/>
                    <a:pt x="97" y="97"/>
                  </a:cubicBezTo>
                  <a:cubicBezTo>
                    <a:pt x="96" y="97"/>
                    <a:pt x="95" y="97"/>
                    <a:pt x="93" y="97"/>
                  </a:cubicBezTo>
                  <a:cubicBezTo>
                    <a:pt x="92" y="97"/>
                    <a:pt x="92" y="97"/>
                    <a:pt x="92" y="97"/>
                  </a:cubicBezTo>
                  <a:cubicBezTo>
                    <a:pt x="87" y="97"/>
                    <a:pt x="81" y="102"/>
                    <a:pt x="81" y="104"/>
                  </a:cubicBezTo>
                  <a:cubicBezTo>
                    <a:pt x="81" y="104"/>
                    <a:pt x="81" y="107"/>
                    <a:pt x="82" y="110"/>
                  </a:cubicBezTo>
                  <a:cubicBezTo>
                    <a:pt x="82" y="114"/>
                    <a:pt x="83" y="117"/>
                    <a:pt x="82" y="118"/>
                  </a:cubicBezTo>
                  <a:cubicBezTo>
                    <a:pt x="81" y="120"/>
                    <a:pt x="41" y="126"/>
                    <a:pt x="27" y="126"/>
                  </a:cubicBezTo>
                  <a:cubicBezTo>
                    <a:pt x="25" y="126"/>
                    <a:pt x="24" y="126"/>
                    <a:pt x="23" y="126"/>
                  </a:cubicBezTo>
                  <a:cubicBezTo>
                    <a:pt x="17" y="125"/>
                    <a:pt x="9" y="124"/>
                    <a:pt x="2" y="123"/>
                  </a:cubicBezTo>
                  <a:cubicBezTo>
                    <a:pt x="2" y="124"/>
                    <a:pt x="3" y="124"/>
                    <a:pt x="3" y="124"/>
                  </a:cubicBezTo>
                  <a:cubicBezTo>
                    <a:pt x="5" y="126"/>
                    <a:pt x="7" y="128"/>
                    <a:pt x="8" y="131"/>
                  </a:cubicBezTo>
                  <a:cubicBezTo>
                    <a:pt x="10" y="135"/>
                    <a:pt x="15" y="140"/>
                    <a:pt x="23" y="143"/>
                  </a:cubicBezTo>
                  <a:cubicBezTo>
                    <a:pt x="27" y="145"/>
                    <a:pt x="28" y="150"/>
                    <a:pt x="28" y="154"/>
                  </a:cubicBezTo>
                  <a:cubicBezTo>
                    <a:pt x="28" y="156"/>
                    <a:pt x="28" y="159"/>
                    <a:pt x="30" y="159"/>
                  </a:cubicBezTo>
                  <a:cubicBezTo>
                    <a:pt x="32" y="160"/>
                    <a:pt x="36" y="165"/>
                    <a:pt x="35" y="168"/>
                  </a:cubicBezTo>
                  <a:cubicBezTo>
                    <a:pt x="35" y="170"/>
                    <a:pt x="34" y="171"/>
                    <a:pt x="33" y="171"/>
                  </a:cubicBezTo>
                  <a:cubicBezTo>
                    <a:pt x="28" y="171"/>
                    <a:pt x="24" y="173"/>
                    <a:pt x="20" y="175"/>
                  </a:cubicBezTo>
                  <a:cubicBezTo>
                    <a:pt x="15" y="177"/>
                    <a:pt x="10" y="183"/>
                    <a:pt x="11" y="189"/>
                  </a:cubicBezTo>
                  <a:cubicBezTo>
                    <a:pt x="11" y="190"/>
                    <a:pt x="11" y="191"/>
                    <a:pt x="11" y="192"/>
                  </a:cubicBezTo>
                  <a:cubicBezTo>
                    <a:pt x="13" y="192"/>
                    <a:pt x="15" y="193"/>
                    <a:pt x="16" y="193"/>
                  </a:cubicBezTo>
                  <a:cubicBezTo>
                    <a:pt x="29" y="193"/>
                    <a:pt x="37" y="192"/>
                    <a:pt x="38" y="191"/>
                  </a:cubicBezTo>
                  <a:cubicBezTo>
                    <a:pt x="39" y="189"/>
                    <a:pt x="42" y="188"/>
                    <a:pt x="45" y="188"/>
                  </a:cubicBezTo>
                  <a:cubicBezTo>
                    <a:pt x="47" y="188"/>
                    <a:pt x="48" y="188"/>
                    <a:pt x="49" y="189"/>
                  </a:cubicBezTo>
                  <a:cubicBezTo>
                    <a:pt x="51" y="190"/>
                    <a:pt x="56" y="191"/>
                    <a:pt x="61" y="191"/>
                  </a:cubicBezTo>
                  <a:cubicBezTo>
                    <a:pt x="66" y="191"/>
                    <a:pt x="70" y="190"/>
                    <a:pt x="72" y="189"/>
                  </a:cubicBezTo>
                  <a:cubicBezTo>
                    <a:pt x="74" y="187"/>
                    <a:pt x="76" y="187"/>
                    <a:pt x="78" y="18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6" name="Freeform 173"/>
            <p:cNvSpPr>
              <a:spLocks noEditPoints="1"/>
            </p:cNvSpPr>
            <p:nvPr/>
          </p:nvSpPr>
          <p:spPr>
            <a:xfrm>
              <a:off x="7097714" y="3673475"/>
              <a:ext cx="1138238" cy="401638"/>
            </a:xfrm>
            <a:custGeom>
              <a:gdLst>
                <a:gd name="T0" fmla="*/ 435 w 671"/>
                <a:gd name="T1" fmla="*/ 215 h 237"/>
                <a:gd name="T2" fmla="*/ 434 w 671"/>
                <a:gd name="T3" fmla="*/ 225 h 237"/>
                <a:gd name="T4" fmla="*/ 347 w 671"/>
                <a:gd name="T5" fmla="*/ 226 h 237"/>
                <a:gd name="T6" fmla="*/ 373 w 671"/>
                <a:gd name="T7" fmla="*/ 235 h 237"/>
                <a:gd name="T8" fmla="*/ 348 w 671"/>
                <a:gd name="T9" fmla="*/ 211 h 237"/>
                <a:gd name="T10" fmla="*/ 330 w 671"/>
                <a:gd name="T11" fmla="*/ 203 h 237"/>
                <a:gd name="T12" fmla="*/ 636 w 671"/>
                <a:gd name="T13" fmla="*/ 193 h 237"/>
                <a:gd name="T14" fmla="*/ 542 w 671"/>
                <a:gd name="T15" fmla="*/ 128 h 237"/>
                <a:gd name="T16" fmla="*/ 539 w 671"/>
                <a:gd name="T17" fmla="*/ 116 h 237"/>
                <a:gd name="T18" fmla="*/ 584 w 671"/>
                <a:gd name="T19" fmla="*/ 133 h 237"/>
                <a:gd name="T20" fmla="*/ 647 w 671"/>
                <a:gd name="T21" fmla="*/ 116 h 237"/>
                <a:gd name="T22" fmla="*/ 524 w 671"/>
                <a:gd name="T23" fmla="*/ 102 h 237"/>
                <a:gd name="T24" fmla="*/ 558 w 671"/>
                <a:gd name="T25" fmla="*/ 122 h 237"/>
                <a:gd name="T26" fmla="*/ 574 w 671"/>
                <a:gd name="T27" fmla="*/ 143 h 237"/>
                <a:gd name="T28" fmla="*/ 384 w 671"/>
                <a:gd name="T29" fmla="*/ 216 h 237"/>
                <a:gd name="T30" fmla="*/ 402 w 671"/>
                <a:gd name="T31" fmla="*/ 213 h 237"/>
                <a:gd name="T32" fmla="*/ 393 w 671"/>
                <a:gd name="T33" fmla="*/ 209 h 237"/>
                <a:gd name="T34" fmla="*/ 201 w 671"/>
                <a:gd name="T35" fmla="*/ 194 h 237"/>
                <a:gd name="T36" fmla="*/ 171 w 671"/>
                <a:gd name="T37" fmla="*/ 170 h 237"/>
                <a:gd name="T38" fmla="*/ 257 w 671"/>
                <a:gd name="T39" fmla="*/ 196 h 237"/>
                <a:gd name="T40" fmla="*/ 297 w 671"/>
                <a:gd name="T41" fmla="*/ 209 h 237"/>
                <a:gd name="T42" fmla="*/ 255 w 671"/>
                <a:gd name="T43" fmla="*/ 187 h 237"/>
                <a:gd name="T44" fmla="*/ 160 w 671"/>
                <a:gd name="T45" fmla="*/ 185 h 237"/>
                <a:gd name="T46" fmla="*/ 277 w 671"/>
                <a:gd name="T47" fmla="*/ 210 h 237"/>
                <a:gd name="T48" fmla="*/ 32 w 671"/>
                <a:gd name="T49" fmla="*/ 40 h 237"/>
                <a:gd name="T50" fmla="*/ 102 w 671"/>
                <a:gd name="T51" fmla="*/ 61 h 237"/>
                <a:gd name="T52" fmla="*/ 149 w 671"/>
                <a:gd name="T53" fmla="*/ 119 h 237"/>
                <a:gd name="T54" fmla="*/ 160 w 671"/>
                <a:gd name="T55" fmla="*/ 132 h 237"/>
                <a:gd name="T56" fmla="*/ 25 w 671"/>
                <a:gd name="T57" fmla="*/ 30 h 237"/>
                <a:gd name="T58" fmla="*/ 141 w 671"/>
                <a:gd name="T59" fmla="*/ 166 h 237"/>
                <a:gd name="T60" fmla="*/ 150 w 671"/>
                <a:gd name="T61" fmla="*/ 111 h 237"/>
                <a:gd name="T62" fmla="*/ 125 w 671"/>
                <a:gd name="T63" fmla="*/ 86 h 237"/>
                <a:gd name="T64" fmla="*/ 58 w 671"/>
                <a:gd name="T65" fmla="*/ 31 h 237"/>
                <a:gd name="T66" fmla="*/ 352 w 671"/>
                <a:gd name="T67" fmla="*/ 103 h 237"/>
                <a:gd name="T68" fmla="*/ 416 w 671"/>
                <a:gd name="T69" fmla="*/ 79 h 237"/>
                <a:gd name="T70" fmla="*/ 396 w 671"/>
                <a:gd name="T71" fmla="*/ 131 h 237"/>
                <a:gd name="T72" fmla="*/ 369 w 671"/>
                <a:gd name="T73" fmla="*/ 159 h 237"/>
                <a:gd name="T74" fmla="*/ 359 w 671"/>
                <a:gd name="T75" fmla="*/ 152 h 237"/>
                <a:gd name="T76" fmla="*/ 396 w 671"/>
                <a:gd name="T77" fmla="*/ 150 h 237"/>
                <a:gd name="T78" fmla="*/ 363 w 671"/>
                <a:gd name="T79" fmla="*/ 89 h 237"/>
                <a:gd name="T80" fmla="*/ 286 w 671"/>
                <a:gd name="T81" fmla="*/ 143 h 237"/>
                <a:gd name="T82" fmla="*/ 205 w 671"/>
                <a:gd name="T83" fmla="*/ 88 h 237"/>
                <a:gd name="T84" fmla="*/ 240 w 671"/>
                <a:gd name="T85" fmla="*/ 68 h 237"/>
                <a:gd name="T86" fmla="*/ 301 w 671"/>
                <a:gd name="T87" fmla="*/ 23 h 237"/>
                <a:gd name="T88" fmla="*/ 333 w 671"/>
                <a:gd name="T89" fmla="*/ 52 h 237"/>
                <a:gd name="T90" fmla="*/ 265 w 671"/>
                <a:gd name="T91" fmla="*/ 132 h 237"/>
                <a:gd name="T92" fmla="*/ 331 w 671"/>
                <a:gd name="T93" fmla="*/ 47 h 237"/>
                <a:gd name="T94" fmla="*/ 292 w 671"/>
                <a:gd name="T95" fmla="*/ 42 h 237"/>
                <a:gd name="T96" fmla="*/ 227 w 671"/>
                <a:gd name="T97" fmla="*/ 70 h 237"/>
                <a:gd name="T98" fmla="*/ 233 w 671"/>
                <a:gd name="T99" fmla="*/ 128 h 237"/>
                <a:gd name="T100" fmla="*/ 498 w 671"/>
                <a:gd name="T101" fmla="*/ 124 h 237"/>
                <a:gd name="T102" fmla="*/ 494 w 671"/>
                <a:gd name="T103" fmla="*/ 134 h 237"/>
                <a:gd name="T104" fmla="*/ 463 w 671"/>
                <a:gd name="T105" fmla="*/ 140 h 237"/>
                <a:gd name="T106" fmla="*/ 188 w 671"/>
                <a:gd name="T107" fmla="*/ 124 h 237"/>
                <a:gd name="T108" fmla="*/ 58 w 671"/>
                <a:gd name="T109" fmla="*/ 103 h 237"/>
                <a:gd name="T110" fmla="*/ 473 w 671"/>
                <a:gd name="T111" fmla="*/ 58 h 237"/>
                <a:gd name="T112" fmla="*/ 480 w 671"/>
                <a:gd name="T113" fmla="*/ 91 h 237"/>
                <a:gd name="T114" fmla="*/ 483 w 671"/>
                <a:gd name="T115" fmla="*/ 65 h 237"/>
                <a:gd name="T116" fmla="*/ 33 w 671"/>
                <a:gd name="T117" fmla="*/ 73 h 2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37">
                  <a:moveTo>
                    <a:pt x="419" y="237"/>
                  </a:moveTo>
                  <a:cubicBezTo>
                    <a:pt x="419" y="237"/>
                    <a:pt x="419" y="237"/>
                    <a:pt x="419" y="237"/>
                  </a:cubicBezTo>
                  <a:cubicBezTo>
                    <a:pt x="418" y="237"/>
                    <a:pt x="417" y="237"/>
                    <a:pt x="416" y="236"/>
                  </a:cubicBezTo>
                  <a:cubicBezTo>
                    <a:pt x="414" y="235"/>
                    <a:pt x="413" y="233"/>
                    <a:pt x="413" y="231"/>
                  </a:cubicBezTo>
                  <a:cubicBezTo>
                    <a:pt x="413" y="226"/>
                    <a:pt x="418" y="221"/>
                    <a:pt x="423" y="219"/>
                  </a:cubicBezTo>
                  <a:cubicBezTo>
                    <a:pt x="423" y="219"/>
                    <a:pt x="423" y="219"/>
                    <a:pt x="423" y="219"/>
                  </a:cubicBezTo>
                  <a:cubicBezTo>
                    <a:pt x="423" y="219"/>
                    <a:pt x="423" y="219"/>
                    <a:pt x="423" y="219"/>
                  </a:cubicBezTo>
                  <a:cubicBezTo>
                    <a:pt x="425" y="221"/>
                    <a:pt x="427" y="222"/>
                    <a:pt x="428" y="221"/>
                  </a:cubicBezTo>
                  <a:cubicBezTo>
                    <a:pt x="428" y="221"/>
                    <a:pt x="429" y="219"/>
                    <a:pt x="429" y="218"/>
                  </a:cubicBezTo>
                  <a:cubicBezTo>
                    <a:pt x="430" y="217"/>
                    <a:pt x="430" y="217"/>
                    <a:pt x="430" y="217"/>
                  </a:cubicBezTo>
                  <a:cubicBezTo>
                    <a:pt x="430" y="217"/>
                    <a:pt x="430" y="217"/>
                    <a:pt x="430" y="217"/>
                  </a:cubicBezTo>
                  <a:cubicBezTo>
                    <a:pt x="432" y="217"/>
                    <a:pt x="433" y="216"/>
                    <a:pt x="434" y="215"/>
                  </a:cubicBezTo>
                  <a:cubicBezTo>
                    <a:pt x="435" y="215"/>
                    <a:pt x="435" y="215"/>
                    <a:pt x="435" y="215"/>
                  </a:cubicBezTo>
                  <a:cubicBezTo>
                    <a:pt x="435" y="215"/>
                    <a:pt x="435" y="215"/>
                    <a:pt x="435" y="215"/>
                  </a:cubicBezTo>
                  <a:cubicBezTo>
                    <a:pt x="437" y="216"/>
                    <a:pt x="438" y="218"/>
                    <a:pt x="440" y="220"/>
                  </a:cubicBezTo>
                  <a:cubicBezTo>
                    <a:pt x="440" y="221"/>
                    <a:pt x="440" y="221"/>
                    <a:pt x="440" y="221"/>
                  </a:cubicBezTo>
                  <a:cubicBezTo>
                    <a:pt x="440" y="221"/>
                    <a:pt x="440" y="221"/>
                    <a:pt x="440" y="221"/>
                  </a:cubicBezTo>
                  <a:cubicBezTo>
                    <a:pt x="439" y="221"/>
                    <a:pt x="439" y="222"/>
                    <a:pt x="438" y="222"/>
                  </a:cubicBezTo>
                  <a:cubicBezTo>
                    <a:pt x="437" y="222"/>
                    <a:pt x="437" y="223"/>
                    <a:pt x="437" y="223"/>
                  </a:cubicBezTo>
                  <a:cubicBezTo>
                    <a:pt x="436" y="224"/>
                    <a:pt x="436" y="225"/>
                    <a:pt x="435" y="226"/>
                  </a:cubicBezTo>
                  <a:cubicBezTo>
                    <a:pt x="431" y="230"/>
                    <a:pt x="425" y="237"/>
                    <a:pt x="419" y="237"/>
                  </a:cubicBezTo>
                  <a:close/>
                  <a:moveTo>
                    <a:pt x="423" y="220"/>
                  </a:moveTo>
                  <a:cubicBezTo>
                    <a:pt x="418" y="222"/>
                    <a:pt x="414" y="227"/>
                    <a:pt x="414" y="231"/>
                  </a:cubicBezTo>
                  <a:cubicBezTo>
                    <a:pt x="414" y="232"/>
                    <a:pt x="414" y="234"/>
                    <a:pt x="416" y="235"/>
                  </a:cubicBezTo>
                  <a:cubicBezTo>
                    <a:pt x="417" y="236"/>
                    <a:pt x="418" y="236"/>
                    <a:pt x="419" y="236"/>
                  </a:cubicBezTo>
                  <a:cubicBezTo>
                    <a:pt x="424" y="236"/>
                    <a:pt x="431" y="228"/>
                    <a:pt x="434" y="225"/>
                  </a:cubicBezTo>
                  <a:cubicBezTo>
                    <a:pt x="435" y="224"/>
                    <a:pt x="435" y="223"/>
                    <a:pt x="436" y="222"/>
                  </a:cubicBezTo>
                  <a:cubicBezTo>
                    <a:pt x="436" y="222"/>
                    <a:pt x="437" y="222"/>
                    <a:pt x="438" y="221"/>
                  </a:cubicBezTo>
                  <a:cubicBezTo>
                    <a:pt x="438" y="221"/>
                    <a:pt x="438" y="221"/>
                    <a:pt x="439" y="220"/>
                  </a:cubicBezTo>
                  <a:cubicBezTo>
                    <a:pt x="437" y="219"/>
                    <a:pt x="436" y="217"/>
                    <a:pt x="435" y="216"/>
                  </a:cubicBezTo>
                  <a:cubicBezTo>
                    <a:pt x="433" y="217"/>
                    <a:pt x="432" y="218"/>
                    <a:pt x="430" y="218"/>
                  </a:cubicBezTo>
                  <a:cubicBezTo>
                    <a:pt x="430" y="218"/>
                    <a:pt x="430" y="218"/>
                    <a:pt x="430" y="218"/>
                  </a:cubicBezTo>
                  <a:cubicBezTo>
                    <a:pt x="430" y="220"/>
                    <a:pt x="429" y="221"/>
                    <a:pt x="428" y="222"/>
                  </a:cubicBezTo>
                  <a:cubicBezTo>
                    <a:pt x="427" y="223"/>
                    <a:pt x="425" y="222"/>
                    <a:pt x="423" y="220"/>
                  </a:cubicBezTo>
                  <a:close/>
                  <a:moveTo>
                    <a:pt x="371" y="237"/>
                  </a:moveTo>
                  <a:cubicBezTo>
                    <a:pt x="371" y="237"/>
                    <a:pt x="371" y="237"/>
                    <a:pt x="371" y="237"/>
                  </a:cubicBezTo>
                  <a:cubicBezTo>
                    <a:pt x="367" y="237"/>
                    <a:pt x="362" y="234"/>
                    <a:pt x="360" y="232"/>
                  </a:cubicBezTo>
                  <a:cubicBezTo>
                    <a:pt x="359" y="231"/>
                    <a:pt x="357" y="231"/>
                    <a:pt x="355" y="230"/>
                  </a:cubicBezTo>
                  <a:cubicBezTo>
                    <a:pt x="352" y="229"/>
                    <a:pt x="349" y="228"/>
                    <a:pt x="347" y="226"/>
                  </a:cubicBezTo>
                  <a:cubicBezTo>
                    <a:pt x="347" y="225"/>
                    <a:pt x="347" y="225"/>
                    <a:pt x="347" y="224"/>
                  </a:cubicBezTo>
                  <a:cubicBezTo>
                    <a:pt x="347" y="224"/>
                    <a:pt x="349" y="223"/>
                    <a:pt x="351" y="223"/>
                  </a:cubicBezTo>
                  <a:cubicBezTo>
                    <a:pt x="358" y="223"/>
                    <a:pt x="375" y="227"/>
                    <a:pt x="375" y="233"/>
                  </a:cubicBezTo>
                  <a:cubicBezTo>
                    <a:pt x="375" y="234"/>
                    <a:pt x="374" y="235"/>
                    <a:pt x="373" y="236"/>
                  </a:cubicBezTo>
                  <a:cubicBezTo>
                    <a:pt x="373" y="236"/>
                    <a:pt x="372" y="237"/>
                    <a:pt x="371" y="237"/>
                  </a:cubicBezTo>
                  <a:close/>
                  <a:moveTo>
                    <a:pt x="351" y="224"/>
                  </a:moveTo>
                  <a:cubicBezTo>
                    <a:pt x="349" y="224"/>
                    <a:pt x="348" y="225"/>
                    <a:pt x="348" y="225"/>
                  </a:cubicBezTo>
                  <a:cubicBezTo>
                    <a:pt x="348" y="225"/>
                    <a:pt x="348" y="225"/>
                    <a:pt x="348" y="225"/>
                  </a:cubicBezTo>
                  <a:cubicBezTo>
                    <a:pt x="349" y="227"/>
                    <a:pt x="352" y="228"/>
                    <a:pt x="355" y="229"/>
                  </a:cubicBezTo>
                  <a:cubicBezTo>
                    <a:pt x="357" y="230"/>
                    <a:pt x="359" y="230"/>
                    <a:pt x="361" y="231"/>
                  </a:cubicBezTo>
                  <a:cubicBezTo>
                    <a:pt x="362" y="233"/>
                    <a:pt x="367" y="236"/>
                    <a:pt x="371" y="236"/>
                  </a:cubicBezTo>
                  <a:cubicBezTo>
                    <a:pt x="371" y="236"/>
                    <a:pt x="371" y="236"/>
                    <a:pt x="371" y="236"/>
                  </a:cubicBezTo>
                  <a:cubicBezTo>
                    <a:pt x="372" y="236"/>
                    <a:pt x="372" y="236"/>
                    <a:pt x="373" y="235"/>
                  </a:cubicBezTo>
                  <a:cubicBezTo>
                    <a:pt x="373" y="235"/>
                    <a:pt x="374" y="234"/>
                    <a:pt x="374" y="233"/>
                  </a:cubicBezTo>
                  <a:cubicBezTo>
                    <a:pt x="374" y="228"/>
                    <a:pt x="359" y="224"/>
                    <a:pt x="351" y="224"/>
                  </a:cubicBezTo>
                  <a:close/>
                  <a:moveTo>
                    <a:pt x="319" y="220"/>
                  </a:moveTo>
                  <a:cubicBezTo>
                    <a:pt x="319" y="220"/>
                    <a:pt x="319" y="220"/>
                    <a:pt x="319" y="220"/>
                  </a:cubicBezTo>
                  <a:cubicBezTo>
                    <a:pt x="312" y="220"/>
                    <a:pt x="306" y="215"/>
                    <a:pt x="305" y="214"/>
                  </a:cubicBezTo>
                  <a:cubicBezTo>
                    <a:pt x="304" y="213"/>
                    <a:pt x="304" y="211"/>
                    <a:pt x="305" y="209"/>
                  </a:cubicBezTo>
                  <a:cubicBezTo>
                    <a:pt x="306" y="206"/>
                    <a:pt x="308" y="205"/>
                    <a:pt x="310" y="205"/>
                  </a:cubicBezTo>
                  <a:cubicBezTo>
                    <a:pt x="311" y="205"/>
                    <a:pt x="312" y="205"/>
                    <a:pt x="313" y="206"/>
                  </a:cubicBezTo>
                  <a:cubicBezTo>
                    <a:pt x="314" y="207"/>
                    <a:pt x="316" y="207"/>
                    <a:pt x="319" y="207"/>
                  </a:cubicBezTo>
                  <a:cubicBezTo>
                    <a:pt x="322" y="207"/>
                    <a:pt x="325" y="206"/>
                    <a:pt x="325" y="204"/>
                  </a:cubicBezTo>
                  <a:cubicBezTo>
                    <a:pt x="326" y="203"/>
                    <a:pt x="327" y="202"/>
                    <a:pt x="330" y="202"/>
                  </a:cubicBezTo>
                  <a:cubicBezTo>
                    <a:pt x="336" y="202"/>
                    <a:pt x="345" y="205"/>
                    <a:pt x="348" y="209"/>
                  </a:cubicBezTo>
                  <a:cubicBezTo>
                    <a:pt x="348" y="210"/>
                    <a:pt x="348" y="211"/>
                    <a:pt x="348" y="211"/>
                  </a:cubicBezTo>
                  <a:cubicBezTo>
                    <a:pt x="346" y="215"/>
                    <a:pt x="343" y="215"/>
                    <a:pt x="340" y="215"/>
                  </a:cubicBezTo>
                  <a:cubicBezTo>
                    <a:pt x="336" y="215"/>
                    <a:pt x="332" y="215"/>
                    <a:pt x="327" y="218"/>
                  </a:cubicBezTo>
                  <a:cubicBezTo>
                    <a:pt x="324" y="219"/>
                    <a:pt x="321" y="220"/>
                    <a:pt x="319" y="220"/>
                  </a:cubicBezTo>
                  <a:close/>
                  <a:moveTo>
                    <a:pt x="310" y="206"/>
                  </a:moveTo>
                  <a:cubicBezTo>
                    <a:pt x="309" y="206"/>
                    <a:pt x="307" y="207"/>
                    <a:pt x="306" y="209"/>
                  </a:cubicBezTo>
                  <a:cubicBezTo>
                    <a:pt x="305" y="211"/>
                    <a:pt x="305" y="212"/>
                    <a:pt x="306" y="213"/>
                  </a:cubicBezTo>
                  <a:cubicBezTo>
                    <a:pt x="307" y="215"/>
                    <a:pt x="312" y="219"/>
                    <a:pt x="319" y="219"/>
                  </a:cubicBezTo>
                  <a:cubicBezTo>
                    <a:pt x="319" y="219"/>
                    <a:pt x="319" y="219"/>
                    <a:pt x="319" y="219"/>
                  </a:cubicBezTo>
                  <a:cubicBezTo>
                    <a:pt x="321" y="219"/>
                    <a:pt x="324" y="218"/>
                    <a:pt x="326" y="217"/>
                  </a:cubicBezTo>
                  <a:cubicBezTo>
                    <a:pt x="332" y="214"/>
                    <a:pt x="336" y="214"/>
                    <a:pt x="340" y="214"/>
                  </a:cubicBezTo>
                  <a:cubicBezTo>
                    <a:pt x="343" y="214"/>
                    <a:pt x="346" y="214"/>
                    <a:pt x="347" y="211"/>
                  </a:cubicBezTo>
                  <a:cubicBezTo>
                    <a:pt x="347" y="210"/>
                    <a:pt x="347" y="210"/>
                    <a:pt x="347" y="209"/>
                  </a:cubicBezTo>
                  <a:cubicBezTo>
                    <a:pt x="345" y="206"/>
                    <a:pt x="336" y="203"/>
                    <a:pt x="330" y="203"/>
                  </a:cubicBezTo>
                  <a:cubicBezTo>
                    <a:pt x="328" y="203"/>
                    <a:pt x="327" y="204"/>
                    <a:pt x="326" y="205"/>
                  </a:cubicBezTo>
                  <a:cubicBezTo>
                    <a:pt x="325" y="207"/>
                    <a:pt x="322" y="208"/>
                    <a:pt x="319" y="208"/>
                  </a:cubicBezTo>
                  <a:cubicBezTo>
                    <a:pt x="316" y="208"/>
                    <a:pt x="314" y="208"/>
                    <a:pt x="312" y="206"/>
                  </a:cubicBezTo>
                  <a:cubicBezTo>
                    <a:pt x="312" y="206"/>
                    <a:pt x="311" y="206"/>
                    <a:pt x="310" y="206"/>
                  </a:cubicBezTo>
                  <a:close/>
                  <a:moveTo>
                    <a:pt x="671" y="217"/>
                  </a:moveTo>
                  <a:cubicBezTo>
                    <a:pt x="671" y="216"/>
                    <a:pt x="671" y="216"/>
                    <a:pt x="671" y="216"/>
                  </a:cubicBezTo>
                  <a:cubicBezTo>
                    <a:pt x="667" y="214"/>
                    <a:pt x="665" y="212"/>
                    <a:pt x="662" y="209"/>
                  </a:cubicBezTo>
                  <a:cubicBezTo>
                    <a:pt x="660" y="207"/>
                    <a:pt x="657" y="204"/>
                    <a:pt x="655" y="204"/>
                  </a:cubicBezTo>
                  <a:cubicBezTo>
                    <a:pt x="653" y="204"/>
                    <a:pt x="650" y="205"/>
                    <a:pt x="645" y="206"/>
                  </a:cubicBezTo>
                  <a:cubicBezTo>
                    <a:pt x="639" y="206"/>
                    <a:pt x="632" y="207"/>
                    <a:pt x="627" y="207"/>
                  </a:cubicBezTo>
                  <a:cubicBezTo>
                    <a:pt x="624" y="207"/>
                    <a:pt x="622" y="207"/>
                    <a:pt x="621" y="206"/>
                  </a:cubicBezTo>
                  <a:cubicBezTo>
                    <a:pt x="621" y="205"/>
                    <a:pt x="621" y="203"/>
                    <a:pt x="622" y="201"/>
                  </a:cubicBezTo>
                  <a:cubicBezTo>
                    <a:pt x="624" y="197"/>
                    <a:pt x="630" y="193"/>
                    <a:pt x="636" y="193"/>
                  </a:cubicBezTo>
                  <a:cubicBezTo>
                    <a:pt x="638" y="193"/>
                    <a:pt x="639" y="193"/>
                    <a:pt x="640" y="192"/>
                  </a:cubicBezTo>
                  <a:cubicBezTo>
                    <a:pt x="641" y="189"/>
                    <a:pt x="639" y="185"/>
                    <a:pt x="636" y="181"/>
                  </a:cubicBezTo>
                  <a:cubicBezTo>
                    <a:pt x="633" y="179"/>
                    <a:pt x="633" y="176"/>
                    <a:pt x="633" y="174"/>
                  </a:cubicBezTo>
                  <a:cubicBezTo>
                    <a:pt x="632" y="171"/>
                    <a:pt x="632" y="168"/>
                    <a:pt x="628" y="165"/>
                  </a:cubicBezTo>
                  <a:cubicBezTo>
                    <a:pt x="619" y="158"/>
                    <a:pt x="597" y="151"/>
                    <a:pt x="587" y="151"/>
                  </a:cubicBezTo>
                  <a:cubicBezTo>
                    <a:pt x="582" y="150"/>
                    <a:pt x="581" y="149"/>
                    <a:pt x="580" y="148"/>
                  </a:cubicBezTo>
                  <a:cubicBezTo>
                    <a:pt x="579" y="146"/>
                    <a:pt x="578" y="145"/>
                    <a:pt x="574" y="144"/>
                  </a:cubicBezTo>
                  <a:cubicBezTo>
                    <a:pt x="570" y="143"/>
                    <a:pt x="566" y="141"/>
                    <a:pt x="564" y="139"/>
                  </a:cubicBezTo>
                  <a:cubicBezTo>
                    <a:pt x="562" y="138"/>
                    <a:pt x="561" y="137"/>
                    <a:pt x="560" y="137"/>
                  </a:cubicBezTo>
                  <a:cubicBezTo>
                    <a:pt x="560" y="137"/>
                    <a:pt x="559" y="137"/>
                    <a:pt x="559" y="139"/>
                  </a:cubicBezTo>
                  <a:cubicBezTo>
                    <a:pt x="559" y="142"/>
                    <a:pt x="557" y="144"/>
                    <a:pt x="554" y="144"/>
                  </a:cubicBezTo>
                  <a:cubicBezTo>
                    <a:pt x="551" y="144"/>
                    <a:pt x="549" y="143"/>
                    <a:pt x="549" y="139"/>
                  </a:cubicBezTo>
                  <a:cubicBezTo>
                    <a:pt x="549" y="133"/>
                    <a:pt x="545" y="131"/>
                    <a:pt x="542" y="128"/>
                  </a:cubicBezTo>
                  <a:cubicBezTo>
                    <a:pt x="541" y="127"/>
                    <a:pt x="540" y="127"/>
                    <a:pt x="540" y="126"/>
                  </a:cubicBezTo>
                  <a:cubicBezTo>
                    <a:pt x="539" y="126"/>
                    <a:pt x="538" y="125"/>
                    <a:pt x="539" y="124"/>
                  </a:cubicBezTo>
                  <a:cubicBezTo>
                    <a:pt x="539" y="123"/>
                    <a:pt x="541" y="123"/>
                    <a:pt x="543" y="123"/>
                  </a:cubicBezTo>
                  <a:cubicBezTo>
                    <a:pt x="545" y="123"/>
                    <a:pt x="547" y="123"/>
                    <a:pt x="549" y="123"/>
                  </a:cubicBezTo>
                  <a:cubicBezTo>
                    <a:pt x="550" y="124"/>
                    <a:pt x="550" y="124"/>
                    <a:pt x="550" y="124"/>
                  </a:cubicBezTo>
                  <a:cubicBezTo>
                    <a:pt x="551" y="124"/>
                    <a:pt x="552" y="123"/>
                    <a:pt x="553" y="122"/>
                  </a:cubicBezTo>
                  <a:cubicBezTo>
                    <a:pt x="554" y="121"/>
                    <a:pt x="556" y="121"/>
                    <a:pt x="558" y="121"/>
                  </a:cubicBezTo>
                  <a:cubicBezTo>
                    <a:pt x="559" y="121"/>
                    <a:pt x="560" y="121"/>
                    <a:pt x="561" y="121"/>
                  </a:cubicBezTo>
                  <a:cubicBezTo>
                    <a:pt x="564" y="122"/>
                    <a:pt x="566" y="122"/>
                    <a:pt x="566" y="120"/>
                  </a:cubicBezTo>
                  <a:cubicBezTo>
                    <a:pt x="566" y="119"/>
                    <a:pt x="565" y="118"/>
                    <a:pt x="562" y="118"/>
                  </a:cubicBezTo>
                  <a:cubicBezTo>
                    <a:pt x="561" y="118"/>
                    <a:pt x="560" y="118"/>
                    <a:pt x="558" y="118"/>
                  </a:cubicBezTo>
                  <a:cubicBezTo>
                    <a:pt x="555" y="119"/>
                    <a:pt x="551" y="120"/>
                    <a:pt x="547" y="120"/>
                  </a:cubicBezTo>
                  <a:cubicBezTo>
                    <a:pt x="543" y="120"/>
                    <a:pt x="540" y="119"/>
                    <a:pt x="539" y="116"/>
                  </a:cubicBezTo>
                  <a:cubicBezTo>
                    <a:pt x="538" y="115"/>
                    <a:pt x="538" y="114"/>
                    <a:pt x="537" y="113"/>
                  </a:cubicBezTo>
                  <a:cubicBezTo>
                    <a:pt x="536" y="109"/>
                    <a:pt x="535" y="107"/>
                    <a:pt x="531" y="107"/>
                  </a:cubicBezTo>
                  <a:cubicBezTo>
                    <a:pt x="530" y="107"/>
                    <a:pt x="529" y="107"/>
                    <a:pt x="528" y="107"/>
                  </a:cubicBezTo>
                  <a:cubicBezTo>
                    <a:pt x="527" y="107"/>
                    <a:pt x="526" y="107"/>
                    <a:pt x="526" y="107"/>
                  </a:cubicBezTo>
                  <a:cubicBezTo>
                    <a:pt x="525" y="107"/>
                    <a:pt x="524" y="107"/>
                    <a:pt x="523" y="106"/>
                  </a:cubicBezTo>
                  <a:cubicBezTo>
                    <a:pt x="523" y="105"/>
                    <a:pt x="522" y="104"/>
                    <a:pt x="523" y="102"/>
                  </a:cubicBezTo>
                  <a:cubicBezTo>
                    <a:pt x="523" y="99"/>
                    <a:pt x="526" y="98"/>
                    <a:pt x="528" y="98"/>
                  </a:cubicBezTo>
                  <a:cubicBezTo>
                    <a:pt x="531" y="97"/>
                    <a:pt x="534" y="96"/>
                    <a:pt x="535" y="93"/>
                  </a:cubicBezTo>
                  <a:cubicBezTo>
                    <a:pt x="536" y="90"/>
                    <a:pt x="540" y="89"/>
                    <a:pt x="545" y="89"/>
                  </a:cubicBezTo>
                  <a:cubicBezTo>
                    <a:pt x="553" y="89"/>
                    <a:pt x="566" y="92"/>
                    <a:pt x="569" y="97"/>
                  </a:cubicBezTo>
                  <a:cubicBezTo>
                    <a:pt x="571" y="99"/>
                    <a:pt x="572" y="105"/>
                    <a:pt x="573" y="111"/>
                  </a:cubicBezTo>
                  <a:cubicBezTo>
                    <a:pt x="575" y="121"/>
                    <a:pt x="578" y="133"/>
                    <a:pt x="583" y="133"/>
                  </a:cubicBezTo>
                  <a:cubicBezTo>
                    <a:pt x="584" y="133"/>
                    <a:pt x="584" y="133"/>
                    <a:pt x="584" y="133"/>
                  </a:cubicBezTo>
                  <a:cubicBezTo>
                    <a:pt x="589" y="131"/>
                    <a:pt x="594" y="127"/>
                    <a:pt x="598" y="124"/>
                  </a:cubicBezTo>
                  <a:cubicBezTo>
                    <a:pt x="602" y="121"/>
                    <a:pt x="605" y="118"/>
                    <a:pt x="608" y="118"/>
                  </a:cubicBezTo>
                  <a:cubicBezTo>
                    <a:pt x="610" y="118"/>
                    <a:pt x="612" y="115"/>
                    <a:pt x="614" y="113"/>
                  </a:cubicBezTo>
                  <a:cubicBezTo>
                    <a:pt x="615" y="110"/>
                    <a:pt x="617" y="106"/>
                    <a:pt x="621" y="106"/>
                  </a:cubicBezTo>
                  <a:cubicBezTo>
                    <a:pt x="624" y="106"/>
                    <a:pt x="635" y="110"/>
                    <a:pt x="648" y="115"/>
                  </a:cubicBezTo>
                  <a:cubicBezTo>
                    <a:pt x="656" y="118"/>
                    <a:pt x="664" y="121"/>
                    <a:pt x="671" y="124"/>
                  </a:cubicBezTo>
                  <a:cubicBezTo>
                    <a:pt x="671" y="124"/>
                    <a:pt x="671" y="124"/>
                    <a:pt x="671" y="124"/>
                  </a:cubicBezTo>
                  <a:lnTo>
                    <a:pt x="671" y="217"/>
                  </a:lnTo>
                  <a:close/>
                  <a:moveTo>
                    <a:pt x="655" y="203"/>
                  </a:moveTo>
                  <a:cubicBezTo>
                    <a:pt x="658" y="203"/>
                    <a:pt x="660" y="206"/>
                    <a:pt x="663" y="209"/>
                  </a:cubicBezTo>
                  <a:cubicBezTo>
                    <a:pt x="665" y="211"/>
                    <a:pt x="667" y="213"/>
                    <a:pt x="670" y="215"/>
                  </a:cubicBezTo>
                  <a:cubicBezTo>
                    <a:pt x="670" y="125"/>
                    <a:pt x="670" y="125"/>
                    <a:pt x="670" y="125"/>
                  </a:cubicBezTo>
                  <a:cubicBezTo>
                    <a:pt x="663" y="122"/>
                    <a:pt x="655" y="119"/>
                    <a:pt x="647" y="116"/>
                  </a:cubicBezTo>
                  <a:cubicBezTo>
                    <a:pt x="636" y="111"/>
                    <a:pt x="625" y="107"/>
                    <a:pt x="621" y="107"/>
                  </a:cubicBezTo>
                  <a:cubicBezTo>
                    <a:pt x="621" y="107"/>
                    <a:pt x="621" y="107"/>
                    <a:pt x="621" y="107"/>
                  </a:cubicBezTo>
                  <a:cubicBezTo>
                    <a:pt x="618" y="107"/>
                    <a:pt x="616" y="110"/>
                    <a:pt x="614" y="113"/>
                  </a:cubicBezTo>
                  <a:cubicBezTo>
                    <a:pt x="613" y="116"/>
                    <a:pt x="611" y="119"/>
                    <a:pt x="608" y="119"/>
                  </a:cubicBezTo>
                  <a:cubicBezTo>
                    <a:pt x="605" y="119"/>
                    <a:pt x="602" y="121"/>
                    <a:pt x="599" y="125"/>
                  </a:cubicBezTo>
                  <a:cubicBezTo>
                    <a:pt x="595" y="128"/>
                    <a:pt x="590" y="132"/>
                    <a:pt x="585" y="134"/>
                  </a:cubicBezTo>
                  <a:cubicBezTo>
                    <a:pt x="584" y="134"/>
                    <a:pt x="583" y="134"/>
                    <a:pt x="583" y="134"/>
                  </a:cubicBezTo>
                  <a:cubicBezTo>
                    <a:pt x="577" y="134"/>
                    <a:pt x="575" y="122"/>
                    <a:pt x="572" y="112"/>
                  </a:cubicBezTo>
                  <a:cubicBezTo>
                    <a:pt x="571" y="105"/>
                    <a:pt x="570" y="100"/>
                    <a:pt x="568" y="97"/>
                  </a:cubicBezTo>
                  <a:cubicBezTo>
                    <a:pt x="566" y="94"/>
                    <a:pt x="554" y="90"/>
                    <a:pt x="545" y="90"/>
                  </a:cubicBezTo>
                  <a:cubicBezTo>
                    <a:pt x="540" y="90"/>
                    <a:pt x="537" y="91"/>
                    <a:pt x="536" y="93"/>
                  </a:cubicBezTo>
                  <a:cubicBezTo>
                    <a:pt x="535" y="97"/>
                    <a:pt x="532" y="98"/>
                    <a:pt x="529" y="99"/>
                  </a:cubicBezTo>
                  <a:cubicBezTo>
                    <a:pt x="526" y="99"/>
                    <a:pt x="524" y="100"/>
                    <a:pt x="524" y="102"/>
                  </a:cubicBezTo>
                  <a:cubicBezTo>
                    <a:pt x="524" y="104"/>
                    <a:pt x="524" y="105"/>
                    <a:pt x="524" y="105"/>
                  </a:cubicBezTo>
                  <a:cubicBezTo>
                    <a:pt x="524" y="106"/>
                    <a:pt x="525" y="106"/>
                    <a:pt x="526" y="106"/>
                  </a:cubicBezTo>
                  <a:cubicBezTo>
                    <a:pt x="526" y="106"/>
                    <a:pt x="527" y="106"/>
                    <a:pt x="528" y="106"/>
                  </a:cubicBezTo>
                  <a:cubicBezTo>
                    <a:pt x="529" y="106"/>
                    <a:pt x="530" y="106"/>
                    <a:pt x="531" y="106"/>
                  </a:cubicBezTo>
                  <a:cubicBezTo>
                    <a:pt x="536" y="106"/>
                    <a:pt x="537" y="109"/>
                    <a:pt x="538" y="112"/>
                  </a:cubicBezTo>
                  <a:cubicBezTo>
                    <a:pt x="539" y="113"/>
                    <a:pt x="539" y="115"/>
                    <a:pt x="540" y="116"/>
                  </a:cubicBezTo>
                  <a:cubicBezTo>
                    <a:pt x="540" y="118"/>
                    <a:pt x="543" y="119"/>
                    <a:pt x="547" y="119"/>
                  </a:cubicBezTo>
                  <a:cubicBezTo>
                    <a:pt x="551" y="119"/>
                    <a:pt x="555" y="118"/>
                    <a:pt x="558" y="117"/>
                  </a:cubicBezTo>
                  <a:cubicBezTo>
                    <a:pt x="560" y="117"/>
                    <a:pt x="561" y="117"/>
                    <a:pt x="562" y="117"/>
                  </a:cubicBezTo>
                  <a:cubicBezTo>
                    <a:pt x="565" y="117"/>
                    <a:pt x="567" y="119"/>
                    <a:pt x="567" y="120"/>
                  </a:cubicBezTo>
                  <a:cubicBezTo>
                    <a:pt x="567" y="121"/>
                    <a:pt x="566" y="123"/>
                    <a:pt x="564" y="123"/>
                  </a:cubicBezTo>
                  <a:cubicBezTo>
                    <a:pt x="563" y="123"/>
                    <a:pt x="562" y="123"/>
                    <a:pt x="561" y="122"/>
                  </a:cubicBezTo>
                  <a:cubicBezTo>
                    <a:pt x="560" y="122"/>
                    <a:pt x="559" y="122"/>
                    <a:pt x="558" y="122"/>
                  </a:cubicBezTo>
                  <a:cubicBezTo>
                    <a:pt x="556" y="122"/>
                    <a:pt x="555" y="122"/>
                    <a:pt x="554" y="123"/>
                  </a:cubicBezTo>
                  <a:cubicBezTo>
                    <a:pt x="553" y="124"/>
                    <a:pt x="552" y="125"/>
                    <a:pt x="550" y="125"/>
                  </a:cubicBezTo>
                  <a:cubicBezTo>
                    <a:pt x="549" y="124"/>
                    <a:pt x="549" y="124"/>
                    <a:pt x="549" y="124"/>
                  </a:cubicBezTo>
                  <a:cubicBezTo>
                    <a:pt x="547" y="124"/>
                    <a:pt x="545" y="124"/>
                    <a:pt x="543" y="124"/>
                  </a:cubicBezTo>
                  <a:cubicBezTo>
                    <a:pt x="541" y="124"/>
                    <a:pt x="540" y="124"/>
                    <a:pt x="540" y="125"/>
                  </a:cubicBezTo>
                  <a:cubicBezTo>
                    <a:pt x="540" y="125"/>
                    <a:pt x="540" y="125"/>
                    <a:pt x="540" y="126"/>
                  </a:cubicBezTo>
                  <a:cubicBezTo>
                    <a:pt x="541" y="126"/>
                    <a:pt x="542" y="127"/>
                    <a:pt x="542" y="127"/>
                  </a:cubicBezTo>
                  <a:cubicBezTo>
                    <a:pt x="546" y="130"/>
                    <a:pt x="550" y="133"/>
                    <a:pt x="550" y="139"/>
                  </a:cubicBezTo>
                  <a:cubicBezTo>
                    <a:pt x="550" y="142"/>
                    <a:pt x="552" y="143"/>
                    <a:pt x="554" y="143"/>
                  </a:cubicBezTo>
                  <a:cubicBezTo>
                    <a:pt x="556" y="143"/>
                    <a:pt x="558" y="142"/>
                    <a:pt x="558" y="139"/>
                  </a:cubicBezTo>
                  <a:cubicBezTo>
                    <a:pt x="558" y="138"/>
                    <a:pt x="558" y="136"/>
                    <a:pt x="560" y="136"/>
                  </a:cubicBezTo>
                  <a:cubicBezTo>
                    <a:pt x="561" y="136"/>
                    <a:pt x="562" y="137"/>
                    <a:pt x="564" y="138"/>
                  </a:cubicBezTo>
                  <a:cubicBezTo>
                    <a:pt x="567" y="140"/>
                    <a:pt x="570" y="142"/>
                    <a:pt x="574" y="143"/>
                  </a:cubicBezTo>
                  <a:cubicBezTo>
                    <a:pt x="579" y="144"/>
                    <a:pt x="580" y="146"/>
                    <a:pt x="581" y="147"/>
                  </a:cubicBezTo>
                  <a:cubicBezTo>
                    <a:pt x="582" y="148"/>
                    <a:pt x="582" y="149"/>
                    <a:pt x="587" y="150"/>
                  </a:cubicBezTo>
                  <a:cubicBezTo>
                    <a:pt x="597" y="150"/>
                    <a:pt x="619" y="157"/>
                    <a:pt x="628" y="164"/>
                  </a:cubicBezTo>
                  <a:cubicBezTo>
                    <a:pt x="633" y="168"/>
                    <a:pt x="633" y="171"/>
                    <a:pt x="634" y="174"/>
                  </a:cubicBezTo>
                  <a:cubicBezTo>
                    <a:pt x="634" y="176"/>
                    <a:pt x="634" y="178"/>
                    <a:pt x="636" y="181"/>
                  </a:cubicBezTo>
                  <a:cubicBezTo>
                    <a:pt x="640" y="185"/>
                    <a:pt x="642" y="189"/>
                    <a:pt x="641" y="192"/>
                  </a:cubicBezTo>
                  <a:cubicBezTo>
                    <a:pt x="640" y="193"/>
                    <a:pt x="639" y="194"/>
                    <a:pt x="636" y="194"/>
                  </a:cubicBezTo>
                  <a:cubicBezTo>
                    <a:pt x="630" y="194"/>
                    <a:pt x="625" y="198"/>
                    <a:pt x="623" y="202"/>
                  </a:cubicBezTo>
                  <a:cubicBezTo>
                    <a:pt x="622" y="203"/>
                    <a:pt x="622" y="204"/>
                    <a:pt x="622" y="205"/>
                  </a:cubicBezTo>
                  <a:cubicBezTo>
                    <a:pt x="622" y="206"/>
                    <a:pt x="623" y="206"/>
                    <a:pt x="627" y="206"/>
                  </a:cubicBezTo>
                  <a:cubicBezTo>
                    <a:pt x="632" y="206"/>
                    <a:pt x="639" y="205"/>
                    <a:pt x="645" y="205"/>
                  </a:cubicBezTo>
                  <a:cubicBezTo>
                    <a:pt x="650" y="204"/>
                    <a:pt x="653" y="203"/>
                    <a:pt x="655" y="203"/>
                  </a:cubicBezTo>
                  <a:close/>
                  <a:moveTo>
                    <a:pt x="384" y="216"/>
                  </a:moveTo>
                  <a:cubicBezTo>
                    <a:pt x="384" y="216"/>
                    <a:pt x="384" y="216"/>
                    <a:pt x="384" y="216"/>
                  </a:cubicBezTo>
                  <a:cubicBezTo>
                    <a:pt x="383" y="216"/>
                    <a:pt x="383" y="216"/>
                    <a:pt x="383" y="216"/>
                  </a:cubicBezTo>
                  <a:cubicBezTo>
                    <a:pt x="371" y="216"/>
                    <a:pt x="360" y="216"/>
                    <a:pt x="359" y="212"/>
                  </a:cubicBezTo>
                  <a:cubicBezTo>
                    <a:pt x="358" y="211"/>
                    <a:pt x="358" y="211"/>
                    <a:pt x="359" y="210"/>
                  </a:cubicBezTo>
                  <a:cubicBezTo>
                    <a:pt x="360" y="207"/>
                    <a:pt x="368" y="205"/>
                    <a:pt x="375" y="205"/>
                  </a:cubicBezTo>
                  <a:cubicBezTo>
                    <a:pt x="379" y="205"/>
                    <a:pt x="383" y="206"/>
                    <a:pt x="386" y="207"/>
                  </a:cubicBezTo>
                  <a:cubicBezTo>
                    <a:pt x="388" y="208"/>
                    <a:pt x="391" y="208"/>
                    <a:pt x="393" y="208"/>
                  </a:cubicBezTo>
                  <a:cubicBezTo>
                    <a:pt x="396" y="208"/>
                    <a:pt x="399" y="208"/>
                    <a:pt x="403" y="207"/>
                  </a:cubicBezTo>
                  <a:cubicBezTo>
                    <a:pt x="406" y="205"/>
                    <a:pt x="410" y="204"/>
                    <a:pt x="414" y="204"/>
                  </a:cubicBezTo>
                  <a:cubicBezTo>
                    <a:pt x="415" y="204"/>
                    <a:pt x="416" y="205"/>
                    <a:pt x="417" y="205"/>
                  </a:cubicBezTo>
                  <a:cubicBezTo>
                    <a:pt x="423" y="205"/>
                    <a:pt x="423" y="206"/>
                    <a:pt x="423" y="207"/>
                  </a:cubicBezTo>
                  <a:cubicBezTo>
                    <a:pt x="423" y="209"/>
                    <a:pt x="413" y="210"/>
                    <a:pt x="412" y="210"/>
                  </a:cubicBezTo>
                  <a:cubicBezTo>
                    <a:pt x="409" y="210"/>
                    <a:pt x="406" y="211"/>
                    <a:pt x="402" y="213"/>
                  </a:cubicBezTo>
                  <a:cubicBezTo>
                    <a:pt x="396" y="214"/>
                    <a:pt x="390" y="216"/>
                    <a:pt x="384" y="216"/>
                  </a:cubicBezTo>
                  <a:close/>
                  <a:moveTo>
                    <a:pt x="375" y="206"/>
                  </a:moveTo>
                  <a:cubicBezTo>
                    <a:pt x="367" y="206"/>
                    <a:pt x="361" y="209"/>
                    <a:pt x="359" y="211"/>
                  </a:cubicBezTo>
                  <a:cubicBezTo>
                    <a:pt x="359" y="211"/>
                    <a:pt x="359" y="211"/>
                    <a:pt x="359" y="211"/>
                  </a:cubicBezTo>
                  <a:cubicBezTo>
                    <a:pt x="361" y="215"/>
                    <a:pt x="372" y="215"/>
                    <a:pt x="383" y="215"/>
                  </a:cubicBezTo>
                  <a:cubicBezTo>
                    <a:pt x="389" y="216"/>
                    <a:pt x="396" y="214"/>
                    <a:pt x="401" y="212"/>
                  </a:cubicBezTo>
                  <a:cubicBezTo>
                    <a:pt x="405" y="210"/>
                    <a:pt x="409" y="209"/>
                    <a:pt x="412" y="209"/>
                  </a:cubicBezTo>
                  <a:cubicBezTo>
                    <a:pt x="418" y="209"/>
                    <a:pt x="422" y="208"/>
                    <a:pt x="422" y="207"/>
                  </a:cubicBezTo>
                  <a:cubicBezTo>
                    <a:pt x="422" y="207"/>
                    <a:pt x="422" y="207"/>
                    <a:pt x="422" y="207"/>
                  </a:cubicBezTo>
                  <a:cubicBezTo>
                    <a:pt x="422" y="207"/>
                    <a:pt x="422" y="206"/>
                    <a:pt x="417" y="206"/>
                  </a:cubicBezTo>
                  <a:cubicBezTo>
                    <a:pt x="416" y="206"/>
                    <a:pt x="415" y="205"/>
                    <a:pt x="414" y="205"/>
                  </a:cubicBezTo>
                  <a:cubicBezTo>
                    <a:pt x="410" y="205"/>
                    <a:pt x="407" y="206"/>
                    <a:pt x="403" y="207"/>
                  </a:cubicBezTo>
                  <a:cubicBezTo>
                    <a:pt x="400" y="208"/>
                    <a:pt x="396" y="209"/>
                    <a:pt x="393" y="209"/>
                  </a:cubicBezTo>
                  <a:cubicBezTo>
                    <a:pt x="390" y="209"/>
                    <a:pt x="388" y="209"/>
                    <a:pt x="386" y="208"/>
                  </a:cubicBezTo>
                  <a:cubicBezTo>
                    <a:pt x="383" y="207"/>
                    <a:pt x="379" y="206"/>
                    <a:pt x="375" y="206"/>
                  </a:cubicBezTo>
                  <a:close/>
                  <a:moveTo>
                    <a:pt x="291" y="212"/>
                  </a:moveTo>
                  <a:cubicBezTo>
                    <a:pt x="291" y="212"/>
                    <a:pt x="291" y="212"/>
                    <a:pt x="291" y="212"/>
                  </a:cubicBezTo>
                  <a:cubicBezTo>
                    <a:pt x="289" y="212"/>
                    <a:pt x="287" y="211"/>
                    <a:pt x="285" y="210"/>
                  </a:cubicBezTo>
                  <a:cubicBezTo>
                    <a:pt x="283" y="209"/>
                    <a:pt x="281" y="208"/>
                    <a:pt x="280" y="209"/>
                  </a:cubicBezTo>
                  <a:cubicBezTo>
                    <a:pt x="279" y="210"/>
                    <a:pt x="278" y="211"/>
                    <a:pt x="277" y="211"/>
                  </a:cubicBezTo>
                  <a:cubicBezTo>
                    <a:pt x="275" y="211"/>
                    <a:pt x="273" y="210"/>
                    <a:pt x="271" y="210"/>
                  </a:cubicBezTo>
                  <a:cubicBezTo>
                    <a:pt x="268" y="209"/>
                    <a:pt x="265" y="209"/>
                    <a:pt x="263" y="209"/>
                  </a:cubicBezTo>
                  <a:cubicBezTo>
                    <a:pt x="262" y="209"/>
                    <a:pt x="261" y="209"/>
                    <a:pt x="261" y="209"/>
                  </a:cubicBezTo>
                  <a:cubicBezTo>
                    <a:pt x="258" y="209"/>
                    <a:pt x="255" y="209"/>
                    <a:pt x="252" y="209"/>
                  </a:cubicBezTo>
                  <a:cubicBezTo>
                    <a:pt x="247" y="209"/>
                    <a:pt x="232" y="209"/>
                    <a:pt x="224" y="203"/>
                  </a:cubicBezTo>
                  <a:cubicBezTo>
                    <a:pt x="218" y="198"/>
                    <a:pt x="207" y="194"/>
                    <a:pt x="201" y="194"/>
                  </a:cubicBezTo>
                  <a:cubicBezTo>
                    <a:pt x="199" y="194"/>
                    <a:pt x="198" y="195"/>
                    <a:pt x="197" y="195"/>
                  </a:cubicBezTo>
                  <a:cubicBezTo>
                    <a:pt x="197" y="197"/>
                    <a:pt x="195" y="197"/>
                    <a:pt x="192" y="197"/>
                  </a:cubicBezTo>
                  <a:cubicBezTo>
                    <a:pt x="188" y="197"/>
                    <a:pt x="181" y="196"/>
                    <a:pt x="176" y="195"/>
                  </a:cubicBezTo>
                  <a:cubicBezTo>
                    <a:pt x="174" y="194"/>
                    <a:pt x="172" y="194"/>
                    <a:pt x="171" y="194"/>
                  </a:cubicBezTo>
                  <a:cubicBezTo>
                    <a:pt x="168" y="193"/>
                    <a:pt x="167" y="191"/>
                    <a:pt x="166" y="188"/>
                  </a:cubicBezTo>
                  <a:cubicBezTo>
                    <a:pt x="165" y="187"/>
                    <a:pt x="165" y="185"/>
                    <a:pt x="163" y="185"/>
                  </a:cubicBezTo>
                  <a:cubicBezTo>
                    <a:pt x="162" y="185"/>
                    <a:pt x="161" y="186"/>
                    <a:pt x="160" y="186"/>
                  </a:cubicBezTo>
                  <a:cubicBezTo>
                    <a:pt x="159" y="186"/>
                    <a:pt x="158" y="186"/>
                    <a:pt x="156" y="186"/>
                  </a:cubicBezTo>
                  <a:cubicBezTo>
                    <a:pt x="154" y="186"/>
                    <a:pt x="153" y="185"/>
                    <a:pt x="152" y="183"/>
                  </a:cubicBezTo>
                  <a:cubicBezTo>
                    <a:pt x="151" y="181"/>
                    <a:pt x="151" y="179"/>
                    <a:pt x="152" y="179"/>
                  </a:cubicBezTo>
                  <a:cubicBezTo>
                    <a:pt x="152" y="178"/>
                    <a:pt x="153" y="178"/>
                    <a:pt x="153" y="178"/>
                  </a:cubicBezTo>
                  <a:cubicBezTo>
                    <a:pt x="155" y="178"/>
                    <a:pt x="157" y="178"/>
                    <a:pt x="159" y="174"/>
                  </a:cubicBezTo>
                  <a:cubicBezTo>
                    <a:pt x="161" y="171"/>
                    <a:pt x="165" y="170"/>
                    <a:pt x="171" y="170"/>
                  </a:cubicBezTo>
                  <a:cubicBezTo>
                    <a:pt x="179" y="170"/>
                    <a:pt x="190" y="173"/>
                    <a:pt x="194" y="176"/>
                  </a:cubicBezTo>
                  <a:cubicBezTo>
                    <a:pt x="198" y="179"/>
                    <a:pt x="213" y="184"/>
                    <a:pt x="220" y="184"/>
                  </a:cubicBezTo>
                  <a:cubicBezTo>
                    <a:pt x="223" y="184"/>
                    <a:pt x="224" y="184"/>
                    <a:pt x="224" y="183"/>
                  </a:cubicBezTo>
                  <a:cubicBezTo>
                    <a:pt x="224" y="182"/>
                    <a:pt x="224" y="181"/>
                    <a:pt x="226" y="181"/>
                  </a:cubicBezTo>
                  <a:cubicBezTo>
                    <a:pt x="228" y="181"/>
                    <a:pt x="230" y="182"/>
                    <a:pt x="233" y="183"/>
                  </a:cubicBezTo>
                  <a:cubicBezTo>
                    <a:pt x="237" y="184"/>
                    <a:pt x="243" y="187"/>
                    <a:pt x="249" y="187"/>
                  </a:cubicBezTo>
                  <a:cubicBezTo>
                    <a:pt x="251" y="187"/>
                    <a:pt x="253" y="186"/>
                    <a:pt x="254" y="186"/>
                  </a:cubicBezTo>
                  <a:cubicBezTo>
                    <a:pt x="260" y="184"/>
                    <a:pt x="265" y="183"/>
                    <a:pt x="269" y="183"/>
                  </a:cubicBezTo>
                  <a:cubicBezTo>
                    <a:pt x="272" y="183"/>
                    <a:pt x="274" y="184"/>
                    <a:pt x="274" y="185"/>
                  </a:cubicBezTo>
                  <a:cubicBezTo>
                    <a:pt x="274" y="185"/>
                    <a:pt x="273" y="186"/>
                    <a:pt x="272" y="187"/>
                  </a:cubicBezTo>
                  <a:cubicBezTo>
                    <a:pt x="270" y="188"/>
                    <a:pt x="267" y="189"/>
                    <a:pt x="264" y="190"/>
                  </a:cubicBezTo>
                  <a:cubicBezTo>
                    <a:pt x="260" y="192"/>
                    <a:pt x="255" y="193"/>
                    <a:pt x="255" y="195"/>
                  </a:cubicBezTo>
                  <a:cubicBezTo>
                    <a:pt x="255" y="195"/>
                    <a:pt x="256" y="195"/>
                    <a:pt x="257" y="196"/>
                  </a:cubicBezTo>
                  <a:cubicBezTo>
                    <a:pt x="260" y="197"/>
                    <a:pt x="264" y="197"/>
                    <a:pt x="267" y="197"/>
                  </a:cubicBezTo>
                  <a:cubicBezTo>
                    <a:pt x="269" y="197"/>
                    <a:pt x="270" y="197"/>
                    <a:pt x="271" y="197"/>
                  </a:cubicBezTo>
                  <a:cubicBezTo>
                    <a:pt x="272" y="197"/>
                    <a:pt x="274" y="197"/>
                    <a:pt x="275" y="197"/>
                  </a:cubicBezTo>
                  <a:cubicBezTo>
                    <a:pt x="279" y="197"/>
                    <a:pt x="283" y="198"/>
                    <a:pt x="283" y="200"/>
                  </a:cubicBezTo>
                  <a:cubicBezTo>
                    <a:pt x="283" y="202"/>
                    <a:pt x="288" y="203"/>
                    <a:pt x="292" y="204"/>
                  </a:cubicBezTo>
                  <a:cubicBezTo>
                    <a:pt x="296" y="204"/>
                    <a:pt x="299" y="205"/>
                    <a:pt x="299" y="207"/>
                  </a:cubicBezTo>
                  <a:cubicBezTo>
                    <a:pt x="300" y="208"/>
                    <a:pt x="299" y="209"/>
                    <a:pt x="297" y="210"/>
                  </a:cubicBezTo>
                  <a:cubicBezTo>
                    <a:pt x="295" y="211"/>
                    <a:pt x="293" y="212"/>
                    <a:pt x="291" y="212"/>
                  </a:cubicBezTo>
                  <a:close/>
                  <a:moveTo>
                    <a:pt x="282" y="208"/>
                  </a:moveTo>
                  <a:cubicBezTo>
                    <a:pt x="283" y="208"/>
                    <a:pt x="284" y="208"/>
                    <a:pt x="285" y="209"/>
                  </a:cubicBezTo>
                  <a:cubicBezTo>
                    <a:pt x="287" y="210"/>
                    <a:pt x="289" y="211"/>
                    <a:pt x="291" y="211"/>
                  </a:cubicBezTo>
                  <a:cubicBezTo>
                    <a:pt x="291" y="211"/>
                    <a:pt x="291" y="211"/>
                    <a:pt x="291" y="211"/>
                  </a:cubicBezTo>
                  <a:cubicBezTo>
                    <a:pt x="293" y="211"/>
                    <a:pt x="295" y="210"/>
                    <a:pt x="297" y="209"/>
                  </a:cubicBezTo>
                  <a:cubicBezTo>
                    <a:pt x="298" y="208"/>
                    <a:pt x="299" y="207"/>
                    <a:pt x="298" y="207"/>
                  </a:cubicBezTo>
                  <a:cubicBezTo>
                    <a:pt x="298" y="206"/>
                    <a:pt x="294" y="205"/>
                    <a:pt x="291" y="205"/>
                  </a:cubicBezTo>
                  <a:cubicBezTo>
                    <a:pt x="287" y="204"/>
                    <a:pt x="282" y="203"/>
                    <a:pt x="282" y="200"/>
                  </a:cubicBezTo>
                  <a:cubicBezTo>
                    <a:pt x="282" y="199"/>
                    <a:pt x="280" y="198"/>
                    <a:pt x="275" y="198"/>
                  </a:cubicBezTo>
                  <a:cubicBezTo>
                    <a:pt x="274" y="198"/>
                    <a:pt x="272" y="198"/>
                    <a:pt x="271" y="198"/>
                  </a:cubicBezTo>
                  <a:cubicBezTo>
                    <a:pt x="270" y="198"/>
                    <a:pt x="269" y="198"/>
                    <a:pt x="267" y="198"/>
                  </a:cubicBezTo>
                  <a:cubicBezTo>
                    <a:pt x="264" y="198"/>
                    <a:pt x="260" y="198"/>
                    <a:pt x="257" y="197"/>
                  </a:cubicBezTo>
                  <a:cubicBezTo>
                    <a:pt x="256" y="197"/>
                    <a:pt x="254" y="196"/>
                    <a:pt x="254" y="195"/>
                  </a:cubicBezTo>
                  <a:cubicBezTo>
                    <a:pt x="254" y="193"/>
                    <a:pt x="258" y="191"/>
                    <a:pt x="264" y="189"/>
                  </a:cubicBezTo>
                  <a:cubicBezTo>
                    <a:pt x="267" y="188"/>
                    <a:pt x="270" y="187"/>
                    <a:pt x="271" y="186"/>
                  </a:cubicBezTo>
                  <a:cubicBezTo>
                    <a:pt x="273" y="185"/>
                    <a:pt x="273" y="185"/>
                    <a:pt x="273" y="185"/>
                  </a:cubicBezTo>
                  <a:cubicBezTo>
                    <a:pt x="273" y="185"/>
                    <a:pt x="272" y="184"/>
                    <a:pt x="269" y="184"/>
                  </a:cubicBezTo>
                  <a:cubicBezTo>
                    <a:pt x="265" y="184"/>
                    <a:pt x="260" y="185"/>
                    <a:pt x="255" y="187"/>
                  </a:cubicBezTo>
                  <a:cubicBezTo>
                    <a:pt x="253" y="187"/>
                    <a:pt x="251" y="188"/>
                    <a:pt x="249" y="188"/>
                  </a:cubicBezTo>
                  <a:cubicBezTo>
                    <a:pt x="243" y="188"/>
                    <a:pt x="237" y="185"/>
                    <a:pt x="232" y="184"/>
                  </a:cubicBezTo>
                  <a:cubicBezTo>
                    <a:pt x="230" y="183"/>
                    <a:pt x="227" y="182"/>
                    <a:pt x="226" y="182"/>
                  </a:cubicBezTo>
                  <a:cubicBezTo>
                    <a:pt x="225" y="182"/>
                    <a:pt x="225" y="182"/>
                    <a:pt x="225" y="183"/>
                  </a:cubicBezTo>
                  <a:cubicBezTo>
                    <a:pt x="225" y="184"/>
                    <a:pt x="224" y="185"/>
                    <a:pt x="220" y="185"/>
                  </a:cubicBezTo>
                  <a:cubicBezTo>
                    <a:pt x="213" y="185"/>
                    <a:pt x="198" y="180"/>
                    <a:pt x="193" y="176"/>
                  </a:cubicBezTo>
                  <a:cubicBezTo>
                    <a:pt x="189" y="174"/>
                    <a:pt x="179" y="171"/>
                    <a:pt x="171" y="171"/>
                  </a:cubicBezTo>
                  <a:cubicBezTo>
                    <a:pt x="167" y="171"/>
                    <a:pt x="162" y="171"/>
                    <a:pt x="160" y="174"/>
                  </a:cubicBezTo>
                  <a:cubicBezTo>
                    <a:pt x="157" y="179"/>
                    <a:pt x="155" y="179"/>
                    <a:pt x="154" y="179"/>
                  </a:cubicBezTo>
                  <a:cubicBezTo>
                    <a:pt x="153" y="179"/>
                    <a:pt x="153" y="179"/>
                    <a:pt x="153" y="179"/>
                  </a:cubicBezTo>
                  <a:cubicBezTo>
                    <a:pt x="152" y="180"/>
                    <a:pt x="153" y="182"/>
                    <a:pt x="153" y="183"/>
                  </a:cubicBezTo>
                  <a:cubicBezTo>
                    <a:pt x="153" y="185"/>
                    <a:pt x="154" y="185"/>
                    <a:pt x="156" y="185"/>
                  </a:cubicBezTo>
                  <a:cubicBezTo>
                    <a:pt x="157" y="185"/>
                    <a:pt x="159" y="185"/>
                    <a:pt x="160" y="185"/>
                  </a:cubicBezTo>
                  <a:cubicBezTo>
                    <a:pt x="161" y="185"/>
                    <a:pt x="162" y="184"/>
                    <a:pt x="163" y="184"/>
                  </a:cubicBezTo>
                  <a:cubicBezTo>
                    <a:pt x="165" y="184"/>
                    <a:pt x="166" y="186"/>
                    <a:pt x="167" y="188"/>
                  </a:cubicBezTo>
                  <a:cubicBezTo>
                    <a:pt x="168" y="190"/>
                    <a:pt x="168" y="192"/>
                    <a:pt x="171" y="193"/>
                  </a:cubicBezTo>
                  <a:cubicBezTo>
                    <a:pt x="172" y="193"/>
                    <a:pt x="174" y="193"/>
                    <a:pt x="176" y="194"/>
                  </a:cubicBezTo>
                  <a:cubicBezTo>
                    <a:pt x="181" y="195"/>
                    <a:pt x="188" y="196"/>
                    <a:pt x="192" y="196"/>
                  </a:cubicBezTo>
                  <a:cubicBezTo>
                    <a:pt x="195" y="196"/>
                    <a:pt x="196" y="196"/>
                    <a:pt x="196" y="195"/>
                  </a:cubicBezTo>
                  <a:cubicBezTo>
                    <a:pt x="197" y="194"/>
                    <a:pt x="199" y="193"/>
                    <a:pt x="201" y="193"/>
                  </a:cubicBezTo>
                  <a:cubicBezTo>
                    <a:pt x="207" y="193"/>
                    <a:pt x="218" y="197"/>
                    <a:pt x="225" y="202"/>
                  </a:cubicBezTo>
                  <a:cubicBezTo>
                    <a:pt x="232" y="208"/>
                    <a:pt x="247" y="208"/>
                    <a:pt x="252" y="208"/>
                  </a:cubicBezTo>
                  <a:cubicBezTo>
                    <a:pt x="255" y="208"/>
                    <a:pt x="258" y="208"/>
                    <a:pt x="260" y="208"/>
                  </a:cubicBezTo>
                  <a:cubicBezTo>
                    <a:pt x="261" y="208"/>
                    <a:pt x="262" y="208"/>
                    <a:pt x="263" y="208"/>
                  </a:cubicBezTo>
                  <a:cubicBezTo>
                    <a:pt x="266" y="208"/>
                    <a:pt x="268" y="208"/>
                    <a:pt x="271" y="209"/>
                  </a:cubicBezTo>
                  <a:cubicBezTo>
                    <a:pt x="273" y="210"/>
                    <a:pt x="275" y="210"/>
                    <a:pt x="277" y="210"/>
                  </a:cubicBezTo>
                  <a:cubicBezTo>
                    <a:pt x="278" y="210"/>
                    <a:pt x="279" y="210"/>
                    <a:pt x="279" y="209"/>
                  </a:cubicBezTo>
                  <a:cubicBezTo>
                    <a:pt x="280" y="208"/>
                    <a:pt x="281" y="208"/>
                    <a:pt x="282" y="208"/>
                  </a:cubicBezTo>
                  <a:close/>
                  <a:moveTo>
                    <a:pt x="136" y="170"/>
                  </a:moveTo>
                  <a:cubicBezTo>
                    <a:pt x="134" y="170"/>
                    <a:pt x="133" y="168"/>
                    <a:pt x="131" y="165"/>
                  </a:cubicBezTo>
                  <a:cubicBezTo>
                    <a:pt x="131" y="164"/>
                    <a:pt x="130" y="163"/>
                    <a:pt x="129" y="162"/>
                  </a:cubicBezTo>
                  <a:cubicBezTo>
                    <a:pt x="128" y="160"/>
                    <a:pt x="125" y="158"/>
                    <a:pt x="122" y="155"/>
                  </a:cubicBezTo>
                  <a:cubicBezTo>
                    <a:pt x="115" y="151"/>
                    <a:pt x="106" y="144"/>
                    <a:pt x="103" y="139"/>
                  </a:cubicBezTo>
                  <a:cubicBezTo>
                    <a:pt x="101" y="136"/>
                    <a:pt x="98" y="133"/>
                    <a:pt x="94" y="130"/>
                  </a:cubicBezTo>
                  <a:cubicBezTo>
                    <a:pt x="89" y="125"/>
                    <a:pt x="83" y="121"/>
                    <a:pt x="82" y="114"/>
                  </a:cubicBezTo>
                  <a:cubicBezTo>
                    <a:pt x="80" y="102"/>
                    <a:pt x="66" y="82"/>
                    <a:pt x="60" y="80"/>
                  </a:cubicBezTo>
                  <a:cubicBezTo>
                    <a:pt x="57" y="80"/>
                    <a:pt x="55" y="74"/>
                    <a:pt x="53" y="67"/>
                  </a:cubicBezTo>
                  <a:cubicBezTo>
                    <a:pt x="51" y="60"/>
                    <a:pt x="48" y="52"/>
                    <a:pt x="44" y="51"/>
                  </a:cubicBezTo>
                  <a:cubicBezTo>
                    <a:pt x="39" y="51"/>
                    <a:pt x="35" y="45"/>
                    <a:pt x="32" y="40"/>
                  </a:cubicBezTo>
                  <a:cubicBezTo>
                    <a:pt x="30" y="36"/>
                    <a:pt x="27" y="32"/>
                    <a:pt x="24" y="31"/>
                  </a:cubicBezTo>
                  <a:cubicBezTo>
                    <a:pt x="17" y="27"/>
                    <a:pt x="0" y="10"/>
                    <a:pt x="4" y="2"/>
                  </a:cubicBezTo>
                  <a:cubicBezTo>
                    <a:pt x="5" y="1"/>
                    <a:pt x="5" y="0"/>
                    <a:pt x="6" y="0"/>
                  </a:cubicBezTo>
                  <a:cubicBezTo>
                    <a:pt x="8" y="0"/>
                    <a:pt x="9" y="1"/>
                    <a:pt x="11" y="2"/>
                  </a:cubicBezTo>
                  <a:cubicBezTo>
                    <a:pt x="14" y="4"/>
                    <a:pt x="18" y="7"/>
                    <a:pt x="23" y="7"/>
                  </a:cubicBezTo>
                  <a:cubicBezTo>
                    <a:pt x="36" y="7"/>
                    <a:pt x="42" y="10"/>
                    <a:pt x="45" y="17"/>
                  </a:cubicBezTo>
                  <a:cubicBezTo>
                    <a:pt x="46" y="21"/>
                    <a:pt x="53" y="26"/>
                    <a:pt x="59" y="30"/>
                  </a:cubicBezTo>
                  <a:cubicBezTo>
                    <a:pt x="64" y="33"/>
                    <a:pt x="69" y="37"/>
                    <a:pt x="70" y="39"/>
                  </a:cubicBezTo>
                  <a:cubicBezTo>
                    <a:pt x="72" y="46"/>
                    <a:pt x="78" y="52"/>
                    <a:pt x="81" y="52"/>
                  </a:cubicBezTo>
                  <a:cubicBezTo>
                    <a:pt x="81" y="52"/>
                    <a:pt x="81" y="52"/>
                    <a:pt x="81" y="52"/>
                  </a:cubicBezTo>
                  <a:cubicBezTo>
                    <a:pt x="84" y="50"/>
                    <a:pt x="90" y="52"/>
                    <a:pt x="93" y="56"/>
                  </a:cubicBezTo>
                  <a:cubicBezTo>
                    <a:pt x="95" y="58"/>
                    <a:pt x="96" y="58"/>
                    <a:pt x="97" y="58"/>
                  </a:cubicBezTo>
                  <a:cubicBezTo>
                    <a:pt x="98" y="58"/>
                    <a:pt x="100" y="58"/>
                    <a:pt x="102" y="61"/>
                  </a:cubicBezTo>
                  <a:cubicBezTo>
                    <a:pt x="104" y="63"/>
                    <a:pt x="106" y="64"/>
                    <a:pt x="107" y="64"/>
                  </a:cubicBezTo>
                  <a:cubicBezTo>
                    <a:pt x="108" y="65"/>
                    <a:pt x="110" y="66"/>
                    <a:pt x="110" y="68"/>
                  </a:cubicBezTo>
                  <a:cubicBezTo>
                    <a:pt x="110" y="70"/>
                    <a:pt x="111" y="70"/>
                    <a:pt x="113" y="71"/>
                  </a:cubicBezTo>
                  <a:cubicBezTo>
                    <a:pt x="115" y="71"/>
                    <a:pt x="117" y="72"/>
                    <a:pt x="117" y="75"/>
                  </a:cubicBezTo>
                  <a:cubicBezTo>
                    <a:pt x="117" y="77"/>
                    <a:pt x="120" y="79"/>
                    <a:pt x="122" y="81"/>
                  </a:cubicBezTo>
                  <a:cubicBezTo>
                    <a:pt x="124" y="82"/>
                    <a:pt x="126" y="84"/>
                    <a:pt x="126" y="86"/>
                  </a:cubicBezTo>
                  <a:cubicBezTo>
                    <a:pt x="126" y="87"/>
                    <a:pt x="125" y="88"/>
                    <a:pt x="124" y="89"/>
                  </a:cubicBezTo>
                  <a:cubicBezTo>
                    <a:pt x="122" y="91"/>
                    <a:pt x="121" y="93"/>
                    <a:pt x="122" y="95"/>
                  </a:cubicBezTo>
                  <a:cubicBezTo>
                    <a:pt x="122" y="97"/>
                    <a:pt x="124" y="98"/>
                    <a:pt x="127" y="98"/>
                  </a:cubicBezTo>
                  <a:cubicBezTo>
                    <a:pt x="131" y="98"/>
                    <a:pt x="133" y="101"/>
                    <a:pt x="134" y="105"/>
                  </a:cubicBezTo>
                  <a:cubicBezTo>
                    <a:pt x="136" y="108"/>
                    <a:pt x="137" y="111"/>
                    <a:pt x="140" y="111"/>
                  </a:cubicBezTo>
                  <a:cubicBezTo>
                    <a:pt x="144" y="111"/>
                    <a:pt x="145" y="114"/>
                    <a:pt x="145" y="116"/>
                  </a:cubicBezTo>
                  <a:cubicBezTo>
                    <a:pt x="146" y="117"/>
                    <a:pt x="146" y="119"/>
                    <a:pt x="149" y="119"/>
                  </a:cubicBezTo>
                  <a:cubicBezTo>
                    <a:pt x="152" y="118"/>
                    <a:pt x="155" y="120"/>
                    <a:pt x="156" y="121"/>
                  </a:cubicBezTo>
                  <a:cubicBezTo>
                    <a:pt x="156" y="122"/>
                    <a:pt x="157" y="122"/>
                    <a:pt x="157" y="122"/>
                  </a:cubicBezTo>
                  <a:cubicBezTo>
                    <a:pt x="157" y="122"/>
                    <a:pt x="157" y="122"/>
                    <a:pt x="158" y="122"/>
                  </a:cubicBezTo>
                  <a:cubicBezTo>
                    <a:pt x="158" y="120"/>
                    <a:pt x="158" y="119"/>
                    <a:pt x="157" y="118"/>
                  </a:cubicBezTo>
                  <a:cubicBezTo>
                    <a:pt x="156" y="117"/>
                    <a:pt x="155" y="116"/>
                    <a:pt x="152" y="115"/>
                  </a:cubicBezTo>
                  <a:cubicBezTo>
                    <a:pt x="150" y="115"/>
                    <a:pt x="148" y="113"/>
                    <a:pt x="149" y="111"/>
                  </a:cubicBezTo>
                  <a:cubicBezTo>
                    <a:pt x="149" y="110"/>
                    <a:pt x="150" y="108"/>
                    <a:pt x="154" y="108"/>
                  </a:cubicBezTo>
                  <a:cubicBezTo>
                    <a:pt x="159" y="108"/>
                    <a:pt x="162" y="112"/>
                    <a:pt x="164" y="116"/>
                  </a:cubicBezTo>
                  <a:cubicBezTo>
                    <a:pt x="165" y="118"/>
                    <a:pt x="165" y="119"/>
                    <a:pt x="166" y="120"/>
                  </a:cubicBezTo>
                  <a:cubicBezTo>
                    <a:pt x="168" y="120"/>
                    <a:pt x="169" y="124"/>
                    <a:pt x="169" y="126"/>
                  </a:cubicBezTo>
                  <a:cubicBezTo>
                    <a:pt x="169" y="129"/>
                    <a:pt x="167" y="130"/>
                    <a:pt x="166" y="130"/>
                  </a:cubicBezTo>
                  <a:cubicBezTo>
                    <a:pt x="165" y="129"/>
                    <a:pt x="164" y="129"/>
                    <a:pt x="164" y="129"/>
                  </a:cubicBezTo>
                  <a:cubicBezTo>
                    <a:pt x="161" y="129"/>
                    <a:pt x="160" y="130"/>
                    <a:pt x="160" y="132"/>
                  </a:cubicBezTo>
                  <a:cubicBezTo>
                    <a:pt x="160" y="134"/>
                    <a:pt x="160" y="135"/>
                    <a:pt x="159" y="137"/>
                  </a:cubicBezTo>
                  <a:cubicBezTo>
                    <a:pt x="159" y="140"/>
                    <a:pt x="158" y="144"/>
                    <a:pt x="158" y="147"/>
                  </a:cubicBezTo>
                  <a:cubicBezTo>
                    <a:pt x="159" y="153"/>
                    <a:pt x="158" y="165"/>
                    <a:pt x="155" y="169"/>
                  </a:cubicBezTo>
                  <a:cubicBezTo>
                    <a:pt x="154" y="169"/>
                    <a:pt x="153" y="170"/>
                    <a:pt x="153" y="170"/>
                  </a:cubicBezTo>
                  <a:cubicBezTo>
                    <a:pt x="153" y="170"/>
                    <a:pt x="153" y="170"/>
                    <a:pt x="153" y="170"/>
                  </a:cubicBezTo>
                  <a:cubicBezTo>
                    <a:pt x="153" y="170"/>
                    <a:pt x="153" y="170"/>
                    <a:pt x="152" y="170"/>
                  </a:cubicBezTo>
                  <a:cubicBezTo>
                    <a:pt x="151" y="169"/>
                    <a:pt x="150" y="169"/>
                    <a:pt x="148" y="169"/>
                  </a:cubicBezTo>
                  <a:cubicBezTo>
                    <a:pt x="146" y="168"/>
                    <a:pt x="143" y="167"/>
                    <a:pt x="141" y="167"/>
                  </a:cubicBezTo>
                  <a:cubicBezTo>
                    <a:pt x="139" y="167"/>
                    <a:pt x="138" y="168"/>
                    <a:pt x="137" y="169"/>
                  </a:cubicBezTo>
                  <a:cubicBezTo>
                    <a:pt x="137" y="170"/>
                    <a:pt x="136" y="170"/>
                    <a:pt x="136" y="170"/>
                  </a:cubicBezTo>
                  <a:close/>
                  <a:moveTo>
                    <a:pt x="6" y="1"/>
                  </a:moveTo>
                  <a:cubicBezTo>
                    <a:pt x="6" y="1"/>
                    <a:pt x="6" y="1"/>
                    <a:pt x="5" y="2"/>
                  </a:cubicBezTo>
                  <a:cubicBezTo>
                    <a:pt x="2" y="9"/>
                    <a:pt x="17" y="25"/>
                    <a:pt x="25" y="30"/>
                  </a:cubicBezTo>
                  <a:cubicBezTo>
                    <a:pt x="28" y="32"/>
                    <a:pt x="30" y="36"/>
                    <a:pt x="33" y="40"/>
                  </a:cubicBezTo>
                  <a:cubicBezTo>
                    <a:pt x="36" y="45"/>
                    <a:pt x="39" y="50"/>
                    <a:pt x="44" y="50"/>
                  </a:cubicBezTo>
                  <a:cubicBezTo>
                    <a:pt x="49" y="51"/>
                    <a:pt x="52" y="59"/>
                    <a:pt x="54" y="67"/>
                  </a:cubicBezTo>
                  <a:cubicBezTo>
                    <a:pt x="56" y="73"/>
                    <a:pt x="57" y="79"/>
                    <a:pt x="60" y="80"/>
                  </a:cubicBezTo>
                  <a:cubicBezTo>
                    <a:pt x="67" y="81"/>
                    <a:pt x="81" y="103"/>
                    <a:pt x="83" y="113"/>
                  </a:cubicBezTo>
                  <a:cubicBezTo>
                    <a:pt x="84" y="120"/>
                    <a:pt x="90" y="125"/>
                    <a:pt x="95" y="129"/>
                  </a:cubicBezTo>
                  <a:cubicBezTo>
                    <a:pt x="99" y="132"/>
                    <a:pt x="102" y="135"/>
                    <a:pt x="104" y="138"/>
                  </a:cubicBezTo>
                  <a:cubicBezTo>
                    <a:pt x="107" y="143"/>
                    <a:pt x="116" y="150"/>
                    <a:pt x="122" y="155"/>
                  </a:cubicBezTo>
                  <a:cubicBezTo>
                    <a:pt x="126" y="157"/>
                    <a:pt x="129" y="160"/>
                    <a:pt x="130" y="161"/>
                  </a:cubicBezTo>
                  <a:cubicBezTo>
                    <a:pt x="131" y="162"/>
                    <a:pt x="132" y="163"/>
                    <a:pt x="132" y="165"/>
                  </a:cubicBezTo>
                  <a:cubicBezTo>
                    <a:pt x="133" y="167"/>
                    <a:pt x="135" y="169"/>
                    <a:pt x="136" y="169"/>
                  </a:cubicBezTo>
                  <a:cubicBezTo>
                    <a:pt x="136" y="169"/>
                    <a:pt x="136" y="169"/>
                    <a:pt x="137" y="168"/>
                  </a:cubicBezTo>
                  <a:cubicBezTo>
                    <a:pt x="137" y="167"/>
                    <a:pt x="139" y="166"/>
                    <a:pt x="141" y="166"/>
                  </a:cubicBezTo>
                  <a:cubicBezTo>
                    <a:pt x="143" y="166"/>
                    <a:pt x="146" y="167"/>
                    <a:pt x="148" y="168"/>
                  </a:cubicBezTo>
                  <a:cubicBezTo>
                    <a:pt x="150" y="168"/>
                    <a:pt x="151" y="168"/>
                    <a:pt x="153" y="169"/>
                  </a:cubicBezTo>
                  <a:cubicBezTo>
                    <a:pt x="153" y="169"/>
                    <a:pt x="153" y="169"/>
                    <a:pt x="153" y="169"/>
                  </a:cubicBezTo>
                  <a:cubicBezTo>
                    <a:pt x="153" y="169"/>
                    <a:pt x="153" y="168"/>
                    <a:pt x="154" y="168"/>
                  </a:cubicBezTo>
                  <a:cubicBezTo>
                    <a:pt x="157" y="165"/>
                    <a:pt x="158" y="153"/>
                    <a:pt x="157" y="148"/>
                  </a:cubicBezTo>
                  <a:cubicBezTo>
                    <a:pt x="157" y="144"/>
                    <a:pt x="158" y="140"/>
                    <a:pt x="159" y="137"/>
                  </a:cubicBezTo>
                  <a:cubicBezTo>
                    <a:pt x="159" y="135"/>
                    <a:pt x="159" y="134"/>
                    <a:pt x="159" y="132"/>
                  </a:cubicBezTo>
                  <a:cubicBezTo>
                    <a:pt x="159" y="129"/>
                    <a:pt x="162" y="128"/>
                    <a:pt x="166" y="129"/>
                  </a:cubicBezTo>
                  <a:cubicBezTo>
                    <a:pt x="167" y="129"/>
                    <a:pt x="168" y="127"/>
                    <a:pt x="168" y="126"/>
                  </a:cubicBezTo>
                  <a:cubicBezTo>
                    <a:pt x="168" y="124"/>
                    <a:pt x="168" y="121"/>
                    <a:pt x="166" y="120"/>
                  </a:cubicBezTo>
                  <a:cubicBezTo>
                    <a:pt x="165" y="120"/>
                    <a:pt x="164" y="118"/>
                    <a:pt x="163" y="116"/>
                  </a:cubicBezTo>
                  <a:cubicBezTo>
                    <a:pt x="161" y="113"/>
                    <a:pt x="159" y="109"/>
                    <a:pt x="154" y="109"/>
                  </a:cubicBezTo>
                  <a:cubicBezTo>
                    <a:pt x="151" y="109"/>
                    <a:pt x="150" y="110"/>
                    <a:pt x="150" y="111"/>
                  </a:cubicBezTo>
                  <a:cubicBezTo>
                    <a:pt x="149" y="113"/>
                    <a:pt x="151" y="114"/>
                    <a:pt x="153" y="114"/>
                  </a:cubicBezTo>
                  <a:cubicBezTo>
                    <a:pt x="155" y="115"/>
                    <a:pt x="157" y="116"/>
                    <a:pt x="158" y="118"/>
                  </a:cubicBezTo>
                  <a:cubicBezTo>
                    <a:pt x="159" y="119"/>
                    <a:pt x="159" y="121"/>
                    <a:pt x="159" y="122"/>
                  </a:cubicBezTo>
                  <a:cubicBezTo>
                    <a:pt x="158" y="122"/>
                    <a:pt x="158" y="123"/>
                    <a:pt x="157" y="123"/>
                  </a:cubicBezTo>
                  <a:cubicBezTo>
                    <a:pt x="157" y="123"/>
                    <a:pt x="156" y="123"/>
                    <a:pt x="155" y="122"/>
                  </a:cubicBezTo>
                  <a:cubicBezTo>
                    <a:pt x="154" y="121"/>
                    <a:pt x="152" y="119"/>
                    <a:pt x="149" y="120"/>
                  </a:cubicBezTo>
                  <a:cubicBezTo>
                    <a:pt x="146" y="120"/>
                    <a:pt x="145" y="118"/>
                    <a:pt x="144" y="116"/>
                  </a:cubicBezTo>
                  <a:cubicBezTo>
                    <a:pt x="144" y="114"/>
                    <a:pt x="143" y="112"/>
                    <a:pt x="140" y="112"/>
                  </a:cubicBezTo>
                  <a:cubicBezTo>
                    <a:pt x="136" y="112"/>
                    <a:pt x="135" y="108"/>
                    <a:pt x="133" y="105"/>
                  </a:cubicBezTo>
                  <a:cubicBezTo>
                    <a:pt x="132" y="102"/>
                    <a:pt x="131" y="99"/>
                    <a:pt x="127" y="99"/>
                  </a:cubicBezTo>
                  <a:cubicBezTo>
                    <a:pt x="123" y="99"/>
                    <a:pt x="121" y="97"/>
                    <a:pt x="121" y="96"/>
                  </a:cubicBezTo>
                  <a:cubicBezTo>
                    <a:pt x="120" y="93"/>
                    <a:pt x="121" y="90"/>
                    <a:pt x="124" y="88"/>
                  </a:cubicBezTo>
                  <a:cubicBezTo>
                    <a:pt x="124" y="87"/>
                    <a:pt x="125" y="87"/>
                    <a:pt x="125" y="86"/>
                  </a:cubicBezTo>
                  <a:cubicBezTo>
                    <a:pt x="125" y="85"/>
                    <a:pt x="123" y="83"/>
                    <a:pt x="121" y="81"/>
                  </a:cubicBezTo>
                  <a:cubicBezTo>
                    <a:pt x="119" y="79"/>
                    <a:pt x="116" y="77"/>
                    <a:pt x="116" y="75"/>
                  </a:cubicBezTo>
                  <a:cubicBezTo>
                    <a:pt x="116" y="73"/>
                    <a:pt x="115" y="72"/>
                    <a:pt x="113" y="72"/>
                  </a:cubicBezTo>
                  <a:cubicBezTo>
                    <a:pt x="111" y="71"/>
                    <a:pt x="109" y="71"/>
                    <a:pt x="109" y="68"/>
                  </a:cubicBezTo>
                  <a:cubicBezTo>
                    <a:pt x="109" y="66"/>
                    <a:pt x="108" y="66"/>
                    <a:pt x="106" y="65"/>
                  </a:cubicBezTo>
                  <a:cubicBezTo>
                    <a:pt x="105" y="65"/>
                    <a:pt x="103" y="64"/>
                    <a:pt x="101" y="61"/>
                  </a:cubicBezTo>
                  <a:cubicBezTo>
                    <a:pt x="99" y="59"/>
                    <a:pt x="98" y="59"/>
                    <a:pt x="97" y="59"/>
                  </a:cubicBezTo>
                  <a:cubicBezTo>
                    <a:pt x="96" y="59"/>
                    <a:pt x="94" y="59"/>
                    <a:pt x="92" y="57"/>
                  </a:cubicBezTo>
                  <a:cubicBezTo>
                    <a:pt x="90" y="54"/>
                    <a:pt x="86" y="52"/>
                    <a:pt x="83" y="52"/>
                  </a:cubicBezTo>
                  <a:cubicBezTo>
                    <a:pt x="82" y="52"/>
                    <a:pt x="82" y="52"/>
                    <a:pt x="82" y="52"/>
                  </a:cubicBezTo>
                  <a:cubicBezTo>
                    <a:pt x="81" y="53"/>
                    <a:pt x="81" y="53"/>
                    <a:pt x="81" y="53"/>
                  </a:cubicBezTo>
                  <a:cubicBezTo>
                    <a:pt x="77" y="53"/>
                    <a:pt x="71" y="46"/>
                    <a:pt x="69" y="40"/>
                  </a:cubicBezTo>
                  <a:cubicBezTo>
                    <a:pt x="68" y="37"/>
                    <a:pt x="63" y="34"/>
                    <a:pt x="58" y="31"/>
                  </a:cubicBezTo>
                  <a:cubicBezTo>
                    <a:pt x="52" y="26"/>
                    <a:pt x="46" y="22"/>
                    <a:pt x="44" y="18"/>
                  </a:cubicBezTo>
                  <a:cubicBezTo>
                    <a:pt x="42" y="11"/>
                    <a:pt x="35" y="8"/>
                    <a:pt x="23" y="8"/>
                  </a:cubicBezTo>
                  <a:cubicBezTo>
                    <a:pt x="23" y="8"/>
                    <a:pt x="23" y="8"/>
                    <a:pt x="23" y="8"/>
                  </a:cubicBezTo>
                  <a:cubicBezTo>
                    <a:pt x="17" y="8"/>
                    <a:pt x="13" y="5"/>
                    <a:pt x="10" y="3"/>
                  </a:cubicBezTo>
                  <a:cubicBezTo>
                    <a:pt x="9" y="2"/>
                    <a:pt x="7" y="1"/>
                    <a:pt x="6" y="1"/>
                  </a:cubicBezTo>
                  <a:close/>
                  <a:moveTo>
                    <a:pt x="359" y="169"/>
                  </a:moveTo>
                  <a:cubicBezTo>
                    <a:pt x="358" y="169"/>
                    <a:pt x="358" y="169"/>
                    <a:pt x="357" y="168"/>
                  </a:cubicBezTo>
                  <a:cubicBezTo>
                    <a:pt x="355" y="166"/>
                    <a:pt x="357" y="158"/>
                    <a:pt x="358" y="152"/>
                  </a:cubicBezTo>
                  <a:cubicBezTo>
                    <a:pt x="359" y="149"/>
                    <a:pt x="360" y="142"/>
                    <a:pt x="357" y="139"/>
                  </a:cubicBezTo>
                  <a:cubicBezTo>
                    <a:pt x="357" y="137"/>
                    <a:pt x="356" y="137"/>
                    <a:pt x="354" y="137"/>
                  </a:cubicBezTo>
                  <a:cubicBezTo>
                    <a:pt x="350" y="137"/>
                    <a:pt x="344" y="136"/>
                    <a:pt x="343" y="132"/>
                  </a:cubicBezTo>
                  <a:cubicBezTo>
                    <a:pt x="341" y="130"/>
                    <a:pt x="342" y="126"/>
                    <a:pt x="345" y="121"/>
                  </a:cubicBezTo>
                  <a:cubicBezTo>
                    <a:pt x="349" y="115"/>
                    <a:pt x="351" y="108"/>
                    <a:pt x="352" y="103"/>
                  </a:cubicBezTo>
                  <a:cubicBezTo>
                    <a:pt x="354" y="98"/>
                    <a:pt x="355" y="94"/>
                    <a:pt x="357" y="93"/>
                  </a:cubicBezTo>
                  <a:cubicBezTo>
                    <a:pt x="358" y="93"/>
                    <a:pt x="359" y="89"/>
                    <a:pt x="359" y="86"/>
                  </a:cubicBezTo>
                  <a:cubicBezTo>
                    <a:pt x="360" y="80"/>
                    <a:pt x="362" y="73"/>
                    <a:pt x="367" y="72"/>
                  </a:cubicBezTo>
                  <a:cubicBezTo>
                    <a:pt x="370" y="71"/>
                    <a:pt x="372" y="69"/>
                    <a:pt x="374" y="68"/>
                  </a:cubicBezTo>
                  <a:cubicBezTo>
                    <a:pt x="376" y="66"/>
                    <a:pt x="378" y="64"/>
                    <a:pt x="381" y="64"/>
                  </a:cubicBezTo>
                  <a:cubicBezTo>
                    <a:pt x="382" y="64"/>
                    <a:pt x="383" y="64"/>
                    <a:pt x="385" y="64"/>
                  </a:cubicBezTo>
                  <a:cubicBezTo>
                    <a:pt x="389" y="66"/>
                    <a:pt x="402" y="70"/>
                    <a:pt x="413" y="70"/>
                  </a:cubicBezTo>
                  <a:cubicBezTo>
                    <a:pt x="416" y="70"/>
                    <a:pt x="419" y="70"/>
                    <a:pt x="421" y="68"/>
                  </a:cubicBezTo>
                  <a:cubicBezTo>
                    <a:pt x="422" y="68"/>
                    <a:pt x="423" y="67"/>
                    <a:pt x="424" y="67"/>
                  </a:cubicBezTo>
                  <a:cubicBezTo>
                    <a:pt x="430" y="62"/>
                    <a:pt x="435" y="59"/>
                    <a:pt x="437" y="59"/>
                  </a:cubicBezTo>
                  <a:cubicBezTo>
                    <a:pt x="438" y="60"/>
                    <a:pt x="438" y="60"/>
                    <a:pt x="438" y="60"/>
                  </a:cubicBezTo>
                  <a:cubicBezTo>
                    <a:pt x="438" y="61"/>
                    <a:pt x="438" y="62"/>
                    <a:pt x="437" y="63"/>
                  </a:cubicBezTo>
                  <a:cubicBezTo>
                    <a:pt x="434" y="69"/>
                    <a:pt x="425" y="79"/>
                    <a:pt x="416" y="79"/>
                  </a:cubicBezTo>
                  <a:cubicBezTo>
                    <a:pt x="414" y="79"/>
                    <a:pt x="413" y="79"/>
                    <a:pt x="411" y="78"/>
                  </a:cubicBezTo>
                  <a:cubicBezTo>
                    <a:pt x="408" y="77"/>
                    <a:pt x="403" y="76"/>
                    <a:pt x="396" y="76"/>
                  </a:cubicBezTo>
                  <a:cubicBezTo>
                    <a:pt x="381" y="76"/>
                    <a:pt x="365" y="80"/>
                    <a:pt x="364" y="89"/>
                  </a:cubicBezTo>
                  <a:cubicBezTo>
                    <a:pt x="363" y="93"/>
                    <a:pt x="364" y="97"/>
                    <a:pt x="367" y="100"/>
                  </a:cubicBezTo>
                  <a:cubicBezTo>
                    <a:pt x="370" y="103"/>
                    <a:pt x="374" y="105"/>
                    <a:pt x="377" y="105"/>
                  </a:cubicBezTo>
                  <a:cubicBezTo>
                    <a:pt x="378" y="105"/>
                    <a:pt x="380" y="105"/>
                    <a:pt x="381" y="103"/>
                  </a:cubicBezTo>
                  <a:cubicBezTo>
                    <a:pt x="383" y="97"/>
                    <a:pt x="397" y="92"/>
                    <a:pt x="406" y="92"/>
                  </a:cubicBezTo>
                  <a:cubicBezTo>
                    <a:pt x="409" y="92"/>
                    <a:pt x="411" y="93"/>
                    <a:pt x="411" y="94"/>
                  </a:cubicBezTo>
                  <a:cubicBezTo>
                    <a:pt x="412" y="95"/>
                    <a:pt x="412" y="96"/>
                    <a:pt x="411" y="96"/>
                  </a:cubicBezTo>
                  <a:cubicBezTo>
                    <a:pt x="409" y="102"/>
                    <a:pt x="394" y="109"/>
                    <a:pt x="389" y="111"/>
                  </a:cubicBezTo>
                  <a:cubicBezTo>
                    <a:pt x="388" y="111"/>
                    <a:pt x="387" y="112"/>
                    <a:pt x="387" y="112"/>
                  </a:cubicBezTo>
                  <a:cubicBezTo>
                    <a:pt x="386" y="115"/>
                    <a:pt x="389" y="119"/>
                    <a:pt x="394" y="122"/>
                  </a:cubicBezTo>
                  <a:cubicBezTo>
                    <a:pt x="398" y="124"/>
                    <a:pt x="397" y="128"/>
                    <a:pt x="396" y="131"/>
                  </a:cubicBezTo>
                  <a:cubicBezTo>
                    <a:pt x="396" y="134"/>
                    <a:pt x="395" y="136"/>
                    <a:pt x="397" y="139"/>
                  </a:cubicBezTo>
                  <a:cubicBezTo>
                    <a:pt x="400" y="142"/>
                    <a:pt x="402" y="145"/>
                    <a:pt x="401" y="147"/>
                  </a:cubicBezTo>
                  <a:cubicBezTo>
                    <a:pt x="401" y="148"/>
                    <a:pt x="399" y="150"/>
                    <a:pt x="396" y="151"/>
                  </a:cubicBezTo>
                  <a:cubicBezTo>
                    <a:pt x="395" y="151"/>
                    <a:pt x="394" y="151"/>
                    <a:pt x="392" y="152"/>
                  </a:cubicBezTo>
                  <a:cubicBezTo>
                    <a:pt x="390" y="153"/>
                    <a:pt x="388" y="154"/>
                    <a:pt x="386" y="154"/>
                  </a:cubicBezTo>
                  <a:cubicBezTo>
                    <a:pt x="383" y="154"/>
                    <a:pt x="382" y="152"/>
                    <a:pt x="382" y="148"/>
                  </a:cubicBezTo>
                  <a:cubicBezTo>
                    <a:pt x="382" y="145"/>
                    <a:pt x="380" y="143"/>
                    <a:pt x="378" y="141"/>
                  </a:cubicBezTo>
                  <a:cubicBezTo>
                    <a:pt x="375" y="140"/>
                    <a:pt x="373" y="138"/>
                    <a:pt x="375" y="134"/>
                  </a:cubicBezTo>
                  <a:cubicBezTo>
                    <a:pt x="376" y="132"/>
                    <a:pt x="376" y="130"/>
                    <a:pt x="375" y="129"/>
                  </a:cubicBezTo>
                  <a:cubicBezTo>
                    <a:pt x="374" y="127"/>
                    <a:pt x="372" y="126"/>
                    <a:pt x="370" y="126"/>
                  </a:cubicBezTo>
                  <a:cubicBezTo>
                    <a:pt x="369" y="126"/>
                    <a:pt x="367" y="126"/>
                    <a:pt x="366" y="128"/>
                  </a:cubicBezTo>
                  <a:cubicBezTo>
                    <a:pt x="365" y="133"/>
                    <a:pt x="364" y="151"/>
                    <a:pt x="368" y="154"/>
                  </a:cubicBezTo>
                  <a:cubicBezTo>
                    <a:pt x="369" y="155"/>
                    <a:pt x="370" y="157"/>
                    <a:pt x="369" y="159"/>
                  </a:cubicBezTo>
                  <a:cubicBezTo>
                    <a:pt x="369" y="162"/>
                    <a:pt x="366" y="167"/>
                    <a:pt x="360" y="169"/>
                  </a:cubicBezTo>
                  <a:cubicBezTo>
                    <a:pt x="360" y="169"/>
                    <a:pt x="360" y="169"/>
                    <a:pt x="359" y="169"/>
                  </a:cubicBezTo>
                  <a:close/>
                  <a:moveTo>
                    <a:pt x="381" y="65"/>
                  </a:moveTo>
                  <a:cubicBezTo>
                    <a:pt x="378" y="65"/>
                    <a:pt x="376" y="66"/>
                    <a:pt x="375" y="68"/>
                  </a:cubicBezTo>
                  <a:cubicBezTo>
                    <a:pt x="373" y="70"/>
                    <a:pt x="371" y="72"/>
                    <a:pt x="367" y="73"/>
                  </a:cubicBezTo>
                  <a:cubicBezTo>
                    <a:pt x="363" y="73"/>
                    <a:pt x="361" y="80"/>
                    <a:pt x="360" y="86"/>
                  </a:cubicBezTo>
                  <a:cubicBezTo>
                    <a:pt x="359" y="90"/>
                    <a:pt x="359" y="93"/>
                    <a:pt x="357" y="94"/>
                  </a:cubicBezTo>
                  <a:cubicBezTo>
                    <a:pt x="355" y="95"/>
                    <a:pt x="354" y="99"/>
                    <a:pt x="353" y="103"/>
                  </a:cubicBezTo>
                  <a:cubicBezTo>
                    <a:pt x="352" y="108"/>
                    <a:pt x="350" y="115"/>
                    <a:pt x="346" y="122"/>
                  </a:cubicBezTo>
                  <a:cubicBezTo>
                    <a:pt x="343" y="126"/>
                    <a:pt x="342" y="129"/>
                    <a:pt x="343" y="132"/>
                  </a:cubicBezTo>
                  <a:cubicBezTo>
                    <a:pt x="345" y="135"/>
                    <a:pt x="350" y="136"/>
                    <a:pt x="354" y="136"/>
                  </a:cubicBezTo>
                  <a:cubicBezTo>
                    <a:pt x="356" y="136"/>
                    <a:pt x="357" y="137"/>
                    <a:pt x="358" y="138"/>
                  </a:cubicBezTo>
                  <a:cubicBezTo>
                    <a:pt x="361" y="142"/>
                    <a:pt x="360" y="149"/>
                    <a:pt x="359" y="152"/>
                  </a:cubicBezTo>
                  <a:cubicBezTo>
                    <a:pt x="357" y="160"/>
                    <a:pt x="357" y="166"/>
                    <a:pt x="358" y="168"/>
                  </a:cubicBezTo>
                  <a:cubicBezTo>
                    <a:pt x="359" y="168"/>
                    <a:pt x="359" y="168"/>
                    <a:pt x="360" y="168"/>
                  </a:cubicBezTo>
                  <a:cubicBezTo>
                    <a:pt x="365" y="166"/>
                    <a:pt x="368" y="162"/>
                    <a:pt x="368" y="159"/>
                  </a:cubicBezTo>
                  <a:cubicBezTo>
                    <a:pt x="369" y="157"/>
                    <a:pt x="369" y="156"/>
                    <a:pt x="367" y="155"/>
                  </a:cubicBezTo>
                  <a:cubicBezTo>
                    <a:pt x="363" y="152"/>
                    <a:pt x="364" y="132"/>
                    <a:pt x="365" y="128"/>
                  </a:cubicBezTo>
                  <a:cubicBezTo>
                    <a:pt x="366" y="126"/>
                    <a:pt x="368" y="125"/>
                    <a:pt x="370" y="125"/>
                  </a:cubicBezTo>
                  <a:cubicBezTo>
                    <a:pt x="372" y="125"/>
                    <a:pt x="375" y="126"/>
                    <a:pt x="376" y="128"/>
                  </a:cubicBezTo>
                  <a:cubicBezTo>
                    <a:pt x="377" y="129"/>
                    <a:pt x="377" y="131"/>
                    <a:pt x="376" y="134"/>
                  </a:cubicBezTo>
                  <a:cubicBezTo>
                    <a:pt x="374" y="137"/>
                    <a:pt x="376" y="139"/>
                    <a:pt x="378" y="141"/>
                  </a:cubicBezTo>
                  <a:cubicBezTo>
                    <a:pt x="381" y="142"/>
                    <a:pt x="383" y="144"/>
                    <a:pt x="383" y="148"/>
                  </a:cubicBezTo>
                  <a:cubicBezTo>
                    <a:pt x="383" y="152"/>
                    <a:pt x="385" y="153"/>
                    <a:pt x="386" y="153"/>
                  </a:cubicBezTo>
                  <a:cubicBezTo>
                    <a:pt x="387" y="153"/>
                    <a:pt x="390" y="152"/>
                    <a:pt x="392" y="151"/>
                  </a:cubicBezTo>
                  <a:cubicBezTo>
                    <a:pt x="393" y="151"/>
                    <a:pt x="395" y="150"/>
                    <a:pt x="396" y="150"/>
                  </a:cubicBezTo>
                  <a:cubicBezTo>
                    <a:pt x="398" y="149"/>
                    <a:pt x="400" y="148"/>
                    <a:pt x="400" y="146"/>
                  </a:cubicBezTo>
                  <a:cubicBezTo>
                    <a:pt x="401" y="145"/>
                    <a:pt x="399" y="143"/>
                    <a:pt x="396" y="139"/>
                  </a:cubicBezTo>
                  <a:cubicBezTo>
                    <a:pt x="394" y="137"/>
                    <a:pt x="395" y="134"/>
                    <a:pt x="395" y="131"/>
                  </a:cubicBezTo>
                  <a:cubicBezTo>
                    <a:pt x="396" y="127"/>
                    <a:pt x="397" y="125"/>
                    <a:pt x="394" y="123"/>
                  </a:cubicBezTo>
                  <a:cubicBezTo>
                    <a:pt x="389" y="120"/>
                    <a:pt x="385" y="115"/>
                    <a:pt x="386" y="112"/>
                  </a:cubicBezTo>
                  <a:cubicBezTo>
                    <a:pt x="386" y="111"/>
                    <a:pt x="387" y="110"/>
                    <a:pt x="389" y="110"/>
                  </a:cubicBezTo>
                  <a:cubicBezTo>
                    <a:pt x="394" y="109"/>
                    <a:pt x="408" y="101"/>
                    <a:pt x="410" y="96"/>
                  </a:cubicBezTo>
                  <a:cubicBezTo>
                    <a:pt x="411" y="95"/>
                    <a:pt x="411" y="95"/>
                    <a:pt x="411" y="94"/>
                  </a:cubicBezTo>
                  <a:cubicBezTo>
                    <a:pt x="410" y="94"/>
                    <a:pt x="408" y="93"/>
                    <a:pt x="406" y="93"/>
                  </a:cubicBezTo>
                  <a:cubicBezTo>
                    <a:pt x="397" y="93"/>
                    <a:pt x="383" y="98"/>
                    <a:pt x="382" y="103"/>
                  </a:cubicBezTo>
                  <a:cubicBezTo>
                    <a:pt x="381" y="105"/>
                    <a:pt x="380" y="106"/>
                    <a:pt x="377" y="106"/>
                  </a:cubicBezTo>
                  <a:cubicBezTo>
                    <a:pt x="374" y="106"/>
                    <a:pt x="369" y="104"/>
                    <a:pt x="366" y="100"/>
                  </a:cubicBezTo>
                  <a:cubicBezTo>
                    <a:pt x="363" y="97"/>
                    <a:pt x="362" y="93"/>
                    <a:pt x="363" y="89"/>
                  </a:cubicBezTo>
                  <a:cubicBezTo>
                    <a:pt x="364" y="79"/>
                    <a:pt x="381" y="75"/>
                    <a:pt x="396" y="75"/>
                  </a:cubicBezTo>
                  <a:cubicBezTo>
                    <a:pt x="403" y="75"/>
                    <a:pt x="408" y="76"/>
                    <a:pt x="412" y="77"/>
                  </a:cubicBezTo>
                  <a:cubicBezTo>
                    <a:pt x="413" y="78"/>
                    <a:pt x="415" y="78"/>
                    <a:pt x="416" y="78"/>
                  </a:cubicBezTo>
                  <a:cubicBezTo>
                    <a:pt x="425" y="78"/>
                    <a:pt x="433" y="69"/>
                    <a:pt x="436" y="63"/>
                  </a:cubicBezTo>
                  <a:cubicBezTo>
                    <a:pt x="437" y="61"/>
                    <a:pt x="437" y="61"/>
                    <a:pt x="437" y="61"/>
                  </a:cubicBezTo>
                  <a:cubicBezTo>
                    <a:pt x="437" y="60"/>
                    <a:pt x="437" y="60"/>
                    <a:pt x="437" y="60"/>
                  </a:cubicBezTo>
                  <a:cubicBezTo>
                    <a:pt x="435" y="60"/>
                    <a:pt x="429" y="64"/>
                    <a:pt x="424" y="67"/>
                  </a:cubicBezTo>
                  <a:cubicBezTo>
                    <a:pt x="423" y="68"/>
                    <a:pt x="423" y="69"/>
                    <a:pt x="422" y="69"/>
                  </a:cubicBezTo>
                  <a:cubicBezTo>
                    <a:pt x="420" y="71"/>
                    <a:pt x="417" y="71"/>
                    <a:pt x="413" y="71"/>
                  </a:cubicBezTo>
                  <a:cubicBezTo>
                    <a:pt x="402" y="71"/>
                    <a:pt x="389" y="67"/>
                    <a:pt x="385" y="65"/>
                  </a:cubicBezTo>
                  <a:cubicBezTo>
                    <a:pt x="383" y="65"/>
                    <a:pt x="382" y="65"/>
                    <a:pt x="381" y="65"/>
                  </a:cubicBezTo>
                  <a:close/>
                  <a:moveTo>
                    <a:pt x="286" y="143"/>
                  </a:moveTo>
                  <a:cubicBezTo>
                    <a:pt x="286" y="143"/>
                    <a:pt x="286" y="143"/>
                    <a:pt x="286" y="143"/>
                  </a:cubicBezTo>
                  <a:cubicBezTo>
                    <a:pt x="283" y="143"/>
                    <a:pt x="283" y="142"/>
                    <a:pt x="282" y="141"/>
                  </a:cubicBezTo>
                  <a:cubicBezTo>
                    <a:pt x="282" y="136"/>
                    <a:pt x="269" y="133"/>
                    <a:pt x="264" y="133"/>
                  </a:cubicBezTo>
                  <a:cubicBezTo>
                    <a:pt x="264" y="133"/>
                    <a:pt x="264" y="133"/>
                    <a:pt x="264" y="133"/>
                  </a:cubicBezTo>
                  <a:cubicBezTo>
                    <a:pt x="263" y="132"/>
                    <a:pt x="259" y="133"/>
                    <a:pt x="256" y="134"/>
                  </a:cubicBezTo>
                  <a:cubicBezTo>
                    <a:pt x="253" y="135"/>
                    <a:pt x="250" y="136"/>
                    <a:pt x="248" y="136"/>
                  </a:cubicBezTo>
                  <a:cubicBezTo>
                    <a:pt x="246" y="136"/>
                    <a:pt x="245" y="135"/>
                    <a:pt x="245" y="134"/>
                  </a:cubicBezTo>
                  <a:cubicBezTo>
                    <a:pt x="243" y="131"/>
                    <a:pt x="240" y="128"/>
                    <a:pt x="237" y="128"/>
                  </a:cubicBezTo>
                  <a:cubicBezTo>
                    <a:pt x="236" y="128"/>
                    <a:pt x="235" y="128"/>
                    <a:pt x="234" y="129"/>
                  </a:cubicBezTo>
                  <a:cubicBezTo>
                    <a:pt x="233" y="130"/>
                    <a:pt x="232" y="130"/>
                    <a:pt x="231" y="130"/>
                  </a:cubicBezTo>
                  <a:cubicBezTo>
                    <a:pt x="226" y="130"/>
                    <a:pt x="219" y="117"/>
                    <a:pt x="219" y="109"/>
                  </a:cubicBezTo>
                  <a:cubicBezTo>
                    <a:pt x="219" y="104"/>
                    <a:pt x="215" y="101"/>
                    <a:pt x="212" y="99"/>
                  </a:cubicBezTo>
                  <a:cubicBezTo>
                    <a:pt x="210" y="98"/>
                    <a:pt x="208" y="97"/>
                    <a:pt x="207" y="95"/>
                  </a:cubicBezTo>
                  <a:cubicBezTo>
                    <a:pt x="205" y="93"/>
                    <a:pt x="205" y="90"/>
                    <a:pt x="205" y="88"/>
                  </a:cubicBezTo>
                  <a:cubicBezTo>
                    <a:pt x="204" y="83"/>
                    <a:pt x="203" y="78"/>
                    <a:pt x="199" y="75"/>
                  </a:cubicBezTo>
                  <a:cubicBezTo>
                    <a:pt x="197" y="73"/>
                    <a:pt x="197" y="70"/>
                    <a:pt x="198" y="66"/>
                  </a:cubicBezTo>
                  <a:cubicBezTo>
                    <a:pt x="200" y="60"/>
                    <a:pt x="205" y="54"/>
                    <a:pt x="209" y="54"/>
                  </a:cubicBezTo>
                  <a:cubicBezTo>
                    <a:pt x="209" y="54"/>
                    <a:pt x="210" y="54"/>
                    <a:pt x="211" y="54"/>
                  </a:cubicBezTo>
                  <a:cubicBezTo>
                    <a:pt x="211" y="54"/>
                    <a:pt x="211" y="54"/>
                    <a:pt x="211" y="54"/>
                  </a:cubicBezTo>
                  <a:cubicBezTo>
                    <a:pt x="211" y="54"/>
                    <a:pt x="211" y="54"/>
                    <a:pt x="211" y="54"/>
                  </a:cubicBezTo>
                  <a:cubicBezTo>
                    <a:pt x="213" y="63"/>
                    <a:pt x="214" y="63"/>
                    <a:pt x="215" y="63"/>
                  </a:cubicBezTo>
                  <a:cubicBezTo>
                    <a:pt x="217" y="63"/>
                    <a:pt x="218" y="65"/>
                    <a:pt x="220" y="66"/>
                  </a:cubicBezTo>
                  <a:cubicBezTo>
                    <a:pt x="222" y="68"/>
                    <a:pt x="224" y="70"/>
                    <a:pt x="225" y="70"/>
                  </a:cubicBezTo>
                  <a:cubicBezTo>
                    <a:pt x="226" y="70"/>
                    <a:pt x="226" y="70"/>
                    <a:pt x="227" y="69"/>
                  </a:cubicBezTo>
                  <a:cubicBezTo>
                    <a:pt x="228" y="68"/>
                    <a:pt x="231" y="68"/>
                    <a:pt x="233" y="68"/>
                  </a:cubicBezTo>
                  <a:cubicBezTo>
                    <a:pt x="234" y="68"/>
                    <a:pt x="236" y="68"/>
                    <a:pt x="237" y="68"/>
                  </a:cubicBezTo>
                  <a:cubicBezTo>
                    <a:pt x="238" y="68"/>
                    <a:pt x="239" y="68"/>
                    <a:pt x="240" y="68"/>
                  </a:cubicBezTo>
                  <a:cubicBezTo>
                    <a:pt x="243" y="68"/>
                    <a:pt x="244" y="68"/>
                    <a:pt x="246" y="67"/>
                  </a:cubicBezTo>
                  <a:cubicBezTo>
                    <a:pt x="247" y="67"/>
                    <a:pt x="249" y="66"/>
                    <a:pt x="250" y="65"/>
                  </a:cubicBezTo>
                  <a:cubicBezTo>
                    <a:pt x="252" y="63"/>
                    <a:pt x="255" y="61"/>
                    <a:pt x="260" y="61"/>
                  </a:cubicBezTo>
                  <a:cubicBezTo>
                    <a:pt x="265" y="61"/>
                    <a:pt x="266" y="63"/>
                    <a:pt x="267" y="64"/>
                  </a:cubicBezTo>
                  <a:cubicBezTo>
                    <a:pt x="268" y="65"/>
                    <a:pt x="269" y="65"/>
                    <a:pt x="270" y="65"/>
                  </a:cubicBezTo>
                  <a:cubicBezTo>
                    <a:pt x="271" y="65"/>
                    <a:pt x="272" y="65"/>
                    <a:pt x="274" y="64"/>
                  </a:cubicBezTo>
                  <a:cubicBezTo>
                    <a:pt x="277" y="62"/>
                    <a:pt x="280" y="62"/>
                    <a:pt x="282" y="61"/>
                  </a:cubicBezTo>
                  <a:cubicBezTo>
                    <a:pt x="286" y="61"/>
                    <a:pt x="287" y="60"/>
                    <a:pt x="287" y="56"/>
                  </a:cubicBezTo>
                  <a:cubicBezTo>
                    <a:pt x="286" y="52"/>
                    <a:pt x="288" y="50"/>
                    <a:pt x="289" y="48"/>
                  </a:cubicBezTo>
                  <a:cubicBezTo>
                    <a:pt x="290" y="46"/>
                    <a:pt x="291" y="45"/>
                    <a:pt x="291" y="42"/>
                  </a:cubicBezTo>
                  <a:cubicBezTo>
                    <a:pt x="291" y="39"/>
                    <a:pt x="293" y="38"/>
                    <a:pt x="295" y="38"/>
                  </a:cubicBezTo>
                  <a:cubicBezTo>
                    <a:pt x="297" y="37"/>
                    <a:pt x="300" y="35"/>
                    <a:pt x="300" y="29"/>
                  </a:cubicBezTo>
                  <a:cubicBezTo>
                    <a:pt x="299" y="27"/>
                    <a:pt x="300" y="25"/>
                    <a:pt x="301" y="23"/>
                  </a:cubicBezTo>
                  <a:cubicBezTo>
                    <a:pt x="305" y="20"/>
                    <a:pt x="311" y="19"/>
                    <a:pt x="316" y="19"/>
                  </a:cubicBezTo>
                  <a:cubicBezTo>
                    <a:pt x="318" y="19"/>
                    <a:pt x="319" y="19"/>
                    <a:pt x="320" y="19"/>
                  </a:cubicBezTo>
                  <a:cubicBezTo>
                    <a:pt x="321" y="19"/>
                    <a:pt x="322" y="19"/>
                    <a:pt x="322" y="19"/>
                  </a:cubicBezTo>
                  <a:cubicBezTo>
                    <a:pt x="324" y="19"/>
                    <a:pt x="326" y="20"/>
                    <a:pt x="330" y="22"/>
                  </a:cubicBezTo>
                  <a:cubicBezTo>
                    <a:pt x="330" y="22"/>
                    <a:pt x="330" y="22"/>
                    <a:pt x="330" y="22"/>
                  </a:cubicBezTo>
                  <a:cubicBezTo>
                    <a:pt x="330" y="23"/>
                    <a:pt x="330" y="23"/>
                    <a:pt x="330" y="23"/>
                  </a:cubicBezTo>
                  <a:cubicBezTo>
                    <a:pt x="329" y="23"/>
                    <a:pt x="328" y="23"/>
                    <a:pt x="327" y="24"/>
                  </a:cubicBezTo>
                  <a:cubicBezTo>
                    <a:pt x="326" y="25"/>
                    <a:pt x="326" y="27"/>
                    <a:pt x="328" y="29"/>
                  </a:cubicBezTo>
                  <a:cubicBezTo>
                    <a:pt x="328" y="31"/>
                    <a:pt x="329" y="32"/>
                    <a:pt x="328" y="33"/>
                  </a:cubicBezTo>
                  <a:cubicBezTo>
                    <a:pt x="328" y="34"/>
                    <a:pt x="327" y="34"/>
                    <a:pt x="326" y="34"/>
                  </a:cubicBezTo>
                  <a:cubicBezTo>
                    <a:pt x="325" y="35"/>
                    <a:pt x="325" y="35"/>
                    <a:pt x="325" y="35"/>
                  </a:cubicBezTo>
                  <a:cubicBezTo>
                    <a:pt x="324" y="38"/>
                    <a:pt x="328" y="44"/>
                    <a:pt x="331" y="47"/>
                  </a:cubicBezTo>
                  <a:cubicBezTo>
                    <a:pt x="333" y="48"/>
                    <a:pt x="333" y="50"/>
                    <a:pt x="333" y="52"/>
                  </a:cubicBezTo>
                  <a:cubicBezTo>
                    <a:pt x="333" y="55"/>
                    <a:pt x="333" y="57"/>
                    <a:pt x="336" y="58"/>
                  </a:cubicBezTo>
                  <a:cubicBezTo>
                    <a:pt x="340" y="60"/>
                    <a:pt x="346" y="64"/>
                    <a:pt x="347" y="68"/>
                  </a:cubicBezTo>
                  <a:cubicBezTo>
                    <a:pt x="347" y="69"/>
                    <a:pt x="347" y="70"/>
                    <a:pt x="346" y="70"/>
                  </a:cubicBezTo>
                  <a:cubicBezTo>
                    <a:pt x="345" y="72"/>
                    <a:pt x="342" y="73"/>
                    <a:pt x="338" y="74"/>
                  </a:cubicBezTo>
                  <a:cubicBezTo>
                    <a:pt x="332" y="75"/>
                    <a:pt x="324" y="77"/>
                    <a:pt x="324" y="83"/>
                  </a:cubicBezTo>
                  <a:cubicBezTo>
                    <a:pt x="325" y="90"/>
                    <a:pt x="324" y="100"/>
                    <a:pt x="315" y="105"/>
                  </a:cubicBezTo>
                  <a:cubicBezTo>
                    <a:pt x="312" y="108"/>
                    <a:pt x="311" y="115"/>
                    <a:pt x="310" y="121"/>
                  </a:cubicBezTo>
                  <a:cubicBezTo>
                    <a:pt x="309" y="129"/>
                    <a:pt x="309" y="136"/>
                    <a:pt x="304" y="138"/>
                  </a:cubicBezTo>
                  <a:cubicBezTo>
                    <a:pt x="303" y="138"/>
                    <a:pt x="302" y="139"/>
                    <a:pt x="300" y="139"/>
                  </a:cubicBezTo>
                  <a:cubicBezTo>
                    <a:pt x="295" y="141"/>
                    <a:pt x="290" y="143"/>
                    <a:pt x="286" y="143"/>
                  </a:cubicBezTo>
                  <a:close/>
                  <a:moveTo>
                    <a:pt x="263" y="131"/>
                  </a:moveTo>
                  <a:cubicBezTo>
                    <a:pt x="264" y="131"/>
                    <a:pt x="264" y="131"/>
                    <a:pt x="264" y="132"/>
                  </a:cubicBezTo>
                  <a:cubicBezTo>
                    <a:pt x="265" y="132"/>
                    <a:pt x="265" y="132"/>
                    <a:pt x="265" y="132"/>
                  </a:cubicBezTo>
                  <a:cubicBezTo>
                    <a:pt x="270" y="133"/>
                    <a:pt x="282" y="135"/>
                    <a:pt x="283" y="141"/>
                  </a:cubicBezTo>
                  <a:cubicBezTo>
                    <a:pt x="283" y="141"/>
                    <a:pt x="284" y="142"/>
                    <a:pt x="286" y="142"/>
                  </a:cubicBezTo>
                  <a:cubicBezTo>
                    <a:pt x="289" y="142"/>
                    <a:pt x="295" y="140"/>
                    <a:pt x="300" y="138"/>
                  </a:cubicBezTo>
                  <a:cubicBezTo>
                    <a:pt x="301" y="138"/>
                    <a:pt x="303" y="137"/>
                    <a:pt x="304" y="137"/>
                  </a:cubicBezTo>
                  <a:cubicBezTo>
                    <a:pt x="308" y="135"/>
                    <a:pt x="308" y="128"/>
                    <a:pt x="309" y="121"/>
                  </a:cubicBezTo>
                  <a:cubicBezTo>
                    <a:pt x="310" y="114"/>
                    <a:pt x="311" y="107"/>
                    <a:pt x="315" y="105"/>
                  </a:cubicBezTo>
                  <a:cubicBezTo>
                    <a:pt x="323" y="99"/>
                    <a:pt x="324" y="90"/>
                    <a:pt x="323" y="83"/>
                  </a:cubicBezTo>
                  <a:cubicBezTo>
                    <a:pt x="323" y="77"/>
                    <a:pt x="331" y="74"/>
                    <a:pt x="338" y="73"/>
                  </a:cubicBezTo>
                  <a:cubicBezTo>
                    <a:pt x="341" y="72"/>
                    <a:pt x="344" y="71"/>
                    <a:pt x="345" y="70"/>
                  </a:cubicBezTo>
                  <a:cubicBezTo>
                    <a:pt x="346" y="69"/>
                    <a:pt x="346" y="69"/>
                    <a:pt x="346" y="68"/>
                  </a:cubicBezTo>
                  <a:cubicBezTo>
                    <a:pt x="345" y="65"/>
                    <a:pt x="340" y="61"/>
                    <a:pt x="336" y="59"/>
                  </a:cubicBezTo>
                  <a:cubicBezTo>
                    <a:pt x="332" y="57"/>
                    <a:pt x="332" y="55"/>
                    <a:pt x="332" y="52"/>
                  </a:cubicBezTo>
                  <a:cubicBezTo>
                    <a:pt x="332" y="50"/>
                    <a:pt x="332" y="49"/>
                    <a:pt x="331" y="47"/>
                  </a:cubicBezTo>
                  <a:cubicBezTo>
                    <a:pt x="328" y="45"/>
                    <a:pt x="323" y="38"/>
                    <a:pt x="324" y="35"/>
                  </a:cubicBezTo>
                  <a:cubicBezTo>
                    <a:pt x="324" y="34"/>
                    <a:pt x="325" y="34"/>
                    <a:pt x="326" y="33"/>
                  </a:cubicBezTo>
                  <a:cubicBezTo>
                    <a:pt x="327" y="33"/>
                    <a:pt x="327" y="33"/>
                    <a:pt x="328" y="33"/>
                  </a:cubicBezTo>
                  <a:cubicBezTo>
                    <a:pt x="328" y="32"/>
                    <a:pt x="327" y="31"/>
                    <a:pt x="327" y="30"/>
                  </a:cubicBezTo>
                  <a:cubicBezTo>
                    <a:pt x="325" y="27"/>
                    <a:pt x="324" y="24"/>
                    <a:pt x="327" y="23"/>
                  </a:cubicBezTo>
                  <a:cubicBezTo>
                    <a:pt x="328" y="22"/>
                    <a:pt x="328" y="22"/>
                    <a:pt x="328" y="22"/>
                  </a:cubicBezTo>
                  <a:cubicBezTo>
                    <a:pt x="326" y="21"/>
                    <a:pt x="324" y="20"/>
                    <a:pt x="322" y="20"/>
                  </a:cubicBezTo>
                  <a:cubicBezTo>
                    <a:pt x="322" y="20"/>
                    <a:pt x="321" y="20"/>
                    <a:pt x="320" y="20"/>
                  </a:cubicBezTo>
                  <a:cubicBezTo>
                    <a:pt x="319" y="20"/>
                    <a:pt x="318" y="20"/>
                    <a:pt x="316" y="20"/>
                  </a:cubicBezTo>
                  <a:cubicBezTo>
                    <a:pt x="312" y="20"/>
                    <a:pt x="305" y="21"/>
                    <a:pt x="302" y="24"/>
                  </a:cubicBezTo>
                  <a:cubicBezTo>
                    <a:pt x="301" y="25"/>
                    <a:pt x="300" y="27"/>
                    <a:pt x="301" y="29"/>
                  </a:cubicBezTo>
                  <a:cubicBezTo>
                    <a:pt x="301" y="36"/>
                    <a:pt x="298" y="37"/>
                    <a:pt x="295" y="39"/>
                  </a:cubicBezTo>
                  <a:cubicBezTo>
                    <a:pt x="293" y="39"/>
                    <a:pt x="292" y="40"/>
                    <a:pt x="292" y="42"/>
                  </a:cubicBezTo>
                  <a:cubicBezTo>
                    <a:pt x="292" y="45"/>
                    <a:pt x="291" y="47"/>
                    <a:pt x="290" y="48"/>
                  </a:cubicBezTo>
                  <a:cubicBezTo>
                    <a:pt x="289" y="50"/>
                    <a:pt x="287" y="52"/>
                    <a:pt x="288" y="56"/>
                  </a:cubicBezTo>
                  <a:cubicBezTo>
                    <a:pt x="288" y="61"/>
                    <a:pt x="286" y="62"/>
                    <a:pt x="282" y="62"/>
                  </a:cubicBezTo>
                  <a:cubicBezTo>
                    <a:pt x="280" y="63"/>
                    <a:pt x="278" y="63"/>
                    <a:pt x="274" y="65"/>
                  </a:cubicBezTo>
                  <a:cubicBezTo>
                    <a:pt x="272" y="66"/>
                    <a:pt x="271" y="66"/>
                    <a:pt x="270" y="66"/>
                  </a:cubicBezTo>
                  <a:cubicBezTo>
                    <a:pt x="268" y="66"/>
                    <a:pt x="267" y="66"/>
                    <a:pt x="267" y="65"/>
                  </a:cubicBezTo>
                  <a:cubicBezTo>
                    <a:pt x="265" y="64"/>
                    <a:pt x="264" y="62"/>
                    <a:pt x="260" y="62"/>
                  </a:cubicBezTo>
                  <a:cubicBezTo>
                    <a:pt x="255" y="62"/>
                    <a:pt x="253" y="64"/>
                    <a:pt x="251" y="66"/>
                  </a:cubicBezTo>
                  <a:cubicBezTo>
                    <a:pt x="249" y="67"/>
                    <a:pt x="248" y="68"/>
                    <a:pt x="246" y="68"/>
                  </a:cubicBezTo>
                  <a:cubicBezTo>
                    <a:pt x="245" y="69"/>
                    <a:pt x="243" y="69"/>
                    <a:pt x="240" y="69"/>
                  </a:cubicBezTo>
                  <a:cubicBezTo>
                    <a:pt x="239" y="69"/>
                    <a:pt x="238" y="69"/>
                    <a:pt x="237" y="69"/>
                  </a:cubicBezTo>
                  <a:cubicBezTo>
                    <a:pt x="236" y="69"/>
                    <a:pt x="234" y="69"/>
                    <a:pt x="233" y="69"/>
                  </a:cubicBezTo>
                  <a:cubicBezTo>
                    <a:pt x="231" y="69"/>
                    <a:pt x="229" y="69"/>
                    <a:pt x="227" y="70"/>
                  </a:cubicBezTo>
                  <a:cubicBezTo>
                    <a:pt x="227" y="70"/>
                    <a:pt x="226" y="71"/>
                    <a:pt x="225" y="71"/>
                  </a:cubicBezTo>
                  <a:cubicBezTo>
                    <a:pt x="224" y="71"/>
                    <a:pt x="222" y="69"/>
                    <a:pt x="220" y="67"/>
                  </a:cubicBezTo>
                  <a:cubicBezTo>
                    <a:pt x="218" y="66"/>
                    <a:pt x="216" y="64"/>
                    <a:pt x="215" y="64"/>
                  </a:cubicBezTo>
                  <a:cubicBezTo>
                    <a:pt x="214" y="64"/>
                    <a:pt x="212" y="63"/>
                    <a:pt x="210" y="55"/>
                  </a:cubicBezTo>
                  <a:cubicBezTo>
                    <a:pt x="209" y="55"/>
                    <a:pt x="209" y="55"/>
                    <a:pt x="209" y="55"/>
                  </a:cubicBezTo>
                  <a:cubicBezTo>
                    <a:pt x="206" y="55"/>
                    <a:pt x="201" y="60"/>
                    <a:pt x="199" y="66"/>
                  </a:cubicBezTo>
                  <a:cubicBezTo>
                    <a:pt x="198" y="68"/>
                    <a:pt x="197" y="72"/>
                    <a:pt x="200" y="74"/>
                  </a:cubicBezTo>
                  <a:cubicBezTo>
                    <a:pt x="204" y="78"/>
                    <a:pt x="205" y="83"/>
                    <a:pt x="206" y="87"/>
                  </a:cubicBezTo>
                  <a:cubicBezTo>
                    <a:pt x="206" y="90"/>
                    <a:pt x="206" y="93"/>
                    <a:pt x="208" y="94"/>
                  </a:cubicBezTo>
                  <a:cubicBezTo>
                    <a:pt x="209" y="96"/>
                    <a:pt x="210" y="97"/>
                    <a:pt x="212" y="98"/>
                  </a:cubicBezTo>
                  <a:cubicBezTo>
                    <a:pt x="216" y="101"/>
                    <a:pt x="220" y="103"/>
                    <a:pt x="220" y="109"/>
                  </a:cubicBezTo>
                  <a:cubicBezTo>
                    <a:pt x="220" y="117"/>
                    <a:pt x="227" y="129"/>
                    <a:pt x="231" y="129"/>
                  </a:cubicBezTo>
                  <a:cubicBezTo>
                    <a:pt x="232" y="129"/>
                    <a:pt x="233" y="129"/>
                    <a:pt x="233" y="128"/>
                  </a:cubicBezTo>
                  <a:cubicBezTo>
                    <a:pt x="234" y="127"/>
                    <a:pt x="236" y="127"/>
                    <a:pt x="237" y="127"/>
                  </a:cubicBezTo>
                  <a:cubicBezTo>
                    <a:pt x="241" y="127"/>
                    <a:pt x="244" y="131"/>
                    <a:pt x="245" y="134"/>
                  </a:cubicBezTo>
                  <a:cubicBezTo>
                    <a:pt x="246" y="134"/>
                    <a:pt x="246" y="135"/>
                    <a:pt x="248" y="135"/>
                  </a:cubicBezTo>
                  <a:cubicBezTo>
                    <a:pt x="250" y="135"/>
                    <a:pt x="253" y="134"/>
                    <a:pt x="256" y="133"/>
                  </a:cubicBezTo>
                  <a:cubicBezTo>
                    <a:pt x="259" y="132"/>
                    <a:pt x="262" y="131"/>
                    <a:pt x="263" y="131"/>
                  </a:cubicBezTo>
                  <a:close/>
                  <a:moveTo>
                    <a:pt x="519" y="142"/>
                  </a:moveTo>
                  <a:cubicBezTo>
                    <a:pt x="517" y="142"/>
                    <a:pt x="515" y="140"/>
                    <a:pt x="512" y="139"/>
                  </a:cubicBezTo>
                  <a:cubicBezTo>
                    <a:pt x="509" y="137"/>
                    <a:pt x="506" y="135"/>
                    <a:pt x="500" y="135"/>
                  </a:cubicBezTo>
                  <a:cubicBezTo>
                    <a:pt x="498" y="135"/>
                    <a:pt x="496" y="135"/>
                    <a:pt x="494" y="135"/>
                  </a:cubicBezTo>
                  <a:cubicBezTo>
                    <a:pt x="492" y="135"/>
                    <a:pt x="491" y="136"/>
                    <a:pt x="489" y="136"/>
                  </a:cubicBezTo>
                  <a:cubicBezTo>
                    <a:pt x="485" y="136"/>
                    <a:pt x="481" y="135"/>
                    <a:pt x="480" y="132"/>
                  </a:cubicBezTo>
                  <a:cubicBezTo>
                    <a:pt x="480" y="131"/>
                    <a:pt x="480" y="130"/>
                    <a:pt x="481" y="129"/>
                  </a:cubicBezTo>
                  <a:cubicBezTo>
                    <a:pt x="483" y="126"/>
                    <a:pt x="491" y="124"/>
                    <a:pt x="498" y="124"/>
                  </a:cubicBezTo>
                  <a:cubicBezTo>
                    <a:pt x="502" y="124"/>
                    <a:pt x="506" y="125"/>
                    <a:pt x="509" y="126"/>
                  </a:cubicBezTo>
                  <a:cubicBezTo>
                    <a:pt x="518" y="129"/>
                    <a:pt x="522" y="136"/>
                    <a:pt x="521" y="139"/>
                  </a:cubicBezTo>
                  <a:cubicBezTo>
                    <a:pt x="521" y="141"/>
                    <a:pt x="520" y="142"/>
                    <a:pt x="519" y="142"/>
                  </a:cubicBezTo>
                  <a:close/>
                  <a:moveTo>
                    <a:pt x="500" y="134"/>
                  </a:moveTo>
                  <a:cubicBezTo>
                    <a:pt x="506" y="134"/>
                    <a:pt x="510" y="136"/>
                    <a:pt x="513" y="138"/>
                  </a:cubicBezTo>
                  <a:cubicBezTo>
                    <a:pt x="515" y="139"/>
                    <a:pt x="517" y="141"/>
                    <a:pt x="519" y="141"/>
                  </a:cubicBezTo>
                  <a:cubicBezTo>
                    <a:pt x="520" y="141"/>
                    <a:pt x="520" y="140"/>
                    <a:pt x="521" y="139"/>
                  </a:cubicBezTo>
                  <a:cubicBezTo>
                    <a:pt x="521" y="136"/>
                    <a:pt x="517" y="130"/>
                    <a:pt x="509" y="127"/>
                  </a:cubicBezTo>
                  <a:cubicBezTo>
                    <a:pt x="506" y="126"/>
                    <a:pt x="502" y="125"/>
                    <a:pt x="498" y="125"/>
                  </a:cubicBezTo>
                  <a:cubicBezTo>
                    <a:pt x="490" y="125"/>
                    <a:pt x="483" y="127"/>
                    <a:pt x="481" y="130"/>
                  </a:cubicBezTo>
                  <a:cubicBezTo>
                    <a:pt x="481" y="131"/>
                    <a:pt x="481" y="131"/>
                    <a:pt x="481" y="131"/>
                  </a:cubicBezTo>
                  <a:cubicBezTo>
                    <a:pt x="482" y="134"/>
                    <a:pt x="484" y="135"/>
                    <a:pt x="489" y="135"/>
                  </a:cubicBezTo>
                  <a:cubicBezTo>
                    <a:pt x="490" y="135"/>
                    <a:pt x="492" y="134"/>
                    <a:pt x="494" y="134"/>
                  </a:cubicBezTo>
                  <a:cubicBezTo>
                    <a:pt x="496" y="134"/>
                    <a:pt x="498" y="134"/>
                    <a:pt x="500" y="134"/>
                  </a:cubicBezTo>
                  <a:close/>
                  <a:moveTo>
                    <a:pt x="463" y="141"/>
                  </a:moveTo>
                  <a:cubicBezTo>
                    <a:pt x="463" y="141"/>
                    <a:pt x="463" y="141"/>
                    <a:pt x="463" y="141"/>
                  </a:cubicBezTo>
                  <a:cubicBezTo>
                    <a:pt x="458" y="141"/>
                    <a:pt x="452" y="137"/>
                    <a:pt x="451" y="133"/>
                  </a:cubicBezTo>
                  <a:cubicBezTo>
                    <a:pt x="450" y="131"/>
                    <a:pt x="450" y="131"/>
                    <a:pt x="451" y="130"/>
                  </a:cubicBezTo>
                  <a:cubicBezTo>
                    <a:pt x="452" y="129"/>
                    <a:pt x="453" y="128"/>
                    <a:pt x="455" y="128"/>
                  </a:cubicBezTo>
                  <a:cubicBezTo>
                    <a:pt x="460" y="128"/>
                    <a:pt x="467" y="131"/>
                    <a:pt x="469" y="134"/>
                  </a:cubicBezTo>
                  <a:cubicBezTo>
                    <a:pt x="470" y="135"/>
                    <a:pt x="470" y="136"/>
                    <a:pt x="469" y="137"/>
                  </a:cubicBezTo>
                  <a:cubicBezTo>
                    <a:pt x="468" y="140"/>
                    <a:pt x="466" y="141"/>
                    <a:pt x="463" y="141"/>
                  </a:cubicBezTo>
                  <a:close/>
                  <a:moveTo>
                    <a:pt x="455" y="129"/>
                  </a:moveTo>
                  <a:cubicBezTo>
                    <a:pt x="454" y="129"/>
                    <a:pt x="452" y="130"/>
                    <a:pt x="452" y="130"/>
                  </a:cubicBezTo>
                  <a:cubicBezTo>
                    <a:pt x="451" y="131"/>
                    <a:pt x="451" y="132"/>
                    <a:pt x="452" y="132"/>
                  </a:cubicBezTo>
                  <a:cubicBezTo>
                    <a:pt x="453" y="137"/>
                    <a:pt x="458" y="140"/>
                    <a:pt x="463" y="140"/>
                  </a:cubicBezTo>
                  <a:cubicBezTo>
                    <a:pt x="463" y="140"/>
                    <a:pt x="463" y="140"/>
                    <a:pt x="463" y="140"/>
                  </a:cubicBezTo>
                  <a:cubicBezTo>
                    <a:pt x="465" y="140"/>
                    <a:pt x="467" y="139"/>
                    <a:pt x="468" y="137"/>
                  </a:cubicBezTo>
                  <a:cubicBezTo>
                    <a:pt x="469" y="136"/>
                    <a:pt x="469" y="136"/>
                    <a:pt x="468" y="135"/>
                  </a:cubicBezTo>
                  <a:cubicBezTo>
                    <a:pt x="466" y="132"/>
                    <a:pt x="460" y="129"/>
                    <a:pt x="455" y="129"/>
                  </a:cubicBezTo>
                  <a:close/>
                  <a:moveTo>
                    <a:pt x="187" y="132"/>
                  </a:moveTo>
                  <a:cubicBezTo>
                    <a:pt x="187" y="132"/>
                    <a:pt x="187" y="132"/>
                    <a:pt x="187" y="132"/>
                  </a:cubicBezTo>
                  <a:cubicBezTo>
                    <a:pt x="186" y="132"/>
                    <a:pt x="184" y="132"/>
                    <a:pt x="183" y="130"/>
                  </a:cubicBezTo>
                  <a:cubicBezTo>
                    <a:pt x="182" y="128"/>
                    <a:pt x="182" y="127"/>
                    <a:pt x="183" y="126"/>
                  </a:cubicBezTo>
                  <a:cubicBezTo>
                    <a:pt x="184" y="124"/>
                    <a:pt x="186" y="123"/>
                    <a:pt x="188" y="123"/>
                  </a:cubicBezTo>
                  <a:cubicBezTo>
                    <a:pt x="190" y="123"/>
                    <a:pt x="192" y="124"/>
                    <a:pt x="192" y="126"/>
                  </a:cubicBezTo>
                  <a:cubicBezTo>
                    <a:pt x="192" y="127"/>
                    <a:pt x="191" y="129"/>
                    <a:pt x="190" y="130"/>
                  </a:cubicBezTo>
                  <a:cubicBezTo>
                    <a:pt x="189" y="132"/>
                    <a:pt x="188" y="132"/>
                    <a:pt x="187" y="132"/>
                  </a:cubicBezTo>
                  <a:close/>
                  <a:moveTo>
                    <a:pt x="188" y="124"/>
                  </a:moveTo>
                  <a:cubicBezTo>
                    <a:pt x="186" y="124"/>
                    <a:pt x="184" y="125"/>
                    <a:pt x="184" y="126"/>
                  </a:cubicBezTo>
                  <a:cubicBezTo>
                    <a:pt x="183" y="127"/>
                    <a:pt x="183" y="128"/>
                    <a:pt x="184" y="129"/>
                  </a:cubicBezTo>
                  <a:cubicBezTo>
                    <a:pt x="185" y="131"/>
                    <a:pt x="186" y="131"/>
                    <a:pt x="187" y="131"/>
                  </a:cubicBezTo>
                  <a:cubicBezTo>
                    <a:pt x="187" y="131"/>
                    <a:pt x="187" y="131"/>
                    <a:pt x="187" y="131"/>
                  </a:cubicBezTo>
                  <a:cubicBezTo>
                    <a:pt x="188" y="131"/>
                    <a:pt x="189" y="131"/>
                    <a:pt x="190" y="130"/>
                  </a:cubicBezTo>
                  <a:cubicBezTo>
                    <a:pt x="190" y="129"/>
                    <a:pt x="191" y="127"/>
                    <a:pt x="191" y="126"/>
                  </a:cubicBezTo>
                  <a:cubicBezTo>
                    <a:pt x="191" y="125"/>
                    <a:pt x="189" y="124"/>
                    <a:pt x="188" y="124"/>
                  </a:cubicBezTo>
                  <a:close/>
                  <a:moveTo>
                    <a:pt x="56" y="109"/>
                  </a:moveTo>
                  <a:cubicBezTo>
                    <a:pt x="56" y="109"/>
                    <a:pt x="56" y="109"/>
                    <a:pt x="56" y="109"/>
                  </a:cubicBezTo>
                  <a:cubicBezTo>
                    <a:pt x="54" y="109"/>
                    <a:pt x="53" y="107"/>
                    <a:pt x="52" y="106"/>
                  </a:cubicBezTo>
                  <a:cubicBezTo>
                    <a:pt x="51" y="104"/>
                    <a:pt x="50" y="101"/>
                    <a:pt x="50" y="100"/>
                  </a:cubicBezTo>
                  <a:cubicBezTo>
                    <a:pt x="51" y="98"/>
                    <a:pt x="52" y="97"/>
                    <a:pt x="53" y="97"/>
                  </a:cubicBezTo>
                  <a:cubicBezTo>
                    <a:pt x="55" y="97"/>
                    <a:pt x="57" y="100"/>
                    <a:pt x="58" y="103"/>
                  </a:cubicBezTo>
                  <a:cubicBezTo>
                    <a:pt x="59" y="105"/>
                    <a:pt x="59" y="107"/>
                    <a:pt x="58" y="108"/>
                  </a:cubicBezTo>
                  <a:cubicBezTo>
                    <a:pt x="57" y="109"/>
                    <a:pt x="57" y="109"/>
                    <a:pt x="56" y="109"/>
                  </a:cubicBezTo>
                  <a:close/>
                  <a:moveTo>
                    <a:pt x="53" y="98"/>
                  </a:moveTo>
                  <a:cubicBezTo>
                    <a:pt x="52" y="98"/>
                    <a:pt x="51" y="99"/>
                    <a:pt x="51" y="100"/>
                  </a:cubicBezTo>
                  <a:cubicBezTo>
                    <a:pt x="51" y="101"/>
                    <a:pt x="51" y="103"/>
                    <a:pt x="53" y="105"/>
                  </a:cubicBezTo>
                  <a:cubicBezTo>
                    <a:pt x="54" y="107"/>
                    <a:pt x="55" y="108"/>
                    <a:pt x="56" y="108"/>
                  </a:cubicBezTo>
                  <a:cubicBezTo>
                    <a:pt x="56" y="108"/>
                    <a:pt x="56" y="108"/>
                    <a:pt x="56" y="108"/>
                  </a:cubicBezTo>
                  <a:cubicBezTo>
                    <a:pt x="57" y="108"/>
                    <a:pt x="57" y="108"/>
                    <a:pt x="57" y="108"/>
                  </a:cubicBezTo>
                  <a:cubicBezTo>
                    <a:pt x="58" y="107"/>
                    <a:pt x="58" y="105"/>
                    <a:pt x="57" y="103"/>
                  </a:cubicBezTo>
                  <a:cubicBezTo>
                    <a:pt x="56" y="101"/>
                    <a:pt x="54" y="98"/>
                    <a:pt x="53" y="98"/>
                  </a:cubicBezTo>
                  <a:close/>
                  <a:moveTo>
                    <a:pt x="480" y="91"/>
                  </a:moveTo>
                  <a:cubicBezTo>
                    <a:pt x="478" y="91"/>
                    <a:pt x="475" y="87"/>
                    <a:pt x="474" y="85"/>
                  </a:cubicBezTo>
                  <a:cubicBezTo>
                    <a:pt x="471" y="78"/>
                    <a:pt x="468" y="65"/>
                    <a:pt x="473" y="58"/>
                  </a:cubicBezTo>
                  <a:cubicBezTo>
                    <a:pt x="474" y="56"/>
                    <a:pt x="476" y="54"/>
                    <a:pt x="478" y="54"/>
                  </a:cubicBezTo>
                  <a:cubicBezTo>
                    <a:pt x="482" y="54"/>
                    <a:pt x="483" y="62"/>
                    <a:pt x="483" y="64"/>
                  </a:cubicBezTo>
                  <a:cubicBezTo>
                    <a:pt x="483" y="64"/>
                    <a:pt x="483" y="64"/>
                    <a:pt x="484" y="64"/>
                  </a:cubicBezTo>
                  <a:cubicBezTo>
                    <a:pt x="484" y="65"/>
                    <a:pt x="485" y="65"/>
                    <a:pt x="486" y="64"/>
                  </a:cubicBezTo>
                  <a:cubicBezTo>
                    <a:pt x="487" y="64"/>
                    <a:pt x="487" y="64"/>
                    <a:pt x="488" y="64"/>
                  </a:cubicBezTo>
                  <a:cubicBezTo>
                    <a:pt x="489" y="64"/>
                    <a:pt x="492" y="64"/>
                    <a:pt x="492" y="68"/>
                  </a:cubicBezTo>
                  <a:cubicBezTo>
                    <a:pt x="492" y="69"/>
                    <a:pt x="492" y="71"/>
                    <a:pt x="492" y="72"/>
                  </a:cubicBezTo>
                  <a:cubicBezTo>
                    <a:pt x="493" y="75"/>
                    <a:pt x="493" y="77"/>
                    <a:pt x="492" y="78"/>
                  </a:cubicBezTo>
                  <a:cubicBezTo>
                    <a:pt x="491" y="79"/>
                    <a:pt x="489" y="80"/>
                    <a:pt x="486" y="79"/>
                  </a:cubicBezTo>
                  <a:cubicBezTo>
                    <a:pt x="484" y="79"/>
                    <a:pt x="483" y="79"/>
                    <a:pt x="483" y="80"/>
                  </a:cubicBezTo>
                  <a:cubicBezTo>
                    <a:pt x="482" y="81"/>
                    <a:pt x="482" y="83"/>
                    <a:pt x="482" y="85"/>
                  </a:cubicBezTo>
                  <a:cubicBezTo>
                    <a:pt x="483" y="88"/>
                    <a:pt x="483" y="90"/>
                    <a:pt x="481" y="91"/>
                  </a:cubicBezTo>
                  <a:cubicBezTo>
                    <a:pt x="480" y="91"/>
                    <a:pt x="480" y="91"/>
                    <a:pt x="480" y="91"/>
                  </a:cubicBezTo>
                  <a:close/>
                  <a:moveTo>
                    <a:pt x="478" y="55"/>
                  </a:moveTo>
                  <a:cubicBezTo>
                    <a:pt x="476" y="55"/>
                    <a:pt x="475" y="57"/>
                    <a:pt x="473" y="59"/>
                  </a:cubicBezTo>
                  <a:cubicBezTo>
                    <a:pt x="469" y="65"/>
                    <a:pt x="472" y="77"/>
                    <a:pt x="475" y="84"/>
                  </a:cubicBezTo>
                  <a:cubicBezTo>
                    <a:pt x="477" y="88"/>
                    <a:pt x="479" y="90"/>
                    <a:pt x="481" y="90"/>
                  </a:cubicBezTo>
                  <a:cubicBezTo>
                    <a:pt x="482" y="90"/>
                    <a:pt x="482" y="88"/>
                    <a:pt x="481" y="85"/>
                  </a:cubicBezTo>
                  <a:cubicBezTo>
                    <a:pt x="481" y="83"/>
                    <a:pt x="481" y="81"/>
                    <a:pt x="482" y="79"/>
                  </a:cubicBezTo>
                  <a:cubicBezTo>
                    <a:pt x="483" y="78"/>
                    <a:pt x="484" y="78"/>
                    <a:pt x="486" y="78"/>
                  </a:cubicBezTo>
                  <a:cubicBezTo>
                    <a:pt x="489" y="78"/>
                    <a:pt x="491" y="78"/>
                    <a:pt x="491" y="77"/>
                  </a:cubicBezTo>
                  <a:cubicBezTo>
                    <a:pt x="492" y="76"/>
                    <a:pt x="492" y="75"/>
                    <a:pt x="492" y="73"/>
                  </a:cubicBezTo>
                  <a:cubicBezTo>
                    <a:pt x="491" y="71"/>
                    <a:pt x="491" y="70"/>
                    <a:pt x="491" y="68"/>
                  </a:cubicBezTo>
                  <a:cubicBezTo>
                    <a:pt x="491" y="66"/>
                    <a:pt x="490" y="65"/>
                    <a:pt x="488" y="65"/>
                  </a:cubicBezTo>
                  <a:cubicBezTo>
                    <a:pt x="487" y="65"/>
                    <a:pt x="487" y="65"/>
                    <a:pt x="486" y="65"/>
                  </a:cubicBezTo>
                  <a:cubicBezTo>
                    <a:pt x="485" y="66"/>
                    <a:pt x="484" y="66"/>
                    <a:pt x="483" y="65"/>
                  </a:cubicBezTo>
                  <a:cubicBezTo>
                    <a:pt x="483" y="65"/>
                    <a:pt x="482" y="65"/>
                    <a:pt x="482" y="64"/>
                  </a:cubicBezTo>
                  <a:cubicBezTo>
                    <a:pt x="482" y="62"/>
                    <a:pt x="481" y="55"/>
                    <a:pt x="478" y="55"/>
                  </a:cubicBezTo>
                  <a:close/>
                  <a:moveTo>
                    <a:pt x="36" y="76"/>
                  </a:moveTo>
                  <a:cubicBezTo>
                    <a:pt x="36" y="76"/>
                    <a:pt x="36" y="76"/>
                    <a:pt x="36" y="76"/>
                  </a:cubicBezTo>
                  <a:cubicBezTo>
                    <a:pt x="35" y="76"/>
                    <a:pt x="34" y="75"/>
                    <a:pt x="32" y="74"/>
                  </a:cubicBezTo>
                  <a:cubicBezTo>
                    <a:pt x="30" y="71"/>
                    <a:pt x="28" y="65"/>
                    <a:pt x="29" y="63"/>
                  </a:cubicBezTo>
                  <a:cubicBezTo>
                    <a:pt x="29" y="62"/>
                    <a:pt x="30" y="61"/>
                    <a:pt x="31" y="61"/>
                  </a:cubicBezTo>
                  <a:cubicBezTo>
                    <a:pt x="33" y="61"/>
                    <a:pt x="38" y="65"/>
                    <a:pt x="40" y="69"/>
                  </a:cubicBezTo>
                  <a:cubicBezTo>
                    <a:pt x="41" y="71"/>
                    <a:pt x="40" y="73"/>
                    <a:pt x="39" y="75"/>
                  </a:cubicBezTo>
                  <a:cubicBezTo>
                    <a:pt x="38" y="76"/>
                    <a:pt x="37" y="76"/>
                    <a:pt x="36" y="76"/>
                  </a:cubicBezTo>
                  <a:close/>
                  <a:moveTo>
                    <a:pt x="31" y="62"/>
                  </a:moveTo>
                  <a:cubicBezTo>
                    <a:pt x="30" y="62"/>
                    <a:pt x="30" y="62"/>
                    <a:pt x="30" y="63"/>
                  </a:cubicBezTo>
                  <a:cubicBezTo>
                    <a:pt x="30" y="65"/>
                    <a:pt x="31" y="71"/>
                    <a:pt x="33" y="73"/>
                  </a:cubicBezTo>
                  <a:cubicBezTo>
                    <a:pt x="34" y="74"/>
                    <a:pt x="35" y="75"/>
                    <a:pt x="36" y="75"/>
                  </a:cubicBezTo>
                  <a:cubicBezTo>
                    <a:pt x="36" y="75"/>
                    <a:pt x="36" y="75"/>
                    <a:pt x="36" y="75"/>
                  </a:cubicBezTo>
                  <a:cubicBezTo>
                    <a:pt x="37" y="75"/>
                    <a:pt x="37" y="75"/>
                    <a:pt x="38" y="74"/>
                  </a:cubicBezTo>
                  <a:cubicBezTo>
                    <a:pt x="39" y="73"/>
                    <a:pt x="40" y="71"/>
                    <a:pt x="39" y="69"/>
                  </a:cubicBezTo>
                  <a:cubicBezTo>
                    <a:pt x="37" y="66"/>
                    <a:pt x="33" y="62"/>
                    <a:pt x="31" y="6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7" name="Freeform 174"/>
            <p:cNvSpPr>
              <a:spLocks noEditPoints="1"/>
            </p:cNvSpPr>
            <p:nvPr/>
          </p:nvSpPr>
          <p:spPr>
            <a:xfrm>
              <a:off x="7813676" y="4021138"/>
              <a:ext cx="82550" cy="30163"/>
            </a:xfrm>
            <a:custGeom>
              <a:gdLst>
                <a:gd name="T0" fmla="*/ 5 w 49"/>
                <a:gd name="T1" fmla="*/ 18 h 18"/>
                <a:gd name="T2" fmla="*/ 1 w 49"/>
                <a:gd name="T3" fmla="*/ 15 h 18"/>
                <a:gd name="T4" fmla="*/ 0 w 49"/>
                <a:gd name="T5" fmla="*/ 14 h 18"/>
                <a:gd name="T6" fmla="*/ 1 w 49"/>
                <a:gd name="T7" fmla="*/ 14 h 18"/>
                <a:gd name="T8" fmla="*/ 6 w 49"/>
                <a:gd name="T9" fmla="*/ 13 h 18"/>
                <a:gd name="T10" fmla="*/ 6 w 49"/>
                <a:gd name="T11" fmla="*/ 13 h 18"/>
                <a:gd name="T12" fmla="*/ 8 w 49"/>
                <a:gd name="T13" fmla="*/ 12 h 18"/>
                <a:gd name="T14" fmla="*/ 9 w 49"/>
                <a:gd name="T15" fmla="*/ 12 h 18"/>
                <a:gd name="T16" fmla="*/ 8 w 49"/>
                <a:gd name="T17" fmla="*/ 13 h 18"/>
                <a:gd name="T18" fmla="*/ 6 w 49"/>
                <a:gd name="T19" fmla="*/ 17 h 18"/>
                <a:gd name="T20" fmla="*/ 5 w 49"/>
                <a:gd name="T21" fmla="*/ 18 h 18"/>
                <a:gd name="T22" fmla="*/ 2 w 49"/>
                <a:gd name="T23" fmla="*/ 14 h 18"/>
                <a:gd name="T24" fmla="*/ 6 w 49"/>
                <a:gd name="T25" fmla="*/ 16 h 18"/>
                <a:gd name="T26" fmla="*/ 7 w 49"/>
                <a:gd name="T27" fmla="*/ 13 h 18"/>
                <a:gd name="T28" fmla="*/ 6 w 49"/>
                <a:gd name="T29" fmla="*/ 14 h 18"/>
                <a:gd name="T30" fmla="*/ 6 w 49"/>
                <a:gd name="T31" fmla="*/ 14 h 18"/>
                <a:gd name="T32" fmla="*/ 2 w 49"/>
                <a:gd name="T33" fmla="*/ 14 h 18"/>
                <a:gd name="T34" fmla="*/ 17 w 49"/>
                <a:gd name="T35" fmla="*/ 16 h 18"/>
                <a:gd name="T36" fmla="*/ 17 w 49"/>
                <a:gd name="T37" fmla="*/ 16 h 18"/>
                <a:gd name="T38" fmla="*/ 12 w 49"/>
                <a:gd name="T39" fmla="*/ 11 h 18"/>
                <a:gd name="T40" fmla="*/ 12 w 49"/>
                <a:gd name="T41" fmla="*/ 11 h 18"/>
                <a:gd name="T42" fmla="*/ 13 w 49"/>
                <a:gd name="T43" fmla="*/ 10 h 18"/>
                <a:gd name="T44" fmla="*/ 14 w 49"/>
                <a:gd name="T45" fmla="*/ 9 h 18"/>
                <a:gd name="T46" fmla="*/ 17 w 49"/>
                <a:gd name="T47" fmla="*/ 6 h 18"/>
                <a:gd name="T48" fmla="*/ 26 w 49"/>
                <a:gd name="T49" fmla="*/ 1 h 18"/>
                <a:gd name="T50" fmla="*/ 26 w 49"/>
                <a:gd name="T51" fmla="*/ 1 h 18"/>
                <a:gd name="T52" fmla="*/ 38 w 49"/>
                <a:gd name="T53" fmla="*/ 0 h 18"/>
                <a:gd name="T54" fmla="*/ 46 w 49"/>
                <a:gd name="T55" fmla="*/ 0 h 18"/>
                <a:gd name="T56" fmla="*/ 48 w 49"/>
                <a:gd name="T57" fmla="*/ 0 h 18"/>
                <a:gd name="T58" fmla="*/ 48 w 49"/>
                <a:gd name="T59" fmla="*/ 2 h 18"/>
                <a:gd name="T60" fmla="*/ 34 w 49"/>
                <a:gd name="T61" fmla="*/ 9 h 18"/>
                <a:gd name="T62" fmla="*/ 18 w 49"/>
                <a:gd name="T63" fmla="*/ 16 h 18"/>
                <a:gd name="T64" fmla="*/ 17 w 49"/>
                <a:gd name="T65" fmla="*/ 16 h 18"/>
                <a:gd name="T66" fmla="*/ 14 w 49"/>
                <a:gd name="T67" fmla="*/ 11 h 18"/>
                <a:gd name="T68" fmla="*/ 17 w 49"/>
                <a:gd name="T69" fmla="*/ 15 h 18"/>
                <a:gd name="T70" fmla="*/ 33 w 49"/>
                <a:gd name="T71" fmla="*/ 8 h 18"/>
                <a:gd name="T72" fmla="*/ 47 w 49"/>
                <a:gd name="T73" fmla="*/ 1 h 18"/>
                <a:gd name="T74" fmla="*/ 48 w 49"/>
                <a:gd name="T75" fmla="*/ 1 h 18"/>
                <a:gd name="T76" fmla="*/ 46 w 49"/>
                <a:gd name="T77" fmla="*/ 1 h 18"/>
                <a:gd name="T78" fmla="*/ 39 w 49"/>
                <a:gd name="T79" fmla="*/ 1 h 18"/>
                <a:gd name="T80" fmla="*/ 26 w 49"/>
                <a:gd name="T81" fmla="*/ 2 h 18"/>
                <a:gd name="T82" fmla="*/ 26 w 49"/>
                <a:gd name="T83" fmla="*/ 2 h 18"/>
                <a:gd name="T84" fmla="*/ 18 w 49"/>
                <a:gd name="T85" fmla="*/ 7 h 18"/>
                <a:gd name="T86" fmla="*/ 14 w 49"/>
                <a:gd name="T87" fmla="*/ 10 h 18"/>
                <a:gd name="T88" fmla="*/ 14 w 49"/>
                <a:gd name="T89" fmla="*/ 11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 h="18">
                  <a:moveTo>
                    <a:pt x="5" y="18"/>
                  </a:moveTo>
                  <a:cubicBezTo>
                    <a:pt x="4" y="18"/>
                    <a:pt x="2" y="17"/>
                    <a:pt x="1" y="15"/>
                  </a:cubicBezTo>
                  <a:cubicBezTo>
                    <a:pt x="0" y="14"/>
                    <a:pt x="0" y="14"/>
                    <a:pt x="0" y="14"/>
                  </a:cubicBezTo>
                  <a:cubicBezTo>
                    <a:pt x="1" y="14"/>
                    <a:pt x="1" y="14"/>
                    <a:pt x="1" y="14"/>
                  </a:cubicBezTo>
                  <a:cubicBezTo>
                    <a:pt x="3" y="13"/>
                    <a:pt x="4" y="13"/>
                    <a:pt x="6" y="13"/>
                  </a:cubicBezTo>
                  <a:cubicBezTo>
                    <a:pt x="6" y="13"/>
                    <a:pt x="6" y="13"/>
                    <a:pt x="6" y="13"/>
                  </a:cubicBezTo>
                  <a:cubicBezTo>
                    <a:pt x="7" y="12"/>
                    <a:pt x="7" y="12"/>
                    <a:pt x="8" y="12"/>
                  </a:cubicBezTo>
                  <a:cubicBezTo>
                    <a:pt x="9" y="12"/>
                    <a:pt x="9" y="12"/>
                    <a:pt x="9" y="12"/>
                  </a:cubicBezTo>
                  <a:cubicBezTo>
                    <a:pt x="8" y="13"/>
                    <a:pt x="8" y="13"/>
                    <a:pt x="8" y="13"/>
                  </a:cubicBezTo>
                  <a:cubicBezTo>
                    <a:pt x="8" y="15"/>
                    <a:pt x="7" y="16"/>
                    <a:pt x="6" y="17"/>
                  </a:cubicBezTo>
                  <a:cubicBezTo>
                    <a:pt x="5" y="18"/>
                    <a:pt x="5" y="18"/>
                    <a:pt x="5" y="18"/>
                  </a:cubicBezTo>
                  <a:close/>
                  <a:moveTo>
                    <a:pt x="2" y="14"/>
                  </a:moveTo>
                  <a:cubicBezTo>
                    <a:pt x="4" y="16"/>
                    <a:pt x="5" y="17"/>
                    <a:pt x="6" y="16"/>
                  </a:cubicBezTo>
                  <a:cubicBezTo>
                    <a:pt x="6" y="16"/>
                    <a:pt x="7" y="15"/>
                    <a:pt x="7" y="13"/>
                  </a:cubicBezTo>
                  <a:cubicBezTo>
                    <a:pt x="7" y="13"/>
                    <a:pt x="6" y="13"/>
                    <a:pt x="6" y="14"/>
                  </a:cubicBezTo>
                  <a:cubicBezTo>
                    <a:pt x="6" y="14"/>
                    <a:pt x="6" y="14"/>
                    <a:pt x="6" y="14"/>
                  </a:cubicBezTo>
                  <a:cubicBezTo>
                    <a:pt x="5" y="14"/>
                    <a:pt x="3" y="14"/>
                    <a:pt x="2" y="14"/>
                  </a:cubicBezTo>
                  <a:close/>
                  <a:moveTo>
                    <a:pt x="17" y="16"/>
                  </a:moveTo>
                  <a:cubicBezTo>
                    <a:pt x="17" y="16"/>
                    <a:pt x="17" y="16"/>
                    <a:pt x="17" y="16"/>
                  </a:cubicBezTo>
                  <a:cubicBezTo>
                    <a:pt x="16" y="14"/>
                    <a:pt x="14" y="12"/>
                    <a:pt x="12" y="11"/>
                  </a:cubicBezTo>
                  <a:cubicBezTo>
                    <a:pt x="12" y="11"/>
                    <a:pt x="12" y="11"/>
                    <a:pt x="12" y="11"/>
                  </a:cubicBezTo>
                  <a:cubicBezTo>
                    <a:pt x="13" y="10"/>
                    <a:pt x="13" y="10"/>
                    <a:pt x="13" y="10"/>
                  </a:cubicBezTo>
                  <a:cubicBezTo>
                    <a:pt x="13" y="10"/>
                    <a:pt x="13" y="10"/>
                    <a:pt x="14" y="9"/>
                  </a:cubicBezTo>
                  <a:cubicBezTo>
                    <a:pt x="15" y="8"/>
                    <a:pt x="16" y="7"/>
                    <a:pt x="17" y="6"/>
                  </a:cubicBezTo>
                  <a:cubicBezTo>
                    <a:pt x="19" y="4"/>
                    <a:pt x="22" y="1"/>
                    <a:pt x="26" y="1"/>
                  </a:cubicBezTo>
                  <a:cubicBezTo>
                    <a:pt x="26" y="1"/>
                    <a:pt x="26" y="1"/>
                    <a:pt x="26" y="1"/>
                  </a:cubicBezTo>
                  <a:cubicBezTo>
                    <a:pt x="30" y="2"/>
                    <a:pt x="35" y="1"/>
                    <a:pt x="38" y="0"/>
                  </a:cubicBezTo>
                  <a:cubicBezTo>
                    <a:pt x="41" y="0"/>
                    <a:pt x="44" y="0"/>
                    <a:pt x="46" y="0"/>
                  </a:cubicBezTo>
                  <a:cubicBezTo>
                    <a:pt x="47" y="0"/>
                    <a:pt x="48" y="0"/>
                    <a:pt x="48" y="0"/>
                  </a:cubicBezTo>
                  <a:cubicBezTo>
                    <a:pt x="48" y="1"/>
                    <a:pt x="49" y="1"/>
                    <a:pt x="48" y="2"/>
                  </a:cubicBezTo>
                  <a:cubicBezTo>
                    <a:pt x="48" y="3"/>
                    <a:pt x="42" y="6"/>
                    <a:pt x="34" y="9"/>
                  </a:cubicBezTo>
                  <a:cubicBezTo>
                    <a:pt x="28" y="11"/>
                    <a:pt x="21" y="14"/>
                    <a:pt x="18" y="16"/>
                  </a:cubicBezTo>
                  <a:lnTo>
                    <a:pt x="17" y="16"/>
                  </a:lnTo>
                  <a:close/>
                  <a:moveTo>
                    <a:pt x="14" y="11"/>
                  </a:moveTo>
                  <a:cubicBezTo>
                    <a:pt x="15" y="12"/>
                    <a:pt x="16" y="13"/>
                    <a:pt x="17" y="15"/>
                  </a:cubicBezTo>
                  <a:cubicBezTo>
                    <a:pt x="21" y="13"/>
                    <a:pt x="27" y="10"/>
                    <a:pt x="33" y="8"/>
                  </a:cubicBezTo>
                  <a:cubicBezTo>
                    <a:pt x="40" y="6"/>
                    <a:pt x="47" y="3"/>
                    <a:pt x="47" y="1"/>
                  </a:cubicBezTo>
                  <a:cubicBezTo>
                    <a:pt x="48" y="1"/>
                    <a:pt x="48" y="1"/>
                    <a:pt x="48" y="1"/>
                  </a:cubicBezTo>
                  <a:cubicBezTo>
                    <a:pt x="47" y="1"/>
                    <a:pt x="47" y="1"/>
                    <a:pt x="46" y="1"/>
                  </a:cubicBezTo>
                  <a:cubicBezTo>
                    <a:pt x="44" y="1"/>
                    <a:pt x="41" y="1"/>
                    <a:pt x="39" y="1"/>
                  </a:cubicBezTo>
                  <a:cubicBezTo>
                    <a:pt x="35" y="2"/>
                    <a:pt x="30" y="3"/>
                    <a:pt x="26" y="2"/>
                  </a:cubicBezTo>
                  <a:cubicBezTo>
                    <a:pt x="26" y="2"/>
                    <a:pt x="26" y="2"/>
                    <a:pt x="26" y="2"/>
                  </a:cubicBezTo>
                  <a:cubicBezTo>
                    <a:pt x="22" y="2"/>
                    <a:pt x="20" y="5"/>
                    <a:pt x="18" y="7"/>
                  </a:cubicBezTo>
                  <a:cubicBezTo>
                    <a:pt x="17" y="8"/>
                    <a:pt x="16" y="9"/>
                    <a:pt x="14" y="10"/>
                  </a:cubicBezTo>
                  <a:cubicBezTo>
                    <a:pt x="14" y="11"/>
                    <a:pt x="14" y="11"/>
                    <a:pt x="14"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8" name="Freeform 175"/>
            <p:cNvSpPr>
              <a:spLocks noEditPoints="1"/>
            </p:cNvSpPr>
            <p:nvPr/>
          </p:nvSpPr>
          <p:spPr>
            <a:xfrm>
              <a:off x="4948239" y="2543175"/>
              <a:ext cx="284163" cy="311150"/>
            </a:xfrm>
            <a:custGeom>
              <a:gdLst>
                <a:gd name="T0" fmla="*/ 112 w 167"/>
                <a:gd name="T1" fmla="*/ 180 h 183"/>
                <a:gd name="T2" fmla="*/ 94 w 167"/>
                <a:gd name="T3" fmla="*/ 157 h 183"/>
                <a:gd name="T4" fmla="*/ 127 w 167"/>
                <a:gd name="T5" fmla="*/ 158 h 183"/>
                <a:gd name="T6" fmla="*/ 121 w 167"/>
                <a:gd name="T7" fmla="*/ 182 h 183"/>
                <a:gd name="T8" fmla="*/ 86 w 167"/>
                <a:gd name="T9" fmla="*/ 164 h 183"/>
                <a:gd name="T10" fmla="*/ 117 w 167"/>
                <a:gd name="T11" fmla="*/ 182 h 183"/>
                <a:gd name="T12" fmla="*/ 126 w 167"/>
                <a:gd name="T13" fmla="*/ 160 h 183"/>
                <a:gd name="T14" fmla="*/ 98 w 167"/>
                <a:gd name="T15" fmla="*/ 159 h 183"/>
                <a:gd name="T16" fmla="*/ 131 w 167"/>
                <a:gd name="T17" fmla="*/ 149 h 183"/>
                <a:gd name="T18" fmla="*/ 121 w 167"/>
                <a:gd name="T19" fmla="*/ 121 h 183"/>
                <a:gd name="T20" fmla="*/ 89 w 167"/>
                <a:gd name="T21" fmla="*/ 102 h 183"/>
                <a:gd name="T22" fmla="*/ 53 w 167"/>
                <a:gd name="T23" fmla="*/ 61 h 183"/>
                <a:gd name="T24" fmla="*/ 25 w 167"/>
                <a:gd name="T25" fmla="*/ 55 h 183"/>
                <a:gd name="T26" fmla="*/ 13 w 167"/>
                <a:gd name="T27" fmla="*/ 61 h 183"/>
                <a:gd name="T28" fmla="*/ 15 w 167"/>
                <a:gd name="T29" fmla="*/ 55 h 183"/>
                <a:gd name="T30" fmla="*/ 5 w 167"/>
                <a:gd name="T31" fmla="*/ 46 h 183"/>
                <a:gd name="T32" fmla="*/ 2 w 167"/>
                <a:gd name="T33" fmla="*/ 35 h 183"/>
                <a:gd name="T34" fmla="*/ 5 w 167"/>
                <a:gd name="T35" fmla="*/ 22 h 183"/>
                <a:gd name="T36" fmla="*/ 23 w 167"/>
                <a:gd name="T37" fmla="*/ 14 h 183"/>
                <a:gd name="T38" fmla="*/ 34 w 167"/>
                <a:gd name="T39" fmla="*/ 21 h 183"/>
                <a:gd name="T40" fmla="*/ 46 w 167"/>
                <a:gd name="T41" fmla="*/ 13 h 183"/>
                <a:gd name="T42" fmla="*/ 53 w 167"/>
                <a:gd name="T43" fmla="*/ 9 h 183"/>
                <a:gd name="T44" fmla="*/ 59 w 167"/>
                <a:gd name="T45" fmla="*/ 3 h 183"/>
                <a:gd name="T46" fmla="*/ 81 w 167"/>
                <a:gd name="T47" fmla="*/ 0 h 183"/>
                <a:gd name="T48" fmla="*/ 92 w 167"/>
                <a:gd name="T49" fmla="*/ 7 h 183"/>
                <a:gd name="T50" fmla="*/ 91 w 167"/>
                <a:gd name="T51" fmla="*/ 27 h 183"/>
                <a:gd name="T52" fmla="*/ 84 w 167"/>
                <a:gd name="T53" fmla="*/ 50 h 183"/>
                <a:gd name="T54" fmla="*/ 134 w 167"/>
                <a:gd name="T55" fmla="*/ 98 h 183"/>
                <a:gd name="T56" fmla="*/ 164 w 167"/>
                <a:gd name="T57" fmla="*/ 128 h 183"/>
                <a:gd name="T58" fmla="*/ 149 w 167"/>
                <a:gd name="T59" fmla="*/ 121 h 183"/>
                <a:gd name="T60" fmla="*/ 148 w 167"/>
                <a:gd name="T61" fmla="*/ 140 h 183"/>
                <a:gd name="T62" fmla="*/ 34 w 167"/>
                <a:gd name="T63" fmla="*/ 49 h 183"/>
                <a:gd name="T64" fmla="*/ 70 w 167"/>
                <a:gd name="T65" fmla="*/ 84 h 183"/>
                <a:gd name="T66" fmla="*/ 104 w 167"/>
                <a:gd name="T67" fmla="*/ 107 h 183"/>
                <a:gd name="T68" fmla="*/ 130 w 167"/>
                <a:gd name="T69" fmla="*/ 129 h 183"/>
                <a:gd name="T70" fmla="*/ 132 w 167"/>
                <a:gd name="T71" fmla="*/ 160 h 183"/>
                <a:gd name="T72" fmla="*/ 146 w 167"/>
                <a:gd name="T73" fmla="*/ 135 h 183"/>
                <a:gd name="T74" fmla="*/ 156 w 167"/>
                <a:gd name="T75" fmla="*/ 122 h 183"/>
                <a:gd name="T76" fmla="*/ 166 w 167"/>
                <a:gd name="T77" fmla="*/ 123 h 183"/>
                <a:gd name="T78" fmla="*/ 127 w 167"/>
                <a:gd name="T79" fmla="*/ 94 h 183"/>
                <a:gd name="T80" fmla="*/ 83 w 167"/>
                <a:gd name="T81" fmla="*/ 50 h 183"/>
                <a:gd name="T82" fmla="*/ 90 w 167"/>
                <a:gd name="T83" fmla="*/ 27 h 183"/>
                <a:gd name="T84" fmla="*/ 81 w 167"/>
                <a:gd name="T85" fmla="*/ 1 h 183"/>
                <a:gd name="T86" fmla="*/ 58 w 167"/>
                <a:gd name="T87" fmla="*/ 4 h 183"/>
                <a:gd name="T88" fmla="*/ 51 w 167"/>
                <a:gd name="T89" fmla="*/ 10 h 183"/>
                <a:gd name="T90" fmla="*/ 41 w 167"/>
                <a:gd name="T91" fmla="*/ 13 h 183"/>
                <a:gd name="T92" fmla="*/ 28 w 167"/>
                <a:gd name="T93" fmla="*/ 16 h 183"/>
                <a:gd name="T94" fmla="*/ 6 w 167"/>
                <a:gd name="T95" fmla="*/ 23 h 183"/>
                <a:gd name="T96" fmla="*/ 2 w 167"/>
                <a:gd name="T97" fmla="*/ 36 h 183"/>
                <a:gd name="T98" fmla="*/ 6 w 167"/>
                <a:gd name="T99" fmla="*/ 46 h 183"/>
                <a:gd name="T100" fmla="*/ 16 w 167"/>
                <a:gd name="T101" fmla="*/ 54 h 183"/>
                <a:gd name="T102" fmla="*/ 16 w 167"/>
                <a:gd name="T103" fmla="*/ 59 h 183"/>
                <a:gd name="T104" fmla="*/ 34 w 167"/>
                <a:gd name="T105" fmla="*/ 49 h 183"/>
                <a:gd name="T106" fmla="*/ 26 w 167"/>
                <a:gd name="T107" fmla="*/ 131 h 183"/>
                <a:gd name="T108" fmla="*/ 25 w 167"/>
                <a:gd name="T109" fmla="*/ 110 h 183"/>
                <a:gd name="T110" fmla="*/ 45 w 167"/>
                <a:gd name="T111" fmla="*/ 110 h 183"/>
                <a:gd name="T112" fmla="*/ 39 w 167"/>
                <a:gd name="T113" fmla="*/ 141 h 183"/>
                <a:gd name="T114" fmla="*/ 22 w 167"/>
                <a:gd name="T115" fmla="*/ 112 h 183"/>
                <a:gd name="T116" fmla="*/ 31 w 167"/>
                <a:gd name="T117" fmla="*/ 145 h 183"/>
                <a:gd name="T118" fmla="*/ 43 w 167"/>
                <a:gd name="T119" fmla="*/ 138 h 183"/>
                <a:gd name="T120" fmla="*/ 38 w 167"/>
                <a:gd name="T121" fmla="*/ 108 h 183"/>
                <a:gd name="T122" fmla="*/ 24 w 167"/>
                <a:gd name="T123" fmla="*/ 111 h 1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7" h="183">
                  <a:moveTo>
                    <a:pt x="117" y="183"/>
                  </a:moveTo>
                  <a:cubicBezTo>
                    <a:pt x="117" y="183"/>
                    <a:pt x="117" y="183"/>
                    <a:pt x="117" y="183"/>
                  </a:cubicBezTo>
                  <a:cubicBezTo>
                    <a:pt x="117" y="183"/>
                    <a:pt x="117" y="183"/>
                    <a:pt x="117" y="183"/>
                  </a:cubicBezTo>
                  <a:cubicBezTo>
                    <a:pt x="115" y="183"/>
                    <a:pt x="114" y="181"/>
                    <a:pt x="112" y="180"/>
                  </a:cubicBezTo>
                  <a:cubicBezTo>
                    <a:pt x="109" y="177"/>
                    <a:pt x="106" y="174"/>
                    <a:pt x="100" y="173"/>
                  </a:cubicBezTo>
                  <a:cubicBezTo>
                    <a:pt x="91" y="170"/>
                    <a:pt x="86" y="167"/>
                    <a:pt x="85" y="164"/>
                  </a:cubicBezTo>
                  <a:cubicBezTo>
                    <a:pt x="85" y="163"/>
                    <a:pt x="85" y="162"/>
                    <a:pt x="86" y="161"/>
                  </a:cubicBezTo>
                  <a:cubicBezTo>
                    <a:pt x="87" y="159"/>
                    <a:pt x="91" y="157"/>
                    <a:pt x="94" y="157"/>
                  </a:cubicBezTo>
                  <a:cubicBezTo>
                    <a:pt x="96" y="157"/>
                    <a:pt x="97" y="157"/>
                    <a:pt x="98" y="158"/>
                  </a:cubicBezTo>
                  <a:cubicBezTo>
                    <a:pt x="103" y="160"/>
                    <a:pt x="107" y="160"/>
                    <a:pt x="115" y="158"/>
                  </a:cubicBezTo>
                  <a:cubicBezTo>
                    <a:pt x="118" y="157"/>
                    <a:pt x="120" y="157"/>
                    <a:pt x="122" y="157"/>
                  </a:cubicBezTo>
                  <a:cubicBezTo>
                    <a:pt x="125" y="157"/>
                    <a:pt x="127" y="157"/>
                    <a:pt x="127" y="158"/>
                  </a:cubicBezTo>
                  <a:cubicBezTo>
                    <a:pt x="128" y="159"/>
                    <a:pt x="128" y="159"/>
                    <a:pt x="127" y="159"/>
                  </a:cubicBezTo>
                  <a:cubicBezTo>
                    <a:pt x="127" y="160"/>
                    <a:pt x="127" y="160"/>
                    <a:pt x="127" y="160"/>
                  </a:cubicBezTo>
                  <a:cubicBezTo>
                    <a:pt x="125" y="163"/>
                    <a:pt x="121" y="168"/>
                    <a:pt x="121" y="173"/>
                  </a:cubicBezTo>
                  <a:cubicBezTo>
                    <a:pt x="122" y="177"/>
                    <a:pt x="122" y="180"/>
                    <a:pt x="121" y="182"/>
                  </a:cubicBezTo>
                  <a:cubicBezTo>
                    <a:pt x="120" y="183"/>
                    <a:pt x="119" y="183"/>
                    <a:pt x="117" y="183"/>
                  </a:cubicBezTo>
                  <a:close/>
                  <a:moveTo>
                    <a:pt x="94" y="158"/>
                  </a:moveTo>
                  <a:cubicBezTo>
                    <a:pt x="91" y="158"/>
                    <a:pt x="88" y="160"/>
                    <a:pt x="86" y="162"/>
                  </a:cubicBezTo>
                  <a:cubicBezTo>
                    <a:pt x="86" y="162"/>
                    <a:pt x="86" y="163"/>
                    <a:pt x="86" y="164"/>
                  </a:cubicBezTo>
                  <a:cubicBezTo>
                    <a:pt x="87" y="166"/>
                    <a:pt x="90" y="169"/>
                    <a:pt x="101" y="172"/>
                  </a:cubicBezTo>
                  <a:cubicBezTo>
                    <a:pt x="107" y="173"/>
                    <a:pt x="110" y="177"/>
                    <a:pt x="112" y="179"/>
                  </a:cubicBezTo>
                  <a:cubicBezTo>
                    <a:pt x="114" y="181"/>
                    <a:pt x="115" y="182"/>
                    <a:pt x="117" y="182"/>
                  </a:cubicBezTo>
                  <a:cubicBezTo>
                    <a:pt x="117" y="182"/>
                    <a:pt x="117" y="182"/>
                    <a:pt x="117" y="182"/>
                  </a:cubicBezTo>
                  <a:cubicBezTo>
                    <a:pt x="117" y="182"/>
                    <a:pt x="117" y="182"/>
                    <a:pt x="117" y="182"/>
                  </a:cubicBezTo>
                  <a:cubicBezTo>
                    <a:pt x="119" y="182"/>
                    <a:pt x="119" y="182"/>
                    <a:pt x="120" y="181"/>
                  </a:cubicBezTo>
                  <a:cubicBezTo>
                    <a:pt x="121" y="180"/>
                    <a:pt x="121" y="177"/>
                    <a:pt x="120" y="173"/>
                  </a:cubicBezTo>
                  <a:cubicBezTo>
                    <a:pt x="120" y="168"/>
                    <a:pt x="124" y="162"/>
                    <a:pt x="126" y="160"/>
                  </a:cubicBezTo>
                  <a:cubicBezTo>
                    <a:pt x="126" y="159"/>
                    <a:pt x="126" y="159"/>
                    <a:pt x="127" y="159"/>
                  </a:cubicBezTo>
                  <a:cubicBezTo>
                    <a:pt x="127" y="159"/>
                    <a:pt x="125" y="158"/>
                    <a:pt x="122" y="158"/>
                  </a:cubicBezTo>
                  <a:cubicBezTo>
                    <a:pt x="120" y="158"/>
                    <a:pt x="118" y="158"/>
                    <a:pt x="115" y="159"/>
                  </a:cubicBezTo>
                  <a:cubicBezTo>
                    <a:pt x="107" y="161"/>
                    <a:pt x="103" y="161"/>
                    <a:pt x="98" y="159"/>
                  </a:cubicBezTo>
                  <a:cubicBezTo>
                    <a:pt x="97" y="158"/>
                    <a:pt x="96" y="158"/>
                    <a:pt x="94" y="158"/>
                  </a:cubicBezTo>
                  <a:close/>
                  <a:moveTo>
                    <a:pt x="132" y="161"/>
                  </a:moveTo>
                  <a:cubicBezTo>
                    <a:pt x="132" y="161"/>
                    <a:pt x="131" y="161"/>
                    <a:pt x="130" y="159"/>
                  </a:cubicBezTo>
                  <a:cubicBezTo>
                    <a:pt x="129" y="157"/>
                    <a:pt x="129" y="152"/>
                    <a:pt x="131" y="149"/>
                  </a:cubicBezTo>
                  <a:cubicBezTo>
                    <a:pt x="134" y="145"/>
                    <a:pt x="134" y="137"/>
                    <a:pt x="131" y="134"/>
                  </a:cubicBezTo>
                  <a:cubicBezTo>
                    <a:pt x="129" y="132"/>
                    <a:pt x="129" y="130"/>
                    <a:pt x="129" y="129"/>
                  </a:cubicBezTo>
                  <a:cubicBezTo>
                    <a:pt x="129" y="127"/>
                    <a:pt x="129" y="125"/>
                    <a:pt x="126" y="125"/>
                  </a:cubicBezTo>
                  <a:cubicBezTo>
                    <a:pt x="123" y="125"/>
                    <a:pt x="122" y="123"/>
                    <a:pt x="121" y="121"/>
                  </a:cubicBezTo>
                  <a:cubicBezTo>
                    <a:pt x="119" y="119"/>
                    <a:pt x="118" y="118"/>
                    <a:pt x="116" y="117"/>
                  </a:cubicBezTo>
                  <a:cubicBezTo>
                    <a:pt x="111" y="114"/>
                    <a:pt x="106" y="112"/>
                    <a:pt x="103" y="108"/>
                  </a:cubicBezTo>
                  <a:cubicBezTo>
                    <a:pt x="101" y="106"/>
                    <a:pt x="99" y="105"/>
                    <a:pt x="96" y="104"/>
                  </a:cubicBezTo>
                  <a:cubicBezTo>
                    <a:pt x="94" y="104"/>
                    <a:pt x="91" y="103"/>
                    <a:pt x="89" y="102"/>
                  </a:cubicBezTo>
                  <a:cubicBezTo>
                    <a:pt x="87" y="101"/>
                    <a:pt x="84" y="98"/>
                    <a:pt x="82" y="96"/>
                  </a:cubicBezTo>
                  <a:cubicBezTo>
                    <a:pt x="79" y="93"/>
                    <a:pt x="75" y="89"/>
                    <a:pt x="69" y="85"/>
                  </a:cubicBezTo>
                  <a:cubicBezTo>
                    <a:pt x="58" y="78"/>
                    <a:pt x="56" y="70"/>
                    <a:pt x="55" y="67"/>
                  </a:cubicBezTo>
                  <a:cubicBezTo>
                    <a:pt x="55" y="64"/>
                    <a:pt x="54" y="64"/>
                    <a:pt x="53" y="61"/>
                  </a:cubicBezTo>
                  <a:cubicBezTo>
                    <a:pt x="52" y="61"/>
                    <a:pt x="52" y="60"/>
                    <a:pt x="51" y="59"/>
                  </a:cubicBezTo>
                  <a:cubicBezTo>
                    <a:pt x="48" y="55"/>
                    <a:pt x="41" y="50"/>
                    <a:pt x="34" y="50"/>
                  </a:cubicBezTo>
                  <a:cubicBezTo>
                    <a:pt x="33" y="50"/>
                    <a:pt x="32" y="50"/>
                    <a:pt x="31" y="50"/>
                  </a:cubicBezTo>
                  <a:cubicBezTo>
                    <a:pt x="27" y="52"/>
                    <a:pt x="26" y="53"/>
                    <a:pt x="25" y="55"/>
                  </a:cubicBezTo>
                  <a:cubicBezTo>
                    <a:pt x="24" y="56"/>
                    <a:pt x="23" y="58"/>
                    <a:pt x="21" y="59"/>
                  </a:cubicBezTo>
                  <a:cubicBezTo>
                    <a:pt x="19" y="60"/>
                    <a:pt x="18" y="60"/>
                    <a:pt x="16" y="60"/>
                  </a:cubicBezTo>
                  <a:cubicBezTo>
                    <a:pt x="16" y="61"/>
                    <a:pt x="15" y="61"/>
                    <a:pt x="14" y="61"/>
                  </a:cubicBezTo>
                  <a:cubicBezTo>
                    <a:pt x="13" y="61"/>
                    <a:pt x="13" y="61"/>
                    <a:pt x="13" y="61"/>
                  </a:cubicBezTo>
                  <a:cubicBezTo>
                    <a:pt x="13" y="60"/>
                    <a:pt x="13" y="60"/>
                    <a:pt x="13" y="60"/>
                  </a:cubicBezTo>
                  <a:cubicBezTo>
                    <a:pt x="13" y="59"/>
                    <a:pt x="14" y="58"/>
                    <a:pt x="14" y="57"/>
                  </a:cubicBezTo>
                  <a:cubicBezTo>
                    <a:pt x="15" y="56"/>
                    <a:pt x="15" y="56"/>
                    <a:pt x="15" y="55"/>
                  </a:cubicBezTo>
                  <a:cubicBezTo>
                    <a:pt x="15" y="55"/>
                    <a:pt x="15" y="55"/>
                    <a:pt x="15" y="55"/>
                  </a:cubicBezTo>
                  <a:cubicBezTo>
                    <a:pt x="14" y="54"/>
                    <a:pt x="13" y="54"/>
                    <a:pt x="11" y="54"/>
                  </a:cubicBezTo>
                  <a:cubicBezTo>
                    <a:pt x="10" y="54"/>
                    <a:pt x="9" y="54"/>
                    <a:pt x="9" y="54"/>
                  </a:cubicBezTo>
                  <a:cubicBezTo>
                    <a:pt x="7" y="54"/>
                    <a:pt x="5" y="53"/>
                    <a:pt x="4" y="51"/>
                  </a:cubicBezTo>
                  <a:cubicBezTo>
                    <a:pt x="4" y="49"/>
                    <a:pt x="4" y="48"/>
                    <a:pt x="5" y="46"/>
                  </a:cubicBezTo>
                  <a:cubicBezTo>
                    <a:pt x="6" y="44"/>
                    <a:pt x="5" y="43"/>
                    <a:pt x="4" y="42"/>
                  </a:cubicBezTo>
                  <a:cubicBezTo>
                    <a:pt x="3" y="41"/>
                    <a:pt x="2" y="40"/>
                    <a:pt x="1" y="39"/>
                  </a:cubicBezTo>
                  <a:cubicBezTo>
                    <a:pt x="0" y="38"/>
                    <a:pt x="0" y="37"/>
                    <a:pt x="0" y="36"/>
                  </a:cubicBezTo>
                  <a:cubicBezTo>
                    <a:pt x="0" y="36"/>
                    <a:pt x="1" y="35"/>
                    <a:pt x="2" y="35"/>
                  </a:cubicBezTo>
                  <a:cubicBezTo>
                    <a:pt x="3" y="35"/>
                    <a:pt x="3" y="35"/>
                    <a:pt x="4" y="35"/>
                  </a:cubicBezTo>
                  <a:cubicBezTo>
                    <a:pt x="5" y="34"/>
                    <a:pt x="7" y="32"/>
                    <a:pt x="7" y="30"/>
                  </a:cubicBezTo>
                  <a:cubicBezTo>
                    <a:pt x="7" y="30"/>
                    <a:pt x="7" y="30"/>
                    <a:pt x="7" y="30"/>
                  </a:cubicBezTo>
                  <a:cubicBezTo>
                    <a:pt x="6" y="29"/>
                    <a:pt x="3" y="27"/>
                    <a:pt x="5" y="22"/>
                  </a:cubicBezTo>
                  <a:cubicBezTo>
                    <a:pt x="5" y="22"/>
                    <a:pt x="5" y="22"/>
                    <a:pt x="5" y="22"/>
                  </a:cubicBezTo>
                  <a:cubicBezTo>
                    <a:pt x="5" y="22"/>
                    <a:pt x="5" y="22"/>
                    <a:pt x="5" y="22"/>
                  </a:cubicBezTo>
                  <a:cubicBezTo>
                    <a:pt x="8" y="22"/>
                    <a:pt x="15" y="21"/>
                    <a:pt x="18" y="21"/>
                  </a:cubicBezTo>
                  <a:cubicBezTo>
                    <a:pt x="19" y="21"/>
                    <a:pt x="21" y="17"/>
                    <a:pt x="23" y="14"/>
                  </a:cubicBezTo>
                  <a:cubicBezTo>
                    <a:pt x="24" y="12"/>
                    <a:pt x="24" y="11"/>
                    <a:pt x="25" y="11"/>
                  </a:cubicBezTo>
                  <a:cubicBezTo>
                    <a:pt x="25" y="11"/>
                    <a:pt x="25" y="11"/>
                    <a:pt x="25" y="11"/>
                  </a:cubicBezTo>
                  <a:cubicBezTo>
                    <a:pt x="26" y="11"/>
                    <a:pt x="27" y="12"/>
                    <a:pt x="29" y="15"/>
                  </a:cubicBezTo>
                  <a:cubicBezTo>
                    <a:pt x="30" y="17"/>
                    <a:pt x="32" y="19"/>
                    <a:pt x="34" y="21"/>
                  </a:cubicBezTo>
                  <a:cubicBezTo>
                    <a:pt x="35" y="22"/>
                    <a:pt x="35" y="22"/>
                    <a:pt x="35" y="22"/>
                  </a:cubicBezTo>
                  <a:cubicBezTo>
                    <a:pt x="36" y="22"/>
                    <a:pt x="37" y="19"/>
                    <a:pt x="37" y="16"/>
                  </a:cubicBezTo>
                  <a:cubicBezTo>
                    <a:pt x="37" y="13"/>
                    <a:pt x="40" y="12"/>
                    <a:pt x="42" y="13"/>
                  </a:cubicBezTo>
                  <a:cubicBezTo>
                    <a:pt x="43" y="13"/>
                    <a:pt x="45" y="13"/>
                    <a:pt x="46" y="13"/>
                  </a:cubicBezTo>
                  <a:cubicBezTo>
                    <a:pt x="49" y="13"/>
                    <a:pt x="49" y="12"/>
                    <a:pt x="49" y="11"/>
                  </a:cubicBezTo>
                  <a:cubicBezTo>
                    <a:pt x="49" y="10"/>
                    <a:pt x="49" y="9"/>
                    <a:pt x="51" y="9"/>
                  </a:cubicBezTo>
                  <a:cubicBezTo>
                    <a:pt x="52" y="9"/>
                    <a:pt x="52" y="9"/>
                    <a:pt x="52" y="9"/>
                  </a:cubicBezTo>
                  <a:cubicBezTo>
                    <a:pt x="53" y="9"/>
                    <a:pt x="53" y="9"/>
                    <a:pt x="53" y="9"/>
                  </a:cubicBezTo>
                  <a:cubicBezTo>
                    <a:pt x="54" y="9"/>
                    <a:pt x="55" y="7"/>
                    <a:pt x="55" y="6"/>
                  </a:cubicBezTo>
                  <a:cubicBezTo>
                    <a:pt x="55" y="6"/>
                    <a:pt x="55" y="6"/>
                    <a:pt x="55" y="6"/>
                  </a:cubicBezTo>
                  <a:cubicBezTo>
                    <a:pt x="58" y="3"/>
                    <a:pt x="58" y="3"/>
                    <a:pt x="58" y="3"/>
                  </a:cubicBezTo>
                  <a:cubicBezTo>
                    <a:pt x="59" y="3"/>
                    <a:pt x="59" y="3"/>
                    <a:pt x="59" y="3"/>
                  </a:cubicBezTo>
                  <a:cubicBezTo>
                    <a:pt x="60" y="4"/>
                    <a:pt x="60" y="4"/>
                    <a:pt x="60" y="4"/>
                  </a:cubicBezTo>
                  <a:cubicBezTo>
                    <a:pt x="61" y="4"/>
                    <a:pt x="61" y="5"/>
                    <a:pt x="62" y="5"/>
                  </a:cubicBezTo>
                  <a:cubicBezTo>
                    <a:pt x="64" y="5"/>
                    <a:pt x="68" y="3"/>
                    <a:pt x="69" y="1"/>
                  </a:cubicBezTo>
                  <a:cubicBezTo>
                    <a:pt x="70" y="0"/>
                    <a:pt x="78" y="0"/>
                    <a:pt x="81" y="0"/>
                  </a:cubicBezTo>
                  <a:cubicBezTo>
                    <a:pt x="82" y="0"/>
                    <a:pt x="82" y="1"/>
                    <a:pt x="82" y="2"/>
                  </a:cubicBezTo>
                  <a:cubicBezTo>
                    <a:pt x="83" y="4"/>
                    <a:pt x="83" y="5"/>
                    <a:pt x="84" y="6"/>
                  </a:cubicBezTo>
                  <a:cubicBezTo>
                    <a:pt x="85" y="6"/>
                    <a:pt x="86" y="7"/>
                    <a:pt x="91" y="7"/>
                  </a:cubicBezTo>
                  <a:cubicBezTo>
                    <a:pt x="92" y="7"/>
                    <a:pt x="92" y="7"/>
                    <a:pt x="92" y="7"/>
                  </a:cubicBezTo>
                  <a:cubicBezTo>
                    <a:pt x="92" y="8"/>
                    <a:pt x="92" y="8"/>
                    <a:pt x="92" y="8"/>
                  </a:cubicBezTo>
                  <a:cubicBezTo>
                    <a:pt x="91" y="12"/>
                    <a:pt x="91" y="20"/>
                    <a:pt x="91" y="27"/>
                  </a:cubicBezTo>
                  <a:cubicBezTo>
                    <a:pt x="91" y="27"/>
                    <a:pt x="91" y="27"/>
                    <a:pt x="91" y="27"/>
                  </a:cubicBezTo>
                  <a:cubicBezTo>
                    <a:pt x="91" y="27"/>
                    <a:pt x="91" y="27"/>
                    <a:pt x="91" y="27"/>
                  </a:cubicBezTo>
                  <a:cubicBezTo>
                    <a:pt x="87" y="29"/>
                    <a:pt x="85" y="30"/>
                    <a:pt x="84" y="32"/>
                  </a:cubicBezTo>
                  <a:cubicBezTo>
                    <a:pt x="84" y="33"/>
                    <a:pt x="84" y="34"/>
                    <a:pt x="84" y="35"/>
                  </a:cubicBezTo>
                  <a:cubicBezTo>
                    <a:pt x="86" y="38"/>
                    <a:pt x="85" y="40"/>
                    <a:pt x="84" y="42"/>
                  </a:cubicBezTo>
                  <a:cubicBezTo>
                    <a:pt x="83" y="44"/>
                    <a:pt x="83" y="46"/>
                    <a:pt x="84" y="50"/>
                  </a:cubicBezTo>
                  <a:cubicBezTo>
                    <a:pt x="86" y="53"/>
                    <a:pt x="89" y="55"/>
                    <a:pt x="92" y="57"/>
                  </a:cubicBezTo>
                  <a:cubicBezTo>
                    <a:pt x="97" y="60"/>
                    <a:pt x="103" y="63"/>
                    <a:pt x="105" y="71"/>
                  </a:cubicBezTo>
                  <a:cubicBezTo>
                    <a:pt x="108" y="83"/>
                    <a:pt x="118" y="94"/>
                    <a:pt x="127" y="93"/>
                  </a:cubicBezTo>
                  <a:cubicBezTo>
                    <a:pt x="132" y="93"/>
                    <a:pt x="133" y="95"/>
                    <a:pt x="134" y="98"/>
                  </a:cubicBezTo>
                  <a:cubicBezTo>
                    <a:pt x="135" y="99"/>
                    <a:pt x="136" y="101"/>
                    <a:pt x="138" y="102"/>
                  </a:cubicBezTo>
                  <a:cubicBezTo>
                    <a:pt x="139" y="103"/>
                    <a:pt x="141" y="104"/>
                    <a:pt x="144" y="105"/>
                  </a:cubicBezTo>
                  <a:cubicBezTo>
                    <a:pt x="153" y="110"/>
                    <a:pt x="167" y="117"/>
                    <a:pt x="167" y="123"/>
                  </a:cubicBezTo>
                  <a:cubicBezTo>
                    <a:pt x="167" y="125"/>
                    <a:pt x="166" y="128"/>
                    <a:pt x="164" y="128"/>
                  </a:cubicBezTo>
                  <a:cubicBezTo>
                    <a:pt x="164" y="128"/>
                    <a:pt x="164" y="128"/>
                    <a:pt x="164" y="128"/>
                  </a:cubicBezTo>
                  <a:cubicBezTo>
                    <a:pt x="163" y="128"/>
                    <a:pt x="161" y="127"/>
                    <a:pt x="158" y="125"/>
                  </a:cubicBezTo>
                  <a:cubicBezTo>
                    <a:pt x="157" y="124"/>
                    <a:pt x="156" y="123"/>
                    <a:pt x="155" y="123"/>
                  </a:cubicBezTo>
                  <a:cubicBezTo>
                    <a:pt x="153" y="122"/>
                    <a:pt x="151" y="121"/>
                    <a:pt x="149" y="121"/>
                  </a:cubicBezTo>
                  <a:cubicBezTo>
                    <a:pt x="147" y="121"/>
                    <a:pt x="144" y="122"/>
                    <a:pt x="143" y="124"/>
                  </a:cubicBezTo>
                  <a:cubicBezTo>
                    <a:pt x="142" y="125"/>
                    <a:pt x="141" y="127"/>
                    <a:pt x="142" y="128"/>
                  </a:cubicBezTo>
                  <a:cubicBezTo>
                    <a:pt x="142" y="131"/>
                    <a:pt x="144" y="132"/>
                    <a:pt x="146" y="134"/>
                  </a:cubicBezTo>
                  <a:cubicBezTo>
                    <a:pt x="148" y="136"/>
                    <a:pt x="151" y="137"/>
                    <a:pt x="148" y="140"/>
                  </a:cubicBezTo>
                  <a:cubicBezTo>
                    <a:pt x="147" y="142"/>
                    <a:pt x="145" y="143"/>
                    <a:pt x="144" y="144"/>
                  </a:cubicBezTo>
                  <a:cubicBezTo>
                    <a:pt x="142" y="146"/>
                    <a:pt x="140" y="146"/>
                    <a:pt x="140" y="149"/>
                  </a:cubicBezTo>
                  <a:cubicBezTo>
                    <a:pt x="140" y="153"/>
                    <a:pt x="135" y="161"/>
                    <a:pt x="132" y="161"/>
                  </a:cubicBezTo>
                  <a:close/>
                  <a:moveTo>
                    <a:pt x="34" y="49"/>
                  </a:moveTo>
                  <a:cubicBezTo>
                    <a:pt x="41" y="49"/>
                    <a:pt x="49" y="54"/>
                    <a:pt x="52" y="58"/>
                  </a:cubicBezTo>
                  <a:cubicBezTo>
                    <a:pt x="52" y="59"/>
                    <a:pt x="53" y="60"/>
                    <a:pt x="53" y="61"/>
                  </a:cubicBezTo>
                  <a:cubicBezTo>
                    <a:pt x="55" y="63"/>
                    <a:pt x="56" y="64"/>
                    <a:pt x="56" y="67"/>
                  </a:cubicBezTo>
                  <a:cubicBezTo>
                    <a:pt x="57" y="70"/>
                    <a:pt x="59" y="77"/>
                    <a:pt x="70" y="84"/>
                  </a:cubicBezTo>
                  <a:cubicBezTo>
                    <a:pt x="76" y="88"/>
                    <a:pt x="79" y="92"/>
                    <a:pt x="82" y="95"/>
                  </a:cubicBezTo>
                  <a:cubicBezTo>
                    <a:pt x="85" y="98"/>
                    <a:pt x="87" y="100"/>
                    <a:pt x="90" y="101"/>
                  </a:cubicBezTo>
                  <a:cubicBezTo>
                    <a:pt x="92" y="102"/>
                    <a:pt x="94" y="103"/>
                    <a:pt x="96" y="103"/>
                  </a:cubicBezTo>
                  <a:cubicBezTo>
                    <a:pt x="99" y="104"/>
                    <a:pt x="102" y="105"/>
                    <a:pt x="104" y="107"/>
                  </a:cubicBezTo>
                  <a:cubicBezTo>
                    <a:pt x="107" y="111"/>
                    <a:pt x="111" y="113"/>
                    <a:pt x="116" y="116"/>
                  </a:cubicBezTo>
                  <a:cubicBezTo>
                    <a:pt x="119" y="117"/>
                    <a:pt x="120" y="119"/>
                    <a:pt x="121" y="120"/>
                  </a:cubicBezTo>
                  <a:cubicBezTo>
                    <a:pt x="123" y="122"/>
                    <a:pt x="124" y="124"/>
                    <a:pt x="126" y="124"/>
                  </a:cubicBezTo>
                  <a:cubicBezTo>
                    <a:pt x="130" y="125"/>
                    <a:pt x="130" y="127"/>
                    <a:pt x="130" y="129"/>
                  </a:cubicBezTo>
                  <a:cubicBezTo>
                    <a:pt x="130" y="130"/>
                    <a:pt x="130" y="132"/>
                    <a:pt x="131" y="133"/>
                  </a:cubicBezTo>
                  <a:cubicBezTo>
                    <a:pt x="135" y="137"/>
                    <a:pt x="136" y="145"/>
                    <a:pt x="132" y="149"/>
                  </a:cubicBezTo>
                  <a:cubicBezTo>
                    <a:pt x="130" y="152"/>
                    <a:pt x="130" y="157"/>
                    <a:pt x="131" y="159"/>
                  </a:cubicBezTo>
                  <a:cubicBezTo>
                    <a:pt x="132" y="160"/>
                    <a:pt x="132" y="160"/>
                    <a:pt x="132" y="160"/>
                  </a:cubicBezTo>
                  <a:cubicBezTo>
                    <a:pt x="134" y="160"/>
                    <a:pt x="139" y="153"/>
                    <a:pt x="139" y="148"/>
                  </a:cubicBezTo>
                  <a:cubicBezTo>
                    <a:pt x="140" y="146"/>
                    <a:pt x="141" y="145"/>
                    <a:pt x="143" y="143"/>
                  </a:cubicBezTo>
                  <a:cubicBezTo>
                    <a:pt x="145" y="143"/>
                    <a:pt x="146" y="142"/>
                    <a:pt x="148" y="140"/>
                  </a:cubicBezTo>
                  <a:cubicBezTo>
                    <a:pt x="149" y="138"/>
                    <a:pt x="148" y="137"/>
                    <a:pt x="146" y="135"/>
                  </a:cubicBezTo>
                  <a:cubicBezTo>
                    <a:pt x="144" y="133"/>
                    <a:pt x="142" y="131"/>
                    <a:pt x="141" y="129"/>
                  </a:cubicBezTo>
                  <a:cubicBezTo>
                    <a:pt x="140" y="127"/>
                    <a:pt x="141" y="125"/>
                    <a:pt x="142" y="123"/>
                  </a:cubicBezTo>
                  <a:cubicBezTo>
                    <a:pt x="144" y="121"/>
                    <a:pt x="146" y="120"/>
                    <a:pt x="149" y="120"/>
                  </a:cubicBezTo>
                  <a:cubicBezTo>
                    <a:pt x="151" y="120"/>
                    <a:pt x="154" y="121"/>
                    <a:pt x="156" y="122"/>
                  </a:cubicBezTo>
                  <a:cubicBezTo>
                    <a:pt x="157" y="123"/>
                    <a:pt x="158" y="123"/>
                    <a:pt x="159" y="124"/>
                  </a:cubicBezTo>
                  <a:cubicBezTo>
                    <a:pt x="161" y="125"/>
                    <a:pt x="163" y="127"/>
                    <a:pt x="164" y="127"/>
                  </a:cubicBezTo>
                  <a:cubicBezTo>
                    <a:pt x="164" y="127"/>
                    <a:pt x="164" y="127"/>
                    <a:pt x="164" y="127"/>
                  </a:cubicBezTo>
                  <a:cubicBezTo>
                    <a:pt x="165" y="127"/>
                    <a:pt x="166" y="127"/>
                    <a:pt x="166" y="123"/>
                  </a:cubicBezTo>
                  <a:cubicBezTo>
                    <a:pt x="166" y="118"/>
                    <a:pt x="152" y="110"/>
                    <a:pt x="143" y="106"/>
                  </a:cubicBezTo>
                  <a:cubicBezTo>
                    <a:pt x="141" y="105"/>
                    <a:pt x="139" y="104"/>
                    <a:pt x="137" y="103"/>
                  </a:cubicBezTo>
                  <a:cubicBezTo>
                    <a:pt x="135" y="101"/>
                    <a:pt x="134" y="100"/>
                    <a:pt x="133" y="98"/>
                  </a:cubicBezTo>
                  <a:cubicBezTo>
                    <a:pt x="132" y="96"/>
                    <a:pt x="132" y="94"/>
                    <a:pt x="127" y="94"/>
                  </a:cubicBezTo>
                  <a:cubicBezTo>
                    <a:pt x="126" y="94"/>
                    <a:pt x="126" y="94"/>
                    <a:pt x="126" y="94"/>
                  </a:cubicBezTo>
                  <a:cubicBezTo>
                    <a:pt x="117" y="94"/>
                    <a:pt x="107" y="84"/>
                    <a:pt x="104" y="71"/>
                  </a:cubicBezTo>
                  <a:cubicBezTo>
                    <a:pt x="102" y="64"/>
                    <a:pt x="96" y="60"/>
                    <a:pt x="92" y="57"/>
                  </a:cubicBezTo>
                  <a:cubicBezTo>
                    <a:pt x="88" y="55"/>
                    <a:pt x="85" y="53"/>
                    <a:pt x="83" y="50"/>
                  </a:cubicBezTo>
                  <a:cubicBezTo>
                    <a:pt x="81" y="46"/>
                    <a:pt x="82" y="44"/>
                    <a:pt x="83" y="42"/>
                  </a:cubicBezTo>
                  <a:cubicBezTo>
                    <a:pt x="84" y="40"/>
                    <a:pt x="85" y="38"/>
                    <a:pt x="84" y="35"/>
                  </a:cubicBezTo>
                  <a:cubicBezTo>
                    <a:pt x="83" y="34"/>
                    <a:pt x="83" y="33"/>
                    <a:pt x="83" y="32"/>
                  </a:cubicBezTo>
                  <a:cubicBezTo>
                    <a:pt x="84" y="30"/>
                    <a:pt x="86" y="28"/>
                    <a:pt x="90" y="27"/>
                  </a:cubicBezTo>
                  <a:cubicBezTo>
                    <a:pt x="90" y="20"/>
                    <a:pt x="90" y="12"/>
                    <a:pt x="91" y="8"/>
                  </a:cubicBezTo>
                  <a:cubicBezTo>
                    <a:pt x="87" y="8"/>
                    <a:pt x="84" y="7"/>
                    <a:pt x="83" y="7"/>
                  </a:cubicBezTo>
                  <a:cubicBezTo>
                    <a:pt x="82" y="6"/>
                    <a:pt x="82" y="4"/>
                    <a:pt x="81" y="3"/>
                  </a:cubicBezTo>
                  <a:cubicBezTo>
                    <a:pt x="81" y="2"/>
                    <a:pt x="81" y="1"/>
                    <a:pt x="81" y="1"/>
                  </a:cubicBezTo>
                  <a:cubicBezTo>
                    <a:pt x="75" y="1"/>
                    <a:pt x="70" y="1"/>
                    <a:pt x="70" y="2"/>
                  </a:cubicBezTo>
                  <a:cubicBezTo>
                    <a:pt x="68" y="3"/>
                    <a:pt x="65" y="6"/>
                    <a:pt x="62" y="6"/>
                  </a:cubicBezTo>
                  <a:cubicBezTo>
                    <a:pt x="61" y="6"/>
                    <a:pt x="61" y="5"/>
                    <a:pt x="60" y="5"/>
                  </a:cubicBezTo>
                  <a:cubicBezTo>
                    <a:pt x="59" y="5"/>
                    <a:pt x="59" y="4"/>
                    <a:pt x="58" y="4"/>
                  </a:cubicBezTo>
                  <a:cubicBezTo>
                    <a:pt x="56" y="6"/>
                    <a:pt x="56" y="6"/>
                    <a:pt x="56" y="6"/>
                  </a:cubicBezTo>
                  <a:cubicBezTo>
                    <a:pt x="56" y="7"/>
                    <a:pt x="55" y="10"/>
                    <a:pt x="53" y="10"/>
                  </a:cubicBezTo>
                  <a:cubicBezTo>
                    <a:pt x="53" y="10"/>
                    <a:pt x="53" y="10"/>
                    <a:pt x="52" y="10"/>
                  </a:cubicBezTo>
                  <a:cubicBezTo>
                    <a:pt x="51" y="10"/>
                    <a:pt x="51" y="10"/>
                    <a:pt x="51" y="10"/>
                  </a:cubicBezTo>
                  <a:cubicBezTo>
                    <a:pt x="50" y="10"/>
                    <a:pt x="50" y="10"/>
                    <a:pt x="50" y="11"/>
                  </a:cubicBezTo>
                  <a:cubicBezTo>
                    <a:pt x="50" y="13"/>
                    <a:pt x="49" y="14"/>
                    <a:pt x="46" y="14"/>
                  </a:cubicBezTo>
                  <a:cubicBezTo>
                    <a:pt x="44" y="14"/>
                    <a:pt x="43" y="14"/>
                    <a:pt x="42" y="14"/>
                  </a:cubicBezTo>
                  <a:cubicBezTo>
                    <a:pt x="42" y="13"/>
                    <a:pt x="41" y="13"/>
                    <a:pt x="41" y="13"/>
                  </a:cubicBezTo>
                  <a:cubicBezTo>
                    <a:pt x="40" y="13"/>
                    <a:pt x="38" y="14"/>
                    <a:pt x="38" y="16"/>
                  </a:cubicBezTo>
                  <a:cubicBezTo>
                    <a:pt x="38" y="19"/>
                    <a:pt x="37" y="23"/>
                    <a:pt x="35" y="23"/>
                  </a:cubicBezTo>
                  <a:cubicBezTo>
                    <a:pt x="34" y="23"/>
                    <a:pt x="34" y="22"/>
                    <a:pt x="33" y="22"/>
                  </a:cubicBezTo>
                  <a:cubicBezTo>
                    <a:pt x="31" y="20"/>
                    <a:pt x="30" y="18"/>
                    <a:pt x="28" y="16"/>
                  </a:cubicBezTo>
                  <a:cubicBezTo>
                    <a:pt x="27" y="14"/>
                    <a:pt x="26" y="12"/>
                    <a:pt x="25" y="12"/>
                  </a:cubicBezTo>
                  <a:cubicBezTo>
                    <a:pt x="25" y="12"/>
                    <a:pt x="24" y="13"/>
                    <a:pt x="24" y="15"/>
                  </a:cubicBezTo>
                  <a:cubicBezTo>
                    <a:pt x="22" y="18"/>
                    <a:pt x="20" y="22"/>
                    <a:pt x="18" y="22"/>
                  </a:cubicBezTo>
                  <a:cubicBezTo>
                    <a:pt x="16" y="22"/>
                    <a:pt x="10" y="23"/>
                    <a:pt x="6" y="23"/>
                  </a:cubicBezTo>
                  <a:cubicBezTo>
                    <a:pt x="5" y="26"/>
                    <a:pt x="6" y="28"/>
                    <a:pt x="7" y="29"/>
                  </a:cubicBezTo>
                  <a:cubicBezTo>
                    <a:pt x="8" y="29"/>
                    <a:pt x="8" y="30"/>
                    <a:pt x="8" y="30"/>
                  </a:cubicBezTo>
                  <a:cubicBezTo>
                    <a:pt x="8" y="32"/>
                    <a:pt x="6" y="35"/>
                    <a:pt x="4" y="36"/>
                  </a:cubicBezTo>
                  <a:cubicBezTo>
                    <a:pt x="4" y="36"/>
                    <a:pt x="3" y="36"/>
                    <a:pt x="2" y="36"/>
                  </a:cubicBezTo>
                  <a:cubicBezTo>
                    <a:pt x="2" y="36"/>
                    <a:pt x="1" y="36"/>
                    <a:pt x="1" y="37"/>
                  </a:cubicBezTo>
                  <a:cubicBezTo>
                    <a:pt x="1" y="37"/>
                    <a:pt x="1" y="37"/>
                    <a:pt x="2" y="38"/>
                  </a:cubicBezTo>
                  <a:cubicBezTo>
                    <a:pt x="2" y="40"/>
                    <a:pt x="3" y="41"/>
                    <a:pt x="4" y="41"/>
                  </a:cubicBezTo>
                  <a:cubicBezTo>
                    <a:pt x="6" y="43"/>
                    <a:pt x="7" y="44"/>
                    <a:pt x="6" y="46"/>
                  </a:cubicBezTo>
                  <a:cubicBezTo>
                    <a:pt x="5" y="48"/>
                    <a:pt x="5" y="49"/>
                    <a:pt x="5" y="51"/>
                  </a:cubicBezTo>
                  <a:cubicBezTo>
                    <a:pt x="6" y="52"/>
                    <a:pt x="7" y="53"/>
                    <a:pt x="9" y="53"/>
                  </a:cubicBezTo>
                  <a:cubicBezTo>
                    <a:pt x="9" y="53"/>
                    <a:pt x="10" y="53"/>
                    <a:pt x="11" y="53"/>
                  </a:cubicBezTo>
                  <a:cubicBezTo>
                    <a:pt x="13" y="53"/>
                    <a:pt x="15" y="53"/>
                    <a:pt x="16" y="54"/>
                  </a:cubicBezTo>
                  <a:cubicBezTo>
                    <a:pt x="16" y="54"/>
                    <a:pt x="16" y="55"/>
                    <a:pt x="16" y="56"/>
                  </a:cubicBezTo>
                  <a:cubicBezTo>
                    <a:pt x="16" y="56"/>
                    <a:pt x="16" y="56"/>
                    <a:pt x="15" y="57"/>
                  </a:cubicBezTo>
                  <a:cubicBezTo>
                    <a:pt x="15" y="58"/>
                    <a:pt x="15" y="59"/>
                    <a:pt x="14" y="60"/>
                  </a:cubicBezTo>
                  <a:cubicBezTo>
                    <a:pt x="15" y="60"/>
                    <a:pt x="16" y="59"/>
                    <a:pt x="16" y="59"/>
                  </a:cubicBezTo>
                  <a:cubicBezTo>
                    <a:pt x="18" y="59"/>
                    <a:pt x="19" y="59"/>
                    <a:pt x="21" y="58"/>
                  </a:cubicBezTo>
                  <a:cubicBezTo>
                    <a:pt x="22" y="57"/>
                    <a:pt x="23" y="56"/>
                    <a:pt x="24" y="55"/>
                  </a:cubicBezTo>
                  <a:cubicBezTo>
                    <a:pt x="25" y="53"/>
                    <a:pt x="26" y="51"/>
                    <a:pt x="31" y="49"/>
                  </a:cubicBezTo>
                  <a:cubicBezTo>
                    <a:pt x="32" y="49"/>
                    <a:pt x="33" y="49"/>
                    <a:pt x="34" y="49"/>
                  </a:cubicBezTo>
                  <a:close/>
                  <a:moveTo>
                    <a:pt x="31" y="146"/>
                  </a:moveTo>
                  <a:cubicBezTo>
                    <a:pt x="31" y="146"/>
                    <a:pt x="31" y="146"/>
                    <a:pt x="31" y="146"/>
                  </a:cubicBezTo>
                  <a:cubicBezTo>
                    <a:pt x="30" y="146"/>
                    <a:pt x="29" y="146"/>
                    <a:pt x="28" y="145"/>
                  </a:cubicBezTo>
                  <a:cubicBezTo>
                    <a:pt x="26" y="142"/>
                    <a:pt x="25" y="136"/>
                    <a:pt x="26" y="131"/>
                  </a:cubicBezTo>
                  <a:cubicBezTo>
                    <a:pt x="27" y="126"/>
                    <a:pt x="25" y="122"/>
                    <a:pt x="23" y="119"/>
                  </a:cubicBezTo>
                  <a:cubicBezTo>
                    <a:pt x="21" y="116"/>
                    <a:pt x="20" y="114"/>
                    <a:pt x="21" y="112"/>
                  </a:cubicBezTo>
                  <a:cubicBezTo>
                    <a:pt x="22" y="111"/>
                    <a:pt x="23" y="110"/>
                    <a:pt x="24" y="110"/>
                  </a:cubicBezTo>
                  <a:cubicBezTo>
                    <a:pt x="25" y="110"/>
                    <a:pt x="25" y="110"/>
                    <a:pt x="25" y="110"/>
                  </a:cubicBezTo>
                  <a:cubicBezTo>
                    <a:pt x="26" y="111"/>
                    <a:pt x="27" y="111"/>
                    <a:pt x="28" y="111"/>
                  </a:cubicBezTo>
                  <a:cubicBezTo>
                    <a:pt x="29" y="111"/>
                    <a:pt x="31" y="110"/>
                    <a:pt x="32" y="109"/>
                  </a:cubicBezTo>
                  <a:cubicBezTo>
                    <a:pt x="33" y="108"/>
                    <a:pt x="35" y="107"/>
                    <a:pt x="38" y="107"/>
                  </a:cubicBezTo>
                  <a:cubicBezTo>
                    <a:pt x="41" y="107"/>
                    <a:pt x="44" y="108"/>
                    <a:pt x="45" y="110"/>
                  </a:cubicBezTo>
                  <a:cubicBezTo>
                    <a:pt x="46" y="112"/>
                    <a:pt x="46" y="113"/>
                    <a:pt x="46" y="115"/>
                  </a:cubicBezTo>
                  <a:cubicBezTo>
                    <a:pt x="45" y="118"/>
                    <a:pt x="45" y="122"/>
                    <a:pt x="45" y="126"/>
                  </a:cubicBezTo>
                  <a:cubicBezTo>
                    <a:pt x="45" y="132"/>
                    <a:pt x="45" y="137"/>
                    <a:pt x="43" y="139"/>
                  </a:cubicBezTo>
                  <a:cubicBezTo>
                    <a:pt x="42" y="141"/>
                    <a:pt x="41" y="141"/>
                    <a:pt x="39" y="141"/>
                  </a:cubicBezTo>
                  <a:cubicBezTo>
                    <a:pt x="38" y="142"/>
                    <a:pt x="36" y="143"/>
                    <a:pt x="33" y="145"/>
                  </a:cubicBezTo>
                  <a:cubicBezTo>
                    <a:pt x="32" y="146"/>
                    <a:pt x="31" y="146"/>
                    <a:pt x="31" y="146"/>
                  </a:cubicBezTo>
                  <a:close/>
                  <a:moveTo>
                    <a:pt x="24" y="111"/>
                  </a:moveTo>
                  <a:cubicBezTo>
                    <a:pt x="23" y="111"/>
                    <a:pt x="22" y="111"/>
                    <a:pt x="22" y="112"/>
                  </a:cubicBezTo>
                  <a:cubicBezTo>
                    <a:pt x="21" y="114"/>
                    <a:pt x="22" y="116"/>
                    <a:pt x="24" y="119"/>
                  </a:cubicBezTo>
                  <a:cubicBezTo>
                    <a:pt x="26" y="122"/>
                    <a:pt x="29" y="126"/>
                    <a:pt x="27" y="131"/>
                  </a:cubicBezTo>
                  <a:cubicBezTo>
                    <a:pt x="26" y="136"/>
                    <a:pt x="27" y="142"/>
                    <a:pt x="29" y="144"/>
                  </a:cubicBezTo>
                  <a:cubicBezTo>
                    <a:pt x="29" y="145"/>
                    <a:pt x="30" y="145"/>
                    <a:pt x="31" y="145"/>
                  </a:cubicBezTo>
                  <a:cubicBezTo>
                    <a:pt x="31" y="145"/>
                    <a:pt x="31" y="145"/>
                    <a:pt x="31" y="145"/>
                  </a:cubicBezTo>
                  <a:cubicBezTo>
                    <a:pt x="31" y="145"/>
                    <a:pt x="32" y="145"/>
                    <a:pt x="33" y="144"/>
                  </a:cubicBezTo>
                  <a:cubicBezTo>
                    <a:pt x="35" y="142"/>
                    <a:pt x="37" y="141"/>
                    <a:pt x="39" y="141"/>
                  </a:cubicBezTo>
                  <a:cubicBezTo>
                    <a:pt x="40" y="140"/>
                    <a:pt x="41" y="140"/>
                    <a:pt x="43" y="138"/>
                  </a:cubicBezTo>
                  <a:cubicBezTo>
                    <a:pt x="44" y="136"/>
                    <a:pt x="44" y="131"/>
                    <a:pt x="44" y="126"/>
                  </a:cubicBezTo>
                  <a:cubicBezTo>
                    <a:pt x="44" y="122"/>
                    <a:pt x="44" y="118"/>
                    <a:pt x="45" y="115"/>
                  </a:cubicBezTo>
                  <a:cubicBezTo>
                    <a:pt x="45" y="113"/>
                    <a:pt x="45" y="112"/>
                    <a:pt x="44" y="111"/>
                  </a:cubicBezTo>
                  <a:cubicBezTo>
                    <a:pt x="43" y="109"/>
                    <a:pt x="41" y="108"/>
                    <a:pt x="38" y="108"/>
                  </a:cubicBezTo>
                  <a:cubicBezTo>
                    <a:pt x="36" y="108"/>
                    <a:pt x="34" y="109"/>
                    <a:pt x="32" y="110"/>
                  </a:cubicBezTo>
                  <a:cubicBezTo>
                    <a:pt x="31" y="111"/>
                    <a:pt x="29" y="112"/>
                    <a:pt x="28" y="112"/>
                  </a:cubicBezTo>
                  <a:cubicBezTo>
                    <a:pt x="27" y="112"/>
                    <a:pt x="26" y="112"/>
                    <a:pt x="25" y="111"/>
                  </a:cubicBezTo>
                  <a:cubicBezTo>
                    <a:pt x="24" y="111"/>
                    <a:pt x="24" y="111"/>
                    <a:pt x="24" y="1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49" name="Freeform 176"/>
            <p:cNvSpPr>
              <a:spLocks noEditPoints="1"/>
            </p:cNvSpPr>
            <p:nvPr/>
          </p:nvSpPr>
          <p:spPr>
            <a:xfrm>
              <a:off x="5230814" y="2654300"/>
              <a:ext cx="31750" cy="42863"/>
            </a:xfrm>
            <a:custGeom>
              <a:gdLst>
                <a:gd name="T0" fmla="*/ 12 w 19"/>
                <a:gd name="T1" fmla="*/ 25 h 25"/>
                <a:gd name="T2" fmla="*/ 11 w 19"/>
                <a:gd name="T3" fmla="*/ 25 h 25"/>
                <a:gd name="T4" fmla="*/ 11 w 19"/>
                <a:gd name="T5" fmla="*/ 24 h 25"/>
                <a:gd name="T6" fmla="*/ 2 w 19"/>
                <a:gd name="T7" fmla="*/ 18 h 25"/>
                <a:gd name="T8" fmla="*/ 0 w 19"/>
                <a:gd name="T9" fmla="*/ 17 h 25"/>
                <a:gd name="T10" fmla="*/ 0 w 19"/>
                <a:gd name="T11" fmla="*/ 16 h 25"/>
                <a:gd name="T12" fmla="*/ 1 w 19"/>
                <a:gd name="T13" fmla="*/ 12 h 25"/>
                <a:gd name="T14" fmla="*/ 6 w 19"/>
                <a:gd name="T15" fmla="*/ 1 h 25"/>
                <a:gd name="T16" fmla="*/ 7 w 19"/>
                <a:gd name="T17" fmla="*/ 0 h 25"/>
                <a:gd name="T18" fmla="*/ 7 w 19"/>
                <a:gd name="T19" fmla="*/ 1 h 25"/>
                <a:gd name="T20" fmla="*/ 19 w 19"/>
                <a:gd name="T21" fmla="*/ 14 h 25"/>
                <a:gd name="T22" fmla="*/ 19 w 19"/>
                <a:gd name="T23" fmla="*/ 14 h 25"/>
                <a:gd name="T24" fmla="*/ 18 w 19"/>
                <a:gd name="T25" fmla="*/ 15 h 25"/>
                <a:gd name="T26" fmla="*/ 12 w 19"/>
                <a:gd name="T27" fmla="*/ 25 h 25"/>
                <a:gd name="T28" fmla="*/ 1 w 19"/>
                <a:gd name="T29" fmla="*/ 16 h 25"/>
                <a:gd name="T30" fmla="*/ 2 w 19"/>
                <a:gd name="T31" fmla="*/ 17 h 25"/>
                <a:gd name="T32" fmla="*/ 11 w 19"/>
                <a:gd name="T33" fmla="*/ 24 h 25"/>
                <a:gd name="T34" fmla="*/ 11 w 19"/>
                <a:gd name="T35" fmla="*/ 24 h 25"/>
                <a:gd name="T36" fmla="*/ 17 w 19"/>
                <a:gd name="T37" fmla="*/ 14 h 25"/>
                <a:gd name="T38" fmla="*/ 7 w 19"/>
                <a:gd name="T39" fmla="*/ 2 h 25"/>
                <a:gd name="T40" fmla="*/ 2 w 19"/>
                <a:gd name="T41" fmla="*/ 12 h 25"/>
                <a:gd name="T42" fmla="*/ 1 w 19"/>
                <a:gd name="T43" fmla="*/ 16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5">
                  <a:moveTo>
                    <a:pt x="12" y="25"/>
                  </a:moveTo>
                  <a:cubicBezTo>
                    <a:pt x="11" y="25"/>
                    <a:pt x="11" y="25"/>
                    <a:pt x="11" y="25"/>
                  </a:cubicBezTo>
                  <a:cubicBezTo>
                    <a:pt x="11" y="25"/>
                    <a:pt x="11" y="25"/>
                    <a:pt x="11" y="24"/>
                  </a:cubicBezTo>
                  <a:cubicBezTo>
                    <a:pt x="8" y="23"/>
                    <a:pt x="5" y="21"/>
                    <a:pt x="2" y="18"/>
                  </a:cubicBezTo>
                  <a:cubicBezTo>
                    <a:pt x="0" y="17"/>
                    <a:pt x="0" y="17"/>
                    <a:pt x="0" y="17"/>
                  </a:cubicBezTo>
                  <a:cubicBezTo>
                    <a:pt x="0" y="16"/>
                    <a:pt x="0" y="16"/>
                    <a:pt x="0" y="16"/>
                  </a:cubicBezTo>
                  <a:cubicBezTo>
                    <a:pt x="1" y="13"/>
                    <a:pt x="1" y="12"/>
                    <a:pt x="1" y="12"/>
                  </a:cubicBezTo>
                  <a:cubicBezTo>
                    <a:pt x="0" y="10"/>
                    <a:pt x="4" y="4"/>
                    <a:pt x="6" y="1"/>
                  </a:cubicBezTo>
                  <a:cubicBezTo>
                    <a:pt x="7" y="0"/>
                    <a:pt x="7" y="0"/>
                    <a:pt x="7" y="0"/>
                  </a:cubicBezTo>
                  <a:cubicBezTo>
                    <a:pt x="7" y="1"/>
                    <a:pt x="7" y="1"/>
                    <a:pt x="7" y="1"/>
                  </a:cubicBezTo>
                  <a:cubicBezTo>
                    <a:pt x="10" y="4"/>
                    <a:pt x="15" y="10"/>
                    <a:pt x="19" y="14"/>
                  </a:cubicBezTo>
                  <a:cubicBezTo>
                    <a:pt x="19" y="14"/>
                    <a:pt x="19" y="14"/>
                    <a:pt x="19" y="14"/>
                  </a:cubicBezTo>
                  <a:cubicBezTo>
                    <a:pt x="18" y="15"/>
                    <a:pt x="18" y="15"/>
                    <a:pt x="18" y="15"/>
                  </a:cubicBezTo>
                  <a:cubicBezTo>
                    <a:pt x="16" y="15"/>
                    <a:pt x="13" y="20"/>
                    <a:pt x="12" y="25"/>
                  </a:cubicBezTo>
                  <a:close/>
                  <a:moveTo>
                    <a:pt x="1" y="16"/>
                  </a:moveTo>
                  <a:cubicBezTo>
                    <a:pt x="2" y="17"/>
                    <a:pt x="2" y="17"/>
                    <a:pt x="2" y="17"/>
                  </a:cubicBezTo>
                  <a:cubicBezTo>
                    <a:pt x="6" y="20"/>
                    <a:pt x="9" y="22"/>
                    <a:pt x="11" y="24"/>
                  </a:cubicBezTo>
                  <a:cubicBezTo>
                    <a:pt x="11" y="24"/>
                    <a:pt x="11" y="24"/>
                    <a:pt x="11" y="24"/>
                  </a:cubicBezTo>
                  <a:cubicBezTo>
                    <a:pt x="12" y="19"/>
                    <a:pt x="15" y="15"/>
                    <a:pt x="17" y="14"/>
                  </a:cubicBezTo>
                  <a:cubicBezTo>
                    <a:pt x="14" y="10"/>
                    <a:pt x="10" y="5"/>
                    <a:pt x="7" y="2"/>
                  </a:cubicBezTo>
                  <a:cubicBezTo>
                    <a:pt x="4" y="6"/>
                    <a:pt x="1" y="11"/>
                    <a:pt x="2" y="12"/>
                  </a:cubicBezTo>
                  <a:cubicBezTo>
                    <a:pt x="2" y="13"/>
                    <a:pt x="2" y="14"/>
                    <a:pt x="1" y="1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0" name="Freeform 177"/>
            <p:cNvSpPr>
              <a:spLocks noEditPoints="1"/>
            </p:cNvSpPr>
            <p:nvPr/>
          </p:nvSpPr>
          <p:spPr>
            <a:xfrm>
              <a:off x="5237164" y="2568575"/>
              <a:ext cx="101600" cy="123825"/>
            </a:xfrm>
            <a:custGeom>
              <a:gdLst>
                <a:gd name="T0" fmla="*/ 28 w 60"/>
                <a:gd name="T1" fmla="*/ 73 h 73"/>
                <a:gd name="T2" fmla="*/ 14 w 60"/>
                <a:gd name="T3" fmla="*/ 66 h 73"/>
                <a:gd name="T4" fmla="*/ 14 w 60"/>
                <a:gd name="T5" fmla="*/ 66 h 73"/>
                <a:gd name="T6" fmla="*/ 2 w 60"/>
                <a:gd name="T7" fmla="*/ 52 h 73"/>
                <a:gd name="T8" fmla="*/ 2 w 60"/>
                <a:gd name="T9" fmla="*/ 52 h 73"/>
                <a:gd name="T10" fmla="*/ 9 w 60"/>
                <a:gd name="T11" fmla="*/ 46 h 73"/>
                <a:gd name="T12" fmla="*/ 8 w 60"/>
                <a:gd name="T13" fmla="*/ 20 h 73"/>
                <a:gd name="T14" fmla="*/ 0 w 60"/>
                <a:gd name="T15" fmla="*/ 5 h 73"/>
                <a:gd name="T16" fmla="*/ 1 w 60"/>
                <a:gd name="T17" fmla="*/ 4 h 73"/>
                <a:gd name="T18" fmla="*/ 16 w 60"/>
                <a:gd name="T19" fmla="*/ 0 h 73"/>
                <a:gd name="T20" fmla="*/ 22 w 60"/>
                <a:gd name="T21" fmla="*/ 2 h 73"/>
                <a:gd name="T22" fmla="*/ 27 w 60"/>
                <a:gd name="T23" fmla="*/ 2 h 73"/>
                <a:gd name="T24" fmla="*/ 26 w 60"/>
                <a:gd name="T25" fmla="*/ 4 h 73"/>
                <a:gd name="T26" fmla="*/ 32 w 60"/>
                <a:gd name="T27" fmla="*/ 12 h 73"/>
                <a:gd name="T28" fmla="*/ 37 w 60"/>
                <a:gd name="T29" fmla="*/ 17 h 73"/>
                <a:gd name="T30" fmla="*/ 38 w 60"/>
                <a:gd name="T31" fmla="*/ 26 h 73"/>
                <a:gd name="T32" fmla="*/ 55 w 60"/>
                <a:gd name="T33" fmla="*/ 31 h 73"/>
                <a:gd name="T34" fmla="*/ 54 w 60"/>
                <a:gd name="T35" fmla="*/ 39 h 73"/>
                <a:gd name="T36" fmla="*/ 54 w 60"/>
                <a:gd name="T37" fmla="*/ 48 h 73"/>
                <a:gd name="T38" fmla="*/ 58 w 60"/>
                <a:gd name="T39" fmla="*/ 58 h 73"/>
                <a:gd name="T40" fmla="*/ 54 w 60"/>
                <a:gd name="T41" fmla="*/ 64 h 73"/>
                <a:gd name="T42" fmla="*/ 54 w 60"/>
                <a:gd name="T43" fmla="*/ 68 h 73"/>
                <a:gd name="T44" fmla="*/ 53 w 60"/>
                <a:gd name="T45" fmla="*/ 69 h 73"/>
                <a:gd name="T46" fmla="*/ 15 w 60"/>
                <a:gd name="T47" fmla="*/ 65 h 73"/>
                <a:gd name="T48" fmla="*/ 53 w 60"/>
                <a:gd name="T49" fmla="*/ 68 h 73"/>
                <a:gd name="T50" fmla="*/ 53 w 60"/>
                <a:gd name="T51" fmla="*/ 64 h 73"/>
                <a:gd name="T52" fmla="*/ 58 w 60"/>
                <a:gd name="T53" fmla="*/ 57 h 73"/>
                <a:gd name="T54" fmla="*/ 53 w 60"/>
                <a:gd name="T55" fmla="*/ 49 h 73"/>
                <a:gd name="T56" fmla="*/ 53 w 60"/>
                <a:gd name="T57" fmla="*/ 38 h 73"/>
                <a:gd name="T58" fmla="*/ 54 w 60"/>
                <a:gd name="T59" fmla="*/ 31 h 73"/>
                <a:gd name="T60" fmla="*/ 38 w 60"/>
                <a:gd name="T61" fmla="*/ 26 h 73"/>
                <a:gd name="T62" fmla="*/ 37 w 60"/>
                <a:gd name="T63" fmla="*/ 18 h 73"/>
                <a:gd name="T64" fmla="*/ 31 w 60"/>
                <a:gd name="T65" fmla="*/ 12 h 73"/>
                <a:gd name="T66" fmla="*/ 26 w 60"/>
                <a:gd name="T67" fmla="*/ 3 h 73"/>
                <a:gd name="T68" fmla="*/ 22 w 60"/>
                <a:gd name="T69" fmla="*/ 3 h 73"/>
                <a:gd name="T70" fmla="*/ 1 w 60"/>
                <a:gd name="T71" fmla="*/ 5 h 73"/>
                <a:gd name="T72" fmla="*/ 9 w 60"/>
                <a:gd name="T73" fmla="*/ 20 h 73"/>
                <a:gd name="T74" fmla="*/ 9 w 60"/>
                <a:gd name="T75" fmla="*/ 47 h 73"/>
                <a:gd name="T76" fmla="*/ 3 w 60"/>
                <a:gd name="T77" fmla="*/ 52 h 73"/>
                <a:gd name="T78" fmla="*/ 15 w 60"/>
                <a:gd name="T79" fmla="*/ 65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73">
                  <a:moveTo>
                    <a:pt x="28" y="73"/>
                  </a:moveTo>
                  <a:cubicBezTo>
                    <a:pt x="28" y="73"/>
                    <a:pt x="28" y="73"/>
                    <a:pt x="28" y="73"/>
                  </a:cubicBezTo>
                  <a:cubicBezTo>
                    <a:pt x="25" y="71"/>
                    <a:pt x="17" y="66"/>
                    <a:pt x="15" y="66"/>
                  </a:cubicBezTo>
                  <a:cubicBezTo>
                    <a:pt x="15" y="66"/>
                    <a:pt x="15" y="66"/>
                    <a:pt x="14" y="66"/>
                  </a:cubicBezTo>
                  <a:cubicBezTo>
                    <a:pt x="14" y="66"/>
                    <a:pt x="14" y="66"/>
                    <a:pt x="14" y="66"/>
                  </a:cubicBezTo>
                  <a:cubicBezTo>
                    <a:pt x="14" y="66"/>
                    <a:pt x="14" y="66"/>
                    <a:pt x="14" y="66"/>
                  </a:cubicBezTo>
                  <a:cubicBezTo>
                    <a:pt x="14" y="65"/>
                    <a:pt x="14" y="65"/>
                    <a:pt x="14" y="65"/>
                  </a:cubicBezTo>
                  <a:cubicBezTo>
                    <a:pt x="10" y="61"/>
                    <a:pt x="5" y="56"/>
                    <a:pt x="2" y="52"/>
                  </a:cubicBezTo>
                  <a:cubicBezTo>
                    <a:pt x="2" y="52"/>
                    <a:pt x="2" y="52"/>
                    <a:pt x="2" y="52"/>
                  </a:cubicBezTo>
                  <a:cubicBezTo>
                    <a:pt x="2" y="52"/>
                    <a:pt x="2" y="52"/>
                    <a:pt x="2" y="52"/>
                  </a:cubicBezTo>
                  <a:cubicBezTo>
                    <a:pt x="4" y="50"/>
                    <a:pt x="7" y="46"/>
                    <a:pt x="8" y="46"/>
                  </a:cubicBezTo>
                  <a:cubicBezTo>
                    <a:pt x="8" y="46"/>
                    <a:pt x="8" y="46"/>
                    <a:pt x="9" y="46"/>
                  </a:cubicBezTo>
                  <a:cubicBezTo>
                    <a:pt x="10" y="42"/>
                    <a:pt x="10" y="28"/>
                    <a:pt x="9" y="24"/>
                  </a:cubicBezTo>
                  <a:cubicBezTo>
                    <a:pt x="8" y="23"/>
                    <a:pt x="8" y="21"/>
                    <a:pt x="8" y="20"/>
                  </a:cubicBezTo>
                  <a:cubicBezTo>
                    <a:pt x="8" y="17"/>
                    <a:pt x="7" y="15"/>
                    <a:pt x="5" y="14"/>
                  </a:cubicBezTo>
                  <a:cubicBezTo>
                    <a:pt x="2" y="13"/>
                    <a:pt x="1" y="10"/>
                    <a:pt x="0" y="5"/>
                  </a:cubicBezTo>
                  <a:cubicBezTo>
                    <a:pt x="0" y="5"/>
                    <a:pt x="0" y="5"/>
                    <a:pt x="0" y="5"/>
                  </a:cubicBezTo>
                  <a:cubicBezTo>
                    <a:pt x="1" y="4"/>
                    <a:pt x="1" y="4"/>
                    <a:pt x="1" y="4"/>
                  </a:cubicBezTo>
                  <a:cubicBezTo>
                    <a:pt x="7" y="3"/>
                    <a:pt x="16" y="0"/>
                    <a:pt x="16" y="0"/>
                  </a:cubicBezTo>
                  <a:cubicBezTo>
                    <a:pt x="16" y="0"/>
                    <a:pt x="16" y="0"/>
                    <a:pt x="16" y="0"/>
                  </a:cubicBezTo>
                  <a:cubicBezTo>
                    <a:pt x="16" y="0"/>
                    <a:pt x="16" y="0"/>
                    <a:pt x="16" y="0"/>
                  </a:cubicBezTo>
                  <a:cubicBezTo>
                    <a:pt x="16" y="0"/>
                    <a:pt x="20" y="1"/>
                    <a:pt x="22" y="2"/>
                  </a:cubicBezTo>
                  <a:cubicBezTo>
                    <a:pt x="23" y="2"/>
                    <a:pt x="24" y="2"/>
                    <a:pt x="26" y="2"/>
                  </a:cubicBezTo>
                  <a:cubicBezTo>
                    <a:pt x="27" y="2"/>
                    <a:pt x="27" y="2"/>
                    <a:pt x="27" y="2"/>
                  </a:cubicBezTo>
                  <a:cubicBezTo>
                    <a:pt x="27" y="3"/>
                    <a:pt x="27" y="3"/>
                    <a:pt x="27" y="3"/>
                  </a:cubicBezTo>
                  <a:cubicBezTo>
                    <a:pt x="27" y="3"/>
                    <a:pt x="27" y="3"/>
                    <a:pt x="26" y="4"/>
                  </a:cubicBezTo>
                  <a:cubicBezTo>
                    <a:pt x="26" y="4"/>
                    <a:pt x="28" y="6"/>
                    <a:pt x="29" y="7"/>
                  </a:cubicBezTo>
                  <a:cubicBezTo>
                    <a:pt x="30" y="8"/>
                    <a:pt x="32" y="10"/>
                    <a:pt x="32" y="12"/>
                  </a:cubicBezTo>
                  <a:cubicBezTo>
                    <a:pt x="32" y="13"/>
                    <a:pt x="32" y="16"/>
                    <a:pt x="36" y="16"/>
                  </a:cubicBezTo>
                  <a:cubicBezTo>
                    <a:pt x="37" y="16"/>
                    <a:pt x="37" y="17"/>
                    <a:pt x="37" y="17"/>
                  </a:cubicBezTo>
                  <a:cubicBezTo>
                    <a:pt x="38" y="18"/>
                    <a:pt x="38" y="20"/>
                    <a:pt x="38" y="22"/>
                  </a:cubicBezTo>
                  <a:cubicBezTo>
                    <a:pt x="38" y="23"/>
                    <a:pt x="37" y="25"/>
                    <a:pt x="38" y="26"/>
                  </a:cubicBezTo>
                  <a:cubicBezTo>
                    <a:pt x="39" y="26"/>
                    <a:pt x="40" y="26"/>
                    <a:pt x="41" y="26"/>
                  </a:cubicBezTo>
                  <a:cubicBezTo>
                    <a:pt x="48" y="27"/>
                    <a:pt x="55" y="28"/>
                    <a:pt x="55" y="31"/>
                  </a:cubicBezTo>
                  <a:cubicBezTo>
                    <a:pt x="55" y="32"/>
                    <a:pt x="55" y="33"/>
                    <a:pt x="55" y="34"/>
                  </a:cubicBezTo>
                  <a:cubicBezTo>
                    <a:pt x="56" y="36"/>
                    <a:pt x="56" y="38"/>
                    <a:pt x="54" y="39"/>
                  </a:cubicBezTo>
                  <a:cubicBezTo>
                    <a:pt x="53" y="40"/>
                    <a:pt x="52" y="41"/>
                    <a:pt x="52" y="43"/>
                  </a:cubicBezTo>
                  <a:cubicBezTo>
                    <a:pt x="52" y="45"/>
                    <a:pt x="53" y="47"/>
                    <a:pt x="54" y="48"/>
                  </a:cubicBezTo>
                  <a:cubicBezTo>
                    <a:pt x="56" y="50"/>
                    <a:pt x="60" y="56"/>
                    <a:pt x="60" y="58"/>
                  </a:cubicBezTo>
                  <a:cubicBezTo>
                    <a:pt x="60" y="58"/>
                    <a:pt x="59" y="58"/>
                    <a:pt x="58" y="58"/>
                  </a:cubicBezTo>
                  <a:cubicBezTo>
                    <a:pt x="57" y="58"/>
                    <a:pt x="56" y="59"/>
                    <a:pt x="55" y="60"/>
                  </a:cubicBezTo>
                  <a:cubicBezTo>
                    <a:pt x="54" y="61"/>
                    <a:pt x="54" y="63"/>
                    <a:pt x="54" y="64"/>
                  </a:cubicBezTo>
                  <a:cubicBezTo>
                    <a:pt x="54" y="65"/>
                    <a:pt x="54" y="66"/>
                    <a:pt x="54" y="67"/>
                  </a:cubicBezTo>
                  <a:cubicBezTo>
                    <a:pt x="54" y="68"/>
                    <a:pt x="54" y="68"/>
                    <a:pt x="54" y="68"/>
                  </a:cubicBezTo>
                  <a:cubicBezTo>
                    <a:pt x="54" y="69"/>
                    <a:pt x="54" y="69"/>
                    <a:pt x="54" y="69"/>
                  </a:cubicBezTo>
                  <a:cubicBezTo>
                    <a:pt x="53" y="69"/>
                    <a:pt x="53" y="69"/>
                    <a:pt x="53" y="69"/>
                  </a:cubicBezTo>
                  <a:cubicBezTo>
                    <a:pt x="43" y="70"/>
                    <a:pt x="28" y="73"/>
                    <a:pt x="28" y="73"/>
                  </a:cubicBezTo>
                  <a:close/>
                  <a:moveTo>
                    <a:pt x="15" y="65"/>
                  </a:moveTo>
                  <a:cubicBezTo>
                    <a:pt x="17" y="65"/>
                    <a:pt x="26" y="71"/>
                    <a:pt x="28" y="72"/>
                  </a:cubicBezTo>
                  <a:cubicBezTo>
                    <a:pt x="30" y="72"/>
                    <a:pt x="43" y="69"/>
                    <a:pt x="53" y="68"/>
                  </a:cubicBezTo>
                  <a:cubicBezTo>
                    <a:pt x="53" y="67"/>
                    <a:pt x="53" y="67"/>
                    <a:pt x="53" y="67"/>
                  </a:cubicBezTo>
                  <a:cubicBezTo>
                    <a:pt x="53" y="66"/>
                    <a:pt x="53" y="65"/>
                    <a:pt x="53" y="64"/>
                  </a:cubicBezTo>
                  <a:cubicBezTo>
                    <a:pt x="53" y="63"/>
                    <a:pt x="53" y="61"/>
                    <a:pt x="55" y="59"/>
                  </a:cubicBezTo>
                  <a:cubicBezTo>
                    <a:pt x="56" y="58"/>
                    <a:pt x="57" y="57"/>
                    <a:pt x="58" y="57"/>
                  </a:cubicBezTo>
                  <a:cubicBezTo>
                    <a:pt x="59" y="57"/>
                    <a:pt x="59" y="57"/>
                    <a:pt x="59" y="57"/>
                  </a:cubicBezTo>
                  <a:cubicBezTo>
                    <a:pt x="59" y="56"/>
                    <a:pt x="56" y="52"/>
                    <a:pt x="53" y="49"/>
                  </a:cubicBezTo>
                  <a:cubicBezTo>
                    <a:pt x="52" y="47"/>
                    <a:pt x="51" y="45"/>
                    <a:pt x="51" y="43"/>
                  </a:cubicBezTo>
                  <a:cubicBezTo>
                    <a:pt x="51" y="41"/>
                    <a:pt x="52" y="39"/>
                    <a:pt x="53" y="38"/>
                  </a:cubicBezTo>
                  <a:cubicBezTo>
                    <a:pt x="55" y="37"/>
                    <a:pt x="55" y="36"/>
                    <a:pt x="54" y="34"/>
                  </a:cubicBezTo>
                  <a:cubicBezTo>
                    <a:pt x="54" y="33"/>
                    <a:pt x="54" y="32"/>
                    <a:pt x="54" y="31"/>
                  </a:cubicBezTo>
                  <a:cubicBezTo>
                    <a:pt x="54" y="29"/>
                    <a:pt x="45" y="28"/>
                    <a:pt x="41" y="27"/>
                  </a:cubicBezTo>
                  <a:cubicBezTo>
                    <a:pt x="40" y="27"/>
                    <a:pt x="38" y="27"/>
                    <a:pt x="38" y="26"/>
                  </a:cubicBezTo>
                  <a:cubicBezTo>
                    <a:pt x="36" y="26"/>
                    <a:pt x="37" y="24"/>
                    <a:pt x="37" y="22"/>
                  </a:cubicBezTo>
                  <a:cubicBezTo>
                    <a:pt x="37" y="20"/>
                    <a:pt x="37" y="18"/>
                    <a:pt x="37" y="18"/>
                  </a:cubicBezTo>
                  <a:cubicBezTo>
                    <a:pt x="36" y="17"/>
                    <a:pt x="36" y="17"/>
                    <a:pt x="36" y="17"/>
                  </a:cubicBezTo>
                  <a:cubicBezTo>
                    <a:pt x="32" y="17"/>
                    <a:pt x="31" y="15"/>
                    <a:pt x="31" y="12"/>
                  </a:cubicBezTo>
                  <a:cubicBezTo>
                    <a:pt x="31" y="11"/>
                    <a:pt x="29" y="9"/>
                    <a:pt x="28" y="7"/>
                  </a:cubicBezTo>
                  <a:cubicBezTo>
                    <a:pt x="26" y="6"/>
                    <a:pt x="25" y="4"/>
                    <a:pt x="26" y="3"/>
                  </a:cubicBezTo>
                  <a:cubicBezTo>
                    <a:pt x="26" y="3"/>
                    <a:pt x="26" y="3"/>
                    <a:pt x="26" y="3"/>
                  </a:cubicBezTo>
                  <a:cubicBezTo>
                    <a:pt x="24" y="3"/>
                    <a:pt x="23" y="3"/>
                    <a:pt x="22" y="3"/>
                  </a:cubicBezTo>
                  <a:cubicBezTo>
                    <a:pt x="20" y="2"/>
                    <a:pt x="17" y="1"/>
                    <a:pt x="16" y="1"/>
                  </a:cubicBezTo>
                  <a:cubicBezTo>
                    <a:pt x="15" y="1"/>
                    <a:pt x="7" y="4"/>
                    <a:pt x="1" y="5"/>
                  </a:cubicBezTo>
                  <a:cubicBezTo>
                    <a:pt x="2" y="10"/>
                    <a:pt x="3" y="13"/>
                    <a:pt x="5" y="13"/>
                  </a:cubicBezTo>
                  <a:cubicBezTo>
                    <a:pt x="8" y="15"/>
                    <a:pt x="9" y="17"/>
                    <a:pt x="9" y="20"/>
                  </a:cubicBezTo>
                  <a:cubicBezTo>
                    <a:pt x="9" y="21"/>
                    <a:pt x="9" y="23"/>
                    <a:pt x="10" y="24"/>
                  </a:cubicBezTo>
                  <a:cubicBezTo>
                    <a:pt x="11" y="28"/>
                    <a:pt x="11" y="44"/>
                    <a:pt x="9" y="47"/>
                  </a:cubicBezTo>
                  <a:cubicBezTo>
                    <a:pt x="9" y="47"/>
                    <a:pt x="9" y="47"/>
                    <a:pt x="8" y="47"/>
                  </a:cubicBezTo>
                  <a:cubicBezTo>
                    <a:pt x="8" y="47"/>
                    <a:pt x="6" y="49"/>
                    <a:pt x="3" y="52"/>
                  </a:cubicBezTo>
                  <a:cubicBezTo>
                    <a:pt x="6" y="55"/>
                    <a:pt x="11" y="60"/>
                    <a:pt x="14" y="65"/>
                  </a:cubicBezTo>
                  <a:cubicBezTo>
                    <a:pt x="15" y="65"/>
                    <a:pt x="15" y="65"/>
                    <a:pt x="15" y="6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1" name="Freeform 178"/>
            <p:cNvSpPr/>
            <p:nvPr/>
          </p:nvSpPr>
          <p:spPr>
            <a:xfrm>
              <a:off x="5070476" y="4238625"/>
              <a:ext cx="315913" cy="312738"/>
            </a:xfrm>
            <a:custGeom>
              <a:gdLst>
                <a:gd name="T0" fmla="*/ 69 w 186"/>
                <a:gd name="T1" fmla="*/ 176 h 184"/>
                <a:gd name="T2" fmla="*/ 77 w 186"/>
                <a:gd name="T3" fmla="*/ 172 h 184"/>
                <a:gd name="T4" fmla="*/ 85 w 186"/>
                <a:gd name="T5" fmla="*/ 182 h 184"/>
                <a:gd name="T6" fmla="*/ 104 w 186"/>
                <a:gd name="T7" fmla="*/ 182 h 184"/>
                <a:gd name="T8" fmla="*/ 113 w 186"/>
                <a:gd name="T9" fmla="*/ 172 h 184"/>
                <a:gd name="T10" fmla="*/ 113 w 186"/>
                <a:gd name="T11" fmla="*/ 76 h 184"/>
                <a:gd name="T12" fmla="*/ 128 w 186"/>
                <a:gd name="T13" fmla="*/ 71 h 184"/>
                <a:gd name="T14" fmla="*/ 128 w 186"/>
                <a:gd name="T15" fmla="*/ 21 h 184"/>
                <a:gd name="T16" fmla="*/ 141 w 186"/>
                <a:gd name="T17" fmla="*/ 19 h 184"/>
                <a:gd name="T18" fmla="*/ 158 w 186"/>
                <a:gd name="T19" fmla="*/ 15 h 184"/>
                <a:gd name="T20" fmla="*/ 166 w 186"/>
                <a:gd name="T21" fmla="*/ 20 h 184"/>
                <a:gd name="T22" fmla="*/ 176 w 186"/>
                <a:gd name="T23" fmla="*/ 14 h 184"/>
                <a:gd name="T24" fmla="*/ 186 w 186"/>
                <a:gd name="T25" fmla="*/ 12 h 184"/>
                <a:gd name="T26" fmla="*/ 184 w 186"/>
                <a:gd name="T27" fmla="*/ 8 h 184"/>
                <a:gd name="T28" fmla="*/ 154 w 186"/>
                <a:gd name="T29" fmla="*/ 11 h 184"/>
                <a:gd name="T30" fmla="*/ 131 w 186"/>
                <a:gd name="T31" fmla="*/ 12 h 184"/>
                <a:gd name="T32" fmla="*/ 99 w 186"/>
                <a:gd name="T33" fmla="*/ 12 h 184"/>
                <a:gd name="T34" fmla="*/ 94 w 186"/>
                <a:gd name="T35" fmla="*/ 7 h 184"/>
                <a:gd name="T36" fmla="*/ 44 w 186"/>
                <a:gd name="T37" fmla="*/ 7 h 184"/>
                <a:gd name="T38" fmla="*/ 31 w 186"/>
                <a:gd name="T39" fmla="*/ 3 h 184"/>
                <a:gd name="T40" fmla="*/ 17 w 186"/>
                <a:gd name="T41" fmla="*/ 3 h 184"/>
                <a:gd name="T42" fmla="*/ 11 w 186"/>
                <a:gd name="T43" fmla="*/ 0 h 184"/>
                <a:gd name="T44" fmla="*/ 6 w 186"/>
                <a:gd name="T45" fmla="*/ 3 h 184"/>
                <a:gd name="T46" fmla="*/ 1 w 186"/>
                <a:gd name="T47" fmla="*/ 5 h 184"/>
                <a:gd name="T48" fmla="*/ 9 w 186"/>
                <a:gd name="T49" fmla="*/ 24 h 184"/>
                <a:gd name="T50" fmla="*/ 23 w 186"/>
                <a:gd name="T51" fmla="*/ 53 h 184"/>
                <a:gd name="T52" fmla="*/ 38 w 186"/>
                <a:gd name="T53" fmla="*/ 84 h 184"/>
                <a:gd name="T54" fmla="*/ 39 w 186"/>
                <a:gd name="T55" fmla="*/ 108 h 184"/>
                <a:gd name="T56" fmla="*/ 44 w 186"/>
                <a:gd name="T57" fmla="*/ 131 h 184"/>
                <a:gd name="T58" fmla="*/ 54 w 186"/>
                <a:gd name="T59" fmla="*/ 166 h 184"/>
                <a:gd name="T60" fmla="*/ 63 w 186"/>
                <a:gd name="T61" fmla="*/ 178 h 184"/>
                <a:gd name="T62" fmla="*/ 69 w 186"/>
                <a:gd name="T63" fmla="*/ 176 h 1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84">
                  <a:moveTo>
                    <a:pt x="69" y="176"/>
                  </a:moveTo>
                  <a:cubicBezTo>
                    <a:pt x="69" y="173"/>
                    <a:pt x="74" y="168"/>
                    <a:pt x="77" y="172"/>
                  </a:cubicBezTo>
                  <a:cubicBezTo>
                    <a:pt x="80" y="176"/>
                    <a:pt x="79" y="182"/>
                    <a:pt x="85" y="182"/>
                  </a:cubicBezTo>
                  <a:cubicBezTo>
                    <a:pt x="91" y="182"/>
                    <a:pt x="102" y="184"/>
                    <a:pt x="104" y="182"/>
                  </a:cubicBezTo>
                  <a:cubicBezTo>
                    <a:pt x="105" y="179"/>
                    <a:pt x="113" y="177"/>
                    <a:pt x="113" y="172"/>
                  </a:cubicBezTo>
                  <a:cubicBezTo>
                    <a:pt x="113" y="168"/>
                    <a:pt x="113" y="80"/>
                    <a:pt x="113" y="76"/>
                  </a:cubicBezTo>
                  <a:cubicBezTo>
                    <a:pt x="113" y="73"/>
                    <a:pt x="128" y="76"/>
                    <a:pt x="128" y="71"/>
                  </a:cubicBezTo>
                  <a:cubicBezTo>
                    <a:pt x="128" y="65"/>
                    <a:pt x="128" y="21"/>
                    <a:pt x="128" y="21"/>
                  </a:cubicBezTo>
                  <a:cubicBezTo>
                    <a:pt x="128" y="21"/>
                    <a:pt x="138" y="20"/>
                    <a:pt x="141" y="19"/>
                  </a:cubicBezTo>
                  <a:cubicBezTo>
                    <a:pt x="144" y="18"/>
                    <a:pt x="155" y="13"/>
                    <a:pt x="158" y="15"/>
                  </a:cubicBezTo>
                  <a:cubicBezTo>
                    <a:pt x="160" y="16"/>
                    <a:pt x="164" y="22"/>
                    <a:pt x="166" y="20"/>
                  </a:cubicBezTo>
                  <a:cubicBezTo>
                    <a:pt x="167" y="18"/>
                    <a:pt x="172" y="14"/>
                    <a:pt x="176" y="14"/>
                  </a:cubicBezTo>
                  <a:cubicBezTo>
                    <a:pt x="178" y="14"/>
                    <a:pt x="182" y="13"/>
                    <a:pt x="186" y="12"/>
                  </a:cubicBezTo>
                  <a:cubicBezTo>
                    <a:pt x="185" y="11"/>
                    <a:pt x="184" y="9"/>
                    <a:pt x="184" y="8"/>
                  </a:cubicBezTo>
                  <a:cubicBezTo>
                    <a:pt x="184" y="5"/>
                    <a:pt x="158" y="9"/>
                    <a:pt x="154" y="11"/>
                  </a:cubicBezTo>
                  <a:cubicBezTo>
                    <a:pt x="150" y="12"/>
                    <a:pt x="136" y="14"/>
                    <a:pt x="131" y="12"/>
                  </a:cubicBezTo>
                  <a:cubicBezTo>
                    <a:pt x="127" y="10"/>
                    <a:pt x="99" y="12"/>
                    <a:pt x="99" y="12"/>
                  </a:cubicBezTo>
                  <a:cubicBezTo>
                    <a:pt x="94" y="7"/>
                    <a:pt x="94" y="7"/>
                    <a:pt x="94" y="7"/>
                  </a:cubicBezTo>
                  <a:cubicBezTo>
                    <a:pt x="94" y="7"/>
                    <a:pt x="49" y="7"/>
                    <a:pt x="44" y="7"/>
                  </a:cubicBezTo>
                  <a:cubicBezTo>
                    <a:pt x="39" y="7"/>
                    <a:pt x="35" y="6"/>
                    <a:pt x="31" y="3"/>
                  </a:cubicBezTo>
                  <a:cubicBezTo>
                    <a:pt x="27" y="0"/>
                    <a:pt x="22" y="0"/>
                    <a:pt x="17" y="3"/>
                  </a:cubicBezTo>
                  <a:cubicBezTo>
                    <a:pt x="12" y="5"/>
                    <a:pt x="14" y="0"/>
                    <a:pt x="11" y="0"/>
                  </a:cubicBezTo>
                  <a:cubicBezTo>
                    <a:pt x="7" y="0"/>
                    <a:pt x="6" y="3"/>
                    <a:pt x="6" y="3"/>
                  </a:cubicBezTo>
                  <a:cubicBezTo>
                    <a:pt x="1" y="5"/>
                    <a:pt x="1" y="5"/>
                    <a:pt x="1" y="5"/>
                  </a:cubicBezTo>
                  <a:cubicBezTo>
                    <a:pt x="0" y="9"/>
                    <a:pt x="4" y="17"/>
                    <a:pt x="9" y="24"/>
                  </a:cubicBezTo>
                  <a:cubicBezTo>
                    <a:pt x="14" y="30"/>
                    <a:pt x="20" y="43"/>
                    <a:pt x="23" y="53"/>
                  </a:cubicBezTo>
                  <a:cubicBezTo>
                    <a:pt x="27" y="64"/>
                    <a:pt x="36" y="76"/>
                    <a:pt x="38" y="84"/>
                  </a:cubicBezTo>
                  <a:cubicBezTo>
                    <a:pt x="41" y="92"/>
                    <a:pt x="36" y="103"/>
                    <a:pt x="39" y="108"/>
                  </a:cubicBezTo>
                  <a:cubicBezTo>
                    <a:pt x="41" y="113"/>
                    <a:pt x="43" y="122"/>
                    <a:pt x="44" y="131"/>
                  </a:cubicBezTo>
                  <a:cubicBezTo>
                    <a:pt x="45" y="140"/>
                    <a:pt x="46" y="158"/>
                    <a:pt x="54" y="166"/>
                  </a:cubicBezTo>
                  <a:cubicBezTo>
                    <a:pt x="57" y="169"/>
                    <a:pt x="60" y="173"/>
                    <a:pt x="63" y="178"/>
                  </a:cubicBezTo>
                  <a:cubicBezTo>
                    <a:pt x="66" y="178"/>
                    <a:pt x="69" y="179"/>
                    <a:pt x="69" y="17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2" name="Freeform 179"/>
            <p:cNvSpPr/>
            <p:nvPr/>
          </p:nvSpPr>
          <p:spPr>
            <a:xfrm>
              <a:off x="5386389" y="4203700"/>
              <a:ext cx="196850" cy="173038"/>
            </a:xfrm>
            <a:custGeom>
              <a:gdLst>
                <a:gd name="T0" fmla="*/ 77 w 116"/>
                <a:gd name="T1" fmla="*/ 5 h 102"/>
                <a:gd name="T2" fmla="*/ 75 w 116"/>
                <a:gd name="T3" fmla="*/ 0 h 102"/>
                <a:gd name="T4" fmla="*/ 62 w 116"/>
                <a:gd name="T5" fmla="*/ 1 h 102"/>
                <a:gd name="T6" fmla="*/ 54 w 116"/>
                <a:gd name="T7" fmla="*/ 8 h 102"/>
                <a:gd name="T8" fmla="*/ 41 w 116"/>
                <a:gd name="T9" fmla="*/ 18 h 102"/>
                <a:gd name="T10" fmla="*/ 26 w 116"/>
                <a:gd name="T11" fmla="*/ 35 h 102"/>
                <a:gd name="T12" fmla="*/ 7 w 116"/>
                <a:gd name="T13" fmla="*/ 32 h 102"/>
                <a:gd name="T14" fmla="*/ 0 w 116"/>
                <a:gd name="T15" fmla="*/ 33 h 102"/>
                <a:gd name="T16" fmla="*/ 8 w 116"/>
                <a:gd name="T17" fmla="*/ 41 h 102"/>
                <a:gd name="T18" fmla="*/ 16 w 116"/>
                <a:gd name="T19" fmla="*/ 59 h 102"/>
                <a:gd name="T20" fmla="*/ 30 w 116"/>
                <a:gd name="T21" fmla="*/ 69 h 102"/>
                <a:gd name="T22" fmla="*/ 36 w 116"/>
                <a:gd name="T23" fmla="*/ 80 h 102"/>
                <a:gd name="T24" fmla="*/ 46 w 116"/>
                <a:gd name="T25" fmla="*/ 90 h 102"/>
                <a:gd name="T26" fmla="*/ 57 w 116"/>
                <a:gd name="T27" fmla="*/ 96 h 102"/>
                <a:gd name="T28" fmla="*/ 71 w 116"/>
                <a:gd name="T29" fmla="*/ 99 h 102"/>
                <a:gd name="T30" fmla="*/ 87 w 116"/>
                <a:gd name="T31" fmla="*/ 102 h 102"/>
                <a:gd name="T32" fmla="*/ 102 w 116"/>
                <a:gd name="T33" fmla="*/ 87 h 102"/>
                <a:gd name="T34" fmla="*/ 106 w 116"/>
                <a:gd name="T35" fmla="*/ 73 h 102"/>
                <a:gd name="T36" fmla="*/ 114 w 116"/>
                <a:gd name="T37" fmla="*/ 62 h 102"/>
                <a:gd name="T38" fmla="*/ 109 w 116"/>
                <a:gd name="T39" fmla="*/ 51 h 102"/>
                <a:gd name="T40" fmla="*/ 113 w 116"/>
                <a:gd name="T41" fmla="*/ 38 h 102"/>
                <a:gd name="T42" fmla="*/ 112 w 116"/>
                <a:gd name="T43" fmla="*/ 15 h 102"/>
                <a:gd name="T44" fmla="*/ 95 w 116"/>
                <a:gd name="T45" fmla="*/ 10 h 102"/>
                <a:gd name="T46" fmla="*/ 77 w 116"/>
                <a:gd name="T47" fmla="*/ 5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 h="102">
                  <a:moveTo>
                    <a:pt x="77" y="5"/>
                  </a:moveTo>
                  <a:cubicBezTo>
                    <a:pt x="75" y="0"/>
                    <a:pt x="75" y="0"/>
                    <a:pt x="75" y="0"/>
                  </a:cubicBezTo>
                  <a:cubicBezTo>
                    <a:pt x="62" y="1"/>
                    <a:pt x="62" y="1"/>
                    <a:pt x="62" y="1"/>
                  </a:cubicBezTo>
                  <a:cubicBezTo>
                    <a:pt x="54" y="3"/>
                    <a:pt x="54" y="5"/>
                    <a:pt x="54" y="8"/>
                  </a:cubicBezTo>
                  <a:cubicBezTo>
                    <a:pt x="54" y="11"/>
                    <a:pt x="46" y="17"/>
                    <a:pt x="41" y="18"/>
                  </a:cubicBezTo>
                  <a:cubicBezTo>
                    <a:pt x="35" y="20"/>
                    <a:pt x="29" y="33"/>
                    <a:pt x="26" y="35"/>
                  </a:cubicBezTo>
                  <a:cubicBezTo>
                    <a:pt x="22" y="36"/>
                    <a:pt x="10" y="32"/>
                    <a:pt x="7" y="32"/>
                  </a:cubicBezTo>
                  <a:cubicBezTo>
                    <a:pt x="5" y="31"/>
                    <a:pt x="3" y="32"/>
                    <a:pt x="0" y="33"/>
                  </a:cubicBezTo>
                  <a:cubicBezTo>
                    <a:pt x="2" y="37"/>
                    <a:pt x="6" y="41"/>
                    <a:pt x="8" y="41"/>
                  </a:cubicBezTo>
                  <a:cubicBezTo>
                    <a:pt x="10" y="41"/>
                    <a:pt x="11" y="56"/>
                    <a:pt x="16" y="59"/>
                  </a:cubicBezTo>
                  <a:cubicBezTo>
                    <a:pt x="21" y="61"/>
                    <a:pt x="30" y="66"/>
                    <a:pt x="30" y="69"/>
                  </a:cubicBezTo>
                  <a:cubicBezTo>
                    <a:pt x="30" y="72"/>
                    <a:pt x="36" y="75"/>
                    <a:pt x="36" y="80"/>
                  </a:cubicBezTo>
                  <a:cubicBezTo>
                    <a:pt x="36" y="84"/>
                    <a:pt x="42" y="90"/>
                    <a:pt x="46" y="90"/>
                  </a:cubicBezTo>
                  <a:cubicBezTo>
                    <a:pt x="56" y="90"/>
                    <a:pt x="57" y="93"/>
                    <a:pt x="57" y="96"/>
                  </a:cubicBezTo>
                  <a:cubicBezTo>
                    <a:pt x="57" y="99"/>
                    <a:pt x="69" y="96"/>
                    <a:pt x="71" y="99"/>
                  </a:cubicBezTo>
                  <a:cubicBezTo>
                    <a:pt x="72" y="101"/>
                    <a:pt x="84" y="100"/>
                    <a:pt x="87" y="102"/>
                  </a:cubicBezTo>
                  <a:cubicBezTo>
                    <a:pt x="92" y="97"/>
                    <a:pt x="99" y="90"/>
                    <a:pt x="102" y="87"/>
                  </a:cubicBezTo>
                  <a:cubicBezTo>
                    <a:pt x="106" y="82"/>
                    <a:pt x="103" y="75"/>
                    <a:pt x="106" y="73"/>
                  </a:cubicBezTo>
                  <a:cubicBezTo>
                    <a:pt x="109" y="71"/>
                    <a:pt x="116" y="62"/>
                    <a:pt x="114" y="62"/>
                  </a:cubicBezTo>
                  <a:cubicBezTo>
                    <a:pt x="111" y="61"/>
                    <a:pt x="113" y="55"/>
                    <a:pt x="109" y="51"/>
                  </a:cubicBezTo>
                  <a:cubicBezTo>
                    <a:pt x="105" y="47"/>
                    <a:pt x="114" y="45"/>
                    <a:pt x="113" y="38"/>
                  </a:cubicBezTo>
                  <a:cubicBezTo>
                    <a:pt x="112" y="31"/>
                    <a:pt x="114" y="17"/>
                    <a:pt x="112" y="15"/>
                  </a:cubicBezTo>
                  <a:cubicBezTo>
                    <a:pt x="110" y="14"/>
                    <a:pt x="101" y="13"/>
                    <a:pt x="95" y="10"/>
                  </a:cubicBezTo>
                  <a:cubicBezTo>
                    <a:pt x="90" y="6"/>
                    <a:pt x="77" y="5"/>
                    <a:pt x="77"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3" name="Freeform 180"/>
            <p:cNvSpPr/>
            <p:nvPr/>
          </p:nvSpPr>
          <p:spPr>
            <a:xfrm>
              <a:off x="5262564" y="4259263"/>
              <a:ext cx="220663" cy="239713"/>
            </a:xfrm>
            <a:custGeom>
              <a:gdLst>
                <a:gd name="T0" fmla="*/ 119 w 130"/>
                <a:gd name="T1" fmla="*/ 57 h 141"/>
                <a:gd name="T2" fmla="*/ 109 w 130"/>
                <a:gd name="T3" fmla="*/ 47 h 141"/>
                <a:gd name="T4" fmla="*/ 103 w 130"/>
                <a:gd name="T5" fmla="*/ 36 h 141"/>
                <a:gd name="T6" fmla="*/ 89 w 130"/>
                <a:gd name="T7" fmla="*/ 26 h 141"/>
                <a:gd name="T8" fmla="*/ 81 w 130"/>
                <a:gd name="T9" fmla="*/ 8 h 141"/>
                <a:gd name="T10" fmla="*/ 73 w 130"/>
                <a:gd name="T11" fmla="*/ 0 h 141"/>
                <a:gd name="T12" fmla="*/ 63 w 130"/>
                <a:gd name="T13" fmla="*/ 2 h 141"/>
                <a:gd name="T14" fmla="*/ 53 w 130"/>
                <a:gd name="T15" fmla="*/ 8 h 141"/>
                <a:gd name="T16" fmla="*/ 45 w 130"/>
                <a:gd name="T17" fmla="*/ 3 h 141"/>
                <a:gd name="T18" fmla="*/ 28 w 130"/>
                <a:gd name="T19" fmla="*/ 7 h 141"/>
                <a:gd name="T20" fmla="*/ 15 w 130"/>
                <a:gd name="T21" fmla="*/ 9 h 141"/>
                <a:gd name="T22" fmla="*/ 15 w 130"/>
                <a:gd name="T23" fmla="*/ 59 h 141"/>
                <a:gd name="T24" fmla="*/ 0 w 130"/>
                <a:gd name="T25" fmla="*/ 64 h 141"/>
                <a:gd name="T26" fmla="*/ 0 w 130"/>
                <a:gd name="T27" fmla="*/ 107 h 141"/>
                <a:gd name="T28" fmla="*/ 7 w 130"/>
                <a:gd name="T29" fmla="*/ 112 h 141"/>
                <a:gd name="T30" fmla="*/ 12 w 130"/>
                <a:gd name="T31" fmla="*/ 128 h 141"/>
                <a:gd name="T32" fmla="*/ 9 w 130"/>
                <a:gd name="T33" fmla="*/ 132 h 141"/>
                <a:gd name="T34" fmla="*/ 11 w 130"/>
                <a:gd name="T35" fmla="*/ 138 h 141"/>
                <a:gd name="T36" fmla="*/ 26 w 130"/>
                <a:gd name="T37" fmla="*/ 137 h 141"/>
                <a:gd name="T38" fmla="*/ 39 w 130"/>
                <a:gd name="T39" fmla="*/ 122 h 141"/>
                <a:gd name="T40" fmla="*/ 49 w 130"/>
                <a:gd name="T41" fmla="*/ 114 h 141"/>
                <a:gd name="T42" fmla="*/ 66 w 130"/>
                <a:gd name="T43" fmla="*/ 120 h 141"/>
                <a:gd name="T44" fmla="*/ 80 w 130"/>
                <a:gd name="T45" fmla="*/ 114 h 141"/>
                <a:gd name="T46" fmla="*/ 86 w 130"/>
                <a:gd name="T47" fmla="*/ 103 h 141"/>
                <a:gd name="T48" fmla="*/ 98 w 130"/>
                <a:gd name="T49" fmla="*/ 94 h 141"/>
                <a:gd name="T50" fmla="*/ 104 w 130"/>
                <a:gd name="T51" fmla="*/ 84 h 141"/>
                <a:gd name="T52" fmla="*/ 116 w 130"/>
                <a:gd name="T53" fmla="*/ 75 h 141"/>
                <a:gd name="T54" fmla="*/ 125 w 130"/>
                <a:gd name="T55" fmla="*/ 70 h 141"/>
                <a:gd name="T56" fmla="*/ 130 w 130"/>
                <a:gd name="T57" fmla="*/ 63 h 141"/>
                <a:gd name="T58" fmla="*/ 130 w 130"/>
                <a:gd name="T59" fmla="*/ 63 h 141"/>
                <a:gd name="T60" fmla="*/ 119 w 130"/>
                <a:gd name="T61" fmla="*/ 57 h 1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0" h="141">
                  <a:moveTo>
                    <a:pt x="119" y="57"/>
                  </a:moveTo>
                  <a:cubicBezTo>
                    <a:pt x="115" y="57"/>
                    <a:pt x="109" y="51"/>
                    <a:pt x="109" y="47"/>
                  </a:cubicBezTo>
                  <a:cubicBezTo>
                    <a:pt x="109" y="42"/>
                    <a:pt x="103" y="39"/>
                    <a:pt x="103" y="36"/>
                  </a:cubicBezTo>
                  <a:cubicBezTo>
                    <a:pt x="103" y="33"/>
                    <a:pt x="94" y="28"/>
                    <a:pt x="89" y="26"/>
                  </a:cubicBezTo>
                  <a:cubicBezTo>
                    <a:pt x="84" y="23"/>
                    <a:pt x="83" y="8"/>
                    <a:pt x="81" y="8"/>
                  </a:cubicBezTo>
                  <a:cubicBezTo>
                    <a:pt x="79" y="8"/>
                    <a:pt x="75" y="4"/>
                    <a:pt x="73" y="0"/>
                  </a:cubicBezTo>
                  <a:cubicBezTo>
                    <a:pt x="69" y="1"/>
                    <a:pt x="65" y="2"/>
                    <a:pt x="63" y="2"/>
                  </a:cubicBezTo>
                  <a:cubicBezTo>
                    <a:pt x="59" y="2"/>
                    <a:pt x="54" y="6"/>
                    <a:pt x="53" y="8"/>
                  </a:cubicBezTo>
                  <a:cubicBezTo>
                    <a:pt x="51" y="10"/>
                    <a:pt x="47" y="4"/>
                    <a:pt x="45" y="3"/>
                  </a:cubicBezTo>
                  <a:cubicBezTo>
                    <a:pt x="42" y="1"/>
                    <a:pt x="31" y="6"/>
                    <a:pt x="28" y="7"/>
                  </a:cubicBezTo>
                  <a:cubicBezTo>
                    <a:pt x="25" y="8"/>
                    <a:pt x="15" y="9"/>
                    <a:pt x="15" y="9"/>
                  </a:cubicBezTo>
                  <a:cubicBezTo>
                    <a:pt x="15" y="9"/>
                    <a:pt x="15" y="53"/>
                    <a:pt x="15" y="59"/>
                  </a:cubicBezTo>
                  <a:cubicBezTo>
                    <a:pt x="15" y="64"/>
                    <a:pt x="0" y="61"/>
                    <a:pt x="0" y="64"/>
                  </a:cubicBezTo>
                  <a:cubicBezTo>
                    <a:pt x="0" y="66"/>
                    <a:pt x="0" y="86"/>
                    <a:pt x="0" y="107"/>
                  </a:cubicBezTo>
                  <a:cubicBezTo>
                    <a:pt x="3" y="108"/>
                    <a:pt x="6" y="110"/>
                    <a:pt x="7" y="112"/>
                  </a:cubicBezTo>
                  <a:cubicBezTo>
                    <a:pt x="9" y="116"/>
                    <a:pt x="13" y="126"/>
                    <a:pt x="12" y="128"/>
                  </a:cubicBezTo>
                  <a:cubicBezTo>
                    <a:pt x="11" y="131"/>
                    <a:pt x="9" y="129"/>
                    <a:pt x="9" y="132"/>
                  </a:cubicBezTo>
                  <a:cubicBezTo>
                    <a:pt x="9" y="134"/>
                    <a:pt x="7" y="138"/>
                    <a:pt x="11" y="138"/>
                  </a:cubicBezTo>
                  <a:cubicBezTo>
                    <a:pt x="16" y="138"/>
                    <a:pt x="23" y="141"/>
                    <a:pt x="26" y="137"/>
                  </a:cubicBezTo>
                  <a:cubicBezTo>
                    <a:pt x="29" y="134"/>
                    <a:pt x="39" y="126"/>
                    <a:pt x="39" y="122"/>
                  </a:cubicBezTo>
                  <a:cubicBezTo>
                    <a:pt x="40" y="118"/>
                    <a:pt x="42" y="110"/>
                    <a:pt x="49" y="114"/>
                  </a:cubicBezTo>
                  <a:cubicBezTo>
                    <a:pt x="56" y="119"/>
                    <a:pt x="57" y="120"/>
                    <a:pt x="66" y="120"/>
                  </a:cubicBezTo>
                  <a:cubicBezTo>
                    <a:pt x="76" y="120"/>
                    <a:pt x="78" y="120"/>
                    <a:pt x="80" y="114"/>
                  </a:cubicBezTo>
                  <a:cubicBezTo>
                    <a:pt x="82" y="107"/>
                    <a:pt x="80" y="103"/>
                    <a:pt x="86" y="103"/>
                  </a:cubicBezTo>
                  <a:cubicBezTo>
                    <a:pt x="91" y="103"/>
                    <a:pt x="98" y="98"/>
                    <a:pt x="98" y="94"/>
                  </a:cubicBezTo>
                  <a:cubicBezTo>
                    <a:pt x="98" y="90"/>
                    <a:pt x="101" y="84"/>
                    <a:pt x="104" y="84"/>
                  </a:cubicBezTo>
                  <a:cubicBezTo>
                    <a:pt x="108" y="84"/>
                    <a:pt x="115" y="80"/>
                    <a:pt x="116" y="75"/>
                  </a:cubicBezTo>
                  <a:cubicBezTo>
                    <a:pt x="117" y="71"/>
                    <a:pt x="123" y="73"/>
                    <a:pt x="125" y="70"/>
                  </a:cubicBezTo>
                  <a:cubicBezTo>
                    <a:pt x="126" y="69"/>
                    <a:pt x="128" y="66"/>
                    <a:pt x="130" y="63"/>
                  </a:cubicBezTo>
                  <a:cubicBezTo>
                    <a:pt x="130" y="63"/>
                    <a:pt x="130" y="63"/>
                    <a:pt x="130" y="63"/>
                  </a:cubicBezTo>
                  <a:cubicBezTo>
                    <a:pt x="130" y="60"/>
                    <a:pt x="129" y="57"/>
                    <a:pt x="119" y="5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4" name="Freeform 181"/>
            <p:cNvSpPr/>
            <p:nvPr/>
          </p:nvSpPr>
          <p:spPr>
            <a:xfrm>
              <a:off x="5521326" y="4464050"/>
              <a:ext cx="33338" cy="41275"/>
            </a:xfrm>
            <a:custGeom>
              <a:gdLst>
                <a:gd name="T0" fmla="*/ 10 w 19"/>
                <a:gd name="T1" fmla="*/ 0 h 24"/>
                <a:gd name="T2" fmla="*/ 0 w 19"/>
                <a:gd name="T3" fmla="*/ 11 h 24"/>
                <a:gd name="T4" fmla="*/ 9 w 19"/>
                <a:gd name="T5" fmla="*/ 24 h 24"/>
                <a:gd name="T6" fmla="*/ 17 w 19"/>
                <a:gd name="T7" fmla="*/ 21 h 24"/>
                <a:gd name="T8" fmla="*/ 19 w 19"/>
                <a:gd name="T9" fmla="*/ 17 h 24"/>
                <a:gd name="T10" fmla="*/ 18 w 19"/>
                <a:gd name="T11" fmla="*/ 4 h 24"/>
                <a:gd name="T12" fmla="*/ 10 w 19"/>
                <a:gd name="T13" fmla="*/ 0 h 24"/>
              </a:gdLst>
              <a:cxnLst>
                <a:cxn ang="0">
                  <a:pos x="T0" y="T1"/>
                </a:cxn>
                <a:cxn ang="0">
                  <a:pos x="T2" y="T3"/>
                </a:cxn>
                <a:cxn ang="0">
                  <a:pos x="T4" y="T5"/>
                </a:cxn>
                <a:cxn ang="0">
                  <a:pos x="T6" y="T7"/>
                </a:cxn>
                <a:cxn ang="0">
                  <a:pos x="T8" y="T9"/>
                </a:cxn>
                <a:cxn ang="0">
                  <a:pos x="T10" y="T11"/>
                </a:cxn>
                <a:cxn ang="0">
                  <a:pos x="T12" y="T13"/>
                </a:cxn>
              </a:cxnLst>
              <a:rect l="0" t="0" r="r" b="b"/>
              <a:pathLst>
                <a:path w="19" h="24">
                  <a:moveTo>
                    <a:pt x="10" y="0"/>
                  </a:moveTo>
                  <a:cubicBezTo>
                    <a:pt x="6" y="0"/>
                    <a:pt x="0" y="9"/>
                    <a:pt x="0" y="11"/>
                  </a:cubicBezTo>
                  <a:cubicBezTo>
                    <a:pt x="0" y="12"/>
                    <a:pt x="4" y="24"/>
                    <a:pt x="9" y="24"/>
                  </a:cubicBezTo>
                  <a:cubicBezTo>
                    <a:pt x="13" y="24"/>
                    <a:pt x="17" y="24"/>
                    <a:pt x="17" y="21"/>
                  </a:cubicBezTo>
                  <a:cubicBezTo>
                    <a:pt x="17" y="19"/>
                    <a:pt x="18" y="18"/>
                    <a:pt x="19" y="17"/>
                  </a:cubicBezTo>
                  <a:cubicBezTo>
                    <a:pt x="19" y="14"/>
                    <a:pt x="18" y="8"/>
                    <a:pt x="18" y="4"/>
                  </a:cubicBezTo>
                  <a:cubicBezTo>
                    <a:pt x="15" y="3"/>
                    <a:pt x="12" y="0"/>
                    <a:pt x="10"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5" name="Freeform 182"/>
            <p:cNvSpPr/>
            <p:nvPr/>
          </p:nvSpPr>
          <p:spPr>
            <a:xfrm>
              <a:off x="5432426" y="4535488"/>
              <a:ext cx="55563" cy="60325"/>
            </a:xfrm>
            <a:custGeom>
              <a:gdLst>
                <a:gd name="T0" fmla="*/ 23 w 33"/>
                <a:gd name="T1" fmla="*/ 3 h 35"/>
                <a:gd name="T2" fmla="*/ 9 w 33"/>
                <a:gd name="T3" fmla="*/ 9 h 35"/>
                <a:gd name="T4" fmla="*/ 0 w 33"/>
                <a:gd name="T5" fmla="*/ 22 h 35"/>
                <a:gd name="T6" fmla="*/ 9 w 33"/>
                <a:gd name="T7" fmla="*/ 34 h 35"/>
                <a:gd name="T8" fmla="*/ 15 w 33"/>
                <a:gd name="T9" fmla="*/ 35 h 35"/>
                <a:gd name="T10" fmla="*/ 18 w 33"/>
                <a:gd name="T11" fmla="*/ 27 h 35"/>
                <a:gd name="T12" fmla="*/ 28 w 33"/>
                <a:gd name="T13" fmla="*/ 24 h 35"/>
                <a:gd name="T14" fmla="*/ 33 w 33"/>
                <a:gd name="T15" fmla="*/ 14 h 35"/>
                <a:gd name="T16" fmla="*/ 23 w 33"/>
                <a:gd name="T17" fmla="*/ 3 h 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23" y="3"/>
                  </a:moveTo>
                  <a:cubicBezTo>
                    <a:pt x="22" y="0"/>
                    <a:pt x="11" y="6"/>
                    <a:pt x="9" y="9"/>
                  </a:cubicBezTo>
                  <a:cubicBezTo>
                    <a:pt x="7" y="12"/>
                    <a:pt x="0" y="22"/>
                    <a:pt x="0" y="22"/>
                  </a:cubicBezTo>
                  <a:cubicBezTo>
                    <a:pt x="9" y="34"/>
                    <a:pt x="9" y="34"/>
                    <a:pt x="9" y="34"/>
                  </a:cubicBezTo>
                  <a:cubicBezTo>
                    <a:pt x="15" y="35"/>
                    <a:pt x="15" y="35"/>
                    <a:pt x="15" y="35"/>
                  </a:cubicBezTo>
                  <a:cubicBezTo>
                    <a:pt x="15" y="35"/>
                    <a:pt x="17" y="31"/>
                    <a:pt x="18" y="27"/>
                  </a:cubicBezTo>
                  <a:cubicBezTo>
                    <a:pt x="20" y="24"/>
                    <a:pt x="28" y="28"/>
                    <a:pt x="28" y="24"/>
                  </a:cubicBezTo>
                  <a:cubicBezTo>
                    <a:pt x="28" y="21"/>
                    <a:pt x="33" y="18"/>
                    <a:pt x="33" y="14"/>
                  </a:cubicBezTo>
                  <a:cubicBezTo>
                    <a:pt x="33" y="11"/>
                    <a:pt x="25" y="6"/>
                    <a:pt x="23"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6" name="Freeform 183"/>
            <p:cNvSpPr>
              <a:spLocks noEditPoints="1"/>
            </p:cNvSpPr>
            <p:nvPr/>
          </p:nvSpPr>
          <p:spPr>
            <a:xfrm>
              <a:off x="5178426" y="4365625"/>
              <a:ext cx="395288" cy="347663"/>
            </a:xfrm>
            <a:custGeom>
              <a:gdLst>
                <a:gd name="T0" fmla="*/ 223 w 233"/>
                <a:gd name="T1" fmla="*/ 76 h 205"/>
                <a:gd name="T2" fmla="*/ 222 w 233"/>
                <a:gd name="T3" fmla="*/ 75 h 205"/>
                <a:gd name="T4" fmla="*/ 220 w 233"/>
                <a:gd name="T5" fmla="*/ 79 h 205"/>
                <a:gd name="T6" fmla="*/ 212 w 233"/>
                <a:gd name="T7" fmla="*/ 82 h 205"/>
                <a:gd name="T8" fmla="*/ 203 w 233"/>
                <a:gd name="T9" fmla="*/ 69 h 205"/>
                <a:gd name="T10" fmla="*/ 213 w 233"/>
                <a:gd name="T11" fmla="*/ 58 h 205"/>
                <a:gd name="T12" fmla="*/ 221 w 233"/>
                <a:gd name="T13" fmla="*/ 62 h 205"/>
                <a:gd name="T14" fmla="*/ 221 w 233"/>
                <a:gd name="T15" fmla="*/ 60 h 205"/>
                <a:gd name="T16" fmla="*/ 220 w 233"/>
                <a:gd name="T17" fmla="*/ 33 h 205"/>
                <a:gd name="T18" fmla="*/ 211 w 233"/>
                <a:gd name="T19" fmla="*/ 6 h 205"/>
                <a:gd name="T20" fmla="*/ 194 w 233"/>
                <a:gd name="T21" fmla="*/ 3 h 205"/>
                <a:gd name="T22" fmla="*/ 180 w 233"/>
                <a:gd name="T23" fmla="*/ 0 h 205"/>
                <a:gd name="T24" fmla="*/ 175 w 233"/>
                <a:gd name="T25" fmla="*/ 7 h 205"/>
                <a:gd name="T26" fmla="*/ 166 w 233"/>
                <a:gd name="T27" fmla="*/ 12 h 205"/>
                <a:gd name="T28" fmla="*/ 154 w 233"/>
                <a:gd name="T29" fmla="*/ 21 h 205"/>
                <a:gd name="T30" fmla="*/ 148 w 233"/>
                <a:gd name="T31" fmla="*/ 31 h 205"/>
                <a:gd name="T32" fmla="*/ 136 w 233"/>
                <a:gd name="T33" fmla="*/ 40 h 205"/>
                <a:gd name="T34" fmla="*/ 130 w 233"/>
                <a:gd name="T35" fmla="*/ 51 h 205"/>
                <a:gd name="T36" fmla="*/ 116 w 233"/>
                <a:gd name="T37" fmla="*/ 57 h 205"/>
                <a:gd name="T38" fmla="*/ 99 w 233"/>
                <a:gd name="T39" fmla="*/ 51 h 205"/>
                <a:gd name="T40" fmla="*/ 89 w 233"/>
                <a:gd name="T41" fmla="*/ 59 h 205"/>
                <a:gd name="T42" fmla="*/ 76 w 233"/>
                <a:gd name="T43" fmla="*/ 74 h 205"/>
                <a:gd name="T44" fmla="*/ 61 w 233"/>
                <a:gd name="T45" fmla="*/ 75 h 205"/>
                <a:gd name="T46" fmla="*/ 59 w 233"/>
                <a:gd name="T47" fmla="*/ 69 h 205"/>
                <a:gd name="T48" fmla="*/ 62 w 233"/>
                <a:gd name="T49" fmla="*/ 65 h 205"/>
                <a:gd name="T50" fmla="*/ 57 w 233"/>
                <a:gd name="T51" fmla="*/ 49 h 205"/>
                <a:gd name="T52" fmla="*/ 50 w 233"/>
                <a:gd name="T53" fmla="*/ 44 h 205"/>
                <a:gd name="T54" fmla="*/ 50 w 233"/>
                <a:gd name="T55" fmla="*/ 97 h 205"/>
                <a:gd name="T56" fmla="*/ 41 w 233"/>
                <a:gd name="T57" fmla="*/ 107 h 205"/>
                <a:gd name="T58" fmla="*/ 22 w 233"/>
                <a:gd name="T59" fmla="*/ 107 h 205"/>
                <a:gd name="T60" fmla="*/ 14 w 233"/>
                <a:gd name="T61" fmla="*/ 97 h 205"/>
                <a:gd name="T62" fmla="*/ 6 w 233"/>
                <a:gd name="T63" fmla="*/ 101 h 205"/>
                <a:gd name="T64" fmla="*/ 0 w 233"/>
                <a:gd name="T65" fmla="*/ 103 h 205"/>
                <a:gd name="T66" fmla="*/ 11 w 233"/>
                <a:gd name="T67" fmla="*/ 126 h 205"/>
                <a:gd name="T68" fmla="*/ 25 w 233"/>
                <a:gd name="T69" fmla="*/ 155 h 205"/>
                <a:gd name="T70" fmla="*/ 25 w 233"/>
                <a:gd name="T71" fmla="*/ 168 h 205"/>
                <a:gd name="T72" fmla="*/ 25 w 233"/>
                <a:gd name="T73" fmla="*/ 180 h 205"/>
                <a:gd name="T74" fmla="*/ 30 w 233"/>
                <a:gd name="T75" fmla="*/ 193 h 205"/>
                <a:gd name="T76" fmla="*/ 36 w 233"/>
                <a:gd name="T77" fmla="*/ 196 h 205"/>
                <a:gd name="T78" fmla="*/ 44 w 233"/>
                <a:gd name="T79" fmla="*/ 203 h 205"/>
                <a:gd name="T80" fmla="*/ 53 w 233"/>
                <a:gd name="T81" fmla="*/ 202 h 205"/>
                <a:gd name="T82" fmla="*/ 70 w 233"/>
                <a:gd name="T83" fmla="*/ 197 h 205"/>
                <a:gd name="T84" fmla="*/ 84 w 233"/>
                <a:gd name="T85" fmla="*/ 192 h 205"/>
                <a:gd name="T86" fmla="*/ 106 w 233"/>
                <a:gd name="T87" fmla="*/ 192 h 205"/>
                <a:gd name="T88" fmla="*/ 120 w 233"/>
                <a:gd name="T89" fmla="*/ 190 h 205"/>
                <a:gd name="T90" fmla="*/ 129 w 233"/>
                <a:gd name="T91" fmla="*/ 188 h 205"/>
                <a:gd name="T92" fmla="*/ 141 w 233"/>
                <a:gd name="T93" fmla="*/ 184 h 205"/>
                <a:gd name="T94" fmla="*/ 171 w 233"/>
                <a:gd name="T95" fmla="*/ 165 h 205"/>
                <a:gd name="T96" fmla="*/ 206 w 233"/>
                <a:gd name="T97" fmla="*/ 123 h 205"/>
                <a:gd name="T98" fmla="*/ 227 w 233"/>
                <a:gd name="T99" fmla="*/ 100 h 205"/>
                <a:gd name="T100" fmla="*/ 233 w 233"/>
                <a:gd name="T101" fmla="*/ 76 h 205"/>
                <a:gd name="T102" fmla="*/ 223 w 233"/>
                <a:gd name="T103" fmla="*/ 76 h 205"/>
                <a:gd name="T104" fmla="*/ 178 w 233"/>
                <a:gd name="T105" fmla="*/ 124 h 205"/>
                <a:gd name="T106" fmla="*/ 168 w 233"/>
                <a:gd name="T107" fmla="*/ 127 h 205"/>
                <a:gd name="T108" fmla="*/ 165 w 233"/>
                <a:gd name="T109" fmla="*/ 135 h 205"/>
                <a:gd name="T110" fmla="*/ 159 w 233"/>
                <a:gd name="T111" fmla="*/ 134 h 205"/>
                <a:gd name="T112" fmla="*/ 150 w 233"/>
                <a:gd name="T113" fmla="*/ 122 h 205"/>
                <a:gd name="T114" fmla="*/ 159 w 233"/>
                <a:gd name="T115" fmla="*/ 109 h 205"/>
                <a:gd name="T116" fmla="*/ 173 w 233"/>
                <a:gd name="T117" fmla="*/ 103 h 205"/>
                <a:gd name="T118" fmla="*/ 183 w 233"/>
                <a:gd name="T119" fmla="*/ 114 h 205"/>
                <a:gd name="T120" fmla="*/ 178 w 233"/>
                <a:gd name="T121" fmla="*/ 124 h 2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205">
                  <a:moveTo>
                    <a:pt x="223" y="76"/>
                  </a:moveTo>
                  <a:cubicBezTo>
                    <a:pt x="223" y="76"/>
                    <a:pt x="223" y="76"/>
                    <a:pt x="222" y="75"/>
                  </a:cubicBezTo>
                  <a:cubicBezTo>
                    <a:pt x="221" y="76"/>
                    <a:pt x="220" y="77"/>
                    <a:pt x="220" y="79"/>
                  </a:cubicBezTo>
                  <a:cubicBezTo>
                    <a:pt x="220" y="82"/>
                    <a:pt x="216" y="82"/>
                    <a:pt x="212" y="82"/>
                  </a:cubicBezTo>
                  <a:cubicBezTo>
                    <a:pt x="207" y="82"/>
                    <a:pt x="203" y="70"/>
                    <a:pt x="203" y="69"/>
                  </a:cubicBezTo>
                  <a:cubicBezTo>
                    <a:pt x="203" y="67"/>
                    <a:pt x="209" y="58"/>
                    <a:pt x="213" y="58"/>
                  </a:cubicBezTo>
                  <a:cubicBezTo>
                    <a:pt x="215" y="58"/>
                    <a:pt x="218" y="61"/>
                    <a:pt x="221" y="62"/>
                  </a:cubicBezTo>
                  <a:cubicBezTo>
                    <a:pt x="221" y="61"/>
                    <a:pt x="221" y="60"/>
                    <a:pt x="221" y="60"/>
                  </a:cubicBezTo>
                  <a:cubicBezTo>
                    <a:pt x="221" y="58"/>
                    <a:pt x="224" y="35"/>
                    <a:pt x="220" y="33"/>
                  </a:cubicBezTo>
                  <a:cubicBezTo>
                    <a:pt x="216" y="31"/>
                    <a:pt x="212" y="8"/>
                    <a:pt x="211" y="6"/>
                  </a:cubicBezTo>
                  <a:cubicBezTo>
                    <a:pt x="209" y="4"/>
                    <a:pt x="195" y="5"/>
                    <a:pt x="194" y="3"/>
                  </a:cubicBezTo>
                  <a:cubicBezTo>
                    <a:pt x="192" y="0"/>
                    <a:pt x="180" y="2"/>
                    <a:pt x="180" y="0"/>
                  </a:cubicBezTo>
                  <a:cubicBezTo>
                    <a:pt x="178" y="3"/>
                    <a:pt x="176" y="6"/>
                    <a:pt x="175" y="7"/>
                  </a:cubicBezTo>
                  <a:cubicBezTo>
                    <a:pt x="173" y="10"/>
                    <a:pt x="167" y="8"/>
                    <a:pt x="166" y="12"/>
                  </a:cubicBezTo>
                  <a:cubicBezTo>
                    <a:pt x="165" y="17"/>
                    <a:pt x="158" y="21"/>
                    <a:pt x="154" y="21"/>
                  </a:cubicBezTo>
                  <a:cubicBezTo>
                    <a:pt x="151" y="21"/>
                    <a:pt x="148" y="27"/>
                    <a:pt x="148" y="31"/>
                  </a:cubicBezTo>
                  <a:cubicBezTo>
                    <a:pt x="148" y="35"/>
                    <a:pt x="141" y="40"/>
                    <a:pt x="136" y="40"/>
                  </a:cubicBezTo>
                  <a:cubicBezTo>
                    <a:pt x="130" y="40"/>
                    <a:pt x="132" y="44"/>
                    <a:pt x="130" y="51"/>
                  </a:cubicBezTo>
                  <a:cubicBezTo>
                    <a:pt x="128" y="57"/>
                    <a:pt x="126" y="57"/>
                    <a:pt x="116" y="57"/>
                  </a:cubicBezTo>
                  <a:cubicBezTo>
                    <a:pt x="107" y="57"/>
                    <a:pt x="106" y="56"/>
                    <a:pt x="99" y="51"/>
                  </a:cubicBezTo>
                  <a:cubicBezTo>
                    <a:pt x="92" y="47"/>
                    <a:pt x="90" y="55"/>
                    <a:pt x="89" y="59"/>
                  </a:cubicBezTo>
                  <a:cubicBezTo>
                    <a:pt x="89" y="63"/>
                    <a:pt x="79" y="71"/>
                    <a:pt x="76" y="74"/>
                  </a:cubicBezTo>
                  <a:cubicBezTo>
                    <a:pt x="73" y="78"/>
                    <a:pt x="66" y="75"/>
                    <a:pt x="61" y="75"/>
                  </a:cubicBezTo>
                  <a:cubicBezTo>
                    <a:pt x="57" y="75"/>
                    <a:pt x="59" y="71"/>
                    <a:pt x="59" y="69"/>
                  </a:cubicBezTo>
                  <a:cubicBezTo>
                    <a:pt x="59" y="66"/>
                    <a:pt x="61" y="68"/>
                    <a:pt x="62" y="65"/>
                  </a:cubicBezTo>
                  <a:cubicBezTo>
                    <a:pt x="63" y="63"/>
                    <a:pt x="59" y="53"/>
                    <a:pt x="57" y="49"/>
                  </a:cubicBezTo>
                  <a:cubicBezTo>
                    <a:pt x="56" y="47"/>
                    <a:pt x="53" y="45"/>
                    <a:pt x="50" y="44"/>
                  </a:cubicBezTo>
                  <a:cubicBezTo>
                    <a:pt x="50" y="69"/>
                    <a:pt x="50" y="95"/>
                    <a:pt x="50" y="97"/>
                  </a:cubicBezTo>
                  <a:cubicBezTo>
                    <a:pt x="50" y="102"/>
                    <a:pt x="42" y="104"/>
                    <a:pt x="41" y="107"/>
                  </a:cubicBezTo>
                  <a:cubicBezTo>
                    <a:pt x="39" y="109"/>
                    <a:pt x="28" y="107"/>
                    <a:pt x="22" y="107"/>
                  </a:cubicBezTo>
                  <a:cubicBezTo>
                    <a:pt x="16" y="107"/>
                    <a:pt x="17" y="101"/>
                    <a:pt x="14" y="97"/>
                  </a:cubicBezTo>
                  <a:cubicBezTo>
                    <a:pt x="11" y="93"/>
                    <a:pt x="6" y="98"/>
                    <a:pt x="6" y="101"/>
                  </a:cubicBezTo>
                  <a:cubicBezTo>
                    <a:pt x="6" y="104"/>
                    <a:pt x="3" y="103"/>
                    <a:pt x="0" y="103"/>
                  </a:cubicBezTo>
                  <a:cubicBezTo>
                    <a:pt x="5" y="110"/>
                    <a:pt x="9" y="119"/>
                    <a:pt x="11" y="126"/>
                  </a:cubicBezTo>
                  <a:cubicBezTo>
                    <a:pt x="14" y="137"/>
                    <a:pt x="23" y="148"/>
                    <a:pt x="25" y="155"/>
                  </a:cubicBezTo>
                  <a:cubicBezTo>
                    <a:pt x="27" y="161"/>
                    <a:pt x="29" y="168"/>
                    <a:pt x="25" y="168"/>
                  </a:cubicBezTo>
                  <a:cubicBezTo>
                    <a:pt x="20" y="169"/>
                    <a:pt x="20" y="173"/>
                    <a:pt x="25" y="180"/>
                  </a:cubicBezTo>
                  <a:cubicBezTo>
                    <a:pt x="30" y="188"/>
                    <a:pt x="26" y="192"/>
                    <a:pt x="30" y="193"/>
                  </a:cubicBezTo>
                  <a:cubicBezTo>
                    <a:pt x="34" y="194"/>
                    <a:pt x="33" y="196"/>
                    <a:pt x="36" y="196"/>
                  </a:cubicBezTo>
                  <a:cubicBezTo>
                    <a:pt x="39" y="197"/>
                    <a:pt x="41" y="200"/>
                    <a:pt x="44" y="203"/>
                  </a:cubicBezTo>
                  <a:cubicBezTo>
                    <a:pt x="46" y="205"/>
                    <a:pt x="51" y="205"/>
                    <a:pt x="53" y="202"/>
                  </a:cubicBezTo>
                  <a:cubicBezTo>
                    <a:pt x="55" y="198"/>
                    <a:pt x="63" y="197"/>
                    <a:pt x="70" y="197"/>
                  </a:cubicBezTo>
                  <a:cubicBezTo>
                    <a:pt x="78" y="197"/>
                    <a:pt x="76" y="194"/>
                    <a:pt x="84" y="192"/>
                  </a:cubicBezTo>
                  <a:cubicBezTo>
                    <a:pt x="91" y="190"/>
                    <a:pt x="100" y="190"/>
                    <a:pt x="106" y="192"/>
                  </a:cubicBezTo>
                  <a:cubicBezTo>
                    <a:pt x="112" y="194"/>
                    <a:pt x="117" y="192"/>
                    <a:pt x="120" y="190"/>
                  </a:cubicBezTo>
                  <a:cubicBezTo>
                    <a:pt x="123" y="188"/>
                    <a:pt x="129" y="193"/>
                    <a:pt x="129" y="188"/>
                  </a:cubicBezTo>
                  <a:cubicBezTo>
                    <a:pt x="130" y="183"/>
                    <a:pt x="136" y="184"/>
                    <a:pt x="141" y="184"/>
                  </a:cubicBezTo>
                  <a:cubicBezTo>
                    <a:pt x="147" y="184"/>
                    <a:pt x="160" y="175"/>
                    <a:pt x="171" y="165"/>
                  </a:cubicBezTo>
                  <a:cubicBezTo>
                    <a:pt x="182" y="155"/>
                    <a:pt x="200" y="133"/>
                    <a:pt x="206" y="123"/>
                  </a:cubicBezTo>
                  <a:cubicBezTo>
                    <a:pt x="212" y="113"/>
                    <a:pt x="222" y="104"/>
                    <a:pt x="227" y="100"/>
                  </a:cubicBezTo>
                  <a:cubicBezTo>
                    <a:pt x="230" y="96"/>
                    <a:pt x="232" y="84"/>
                    <a:pt x="233" y="76"/>
                  </a:cubicBezTo>
                  <a:cubicBezTo>
                    <a:pt x="228" y="76"/>
                    <a:pt x="223" y="76"/>
                    <a:pt x="223" y="76"/>
                  </a:cubicBezTo>
                  <a:close/>
                  <a:moveTo>
                    <a:pt x="178" y="124"/>
                  </a:moveTo>
                  <a:cubicBezTo>
                    <a:pt x="178" y="128"/>
                    <a:pt x="170" y="124"/>
                    <a:pt x="168" y="127"/>
                  </a:cubicBezTo>
                  <a:cubicBezTo>
                    <a:pt x="167" y="131"/>
                    <a:pt x="165" y="135"/>
                    <a:pt x="165" y="135"/>
                  </a:cubicBezTo>
                  <a:cubicBezTo>
                    <a:pt x="159" y="134"/>
                    <a:pt x="159" y="134"/>
                    <a:pt x="159" y="134"/>
                  </a:cubicBezTo>
                  <a:cubicBezTo>
                    <a:pt x="150" y="122"/>
                    <a:pt x="150" y="122"/>
                    <a:pt x="150" y="122"/>
                  </a:cubicBezTo>
                  <a:cubicBezTo>
                    <a:pt x="150" y="122"/>
                    <a:pt x="157" y="112"/>
                    <a:pt x="159" y="109"/>
                  </a:cubicBezTo>
                  <a:cubicBezTo>
                    <a:pt x="161" y="106"/>
                    <a:pt x="172" y="100"/>
                    <a:pt x="173" y="103"/>
                  </a:cubicBezTo>
                  <a:cubicBezTo>
                    <a:pt x="175" y="106"/>
                    <a:pt x="183" y="111"/>
                    <a:pt x="183" y="114"/>
                  </a:cubicBezTo>
                  <a:cubicBezTo>
                    <a:pt x="183" y="118"/>
                    <a:pt x="178" y="121"/>
                    <a:pt x="178" y="1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7" name="Freeform 184"/>
            <p:cNvSpPr/>
            <p:nvPr/>
          </p:nvSpPr>
          <p:spPr>
            <a:xfrm>
              <a:off x="5072064" y="3957638"/>
              <a:ext cx="288925" cy="304800"/>
            </a:xfrm>
            <a:custGeom>
              <a:gdLst>
                <a:gd name="T0" fmla="*/ 10 w 170"/>
                <a:gd name="T1" fmla="*/ 166 h 180"/>
                <a:gd name="T2" fmla="*/ 16 w 170"/>
                <a:gd name="T3" fmla="*/ 169 h 180"/>
                <a:gd name="T4" fmla="*/ 30 w 170"/>
                <a:gd name="T5" fmla="*/ 169 h 180"/>
                <a:gd name="T6" fmla="*/ 43 w 170"/>
                <a:gd name="T7" fmla="*/ 173 h 180"/>
                <a:gd name="T8" fmla="*/ 93 w 170"/>
                <a:gd name="T9" fmla="*/ 173 h 180"/>
                <a:gd name="T10" fmla="*/ 98 w 170"/>
                <a:gd name="T11" fmla="*/ 178 h 180"/>
                <a:gd name="T12" fmla="*/ 130 w 170"/>
                <a:gd name="T13" fmla="*/ 178 h 180"/>
                <a:gd name="T14" fmla="*/ 153 w 170"/>
                <a:gd name="T15" fmla="*/ 177 h 180"/>
                <a:gd name="T16" fmla="*/ 157 w 170"/>
                <a:gd name="T17" fmla="*/ 176 h 180"/>
                <a:gd name="T18" fmla="*/ 140 w 170"/>
                <a:gd name="T19" fmla="*/ 153 h 180"/>
                <a:gd name="T20" fmla="*/ 142 w 170"/>
                <a:gd name="T21" fmla="*/ 105 h 180"/>
                <a:gd name="T22" fmla="*/ 163 w 170"/>
                <a:gd name="T23" fmla="*/ 105 h 180"/>
                <a:gd name="T24" fmla="*/ 167 w 170"/>
                <a:gd name="T25" fmla="*/ 102 h 180"/>
                <a:gd name="T26" fmla="*/ 170 w 170"/>
                <a:gd name="T27" fmla="*/ 73 h 180"/>
                <a:gd name="T28" fmla="*/ 166 w 170"/>
                <a:gd name="T29" fmla="*/ 73 h 180"/>
                <a:gd name="T30" fmla="*/ 153 w 170"/>
                <a:gd name="T31" fmla="*/ 74 h 180"/>
                <a:gd name="T32" fmla="*/ 146 w 170"/>
                <a:gd name="T33" fmla="*/ 78 h 180"/>
                <a:gd name="T34" fmla="*/ 146 w 170"/>
                <a:gd name="T35" fmla="*/ 66 h 180"/>
                <a:gd name="T36" fmla="*/ 138 w 170"/>
                <a:gd name="T37" fmla="*/ 55 h 180"/>
                <a:gd name="T38" fmla="*/ 140 w 170"/>
                <a:gd name="T39" fmla="*/ 34 h 180"/>
                <a:gd name="T40" fmla="*/ 138 w 170"/>
                <a:gd name="T41" fmla="*/ 22 h 180"/>
                <a:gd name="T42" fmla="*/ 128 w 170"/>
                <a:gd name="T43" fmla="*/ 20 h 180"/>
                <a:gd name="T44" fmla="*/ 121 w 170"/>
                <a:gd name="T45" fmla="*/ 17 h 180"/>
                <a:gd name="T46" fmla="*/ 109 w 170"/>
                <a:gd name="T47" fmla="*/ 17 h 180"/>
                <a:gd name="T48" fmla="*/ 104 w 170"/>
                <a:gd name="T49" fmla="*/ 30 h 180"/>
                <a:gd name="T50" fmla="*/ 87 w 170"/>
                <a:gd name="T51" fmla="*/ 33 h 180"/>
                <a:gd name="T52" fmla="*/ 75 w 170"/>
                <a:gd name="T53" fmla="*/ 24 h 180"/>
                <a:gd name="T54" fmla="*/ 69 w 170"/>
                <a:gd name="T55" fmla="*/ 13 h 180"/>
                <a:gd name="T56" fmla="*/ 66 w 170"/>
                <a:gd name="T57" fmla="*/ 0 h 180"/>
                <a:gd name="T58" fmla="*/ 19 w 170"/>
                <a:gd name="T59" fmla="*/ 0 h 180"/>
                <a:gd name="T60" fmla="*/ 11 w 170"/>
                <a:gd name="T61" fmla="*/ 5 h 180"/>
                <a:gd name="T62" fmla="*/ 24 w 170"/>
                <a:gd name="T63" fmla="*/ 35 h 180"/>
                <a:gd name="T64" fmla="*/ 21 w 170"/>
                <a:gd name="T65" fmla="*/ 50 h 180"/>
                <a:gd name="T66" fmla="*/ 30 w 170"/>
                <a:gd name="T67" fmla="*/ 81 h 180"/>
                <a:gd name="T68" fmla="*/ 20 w 170"/>
                <a:gd name="T69" fmla="*/ 102 h 180"/>
                <a:gd name="T70" fmla="*/ 9 w 170"/>
                <a:gd name="T71" fmla="*/ 130 h 180"/>
                <a:gd name="T72" fmla="*/ 2 w 170"/>
                <a:gd name="T73" fmla="*/ 150 h 180"/>
                <a:gd name="T74" fmla="*/ 0 w 170"/>
                <a:gd name="T75" fmla="*/ 170 h 180"/>
                <a:gd name="T76" fmla="*/ 0 w 170"/>
                <a:gd name="T77" fmla="*/ 171 h 180"/>
                <a:gd name="T78" fmla="*/ 5 w 170"/>
                <a:gd name="T79" fmla="*/ 169 h 180"/>
                <a:gd name="T80" fmla="*/ 10 w 170"/>
                <a:gd name="T81" fmla="*/ 166 h 1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80">
                  <a:moveTo>
                    <a:pt x="10" y="166"/>
                  </a:moveTo>
                  <a:cubicBezTo>
                    <a:pt x="13" y="166"/>
                    <a:pt x="11" y="171"/>
                    <a:pt x="16" y="169"/>
                  </a:cubicBezTo>
                  <a:cubicBezTo>
                    <a:pt x="21" y="166"/>
                    <a:pt x="26" y="166"/>
                    <a:pt x="30" y="169"/>
                  </a:cubicBezTo>
                  <a:cubicBezTo>
                    <a:pt x="34" y="172"/>
                    <a:pt x="38" y="173"/>
                    <a:pt x="43" y="173"/>
                  </a:cubicBezTo>
                  <a:cubicBezTo>
                    <a:pt x="48" y="173"/>
                    <a:pt x="93" y="173"/>
                    <a:pt x="93" y="173"/>
                  </a:cubicBezTo>
                  <a:cubicBezTo>
                    <a:pt x="98" y="178"/>
                    <a:pt x="98" y="178"/>
                    <a:pt x="98" y="178"/>
                  </a:cubicBezTo>
                  <a:cubicBezTo>
                    <a:pt x="98" y="178"/>
                    <a:pt x="126" y="176"/>
                    <a:pt x="130" y="178"/>
                  </a:cubicBezTo>
                  <a:cubicBezTo>
                    <a:pt x="135" y="180"/>
                    <a:pt x="149" y="178"/>
                    <a:pt x="153" y="177"/>
                  </a:cubicBezTo>
                  <a:cubicBezTo>
                    <a:pt x="154" y="176"/>
                    <a:pt x="155" y="176"/>
                    <a:pt x="157" y="176"/>
                  </a:cubicBezTo>
                  <a:cubicBezTo>
                    <a:pt x="140" y="153"/>
                    <a:pt x="140" y="153"/>
                    <a:pt x="140" y="153"/>
                  </a:cubicBezTo>
                  <a:cubicBezTo>
                    <a:pt x="142" y="105"/>
                    <a:pt x="142" y="105"/>
                    <a:pt x="142" y="105"/>
                  </a:cubicBezTo>
                  <a:cubicBezTo>
                    <a:pt x="163" y="105"/>
                    <a:pt x="163" y="105"/>
                    <a:pt x="163" y="105"/>
                  </a:cubicBezTo>
                  <a:cubicBezTo>
                    <a:pt x="167" y="102"/>
                    <a:pt x="167" y="102"/>
                    <a:pt x="167" y="102"/>
                  </a:cubicBezTo>
                  <a:cubicBezTo>
                    <a:pt x="170" y="73"/>
                    <a:pt x="170" y="73"/>
                    <a:pt x="170" y="73"/>
                  </a:cubicBezTo>
                  <a:cubicBezTo>
                    <a:pt x="169" y="72"/>
                    <a:pt x="168" y="72"/>
                    <a:pt x="166" y="73"/>
                  </a:cubicBezTo>
                  <a:cubicBezTo>
                    <a:pt x="162" y="75"/>
                    <a:pt x="158" y="74"/>
                    <a:pt x="153" y="74"/>
                  </a:cubicBezTo>
                  <a:cubicBezTo>
                    <a:pt x="149" y="74"/>
                    <a:pt x="148" y="78"/>
                    <a:pt x="146" y="78"/>
                  </a:cubicBezTo>
                  <a:cubicBezTo>
                    <a:pt x="143" y="77"/>
                    <a:pt x="145" y="69"/>
                    <a:pt x="146" y="66"/>
                  </a:cubicBezTo>
                  <a:cubicBezTo>
                    <a:pt x="146" y="63"/>
                    <a:pt x="142" y="57"/>
                    <a:pt x="138" y="55"/>
                  </a:cubicBezTo>
                  <a:cubicBezTo>
                    <a:pt x="135" y="52"/>
                    <a:pt x="142" y="36"/>
                    <a:pt x="140" y="34"/>
                  </a:cubicBezTo>
                  <a:cubicBezTo>
                    <a:pt x="138" y="32"/>
                    <a:pt x="138" y="27"/>
                    <a:pt x="138" y="22"/>
                  </a:cubicBezTo>
                  <a:cubicBezTo>
                    <a:pt x="138" y="18"/>
                    <a:pt x="135" y="20"/>
                    <a:pt x="128" y="20"/>
                  </a:cubicBezTo>
                  <a:cubicBezTo>
                    <a:pt x="122" y="20"/>
                    <a:pt x="121" y="17"/>
                    <a:pt x="121" y="17"/>
                  </a:cubicBezTo>
                  <a:cubicBezTo>
                    <a:pt x="121" y="17"/>
                    <a:pt x="113" y="15"/>
                    <a:pt x="109" y="17"/>
                  </a:cubicBezTo>
                  <a:cubicBezTo>
                    <a:pt x="106" y="19"/>
                    <a:pt x="106" y="31"/>
                    <a:pt x="104" y="30"/>
                  </a:cubicBezTo>
                  <a:cubicBezTo>
                    <a:pt x="101" y="29"/>
                    <a:pt x="93" y="31"/>
                    <a:pt x="87" y="33"/>
                  </a:cubicBezTo>
                  <a:cubicBezTo>
                    <a:pt x="80" y="35"/>
                    <a:pt x="78" y="31"/>
                    <a:pt x="75" y="24"/>
                  </a:cubicBezTo>
                  <a:cubicBezTo>
                    <a:pt x="71" y="16"/>
                    <a:pt x="68" y="18"/>
                    <a:pt x="69" y="13"/>
                  </a:cubicBezTo>
                  <a:cubicBezTo>
                    <a:pt x="70" y="7"/>
                    <a:pt x="66" y="0"/>
                    <a:pt x="66" y="0"/>
                  </a:cubicBezTo>
                  <a:cubicBezTo>
                    <a:pt x="66" y="0"/>
                    <a:pt x="24" y="0"/>
                    <a:pt x="19" y="0"/>
                  </a:cubicBezTo>
                  <a:cubicBezTo>
                    <a:pt x="17" y="1"/>
                    <a:pt x="14" y="3"/>
                    <a:pt x="11" y="5"/>
                  </a:cubicBezTo>
                  <a:cubicBezTo>
                    <a:pt x="14" y="15"/>
                    <a:pt x="22" y="31"/>
                    <a:pt x="24" y="35"/>
                  </a:cubicBezTo>
                  <a:cubicBezTo>
                    <a:pt x="26" y="39"/>
                    <a:pt x="21" y="43"/>
                    <a:pt x="21" y="50"/>
                  </a:cubicBezTo>
                  <a:cubicBezTo>
                    <a:pt x="21" y="58"/>
                    <a:pt x="29" y="72"/>
                    <a:pt x="30" y="81"/>
                  </a:cubicBezTo>
                  <a:cubicBezTo>
                    <a:pt x="31" y="90"/>
                    <a:pt x="25" y="96"/>
                    <a:pt x="20" y="102"/>
                  </a:cubicBezTo>
                  <a:cubicBezTo>
                    <a:pt x="15" y="108"/>
                    <a:pt x="9" y="122"/>
                    <a:pt x="9" y="130"/>
                  </a:cubicBezTo>
                  <a:cubicBezTo>
                    <a:pt x="9" y="138"/>
                    <a:pt x="2" y="147"/>
                    <a:pt x="2" y="150"/>
                  </a:cubicBezTo>
                  <a:cubicBezTo>
                    <a:pt x="2" y="154"/>
                    <a:pt x="1" y="166"/>
                    <a:pt x="0" y="170"/>
                  </a:cubicBezTo>
                  <a:cubicBezTo>
                    <a:pt x="0" y="170"/>
                    <a:pt x="0" y="170"/>
                    <a:pt x="0" y="171"/>
                  </a:cubicBezTo>
                  <a:cubicBezTo>
                    <a:pt x="5" y="169"/>
                    <a:pt x="5" y="169"/>
                    <a:pt x="5" y="169"/>
                  </a:cubicBezTo>
                  <a:cubicBezTo>
                    <a:pt x="5" y="169"/>
                    <a:pt x="6" y="166"/>
                    <a:pt x="10" y="16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8" name="Freeform 185"/>
            <p:cNvSpPr/>
            <p:nvPr/>
          </p:nvSpPr>
          <p:spPr>
            <a:xfrm>
              <a:off x="5310189" y="4014788"/>
              <a:ext cx="284163" cy="249238"/>
            </a:xfrm>
            <a:custGeom>
              <a:gdLst>
                <a:gd name="T0" fmla="*/ 129 w 168"/>
                <a:gd name="T1" fmla="*/ 6 h 147"/>
                <a:gd name="T2" fmla="*/ 119 w 168"/>
                <a:gd name="T3" fmla="*/ 0 h 147"/>
                <a:gd name="T4" fmla="*/ 101 w 168"/>
                <a:gd name="T5" fmla="*/ 2 h 147"/>
                <a:gd name="T6" fmla="*/ 97 w 168"/>
                <a:gd name="T7" fmla="*/ 12 h 147"/>
                <a:gd name="T8" fmla="*/ 95 w 168"/>
                <a:gd name="T9" fmla="*/ 20 h 147"/>
                <a:gd name="T10" fmla="*/ 95 w 168"/>
                <a:gd name="T11" fmla="*/ 36 h 147"/>
                <a:gd name="T12" fmla="*/ 91 w 168"/>
                <a:gd name="T13" fmla="*/ 50 h 147"/>
                <a:gd name="T14" fmla="*/ 101 w 168"/>
                <a:gd name="T15" fmla="*/ 61 h 147"/>
                <a:gd name="T16" fmla="*/ 111 w 168"/>
                <a:gd name="T17" fmla="*/ 58 h 147"/>
                <a:gd name="T18" fmla="*/ 113 w 168"/>
                <a:gd name="T19" fmla="*/ 68 h 147"/>
                <a:gd name="T20" fmla="*/ 110 w 168"/>
                <a:gd name="T21" fmla="*/ 75 h 147"/>
                <a:gd name="T22" fmla="*/ 100 w 168"/>
                <a:gd name="T23" fmla="*/ 75 h 147"/>
                <a:gd name="T24" fmla="*/ 94 w 168"/>
                <a:gd name="T25" fmla="*/ 62 h 147"/>
                <a:gd name="T26" fmla="*/ 83 w 168"/>
                <a:gd name="T27" fmla="*/ 60 h 147"/>
                <a:gd name="T28" fmla="*/ 75 w 168"/>
                <a:gd name="T29" fmla="*/ 51 h 147"/>
                <a:gd name="T30" fmla="*/ 70 w 168"/>
                <a:gd name="T31" fmla="*/ 54 h 147"/>
                <a:gd name="T32" fmla="*/ 64 w 168"/>
                <a:gd name="T33" fmla="*/ 56 h 147"/>
                <a:gd name="T34" fmla="*/ 51 w 168"/>
                <a:gd name="T35" fmla="*/ 52 h 147"/>
                <a:gd name="T36" fmla="*/ 47 w 168"/>
                <a:gd name="T37" fmla="*/ 45 h 147"/>
                <a:gd name="T38" fmla="*/ 38 w 168"/>
                <a:gd name="T39" fmla="*/ 46 h 147"/>
                <a:gd name="T40" fmla="*/ 34 w 168"/>
                <a:gd name="T41" fmla="*/ 42 h 147"/>
                <a:gd name="T42" fmla="*/ 30 w 168"/>
                <a:gd name="T43" fmla="*/ 39 h 147"/>
                <a:gd name="T44" fmla="*/ 27 w 168"/>
                <a:gd name="T45" fmla="*/ 68 h 147"/>
                <a:gd name="T46" fmla="*/ 23 w 168"/>
                <a:gd name="T47" fmla="*/ 71 h 147"/>
                <a:gd name="T48" fmla="*/ 2 w 168"/>
                <a:gd name="T49" fmla="*/ 71 h 147"/>
                <a:gd name="T50" fmla="*/ 0 w 168"/>
                <a:gd name="T51" fmla="*/ 119 h 147"/>
                <a:gd name="T52" fmla="*/ 17 w 168"/>
                <a:gd name="T53" fmla="*/ 142 h 147"/>
                <a:gd name="T54" fmla="*/ 43 w 168"/>
                <a:gd name="T55" fmla="*/ 140 h 147"/>
                <a:gd name="T56" fmla="*/ 45 w 168"/>
                <a:gd name="T57" fmla="*/ 144 h 147"/>
                <a:gd name="T58" fmla="*/ 52 w 168"/>
                <a:gd name="T59" fmla="*/ 143 h 147"/>
                <a:gd name="T60" fmla="*/ 71 w 168"/>
                <a:gd name="T61" fmla="*/ 146 h 147"/>
                <a:gd name="T62" fmla="*/ 86 w 168"/>
                <a:gd name="T63" fmla="*/ 129 h 147"/>
                <a:gd name="T64" fmla="*/ 99 w 168"/>
                <a:gd name="T65" fmla="*/ 119 h 147"/>
                <a:gd name="T66" fmla="*/ 107 w 168"/>
                <a:gd name="T67" fmla="*/ 112 h 147"/>
                <a:gd name="T68" fmla="*/ 120 w 168"/>
                <a:gd name="T69" fmla="*/ 111 h 147"/>
                <a:gd name="T70" fmla="*/ 120 w 168"/>
                <a:gd name="T71" fmla="*/ 111 h 147"/>
                <a:gd name="T72" fmla="*/ 117 w 168"/>
                <a:gd name="T73" fmla="*/ 101 h 147"/>
                <a:gd name="T74" fmla="*/ 158 w 168"/>
                <a:gd name="T75" fmla="*/ 86 h 147"/>
                <a:gd name="T76" fmla="*/ 155 w 168"/>
                <a:gd name="T77" fmla="*/ 80 h 147"/>
                <a:gd name="T78" fmla="*/ 157 w 168"/>
                <a:gd name="T79" fmla="*/ 65 h 147"/>
                <a:gd name="T80" fmla="*/ 163 w 168"/>
                <a:gd name="T81" fmla="*/ 62 h 147"/>
                <a:gd name="T82" fmla="*/ 163 w 168"/>
                <a:gd name="T83" fmla="*/ 38 h 147"/>
                <a:gd name="T84" fmla="*/ 168 w 168"/>
                <a:gd name="T85" fmla="*/ 35 h 147"/>
                <a:gd name="T86" fmla="*/ 161 w 168"/>
                <a:gd name="T87" fmla="*/ 19 h 147"/>
                <a:gd name="T88" fmla="*/ 142 w 168"/>
                <a:gd name="T89" fmla="*/ 11 h 147"/>
                <a:gd name="T90" fmla="*/ 129 w 168"/>
                <a:gd name="T91" fmla="*/ 6 h 1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47">
                  <a:moveTo>
                    <a:pt x="129" y="6"/>
                  </a:moveTo>
                  <a:cubicBezTo>
                    <a:pt x="127" y="6"/>
                    <a:pt x="123" y="3"/>
                    <a:pt x="119" y="0"/>
                  </a:cubicBezTo>
                  <a:cubicBezTo>
                    <a:pt x="116" y="3"/>
                    <a:pt x="106" y="2"/>
                    <a:pt x="101" y="2"/>
                  </a:cubicBezTo>
                  <a:cubicBezTo>
                    <a:pt x="96" y="2"/>
                    <a:pt x="100" y="10"/>
                    <a:pt x="97" y="12"/>
                  </a:cubicBezTo>
                  <a:cubicBezTo>
                    <a:pt x="94" y="15"/>
                    <a:pt x="93" y="19"/>
                    <a:pt x="95" y="20"/>
                  </a:cubicBezTo>
                  <a:cubicBezTo>
                    <a:pt x="98" y="21"/>
                    <a:pt x="95" y="32"/>
                    <a:pt x="95" y="36"/>
                  </a:cubicBezTo>
                  <a:cubicBezTo>
                    <a:pt x="95" y="40"/>
                    <a:pt x="89" y="48"/>
                    <a:pt x="91" y="50"/>
                  </a:cubicBezTo>
                  <a:cubicBezTo>
                    <a:pt x="93" y="51"/>
                    <a:pt x="97" y="60"/>
                    <a:pt x="101" y="61"/>
                  </a:cubicBezTo>
                  <a:cubicBezTo>
                    <a:pt x="106" y="62"/>
                    <a:pt x="109" y="58"/>
                    <a:pt x="111" y="58"/>
                  </a:cubicBezTo>
                  <a:cubicBezTo>
                    <a:pt x="113" y="58"/>
                    <a:pt x="113" y="64"/>
                    <a:pt x="113" y="68"/>
                  </a:cubicBezTo>
                  <a:cubicBezTo>
                    <a:pt x="113" y="73"/>
                    <a:pt x="110" y="75"/>
                    <a:pt x="110" y="75"/>
                  </a:cubicBezTo>
                  <a:cubicBezTo>
                    <a:pt x="110" y="75"/>
                    <a:pt x="103" y="77"/>
                    <a:pt x="100" y="75"/>
                  </a:cubicBezTo>
                  <a:cubicBezTo>
                    <a:pt x="97" y="72"/>
                    <a:pt x="94" y="65"/>
                    <a:pt x="94" y="62"/>
                  </a:cubicBezTo>
                  <a:cubicBezTo>
                    <a:pt x="94" y="60"/>
                    <a:pt x="86" y="60"/>
                    <a:pt x="83" y="60"/>
                  </a:cubicBezTo>
                  <a:cubicBezTo>
                    <a:pt x="80" y="60"/>
                    <a:pt x="77" y="54"/>
                    <a:pt x="75" y="51"/>
                  </a:cubicBezTo>
                  <a:cubicBezTo>
                    <a:pt x="74" y="49"/>
                    <a:pt x="70" y="52"/>
                    <a:pt x="70" y="54"/>
                  </a:cubicBezTo>
                  <a:cubicBezTo>
                    <a:pt x="70" y="56"/>
                    <a:pt x="67" y="56"/>
                    <a:pt x="64" y="56"/>
                  </a:cubicBezTo>
                  <a:cubicBezTo>
                    <a:pt x="60" y="56"/>
                    <a:pt x="54" y="51"/>
                    <a:pt x="51" y="52"/>
                  </a:cubicBezTo>
                  <a:cubicBezTo>
                    <a:pt x="49" y="53"/>
                    <a:pt x="46" y="48"/>
                    <a:pt x="47" y="45"/>
                  </a:cubicBezTo>
                  <a:cubicBezTo>
                    <a:pt x="48" y="42"/>
                    <a:pt x="40" y="44"/>
                    <a:pt x="38" y="46"/>
                  </a:cubicBezTo>
                  <a:cubicBezTo>
                    <a:pt x="35" y="47"/>
                    <a:pt x="34" y="42"/>
                    <a:pt x="34" y="42"/>
                  </a:cubicBezTo>
                  <a:cubicBezTo>
                    <a:pt x="34" y="42"/>
                    <a:pt x="32" y="40"/>
                    <a:pt x="30" y="39"/>
                  </a:cubicBezTo>
                  <a:cubicBezTo>
                    <a:pt x="27" y="68"/>
                    <a:pt x="27" y="68"/>
                    <a:pt x="27" y="68"/>
                  </a:cubicBezTo>
                  <a:cubicBezTo>
                    <a:pt x="23" y="71"/>
                    <a:pt x="23" y="71"/>
                    <a:pt x="23" y="71"/>
                  </a:cubicBezTo>
                  <a:cubicBezTo>
                    <a:pt x="2" y="71"/>
                    <a:pt x="2" y="71"/>
                    <a:pt x="2" y="71"/>
                  </a:cubicBezTo>
                  <a:cubicBezTo>
                    <a:pt x="0" y="119"/>
                    <a:pt x="0" y="119"/>
                    <a:pt x="0" y="119"/>
                  </a:cubicBezTo>
                  <a:cubicBezTo>
                    <a:pt x="17" y="142"/>
                    <a:pt x="17" y="142"/>
                    <a:pt x="17" y="142"/>
                  </a:cubicBezTo>
                  <a:cubicBezTo>
                    <a:pt x="26" y="140"/>
                    <a:pt x="43" y="137"/>
                    <a:pt x="43" y="140"/>
                  </a:cubicBezTo>
                  <a:cubicBezTo>
                    <a:pt x="43" y="141"/>
                    <a:pt x="44" y="143"/>
                    <a:pt x="45" y="144"/>
                  </a:cubicBezTo>
                  <a:cubicBezTo>
                    <a:pt x="48" y="143"/>
                    <a:pt x="50" y="142"/>
                    <a:pt x="52" y="143"/>
                  </a:cubicBezTo>
                  <a:cubicBezTo>
                    <a:pt x="55" y="143"/>
                    <a:pt x="67" y="147"/>
                    <a:pt x="71" y="146"/>
                  </a:cubicBezTo>
                  <a:cubicBezTo>
                    <a:pt x="74" y="144"/>
                    <a:pt x="80" y="131"/>
                    <a:pt x="86" y="129"/>
                  </a:cubicBezTo>
                  <a:cubicBezTo>
                    <a:pt x="91" y="128"/>
                    <a:pt x="99" y="122"/>
                    <a:pt x="99" y="119"/>
                  </a:cubicBezTo>
                  <a:cubicBezTo>
                    <a:pt x="99" y="116"/>
                    <a:pt x="99" y="114"/>
                    <a:pt x="107" y="112"/>
                  </a:cubicBezTo>
                  <a:cubicBezTo>
                    <a:pt x="120" y="111"/>
                    <a:pt x="120" y="111"/>
                    <a:pt x="120" y="111"/>
                  </a:cubicBezTo>
                  <a:cubicBezTo>
                    <a:pt x="120" y="111"/>
                    <a:pt x="120" y="111"/>
                    <a:pt x="120" y="111"/>
                  </a:cubicBezTo>
                  <a:cubicBezTo>
                    <a:pt x="117" y="101"/>
                    <a:pt x="117" y="101"/>
                    <a:pt x="117" y="101"/>
                  </a:cubicBezTo>
                  <a:cubicBezTo>
                    <a:pt x="117" y="101"/>
                    <a:pt x="156" y="86"/>
                    <a:pt x="158" y="86"/>
                  </a:cubicBezTo>
                  <a:cubicBezTo>
                    <a:pt x="156" y="82"/>
                    <a:pt x="154" y="80"/>
                    <a:pt x="155" y="80"/>
                  </a:cubicBezTo>
                  <a:cubicBezTo>
                    <a:pt x="157" y="79"/>
                    <a:pt x="157" y="68"/>
                    <a:pt x="157" y="65"/>
                  </a:cubicBezTo>
                  <a:cubicBezTo>
                    <a:pt x="157" y="62"/>
                    <a:pt x="166" y="65"/>
                    <a:pt x="163" y="62"/>
                  </a:cubicBezTo>
                  <a:cubicBezTo>
                    <a:pt x="160" y="59"/>
                    <a:pt x="161" y="42"/>
                    <a:pt x="163" y="38"/>
                  </a:cubicBezTo>
                  <a:cubicBezTo>
                    <a:pt x="164" y="34"/>
                    <a:pt x="168" y="38"/>
                    <a:pt x="168" y="35"/>
                  </a:cubicBezTo>
                  <a:cubicBezTo>
                    <a:pt x="168" y="32"/>
                    <a:pt x="163" y="22"/>
                    <a:pt x="161" y="19"/>
                  </a:cubicBezTo>
                  <a:cubicBezTo>
                    <a:pt x="159" y="17"/>
                    <a:pt x="146" y="12"/>
                    <a:pt x="142" y="11"/>
                  </a:cubicBezTo>
                  <a:cubicBezTo>
                    <a:pt x="139" y="10"/>
                    <a:pt x="133" y="6"/>
                    <a:pt x="129"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59" name="Freeform 186"/>
            <p:cNvSpPr/>
            <p:nvPr/>
          </p:nvSpPr>
          <p:spPr>
            <a:xfrm>
              <a:off x="5480051" y="3836988"/>
              <a:ext cx="47625" cy="41275"/>
            </a:xfrm>
            <a:custGeom>
              <a:gdLst>
                <a:gd name="T0" fmla="*/ 23 w 28"/>
                <a:gd name="T1" fmla="*/ 0 h 25"/>
                <a:gd name="T2" fmla="*/ 15 w 28"/>
                <a:gd name="T3" fmla="*/ 3 h 25"/>
                <a:gd name="T4" fmla="*/ 8 w 28"/>
                <a:gd name="T5" fmla="*/ 4 h 25"/>
                <a:gd name="T6" fmla="*/ 6 w 28"/>
                <a:gd name="T7" fmla="*/ 5 h 25"/>
                <a:gd name="T8" fmla="*/ 3 w 28"/>
                <a:gd name="T9" fmla="*/ 15 h 25"/>
                <a:gd name="T10" fmla="*/ 0 w 28"/>
                <a:gd name="T11" fmla="*/ 19 h 25"/>
                <a:gd name="T12" fmla="*/ 3 w 28"/>
                <a:gd name="T13" fmla="*/ 23 h 25"/>
                <a:gd name="T14" fmla="*/ 7 w 28"/>
                <a:gd name="T15" fmla="*/ 24 h 25"/>
                <a:gd name="T16" fmla="*/ 15 w 28"/>
                <a:gd name="T17" fmla="*/ 19 h 25"/>
                <a:gd name="T18" fmla="*/ 28 w 28"/>
                <a:gd name="T19" fmla="*/ 16 h 25"/>
                <a:gd name="T20" fmla="*/ 25 w 28"/>
                <a:gd name="T21" fmla="*/ 7 h 25"/>
                <a:gd name="T22" fmla="*/ 23 w 28"/>
                <a:gd name="T23"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5">
                  <a:moveTo>
                    <a:pt x="23" y="0"/>
                  </a:moveTo>
                  <a:cubicBezTo>
                    <a:pt x="20" y="1"/>
                    <a:pt x="16" y="2"/>
                    <a:pt x="15" y="3"/>
                  </a:cubicBezTo>
                  <a:cubicBezTo>
                    <a:pt x="13" y="4"/>
                    <a:pt x="12" y="5"/>
                    <a:pt x="8" y="4"/>
                  </a:cubicBezTo>
                  <a:cubicBezTo>
                    <a:pt x="7" y="5"/>
                    <a:pt x="7" y="5"/>
                    <a:pt x="6" y="5"/>
                  </a:cubicBezTo>
                  <a:cubicBezTo>
                    <a:pt x="2" y="7"/>
                    <a:pt x="3" y="15"/>
                    <a:pt x="3" y="15"/>
                  </a:cubicBezTo>
                  <a:cubicBezTo>
                    <a:pt x="3" y="15"/>
                    <a:pt x="0" y="15"/>
                    <a:pt x="0" y="19"/>
                  </a:cubicBezTo>
                  <a:cubicBezTo>
                    <a:pt x="0" y="22"/>
                    <a:pt x="2" y="23"/>
                    <a:pt x="3" y="23"/>
                  </a:cubicBezTo>
                  <a:cubicBezTo>
                    <a:pt x="5" y="23"/>
                    <a:pt x="6" y="23"/>
                    <a:pt x="7" y="24"/>
                  </a:cubicBezTo>
                  <a:cubicBezTo>
                    <a:pt x="16" y="25"/>
                    <a:pt x="15" y="19"/>
                    <a:pt x="15" y="19"/>
                  </a:cubicBezTo>
                  <a:cubicBezTo>
                    <a:pt x="15" y="19"/>
                    <a:pt x="27" y="20"/>
                    <a:pt x="28" y="16"/>
                  </a:cubicBezTo>
                  <a:cubicBezTo>
                    <a:pt x="28" y="13"/>
                    <a:pt x="25" y="7"/>
                    <a:pt x="25" y="7"/>
                  </a:cubicBezTo>
                  <a:lnTo>
                    <a:pt x="23" y="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0" name="Freeform 187"/>
            <p:cNvSpPr/>
            <p:nvPr/>
          </p:nvSpPr>
          <p:spPr>
            <a:xfrm>
              <a:off x="5776914" y="3505200"/>
              <a:ext cx="255588" cy="344488"/>
            </a:xfrm>
            <a:custGeom>
              <a:gdLst>
                <a:gd name="T0" fmla="*/ 35 w 151"/>
                <a:gd name="T1" fmla="*/ 38 h 203"/>
                <a:gd name="T2" fmla="*/ 45 w 151"/>
                <a:gd name="T3" fmla="*/ 47 h 203"/>
                <a:gd name="T4" fmla="*/ 74 w 151"/>
                <a:gd name="T5" fmla="*/ 57 h 203"/>
                <a:gd name="T6" fmla="*/ 94 w 151"/>
                <a:gd name="T7" fmla="*/ 62 h 203"/>
                <a:gd name="T8" fmla="*/ 99 w 151"/>
                <a:gd name="T9" fmla="*/ 65 h 203"/>
                <a:gd name="T10" fmla="*/ 61 w 151"/>
                <a:gd name="T11" fmla="*/ 104 h 203"/>
                <a:gd name="T12" fmla="*/ 44 w 151"/>
                <a:gd name="T13" fmla="*/ 107 h 203"/>
                <a:gd name="T14" fmla="*/ 25 w 151"/>
                <a:gd name="T15" fmla="*/ 117 h 203"/>
                <a:gd name="T16" fmla="*/ 14 w 151"/>
                <a:gd name="T17" fmla="*/ 118 h 203"/>
                <a:gd name="T18" fmla="*/ 7 w 151"/>
                <a:gd name="T19" fmla="*/ 129 h 203"/>
                <a:gd name="T20" fmla="*/ 0 w 151"/>
                <a:gd name="T21" fmla="*/ 139 h 203"/>
                <a:gd name="T22" fmla="*/ 1 w 151"/>
                <a:gd name="T23" fmla="*/ 191 h 203"/>
                <a:gd name="T24" fmla="*/ 8 w 151"/>
                <a:gd name="T25" fmla="*/ 203 h 203"/>
                <a:gd name="T26" fmla="*/ 40 w 151"/>
                <a:gd name="T27" fmla="*/ 168 h 203"/>
                <a:gd name="T28" fmla="*/ 66 w 151"/>
                <a:gd name="T29" fmla="*/ 149 h 203"/>
                <a:gd name="T30" fmla="*/ 102 w 151"/>
                <a:gd name="T31" fmla="*/ 114 h 203"/>
                <a:gd name="T32" fmla="*/ 119 w 151"/>
                <a:gd name="T33" fmla="*/ 87 h 203"/>
                <a:gd name="T34" fmla="*/ 132 w 151"/>
                <a:gd name="T35" fmla="*/ 64 h 203"/>
                <a:gd name="T36" fmla="*/ 145 w 151"/>
                <a:gd name="T37" fmla="*/ 35 h 203"/>
                <a:gd name="T38" fmla="*/ 150 w 151"/>
                <a:gd name="T39" fmla="*/ 10 h 203"/>
                <a:gd name="T40" fmla="*/ 141 w 151"/>
                <a:gd name="T41" fmla="*/ 5 h 203"/>
                <a:gd name="T42" fmla="*/ 108 w 151"/>
                <a:gd name="T43" fmla="*/ 14 h 203"/>
                <a:gd name="T44" fmla="*/ 85 w 151"/>
                <a:gd name="T45" fmla="*/ 19 h 203"/>
                <a:gd name="T46" fmla="*/ 66 w 151"/>
                <a:gd name="T47" fmla="*/ 23 h 203"/>
                <a:gd name="T48" fmla="*/ 42 w 151"/>
                <a:gd name="T49" fmla="*/ 21 h 203"/>
                <a:gd name="T50" fmla="*/ 34 w 151"/>
                <a:gd name="T51" fmla="*/ 12 h 203"/>
                <a:gd name="T52" fmla="*/ 26 w 151"/>
                <a:gd name="T53" fmla="*/ 25 h 203"/>
                <a:gd name="T54" fmla="*/ 35 w 151"/>
                <a:gd name="T55" fmla="*/ 38 h 2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1" h="203">
                  <a:moveTo>
                    <a:pt x="35" y="38"/>
                  </a:moveTo>
                  <a:cubicBezTo>
                    <a:pt x="38" y="40"/>
                    <a:pt x="42" y="46"/>
                    <a:pt x="45" y="47"/>
                  </a:cubicBezTo>
                  <a:cubicBezTo>
                    <a:pt x="48" y="48"/>
                    <a:pt x="64" y="53"/>
                    <a:pt x="74" y="57"/>
                  </a:cubicBezTo>
                  <a:cubicBezTo>
                    <a:pt x="84" y="61"/>
                    <a:pt x="91" y="62"/>
                    <a:pt x="94" y="62"/>
                  </a:cubicBezTo>
                  <a:cubicBezTo>
                    <a:pt x="97" y="62"/>
                    <a:pt x="102" y="63"/>
                    <a:pt x="99" y="65"/>
                  </a:cubicBezTo>
                  <a:cubicBezTo>
                    <a:pt x="96" y="67"/>
                    <a:pt x="65" y="99"/>
                    <a:pt x="61" y="104"/>
                  </a:cubicBezTo>
                  <a:cubicBezTo>
                    <a:pt x="56" y="108"/>
                    <a:pt x="54" y="107"/>
                    <a:pt x="44" y="107"/>
                  </a:cubicBezTo>
                  <a:cubicBezTo>
                    <a:pt x="35" y="107"/>
                    <a:pt x="28" y="117"/>
                    <a:pt x="25" y="117"/>
                  </a:cubicBezTo>
                  <a:cubicBezTo>
                    <a:pt x="24" y="116"/>
                    <a:pt x="18" y="117"/>
                    <a:pt x="14" y="118"/>
                  </a:cubicBezTo>
                  <a:cubicBezTo>
                    <a:pt x="7" y="129"/>
                    <a:pt x="7" y="129"/>
                    <a:pt x="7" y="129"/>
                  </a:cubicBezTo>
                  <a:cubicBezTo>
                    <a:pt x="0" y="139"/>
                    <a:pt x="0" y="139"/>
                    <a:pt x="0" y="139"/>
                  </a:cubicBezTo>
                  <a:cubicBezTo>
                    <a:pt x="1" y="191"/>
                    <a:pt x="1" y="191"/>
                    <a:pt x="1" y="191"/>
                  </a:cubicBezTo>
                  <a:cubicBezTo>
                    <a:pt x="8" y="203"/>
                    <a:pt x="8" y="203"/>
                    <a:pt x="8" y="203"/>
                  </a:cubicBezTo>
                  <a:cubicBezTo>
                    <a:pt x="14" y="195"/>
                    <a:pt x="29" y="180"/>
                    <a:pt x="40" y="168"/>
                  </a:cubicBezTo>
                  <a:cubicBezTo>
                    <a:pt x="53" y="156"/>
                    <a:pt x="59" y="153"/>
                    <a:pt x="66" y="149"/>
                  </a:cubicBezTo>
                  <a:cubicBezTo>
                    <a:pt x="73" y="146"/>
                    <a:pt x="90" y="129"/>
                    <a:pt x="102" y="114"/>
                  </a:cubicBezTo>
                  <a:cubicBezTo>
                    <a:pt x="109" y="104"/>
                    <a:pt x="117" y="94"/>
                    <a:pt x="119" y="87"/>
                  </a:cubicBezTo>
                  <a:cubicBezTo>
                    <a:pt x="120" y="80"/>
                    <a:pt x="127" y="71"/>
                    <a:pt x="132" y="64"/>
                  </a:cubicBezTo>
                  <a:cubicBezTo>
                    <a:pt x="137" y="57"/>
                    <a:pt x="145" y="40"/>
                    <a:pt x="145" y="35"/>
                  </a:cubicBezTo>
                  <a:cubicBezTo>
                    <a:pt x="145" y="30"/>
                    <a:pt x="150" y="19"/>
                    <a:pt x="150" y="10"/>
                  </a:cubicBezTo>
                  <a:cubicBezTo>
                    <a:pt x="151" y="1"/>
                    <a:pt x="143" y="0"/>
                    <a:pt x="141" y="5"/>
                  </a:cubicBezTo>
                  <a:cubicBezTo>
                    <a:pt x="138" y="10"/>
                    <a:pt x="120" y="14"/>
                    <a:pt x="108" y="14"/>
                  </a:cubicBezTo>
                  <a:cubicBezTo>
                    <a:pt x="96" y="14"/>
                    <a:pt x="89" y="15"/>
                    <a:pt x="85" y="19"/>
                  </a:cubicBezTo>
                  <a:cubicBezTo>
                    <a:pt x="80" y="23"/>
                    <a:pt x="70" y="18"/>
                    <a:pt x="66" y="23"/>
                  </a:cubicBezTo>
                  <a:cubicBezTo>
                    <a:pt x="62" y="27"/>
                    <a:pt x="47" y="31"/>
                    <a:pt x="42" y="21"/>
                  </a:cubicBezTo>
                  <a:cubicBezTo>
                    <a:pt x="40" y="16"/>
                    <a:pt x="37" y="14"/>
                    <a:pt x="34" y="12"/>
                  </a:cubicBezTo>
                  <a:cubicBezTo>
                    <a:pt x="30" y="17"/>
                    <a:pt x="25" y="23"/>
                    <a:pt x="26" y="25"/>
                  </a:cubicBezTo>
                  <a:cubicBezTo>
                    <a:pt x="27" y="28"/>
                    <a:pt x="33" y="37"/>
                    <a:pt x="35"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1" name="Freeform 188"/>
            <p:cNvSpPr/>
            <p:nvPr/>
          </p:nvSpPr>
          <p:spPr>
            <a:xfrm>
              <a:off x="4459289" y="2874963"/>
              <a:ext cx="295275" cy="238125"/>
            </a:xfrm>
            <a:custGeom>
              <a:gdLst>
                <a:gd name="T0" fmla="*/ 64 w 175"/>
                <a:gd name="T1" fmla="*/ 140 h 140"/>
                <a:gd name="T2" fmla="*/ 64 w 175"/>
                <a:gd name="T3" fmla="*/ 120 h 140"/>
                <a:gd name="T4" fmla="*/ 87 w 175"/>
                <a:gd name="T5" fmla="*/ 105 h 140"/>
                <a:gd name="T6" fmla="*/ 97 w 175"/>
                <a:gd name="T7" fmla="*/ 102 h 140"/>
                <a:gd name="T8" fmla="*/ 110 w 175"/>
                <a:gd name="T9" fmla="*/ 99 h 140"/>
                <a:gd name="T10" fmla="*/ 117 w 175"/>
                <a:gd name="T11" fmla="*/ 91 h 140"/>
                <a:gd name="T12" fmla="*/ 128 w 175"/>
                <a:gd name="T13" fmla="*/ 87 h 140"/>
                <a:gd name="T14" fmla="*/ 135 w 175"/>
                <a:gd name="T15" fmla="*/ 83 h 140"/>
                <a:gd name="T16" fmla="*/ 137 w 175"/>
                <a:gd name="T17" fmla="*/ 74 h 140"/>
                <a:gd name="T18" fmla="*/ 141 w 175"/>
                <a:gd name="T19" fmla="*/ 70 h 140"/>
                <a:gd name="T20" fmla="*/ 150 w 175"/>
                <a:gd name="T21" fmla="*/ 65 h 140"/>
                <a:gd name="T22" fmla="*/ 171 w 175"/>
                <a:gd name="T23" fmla="*/ 64 h 140"/>
                <a:gd name="T24" fmla="*/ 175 w 175"/>
                <a:gd name="T25" fmla="*/ 58 h 140"/>
                <a:gd name="T26" fmla="*/ 169 w 175"/>
                <a:gd name="T27" fmla="*/ 48 h 140"/>
                <a:gd name="T28" fmla="*/ 168 w 175"/>
                <a:gd name="T29" fmla="*/ 35 h 140"/>
                <a:gd name="T30" fmla="*/ 164 w 175"/>
                <a:gd name="T31" fmla="*/ 20 h 140"/>
                <a:gd name="T32" fmla="*/ 161 w 175"/>
                <a:gd name="T33" fmla="*/ 15 h 140"/>
                <a:gd name="T34" fmla="*/ 144 w 175"/>
                <a:gd name="T35" fmla="*/ 11 h 140"/>
                <a:gd name="T36" fmla="*/ 120 w 175"/>
                <a:gd name="T37" fmla="*/ 9 h 140"/>
                <a:gd name="T38" fmla="*/ 106 w 175"/>
                <a:gd name="T39" fmla="*/ 2 h 140"/>
                <a:gd name="T40" fmla="*/ 90 w 175"/>
                <a:gd name="T41" fmla="*/ 32 h 140"/>
                <a:gd name="T42" fmla="*/ 68 w 175"/>
                <a:gd name="T43" fmla="*/ 43 h 140"/>
                <a:gd name="T44" fmla="*/ 57 w 175"/>
                <a:gd name="T45" fmla="*/ 55 h 140"/>
                <a:gd name="T46" fmla="*/ 49 w 175"/>
                <a:gd name="T47" fmla="*/ 69 h 140"/>
                <a:gd name="T48" fmla="*/ 49 w 175"/>
                <a:gd name="T49" fmla="*/ 91 h 140"/>
                <a:gd name="T50" fmla="*/ 32 w 175"/>
                <a:gd name="T51" fmla="*/ 115 h 140"/>
                <a:gd name="T52" fmla="*/ 10 w 175"/>
                <a:gd name="T53" fmla="*/ 129 h 140"/>
                <a:gd name="T54" fmla="*/ 0 w 175"/>
                <a:gd name="T55" fmla="*/ 134 h 140"/>
                <a:gd name="T56" fmla="*/ 54 w 175"/>
                <a:gd name="T57" fmla="*/ 134 h 140"/>
                <a:gd name="T58" fmla="*/ 64 w 175"/>
                <a:gd name="T59" fmla="*/ 140 h 1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40">
                  <a:moveTo>
                    <a:pt x="64" y="140"/>
                  </a:moveTo>
                  <a:cubicBezTo>
                    <a:pt x="64" y="131"/>
                    <a:pt x="64" y="121"/>
                    <a:pt x="64" y="120"/>
                  </a:cubicBezTo>
                  <a:cubicBezTo>
                    <a:pt x="65" y="118"/>
                    <a:pt x="84" y="107"/>
                    <a:pt x="87" y="105"/>
                  </a:cubicBezTo>
                  <a:cubicBezTo>
                    <a:pt x="91" y="103"/>
                    <a:pt x="97" y="106"/>
                    <a:pt x="97" y="102"/>
                  </a:cubicBezTo>
                  <a:cubicBezTo>
                    <a:pt x="97" y="98"/>
                    <a:pt x="105" y="100"/>
                    <a:pt x="110" y="99"/>
                  </a:cubicBezTo>
                  <a:cubicBezTo>
                    <a:pt x="114" y="98"/>
                    <a:pt x="117" y="95"/>
                    <a:pt x="117" y="91"/>
                  </a:cubicBezTo>
                  <a:cubicBezTo>
                    <a:pt x="117" y="87"/>
                    <a:pt x="124" y="87"/>
                    <a:pt x="128" y="87"/>
                  </a:cubicBezTo>
                  <a:cubicBezTo>
                    <a:pt x="132" y="87"/>
                    <a:pt x="132" y="83"/>
                    <a:pt x="135" y="83"/>
                  </a:cubicBezTo>
                  <a:cubicBezTo>
                    <a:pt x="138" y="83"/>
                    <a:pt x="136" y="78"/>
                    <a:pt x="137" y="74"/>
                  </a:cubicBezTo>
                  <a:cubicBezTo>
                    <a:pt x="137" y="69"/>
                    <a:pt x="137" y="70"/>
                    <a:pt x="141" y="70"/>
                  </a:cubicBezTo>
                  <a:cubicBezTo>
                    <a:pt x="146" y="70"/>
                    <a:pt x="150" y="68"/>
                    <a:pt x="150" y="65"/>
                  </a:cubicBezTo>
                  <a:cubicBezTo>
                    <a:pt x="150" y="62"/>
                    <a:pt x="168" y="64"/>
                    <a:pt x="171" y="64"/>
                  </a:cubicBezTo>
                  <a:cubicBezTo>
                    <a:pt x="174" y="64"/>
                    <a:pt x="175" y="60"/>
                    <a:pt x="175" y="58"/>
                  </a:cubicBezTo>
                  <a:cubicBezTo>
                    <a:pt x="174" y="56"/>
                    <a:pt x="172" y="49"/>
                    <a:pt x="169" y="48"/>
                  </a:cubicBezTo>
                  <a:cubicBezTo>
                    <a:pt x="166" y="48"/>
                    <a:pt x="168" y="41"/>
                    <a:pt x="168" y="35"/>
                  </a:cubicBezTo>
                  <a:cubicBezTo>
                    <a:pt x="168" y="29"/>
                    <a:pt x="167" y="24"/>
                    <a:pt x="164" y="20"/>
                  </a:cubicBezTo>
                  <a:cubicBezTo>
                    <a:pt x="163" y="19"/>
                    <a:pt x="162" y="17"/>
                    <a:pt x="161" y="15"/>
                  </a:cubicBezTo>
                  <a:cubicBezTo>
                    <a:pt x="156" y="15"/>
                    <a:pt x="150" y="11"/>
                    <a:pt x="144" y="11"/>
                  </a:cubicBezTo>
                  <a:cubicBezTo>
                    <a:pt x="137" y="11"/>
                    <a:pt x="125" y="15"/>
                    <a:pt x="120" y="9"/>
                  </a:cubicBezTo>
                  <a:cubicBezTo>
                    <a:pt x="114" y="2"/>
                    <a:pt x="110" y="0"/>
                    <a:pt x="106" y="2"/>
                  </a:cubicBezTo>
                  <a:cubicBezTo>
                    <a:pt x="102" y="4"/>
                    <a:pt x="94" y="26"/>
                    <a:pt x="90" y="32"/>
                  </a:cubicBezTo>
                  <a:cubicBezTo>
                    <a:pt x="86" y="38"/>
                    <a:pt x="74" y="43"/>
                    <a:pt x="68" y="43"/>
                  </a:cubicBezTo>
                  <a:cubicBezTo>
                    <a:pt x="62" y="43"/>
                    <a:pt x="62" y="51"/>
                    <a:pt x="57" y="55"/>
                  </a:cubicBezTo>
                  <a:cubicBezTo>
                    <a:pt x="53" y="59"/>
                    <a:pt x="54" y="65"/>
                    <a:pt x="49" y="69"/>
                  </a:cubicBezTo>
                  <a:cubicBezTo>
                    <a:pt x="43" y="73"/>
                    <a:pt x="46" y="86"/>
                    <a:pt x="49" y="91"/>
                  </a:cubicBezTo>
                  <a:cubicBezTo>
                    <a:pt x="52" y="96"/>
                    <a:pt x="39" y="111"/>
                    <a:pt x="32" y="115"/>
                  </a:cubicBezTo>
                  <a:cubicBezTo>
                    <a:pt x="24" y="119"/>
                    <a:pt x="22" y="127"/>
                    <a:pt x="10" y="129"/>
                  </a:cubicBezTo>
                  <a:cubicBezTo>
                    <a:pt x="6" y="130"/>
                    <a:pt x="2" y="132"/>
                    <a:pt x="0" y="134"/>
                  </a:cubicBezTo>
                  <a:cubicBezTo>
                    <a:pt x="18" y="134"/>
                    <a:pt x="45" y="134"/>
                    <a:pt x="54" y="134"/>
                  </a:cubicBezTo>
                  <a:cubicBezTo>
                    <a:pt x="65" y="134"/>
                    <a:pt x="63" y="137"/>
                    <a:pt x="64" y="1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2" name="Freeform 189"/>
            <p:cNvSpPr/>
            <p:nvPr/>
          </p:nvSpPr>
          <p:spPr>
            <a:xfrm>
              <a:off x="4964114" y="2835275"/>
              <a:ext cx="106363" cy="200025"/>
            </a:xfrm>
            <a:custGeom>
              <a:gdLst>
                <a:gd name="T0" fmla="*/ 17 w 63"/>
                <a:gd name="T1" fmla="*/ 29 h 118"/>
                <a:gd name="T2" fmla="*/ 13 w 63"/>
                <a:gd name="T3" fmla="*/ 45 h 118"/>
                <a:gd name="T4" fmla="*/ 4 w 63"/>
                <a:gd name="T5" fmla="*/ 54 h 118"/>
                <a:gd name="T6" fmla="*/ 10 w 63"/>
                <a:gd name="T7" fmla="*/ 70 h 118"/>
                <a:gd name="T8" fmla="*/ 16 w 63"/>
                <a:gd name="T9" fmla="*/ 79 h 118"/>
                <a:gd name="T10" fmla="*/ 27 w 63"/>
                <a:gd name="T11" fmla="*/ 88 h 118"/>
                <a:gd name="T12" fmla="*/ 34 w 63"/>
                <a:gd name="T13" fmla="*/ 114 h 118"/>
                <a:gd name="T14" fmla="*/ 35 w 63"/>
                <a:gd name="T15" fmla="*/ 118 h 118"/>
                <a:gd name="T16" fmla="*/ 41 w 63"/>
                <a:gd name="T17" fmla="*/ 112 h 118"/>
                <a:gd name="T18" fmla="*/ 44 w 63"/>
                <a:gd name="T19" fmla="*/ 101 h 118"/>
                <a:gd name="T20" fmla="*/ 45 w 63"/>
                <a:gd name="T21" fmla="*/ 94 h 118"/>
                <a:gd name="T22" fmla="*/ 56 w 63"/>
                <a:gd name="T23" fmla="*/ 84 h 118"/>
                <a:gd name="T24" fmla="*/ 62 w 63"/>
                <a:gd name="T25" fmla="*/ 79 h 118"/>
                <a:gd name="T26" fmla="*/ 63 w 63"/>
                <a:gd name="T27" fmla="*/ 72 h 118"/>
                <a:gd name="T28" fmla="*/ 57 w 63"/>
                <a:gd name="T29" fmla="*/ 65 h 118"/>
                <a:gd name="T30" fmla="*/ 51 w 63"/>
                <a:gd name="T31" fmla="*/ 60 h 118"/>
                <a:gd name="T32" fmla="*/ 40 w 63"/>
                <a:gd name="T33" fmla="*/ 55 h 118"/>
                <a:gd name="T34" fmla="*/ 51 w 63"/>
                <a:gd name="T35" fmla="*/ 45 h 118"/>
                <a:gd name="T36" fmla="*/ 52 w 63"/>
                <a:gd name="T37" fmla="*/ 26 h 118"/>
                <a:gd name="T38" fmla="*/ 54 w 63"/>
                <a:gd name="T39" fmla="*/ 13 h 118"/>
                <a:gd name="T40" fmla="*/ 52 w 63"/>
                <a:gd name="T41" fmla="*/ 8 h 118"/>
                <a:gd name="T42" fmla="*/ 45 w 63"/>
                <a:gd name="T43" fmla="*/ 6 h 118"/>
                <a:gd name="T44" fmla="*/ 25 w 63"/>
                <a:gd name="T45" fmla="*/ 5 h 118"/>
                <a:gd name="T46" fmla="*/ 17 w 63"/>
                <a:gd name="T47" fmla="*/ 7 h 118"/>
                <a:gd name="T48" fmla="*/ 17 w 63"/>
                <a:gd name="T49" fmla="*/ 29 h 1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118">
                  <a:moveTo>
                    <a:pt x="17" y="29"/>
                  </a:moveTo>
                  <a:cubicBezTo>
                    <a:pt x="21" y="35"/>
                    <a:pt x="16" y="43"/>
                    <a:pt x="13" y="45"/>
                  </a:cubicBezTo>
                  <a:cubicBezTo>
                    <a:pt x="10" y="47"/>
                    <a:pt x="7" y="54"/>
                    <a:pt x="4" y="54"/>
                  </a:cubicBezTo>
                  <a:cubicBezTo>
                    <a:pt x="0" y="54"/>
                    <a:pt x="4" y="67"/>
                    <a:pt x="10" y="70"/>
                  </a:cubicBezTo>
                  <a:cubicBezTo>
                    <a:pt x="16" y="72"/>
                    <a:pt x="16" y="77"/>
                    <a:pt x="16" y="79"/>
                  </a:cubicBezTo>
                  <a:cubicBezTo>
                    <a:pt x="16" y="82"/>
                    <a:pt x="24" y="85"/>
                    <a:pt x="27" y="88"/>
                  </a:cubicBezTo>
                  <a:cubicBezTo>
                    <a:pt x="29" y="91"/>
                    <a:pt x="34" y="108"/>
                    <a:pt x="34" y="114"/>
                  </a:cubicBezTo>
                  <a:cubicBezTo>
                    <a:pt x="34" y="115"/>
                    <a:pt x="34" y="117"/>
                    <a:pt x="35" y="118"/>
                  </a:cubicBezTo>
                  <a:cubicBezTo>
                    <a:pt x="37" y="116"/>
                    <a:pt x="40" y="114"/>
                    <a:pt x="41" y="112"/>
                  </a:cubicBezTo>
                  <a:cubicBezTo>
                    <a:pt x="43" y="109"/>
                    <a:pt x="44" y="102"/>
                    <a:pt x="44" y="101"/>
                  </a:cubicBezTo>
                  <a:cubicBezTo>
                    <a:pt x="43" y="99"/>
                    <a:pt x="43" y="96"/>
                    <a:pt x="45" y="94"/>
                  </a:cubicBezTo>
                  <a:cubicBezTo>
                    <a:pt x="47" y="92"/>
                    <a:pt x="55" y="84"/>
                    <a:pt x="56" y="84"/>
                  </a:cubicBezTo>
                  <a:cubicBezTo>
                    <a:pt x="58" y="83"/>
                    <a:pt x="62" y="84"/>
                    <a:pt x="62" y="79"/>
                  </a:cubicBezTo>
                  <a:cubicBezTo>
                    <a:pt x="62" y="77"/>
                    <a:pt x="62" y="74"/>
                    <a:pt x="63" y="72"/>
                  </a:cubicBezTo>
                  <a:cubicBezTo>
                    <a:pt x="59" y="69"/>
                    <a:pt x="57" y="67"/>
                    <a:pt x="57" y="65"/>
                  </a:cubicBezTo>
                  <a:cubicBezTo>
                    <a:pt x="57" y="63"/>
                    <a:pt x="53" y="58"/>
                    <a:pt x="51" y="60"/>
                  </a:cubicBezTo>
                  <a:cubicBezTo>
                    <a:pt x="49" y="63"/>
                    <a:pt x="41" y="61"/>
                    <a:pt x="40" y="55"/>
                  </a:cubicBezTo>
                  <a:cubicBezTo>
                    <a:pt x="39" y="50"/>
                    <a:pt x="45" y="50"/>
                    <a:pt x="51" y="45"/>
                  </a:cubicBezTo>
                  <a:cubicBezTo>
                    <a:pt x="57" y="40"/>
                    <a:pt x="58" y="31"/>
                    <a:pt x="52" y="26"/>
                  </a:cubicBezTo>
                  <a:cubicBezTo>
                    <a:pt x="45" y="21"/>
                    <a:pt x="50" y="18"/>
                    <a:pt x="54" y="13"/>
                  </a:cubicBezTo>
                  <a:cubicBezTo>
                    <a:pt x="59" y="8"/>
                    <a:pt x="55" y="6"/>
                    <a:pt x="52" y="8"/>
                  </a:cubicBezTo>
                  <a:cubicBezTo>
                    <a:pt x="50" y="10"/>
                    <a:pt x="46" y="11"/>
                    <a:pt x="45" y="6"/>
                  </a:cubicBezTo>
                  <a:cubicBezTo>
                    <a:pt x="45" y="0"/>
                    <a:pt x="31" y="0"/>
                    <a:pt x="25" y="5"/>
                  </a:cubicBezTo>
                  <a:cubicBezTo>
                    <a:pt x="23" y="6"/>
                    <a:pt x="21" y="7"/>
                    <a:pt x="17" y="7"/>
                  </a:cubicBezTo>
                  <a:cubicBezTo>
                    <a:pt x="16" y="15"/>
                    <a:pt x="15" y="26"/>
                    <a:pt x="17" y="2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3" name="Freeform 190"/>
            <p:cNvSpPr/>
            <p:nvPr/>
          </p:nvSpPr>
          <p:spPr>
            <a:xfrm>
              <a:off x="4567239" y="2840038"/>
              <a:ext cx="514350" cy="495300"/>
            </a:xfrm>
            <a:custGeom>
              <a:gdLst>
                <a:gd name="T0" fmla="*/ 104 w 303"/>
                <a:gd name="T1" fmla="*/ 56 h 292"/>
                <a:gd name="T2" fmla="*/ 105 w 303"/>
                <a:gd name="T3" fmla="*/ 69 h 292"/>
                <a:gd name="T4" fmla="*/ 111 w 303"/>
                <a:gd name="T5" fmla="*/ 79 h 292"/>
                <a:gd name="T6" fmla="*/ 107 w 303"/>
                <a:gd name="T7" fmla="*/ 85 h 292"/>
                <a:gd name="T8" fmla="*/ 86 w 303"/>
                <a:gd name="T9" fmla="*/ 86 h 292"/>
                <a:gd name="T10" fmla="*/ 77 w 303"/>
                <a:gd name="T11" fmla="*/ 91 h 292"/>
                <a:gd name="T12" fmla="*/ 73 w 303"/>
                <a:gd name="T13" fmla="*/ 95 h 292"/>
                <a:gd name="T14" fmla="*/ 71 w 303"/>
                <a:gd name="T15" fmla="*/ 104 h 292"/>
                <a:gd name="T16" fmla="*/ 64 w 303"/>
                <a:gd name="T17" fmla="*/ 108 h 292"/>
                <a:gd name="T18" fmla="*/ 53 w 303"/>
                <a:gd name="T19" fmla="*/ 112 h 292"/>
                <a:gd name="T20" fmla="*/ 46 w 303"/>
                <a:gd name="T21" fmla="*/ 120 h 292"/>
                <a:gd name="T22" fmla="*/ 33 w 303"/>
                <a:gd name="T23" fmla="*/ 123 h 292"/>
                <a:gd name="T24" fmla="*/ 23 w 303"/>
                <a:gd name="T25" fmla="*/ 126 h 292"/>
                <a:gd name="T26" fmla="*/ 0 w 303"/>
                <a:gd name="T27" fmla="*/ 141 h 292"/>
                <a:gd name="T28" fmla="*/ 0 w 303"/>
                <a:gd name="T29" fmla="*/ 161 h 292"/>
                <a:gd name="T30" fmla="*/ 3 w 303"/>
                <a:gd name="T31" fmla="*/ 164 h 292"/>
                <a:gd name="T32" fmla="*/ 144 w 303"/>
                <a:gd name="T33" fmla="*/ 258 h 292"/>
                <a:gd name="T34" fmla="*/ 154 w 303"/>
                <a:gd name="T35" fmla="*/ 271 h 292"/>
                <a:gd name="T36" fmla="*/ 170 w 303"/>
                <a:gd name="T37" fmla="*/ 276 h 292"/>
                <a:gd name="T38" fmla="*/ 177 w 303"/>
                <a:gd name="T39" fmla="*/ 292 h 292"/>
                <a:gd name="T40" fmla="*/ 191 w 303"/>
                <a:gd name="T41" fmla="*/ 288 h 292"/>
                <a:gd name="T42" fmla="*/ 214 w 303"/>
                <a:gd name="T43" fmla="*/ 281 h 292"/>
                <a:gd name="T44" fmla="*/ 240 w 303"/>
                <a:gd name="T45" fmla="*/ 260 h 292"/>
                <a:gd name="T46" fmla="*/ 303 w 303"/>
                <a:gd name="T47" fmla="*/ 221 h 292"/>
                <a:gd name="T48" fmla="*/ 303 w 303"/>
                <a:gd name="T49" fmla="*/ 221 h 292"/>
                <a:gd name="T50" fmla="*/ 296 w 303"/>
                <a:gd name="T51" fmla="*/ 209 h 292"/>
                <a:gd name="T52" fmla="*/ 285 w 303"/>
                <a:gd name="T53" fmla="*/ 205 h 292"/>
                <a:gd name="T54" fmla="*/ 275 w 303"/>
                <a:gd name="T55" fmla="*/ 199 h 292"/>
                <a:gd name="T56" fmla="*/ 273 w 303"/>
                <a:gd name="T57" fmla="*/ 188 h 292"/>
                <a:gd name="T58" fmla="*/ 267 w 303"/>
                <a:gd name="T59" fmla="*/ 179 h 292"/>
                <a:gd name="T60" fmla="*/ 273 w 303"/>
                <a:gd name="T61" fmla="*/ 172 h 292"/>
                <a:gd name="T62" fmla="*/ 271 w 303"/>
                <a:gd name="T63" fmla="*/ 165 h 292"/>
                <a:gd name="T64" fmla="*/ 271 w 303"/>
                <a:gd name="T65" fmla="*/ 156 h 292"/>
                <a:gd name="T66" fmla="*/ 272 w 303"/>
                <a:gd name="T67" fmla="*/ 146 h 292"/>
                <a:gd name="T68" fmla="*/ 272 w 303"/>
                <a:gd name="T69" fmla="*/ 131 h 292"/>
                <a:gd name="T70" fmla="*/ 266 w 303"/>
                <a:gd name="T71" fmla="*/ 118 h 292"/>
                <a:gd name="T72" fmla="*/ 269 w 303"/>
                <a:gd name="T73" fmla="*/ 115 h 292"/>
                <a:gd name="T74" fmla="*/ 268 w 303"/>
                <a:gd name="T75" fmla="*/ 111 h 292"/>
                <a:gd name="T76" fmla="*/ 261 w 303"/>
                <a:gd name="T77" fmla="*/ 85 h 292"/>
                <a:gd name="T78" fmla="*/ 250 w 303"/>
                <a:gd name="T79" fmla="*/ 76 h 292"/>
                <a:gd name="T80" fmla="*/ 244 w 303"/>
                <a:gd name="T81" fmla="*/ 67 h 292"/>
                <a:gd name="T82" fmla="*/ 238 w 303"/>
                <a:gd name="T83" fmla="*/ 51 h 292"/>
                <a:gd name="T84" fmla="*/ 247 w 303"/>
                <a:gd name="T85" fmla="*/ 42 h 292"/>
                <a:gd name="T86" fmla="*/ 251 w 303"/>
                <a:gd name="T87" fmla="*/ 26 h 292"/>
                <a:gd name="T88" fmla="*/ 251 w 303"/>
                <a:gd name="T89" fmla="*/ 4 h 292"/>
                <a:gd name="T90" fmla="*/ 238 w 303"/>
                <a:gd name="T91" fmla="*/ 1 h 292"/>
                <a:gd name="T92" fmla="*/ 223 w 303"/>
                <a:gd name="T93" fmla="*/ 3 h 292"/>
                <a:gd name="T94" fmla="*/ 203 w 303"/>
                <a:gd name="T95" fmla="*/ 7 h 292"/>
                <a:gd name="T96" fmla="*/ 148 w 303"/>
                <a:gd name="T97" fmla="*/ 10 h 292"/>
                <a:gd name="T98" fmla="*/ 126 w 303"/>
                <a:gd name="T99" fmla="*/ 22 h 292"/>
                <a:gd name="T100" fmla="*/ 103 w 303"/>
                <a:gd name="T101" fmla="*/ 34 h 292"/>
                <a:gd name="T102" fmla="*/ 97 w 303"/>
                <a:gd name="T103" fmla="*/ 36 h 292"/>
                <a:gd name="T104" fmla="*/ 100 w 303"/>
                <a:gd name="T105" fmla="*/ 41 h 292"/>
                <a:gd name="T106" fmla="*/ 104 w 303"/>
                <a:gd name="T107" fmla="*/ 56 h 2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292">
                  <a:moveTo>
                    <a:pt x="104" y="56"/>
                  </a:moveTo>
                  <a:cubicBezTo>
                    <a:pt x="104" y="62"/>
                    <a:pt x="102" y="69"/>
                    <a:pt x="105" y="69"/>
                  </a:cubicBezTo>
                  <a:cubicBezTo>
                    <a:pt x="108" y="70"/>
                    <a:pt x="110" y="77"/>
                    <a:pt x="111" y="79"/>
                  </a:cubicBezTo>
                  <a:cubicBezTo>
                    <a:pt x="111" y="81"/>
                    <a:pt x="110" y="85"/>
                    <a:pt x="107" y="85"/>
                  </a:cubicBezTo>
                  <a:cubicBezTo>
                    <a:pt x="104" y="85"/>
                    <a:pt x="86" y="83"/>
                    <a:pt x="86" y="86"/>
                  </a:cubicBezTo>
                  <a:cubicBezTo>
                    <a:pt x="86" y="89"/>
                    <a:pt x="82" y="91"/>
                    <a:pt x="77" y="91"/>
                  </a:cubicBezTo>
                  <a:cubicBezTo>
                    <a:pt x="73" y="91"/>
                    <a:pt x="73" y="90"/>
                    <a:pt x="73" y="95"/>
                  </a:cubicBezTo>
                  <a:cubicBezTo>
                    <a:pt x="72" y="99"/>
                    <a:pt x="74" y="104"/>
                    <a:pt x="71" y="104"/>
                  </a:cubicBezTo>
                  <a:cubicBezTo>
                    <a:pt x="68" y="104"/>
                    <a:pt x="68" y="108"/>
                    <a:pt x="64" y="108"/>
                  </a:cubicBezTo>
                  <a:cubicBezTo>
                    <a:pt x="60" y="108"/>
                    <a:pt x="53" y="108"/>
                    <a:pt x="53" y="112"/>
                  </a:cubicBezTo>
                  <a:cubicBezTo>
                    <a:pt x="53" y="116"/>
                    <a:pt x="50" y="119"/>
                    <a:pt x="46" y="120"/>
                  </a:cubicBezTo>
                  <a:cubicBezTo>
                    <a:pt x="41" y="121"/>
                    <a:pt x="33" y="119"/>
                    <a:pt x="33" y="123"/>
                  </a:cubicBezTo>
                  <a:cubicBezTo>
                    <a:pt x="33" y="127"/>
                    <a:pt x="27" y="124"/>
                    <a:pt x="23" y="126"/>
                  </a:cubicBezTo>
                  <a:cubicBezTo>
                    <a:pt x="20" y="128"/>
                    <a:pt x="1" y="139"/>
                    <a:pt x="0" y="141"/>
                  </a:cubicBezTo>
                  <a:cubicBezTo>
                    <a:pt x="0" y="142"/>
                    <a:pt x="0" y="152"/>
                    <a:pt x="0" y="161"/>
                  </a:cubicBezTo>
                  <a:cubicBezTo>
                    <a:pt x="1" y="162"/>
                    <a:pt x="2" y="163"/>
                    <a:pt x="3" y="164"/>
                  </a:cubicBezTo>
                  <a:cubicBezTo>
                    <a:pt x="10" y="168"/>
                    <a:pt x="140" y="254"/>
                    <a:pt x="144" y="258"/>
                  </a:cubicBezTo>
                  <a:cubicBezTo>
                    <a:pt x="148" y="262"/>
                    <a:pt x="154" y="271"/>
                    <a:pt x="154" y="271"/>
                  </a:cubicBezTo>
                  <a:cubicBezTo>
                    <a:pt x="154" y="271"/>
                    <a:pt x="163" y="272"/>
                    <a:pt x="170" y="276"/>
                  </a:cubicBezTo>
                  <a:cubicBezTo>
                    <a:pt x="177" y="280"/>
                    <a:pt x="177" y="292"/>
                    <a:pt x="177" y="292"/>
                  </a:cubicBezTo>
                  <a:cubicBezTo>
                    <a:pt x="177" y="292"/>
                    <a:pt x="186" y="289"/>
                    <a:pt x="191" y="288"/>
                  </a:cubicBezTo>
                  <a:cubicBezTo>
                    <a:pt x="197" y="287"/>
                    <a:pt x="214" y="281"/>
                    <a:pt x="214" y="281"/>
                  </a:cubicBezTo>
                  <a:cubicBezTo>
                    <a:pt x="240" y="260"/>
                    <a:pt x="240" y="260"/>
                    <a:pt x="240" y="260"/>
                  </a:cubicBezTo>
                  <a:cubicBezTo>
                    <a:pt x="303" y="221"/>
                    <a:pt x="303" y="221"/>
                    <a:pt x="303" y="221"/>
                  </a:cubicBezTo>
                  <a:cubicBezTo>
                    <a:pt x="303" y="221"/>
                    <a:pt x="303" y="221"/>
                    <a:pt x="303" y="221"/>
                  </a:cubicBezTo>
                  <a:cubicBezTo>
                    <a:pt x="301" y="214"/>
                    <a:pt x="299" y="209"/>
                    <a:pt x="296" y="209"/>
                  </a:cubicBezTo>
                  <a:cubicBezTo>
                    <a:pt x="292" y="209"/>
                    <a:pt x="289" y="205"/>
                    <a:pt x="285" y="205"/>
                  </a:cubicBezTo>
                  <a:cubicBezTo>
                    <a:pt x="281" y="205"/>
                    <a:pt x="275" y="203"/>
                    <a:pt x="275" y="199"/>
                  </a:cubicBezTo>
                  <a:cubicBezTo>
                    <a:pt x="274" y="196"/>
                    <a:pt x="276" y="193"/>
                    <a:pt x="273" y="188"/>
                  </a:cubicBezTo>
                  <a:cubicBezTo>
                    <a:pt x="270" y="183"/>
                    <a:pt x="267" y="181"/>
                    <a:pt x="267" y="179"/>
                  </a:cubicBezTo>
                  <a:cubicBezTo>
                    <a:pt x="267" y="177"/>
                    <a:pt x="272" y="173"/>
                    <a:pt x="273" y="172"/>
                  </a:cubicBezTo>
                  <a:cubicBezTo>
                    <a:pt x="274" y="171"/>
                    <a:pt x="271" y="168"/>
                    <a:pt x="271" y="165"/>
                  </a:cubicBezTo>
                  <a:cubicBezTo>
                    <a:pt x="271" y="163"/>
                    <a:pt x="269" y="159"/>
                    <a:pt x="271" y="156"/>
                  </a:cubicBezTo>
                  <a:cubicBezTo>
                    <a:pt x="273" y="154"/>
                    <a:pt x="274" y="151"/>
                    <a:pt x="272" y="146"/>
                  </a:cubicBezTo>
                  <a:cubicBezTo>
                    <a:pt x="270" y="142"/>
                    <a:pt x="275" y="137"/>
                    <a:pt x="272" y="131"/>
                  </a:cubicBezTo>
                  <a:cubicBezTo>
                    <a:pt x="270" y="125"/>
                    <a:pt x="265" y="120"/>
                    <a:pt x="266" y="118"/>
                  </a:cubicBezTo>
                  <a:cubicBezTo>
                    <a:pt x="266" y="117"/>
                    <a:pt x="267" y="116"/>
                    <a:pt x="269" y="115"/>
                  </a:cubicBezTo>
                  <a:cubicBezTo>
                    <a:pt x="268" y="114"/>
                    <a:pt x="268" y="112"/>
                    <a:pt x="268" y="111"/>
                  </a:cubicBezTo>
                  <a:cubicBezTo>
                    <a:pt x="268" y="105"/>
                    <a:pt x="263" y="88"/>
                    <a:pt x="261" y="85"/>
                  </a:cubicBezTo>
                  <a:cubicBezTo>
                    <a:pt x="258" y="82"/>
                    <a:pt x="250" y="79"/>
                    <a:pt x="250" y="76"/>
                  </a:cubicBezTo>
                  <a:cubicBezTo>
                    <a:pt x="250" y="74"/>
                    <a:pt x="250" y="69"/>
                    <a:pt x="244" y="67"/>
                  </a:cubicBezTo>
                  <a:cubicBezTo>
                    <a:pt x="238" y="64"/>
                    <a:pt x="234" y="51"/>
                    <a:pt x="238" y="51"/>
                  </a:cubicBezTo>
                  <a:cubicBezTo>
                    <a:pt x="241" y="51"/>
                    <a:pt x="244" y="44"/>
                    <a:pt x="247" y="42"/>
                  </a:cubicBezTo>
                  <a:cubicBezTo>
                    <a:pt x="250" y="40"/>
                    <a:pt x="255" y="32"/>
                    <a:pt x="251" y="26"/>
                  </a:cubicBezTo>
                  <a:cubicBezTo>
                    <a:pt x="249" y="23"/>
                    <a:pt x="250" y="12"/>
                    <a:pt x="251" y="4"/>
                  </a:cubicBezTo>
                  <a:cubicBezTo>
                    <a:pt x="246" y="4"/>
                    <a:pt x="239" y="2"/>
                    <a:pt x="238" y="1"/>
                  </a:cubicBezTo>
                  <a:cubicBezTo>
                    <a:pt x="235" y="0"/>
                    <a:pt x="228" y="2"/>
                    <a:pt x="223" y="3"/>
                  </a:cubicBezTo>
                  <a:cubicBezTo>
                    <a:pt x="218" y="3"/>
                    <a:pt x="207" y="10"/>
                    <a:pt x="203" y="7"/>
                  </a:cubicBezTo>
                  <a:cubicBezTo>
                    <a:pt x="199" y="3"/>
                    <a:pt x="159" y="9"/>
                    <a:pt x="148" y="10"/>
                  </a:cubicBezTo>
                  <a:cubicBezTo>
                    <a:pt x="137" y="10"/>
                    <a:pt x="132" y="22"/>
                    <a:pt x="126" y="22"/>
                  </a:cubicBezTo>
                  <a:cubicBezTo>
                    <a:pt x="119" y="22"/>
                    <a:pt x="108" y="28"/>
                    <a:pt x="103" y="34"/>
                  </a:cubicBezTo>
                  <a:cubicBezTo>
                    <a:pt x="101" y="36"/>
                    <a:pt x="99" y="36"/>
                    <a:pt x="97" y="36"/>
                  </a:cubicBezTo>
                  <a:cubicBezTo>
                    <a:pt x="98" y="38"/>
                    <a:pt x="99" y="40"/>
                    <a:pt x="100" y="41"/>
                  </a:cubicBezTo>
                  <a:cubicBezTo>
                    <a:pt x="103" y="45"/>
                    <a:pt x="104" y="50"/>
                    <a:pt x="104"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4" name="Freeform 191"/>
            <p:cNvSpPr/>
            <p:nvPr/>
          </p:nvSpPr>
          <p:spPr>
            <a:xfrm>
              <a:off x="5016501" y="2957513"/>
              <a:ext cx="376238" cy="358775"/>
            </a:xfrm>
            <a:custGeom>
              <a:gdLst>
                <a:gd name="T0" fmla="*/ 25 w 222"/>
                <a:gd name="T1" fmla="*/ 12 h 212"/>
                <a:gd name="T2" fmla="*/ 14 w 222"/>
                <a:gd name="T3" fmla="*/ 22 h 212"/>
                <a:gd name="T4" fmla="*/ 13 w 222"/>
                <a:gd name="T5" fmla="*/ 29 h 212"/>
                <a:gd name="T6" fmla="*/ 10 w 222"/>
                <a:gd name="T7" fmla="*/ 40 h 212"/>
                <a:gd name="T8" fmla="*/ 1 w 222"/>
                <a:gd name="T9" fmla="*/ 49 h 212"/>
                <a:gd name="T10" fmla="*/ 7 w 222"/>
                <a:gd name="T11" fmla="*/ 62 h 212"/>
                <a:gd name="T12" fmla="*/ 7 w 222"/>
                <a:gd name="T13" fmla="*/ 77 h 212"/>
                <a:gd name="T14" fmla="*/ 6 w 222"/>
                <a:gd name="T15" fmla="*/ 87 h 212"/>
                <a:gd name="T16" fmla="*/ 6 w 222"/>
                <a:gd name="T17" fmla="*/ 96 h 212"/>
                <a:gd name="T18" fmla="*/ 8 w 222"/>
                <a:gd name="T19" fmla="*/ 103 h 212"/>
                <a:gd name="T20" fmla="*/ 2 w 222"/>
                <a:gd name="T21" fmla="*/ 110 h 212"/>
                <a:gd name="T22" fmla="*/ 8 w 222"/>
                <a:gd name="T23" fmla="*/ 119 h 212"/>
                <a:gd name="T24" fmla="*/ 10 w 222"/>
                <a:gd name="T25" fmla="*/ 130 h 212"/>
                <a:gd name="T26" fmla="*/ 20 w 222"/>
                <a:gd name="T27" fmla="*/ 136 h 212"/>
                <a:gd name="T28" fmla="*/ 31 w 222"/>
                <a:gd name="T29" fmla="*/ 140 h 212"/>
                <a:gd name="T30" fmla="*/ 38 w 222"/>
                <a:gd name="T31" fmla="*/ 152 h 212"/>
                <a:gd name="T32" fmla="*/ 59 w 222"/>
                <a:gd name="T33" fmla="*/ 156 h 212"/>
                <a:gd name="T34" fmla="*/ 69 w 222"/>
                <a:gd name="T35" fmla="*/ 165 h 212"/>
                <a:gd name="T36" fmla="*/ 93 w 222"/>
                <a:gd name="T37" fmla="*/ 152 h 212"/>
                <a:gd name="T38" fmla="*/ 204 w 222"/>
                <a:gd name="T39" fmla="*/ 212 h 212"/>
                <a:gd name="T40" fmla="*/ 204 w 222"/>
                <a:gd name="T41" fmla="*/ 204 h 212"/>
                <a:gd name="T42" fmla="*/ 218 w 222"/>
                <a:gd name="T43" fmla="*/ 204 h 212"/>
                <a:gd name="T44" fmla="*/ 218 w 222"/>
                <a:gd name="T45" fmla="*/ 61 h 212"/>
                <a:gd name="T46" fmla="*/ 218 w 222"/>
                <a:gd name="T47" fmla="*/ 40 h 212"/>
                <a:gd name="T48" fmla="*/ 219 w 222"/>
                <a:gd name="T49" fmla="*/ 22 h 212"/>
                <a:gd name="T50" fmla="*/ 221 w 222"/>
                <a:gd name="T51" fmla="*/ 18 h 212"/>
                <a:gd name="T52" fmla="*/ 220 w 222"/>
                <a:gd name="T53" fmla="*/ 18 h 212"/>
                <a:gd name="T54" fmla="*/ 201 w 222"/>
                <a:gd name="T55" fmla="*/ 13 h 212"/>
                <a:gd name="T56" fmla="*/ 179 w 222"/>
                <a:gd name="T57" fmla="*/ 1 h 212"/>
                <a:gd name="T58" fmla="*/ 146 w 222"/>
                <a:gd name="T59" fmla="*/ 18 h 212"/>
                <a:gd name="T60" fmla="*/ 148 w 222"/>
                <a:gd name="T61" fmla="*/ 37 h 212"/>
                <a:gd name="T62" fmla="*/ 126 w 222"/>
                <a:gd name="T63" fmla="*/ 37 h 212"/>
                <a:gd name="T64" fmla="*/ 99 w 222"/>
                <a:gd name="T65" fmla="*/ 27 h 212"/>
                <a:gd name="T66" fmla="*/ 84 w 222"/>
                <a:gd name="T67" fmla="*/ 17 h 212"/>
                <a:gd name="T68" fmla="*/ 75 w 222"/>
                <a:gd name="T69" fmla="*/ 8 h 212"/>
                <a:gd name="T70" fmla="*/ 48 w 222"/>
                <a:gd name="T71" fmla="*/ 3 h 212"/>
                <a:gd name="T72" fmla="*/ 32 w 222"/>
                <a:gd name="T73" fmla="*/ 0 h 212"/>
                <a:gd name="T74" fmla="*/ 31 w 222"/>
                <a:gd name="T75" fmla="*/ 7 h 212"/>
                <a:gd name="T76" fmla="*/ 25 w 222"/>
                <a:gd name="T77" fmla="*/ 12 h 2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2" h="212">
                  <a:moveTo>
                    <a:pt x="25" y="12"/>
                  </a:moveTo>
                  <a:cubicBezTo>
                    <a:pt x="24" y="12"/>
                    <a:pt x="16" y="20"/>
                    <a:pt x="14" y="22"/>
                  </a:cubicBezTo>
                  <a:cubicBezTo>
                    <a:pt x="12" y="24"/>
                    <a:pt x="12" y="27"/>
                    <a:pt x="13" y="29"/>
                  </a:cubicBezTo>
                  <a:cubicBezTo>
                    <a:pt x="13" y="30"/>
                    <a:pt x="12" y="37"/>
                    <a:pt x="10" y="40"/>
                  </a:cubicBezTo>
                  <a:cubicBezTo>
                    <a:pt x="8" y="44"/>
                    <a:pt x="1" y="46"/>
                    <a:pt x="1" y="49"/>
                  </a:cubicBezTo>
                  <a:cubicBezTo>
                    <a:pt x="0" y="51"/>
                    <a:pt x="5" y="56"/>
                    <a:pt x="7" y="62"/>
                  </a:cubicBezTo>
                  <a:cubicBezTo>
                    <a:pt x="10" y="68"/>
                    <a:pt x="5" y="73"/>
                    <a:pt x="7" y="77"/>
                  </a:cubicBezTo>
                  <a:cubicBezTo>
                    <a:pt x="9" y="82"/>
                    <a:pt x="8" y="85"/>
                    <a:pt x="6" y="87"/>
                  </a:cubicBezTo>
                  <a:cubicBezTo>
                    <a:pt x="4" y="90"/>
                    <a:pt x="6" y="94"/>
                    <a:pt x="6" y="96"/>
                  </a:cubicBezTo>
                  <a:cubicBezTo>
                    <a:pt x="6" y="99"/>
                    <a:pt x="9" y="102"/>
                    <a:pt x="8" y="103"/>
                  </a:cubicBezTo>
                  <a:cubicBezTo>
                    <a:pt x="7" y="104"/>
                    <a:pt x="2" y="108"/>
                    <a:pt x="2" y="110"/>
                  </a:cubicBezTo>
                  <a:cubicBezTo>
                    <a:pt x="2" y="112"/>
                    <a:pt x="5" y="114"/>
                    <a:pt x="8" y="119"/>
                  </a:cubicBezTo>
                  <a:cubicBezTo>
                    <a:pt x="11" y="124"/>
                    <a:pt x="9" y="127"/>
                    <a:pt x="10" y="130"/>
                  </a:cubicBezTo>
                  <a:cubicBezTo>
                    <a:pt x="10" y="134"/>
                    <a:pt x="16" y="136"/>
                    <a:pt x="20" y="136"/>
                  </a:cubicBezTo>
                  <a:cubicBezTo>
                    <a:pt x="24" y="136"/>
                    <a:pt x="27" y="140"/>
                    <a:pt x="31" y="140"/>
                  </a:cubicBezTo>
                  <a:cubicBezTo>
                    <a:pt x="34" y="140"/>
                    <a:pt x="36" y="145"/>
                    <a:pt x="38" y="152"/>
                  </a:cubicBezTo>
                  <a:cubicBezTo>
                    <a:pt x="40" y="152"/>
                    <a:pt x="54" y="152"/>
                    <a:pt x="59" y="156"/>
                  </a:cubicBezTo>
                  <a:cubicBezTo>
                    <a:pt x="65" y="160"/>
                    <a:pt x="69" y="165"/>
                    <a:pt x="69" y="165"/>
                  </a:cubicBezTo>
                  <a:cubicBezTo>
                    <a:pt x="93" y="152"/>
                    <a:pt x="93" y="152"/>
                    <a:pt x="93" y="152"/>
                  </a:cubicBezTo>
                  <a:cubicBezTo>
                    <a:pt x="204" y="212"/>
                    <a:pt x="204" y="212"/>
                    <a:pt x="204" y="212"/>
                  </a:cubicBezTo>
                  <a:cubicBezTo>
                    <a:pt x="204" y="204"/>
                    <a:pt x="204" y="204"/>
                    <a:pt x="204" y="204"/>
                  </a:cubicBezTo>
                  <a:cubicBezTo>
                    <a:pt x="218" y="204"/>
                    <a:pt x="218" y="204"/>
                    <a:pt x="218" y="204"/>
                  </a:cubicBezTo>
                  <a:cubicBezTo>
                    <a:pt x="218" y="204"/>
                    <a:pt x="218" y="71"/>
                    <a:pt x="218" y="61"/>
                  </a:cubicBezTo>
                  <a:cubicBezTo>
                    <a:pt x="218" y="51"/>
                    <a:pt x="213" y="45"/>
                    <a:pt x="218" y="40"/>
                  </a:cubicBezTo>
                  <a:cubicBezTo>
                    <a:pt x="222" y="34"/>
                    <a:pt x="216" y="32"/>
                    <a:pt x="219" y="22"/>
                  </a:cubicBezTo>
                  <a:cubicBezTo>
                    <a:pt x="220" y="21"/>
                    <a:pt x="220" y="19"/>
                    <a:pt x="221" y="18"/>
                  </a:cubicBezTo>
                  <a:cubicBezTo>
                    <a:pt x="220" y="18"/>
                    <a:pt x="220" y="18"/>
                    <a:pt x="220" y="18"/>
                  </a:cubicBezTo>
                  <a:cubicBezTo>
                    <a:pt x="219" y="15"/>
                    <a:pt x="213" y="14"/>
                    <a:pt x="201" y="13"/>
                  </a:cubicBezTo>
                  <a:cubicBezTo>
                    <a:pt x="188" y="11"/>
                    <a:pt x="193" y="2"/>
                    <a:pt x="179" y="1"/>
                  </a:cubicBezTo>
                  <a:cubicBezTo>
                    <a:pt x="164" y="0"/>
                    <a:pt x="146" y="12"/>
                    <a:pt x="146" y="18"/>
                  </a:cubicBezTo>
                  <a:cubicBezTo>
                    <a:pt x="146" y="24"/>
                    <a:pt x="153" y="30"/>
                    <a:pt x="148" y="37"/>
                  </a:cubicBezTo>
                  <a:cubicBezTo>
                    <a:pt x="143" y="43"/>
                    <a:pt x="133" y="43"/>
                    <a:pt x="126" y="37"/>
                  </a:cubicBezTo>
                  <a:cubicBezTo>
                    <a:pt x="118" y="30"/>
                    <a:pt x="108" y="27"/>
                    <a:pt x="99" y="27"/>
                  </a:cubicBezTo>
                  <a:cubicBezTo>
                    <a:pt x="90" y="27"/>
                    <a:pt x="84" y="22"/>
                    <a:pt x="84" y="17"/>
                  </a:cubicBezTo>
                  <a:cubicBezTo>
                    <a:pt x="85" y="12"/>
                    <a:pt x="82" y="10"/>
                    <a:pt x="75" y="8"/>
                  </a:cubicBezTo>
                  <a:cubicBezTo>
                    <a:pt x="68" y="7"/>
                    <a:pt x="61" y="1"/>
                    <a:pt x="48" y="3"/>
                  </a:cubicBezTo>
                  <a:cubicBezTo>
                    <a:pt x="42" y="4"/>
                    <a:pt x="36" y="2"/>
                    <a:pt x="32" y="0"/>
                  </a:cubicBezTo>
                  <a:cubicBezTo>
                    <a:pt x="31" y="2"/>
                    <a:pt x="31" y="5"/>
                    <a:pt x="31" y="7"/>
                  </a:cubicBezTo>
                  <a:cubicBezTo>
                    <a:pt x="31" y="12"/>
                    <a:pt x="27" y="11"/>
                    <a:pt x="25"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5" name="Freeform 192"/>
            <p:cNvSpPr/>
            <p:nvPr/>
          </p:nvSpPr>
          <p:spPr>
            <a:xfrm>
              <a:off x="4370389" y="3459163"/>
              <a:ext cx="71438" cy="23813"/>
            </a:xfrm>
            <a:custGeom>
              <a:gdLst>
                <a:gd name="T0" fmla="*/ 21 w 42"/>
                <a:gd name="T1" fmla="*/ 9 h 14"/>
                <a:gd name="T2" fmla="*/ 33 w 42"/>
                <a:gd name="T3" fmla="*/ 12 h 14"/>
                <a:gd name="T4" fmla="*/ 42 w 42"/>
                <a:gd name="T5" fmla="*/ 10 h 14"/>
                <a:gd name="T6" fmla="*/ 34 w 42"/>
                <a:gd name="T7" fmla="*/ 9 h 14"/>
                <a:gd name="T8" fmla="*/ 20 w 42"/>
                <a:gd name="T9" fmla="*/ 3 h 14"/>
                <a:gd name="T10" fmla="*/ 2 w 42"/>
                <a:gd name="T11" fmla="*/ 6 h 14"/>
                <a:gd name="T12" fmla="*/ 0 w 42"/>
                <a:gd name="T13" fmla="*/ 14 h 14"/>
                <a:gd name="T14" fmla="*/ 4 w 42"/>
                <a:gd name="T15" fmla="*/ 14 h 14"/>
                <a:gd name="T16" fmla="*/ 21 w 42"/>
                <a:gd name="T17" fmla="*/ 9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4">
                  <a:moveTo>
                    <a:pt x="21" y="9"/>
                  </a:moveTo>
                  <a:cubicBezTo>
                    <a:pt x="24" y="6"/>
                    <a:pt x="29" y="12"/>
                    <a:pt x="33" y="12"/>
                  </a:cubicBezTo>
                  <a:cubicBezTo>
                    <a:pt x="37" y="13"/>
                    <a:pt x="42" y="10"/>
                    <a:pt x="42" y="10"/>
                  </a:cubicBezTo>
                  <a:cubicBezTo>
                    <a:pt x="42" y="10"/>
                    <a:pt x="41" y="9"/>
                    <a:pt x="34" y="9"/>
                  </a:cubicBezTo>
                  <a:cubicBezTo>
                    <a:pt x="27" y="8"/>
                    <a:pt x="26" y="0"/>
                    <a:pt x="20" y="3"/>
                  </a:cubicBezTo>
                  <a:cubicBezTo>
                    <a:pt x="14" y="6"/>
                    <a:pt x="10" y="7"/>
                    <a:pt x="2" y="6"/>
                  </a:cubicBezTo>
                  <a:cubicBezTo>
                    <a:pt x="2" y="8"/>
                    <a:pt x="0" y="11"/>
                    <a:pt x="0" y="14"/>
                  </a:cubicBezTo>
                  <a:cubicBezTo>
                    <a:pt x="2" y="14"/>
                    <a:pt x="3" y="14"/>
                    <a:pt x="4" y="14"/>
                  </a:cubicBezTo>
                  <a:cubicBezTo>
                    <a:pt x="8" y="13"/>
                    <a:pt x="18" y="12"/>
                    <a:pt x="21"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6" name="Freeform 193"/>
            <p:cNvSpPr/>
            <p:nvPr/>
          </p:nvSpPr>
          <p:spPr>
            <a:xfrm>
              <a:off x="4354514" y="3390900"/>
              <a:ext cx="146050" cy="115888"/>
            </a:xfrm>
            <a:custGeom>
              <a:gdLst>
                <a:gd name="T0" fmla="*/ 19 w 86"/>
                <a:gd name="T1" fmla="*/ 65 h 68"/>
                <a:gd name="T2" fmla="*/ 28 w 86"/>
                <a:gd name="T3" fmla="*/ 62 h 68"/>
                <a:gd name="T4" fmla="*/ 49 w 86"/>
                <a:gd name="T5" fmla="*/ 60 h 68"/>
                <a:gd name="T6" fmla="*/ 52 w 86"/>
                <a:gd name="T7" fmla="*/ 61 h 68"/>
                <a:gd name="T8" fmla="*/ 52 w 86"/>
                <a:gd name="T9" fmla="*/ 60 h 68"/>
                <a:gd name="T10" fmla="*/ 63 w 86"/>
                <a:gd name="T11" fmla="*/ 64 h 68"/>
                <a:gd name="T12" fmla="*/ 84 w 86"/>
                <a:gd name="T13" fmla="*/ 65 h 68"/>
                <a:gd name="T14" fmla="*/ 86 w 86"/>
                <a:gd name="T15" fmla="*/ 65 h 68"/>
                <a:gd name="T16" fmla="*/ 86 w 86"/>
                <a:gd name="T17" fmla="*/ 55 h 68"/>
                <a:gd name="T18" fmla="*/ 78 w 86"/>
                <a:gd name="T19" fmla="*/ 46 h 68"/>
                <a:gd name="T20" fmla="*/ 76 w 86"/>
                <a:gd name="T21" fmla="*/ 37 h 68"/>
                <a:gd name="T22" fmla="*/ 73 w 86"/>
                <a:gd name="T23" fmla="*/ 33 h 68"/>
                <a:gd name="T24" fmla="*/ 65 w 86"/>
                <a:gd name="T25" fmla="*/ 23 h 68"/>
                <a:gd name="T26" fmla="*/ 55 w 86"/>
                <a:gd name="T27" fmla="*/ 9 h 68"/>
                <a:gd name="T28" fmla="*/ 49 w 86"/>
                <a:gd name="T29" fmla="*/ 9 h 68"/>
                <a:gd name="T30" fmla="*/ 41 w 86"/>
                <a:gd name="T31" fmla="*/ 2 h 68"/>
                <a:gd name="T32" fmla="*/ 30 w 86"/>
                <a:gd name="T33" fmla="*/ 3 h 68"/>
                <a:gd name="T34" fmla="*/ 17 w 86"/>
                <a:gd name="T35" fmla="*/ 3 h 68"/>
                <a:gd name="T36" fmla="*/ 9 w 86"/>
                <a:gd name="T37" fmla="*/ 10 h 68"/>
                <a:gd name="T38" fmla="*/ 8 w 86"/>
                <a:gd name="T39" fmla="*/ 11 h 68"/>
                <a:gd name="T40" fmla="*/ 4 w 86"/>
                <a:gd name="T41" fmla="*/ 22 h 68"/>
                <a:gd name="T42" fmla="*/ 10 w 86"/>
                <a:gd name="T43" fmla="*/ 43 h 68"/>
                <a:gd name="T44" fmla="*/ 11 w 86"/>
                <a:gd name="T45" fmla="*/ 46 h 68"/>
                <a:gd name="T46" fmla="*/ 29 w 86"/>
                <a:gd name="T47" fmla="*/ 43 h 68"/>
                <a:gd name="T48" fmla="*/ 43 w 86"/>
                <a:gd name="T49" fmla="*/ 49 h 68"/>
                <a:gd name="T50" fmla="*/ 51 w 86"/>
                <a:gd name="T51" fmla="*/ 50 h 68"/>
                <a:gd name="T52" fmla="*/ 42 w 86"/>
                <a:gd name="T53" fmla="*/ 52 h 68"/>
                <a:gd name="T54" fmla="*/ 30 w 86"/>
                <a:gd name="T55" fmla="*/ 49 h 68"/>
                <a:gd name="T56" fmla="*/ 13 w 86"/>
                <a:gd name="T57" fmla="*/ 54 h 68"/>
                <a:gd name="T58" fmla="*/ 9 w 86"/>
                <a:gd name="T59" fmla="*/ 54 h 68"/>
                <a:gd name="T60" fmla="*/ 10 w 86"/>
                <a:gd name="T61" fmla="*/ 61 h 68"/>
                <a:gd name="T62" fmla="*/ 12 w 86"/>
                <a:gd name="T63" fmla="*/ 63 h 68"/>
                <a:gd name="T64" fmla="*/ 19 w 86"/>
                <a:gd name="T65" fmla="*/ 65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 h="68">
                  <a:moveTo>
                    <a:pt x="19" y="65"/>
                  </a:moveTo>
                  <a:cubicBezTo>
                    <a:pt x="22" y="65"/>
                    <a:pt x="28" y="62"/>
                    <a:pt x="28" y="62"/>
                  </a:cubicBezTo>
                  <a:cubicBezTo>
                    <a:pt x="28" y="62"/>
                    <a:pt x="46" y="60"/>
                    <a:pt x="49" y="60"/>
                  </a:cubicBezTo>
                  <a:cubicBezTo>
                    <a:pt x="50" y="60"/>
                    <a:pt x="51" y="60"/>
                    <a:pt x="52" y="61"/>
                  </a:cubicBezTo>
                  <a:cubicBezTo>
                    <a:pt x="52" y="60"/>
                    <a:pt x="52" y="60"/>
                    <a:pt x="52" y="60"/>
                  </a:cubicBezTo>
                  <a:cubicBezTo>
                    <a:pt x="52" y="60"/>
                    <a:pt x="62" y="62"/>
                    <a:pt x="63" y="64"/>
                  </a:cubicBezTo>
                  <a:cubicBezTo>
                    <a:pt x="63" y="66"/>
                    <a:pt x="77" y="68"/>
                    <a:pt x="84" y="65"/>
                  </a:cubicBezTo>
                  <a:cubicBezTo>
                    <a:pt x="85" y="65"/>
                    <a:pt x="85" y="65"/>
                    <a:pt x="86" y="65"/>
                  </a:cubicBezTo>
                  <a:cubicBezTo>
                    <a:pt x="86" y="62"/>
                    <a:pt x="86" y="57"/>
                    <a:pt x="86" y="55"/>
                  </a:cubicBezTo>
                  <a:cubicBezTo>
                    <a:pt x="85" y="53"/>
                    <a:pt x="80" y="49"/>
                    <a:pt x="78" y="46"/>
                  </a:cubicBezTo>
                  <a:cubicBezTo>
                    <a:pt x="75" y="43"/>
                    <a:pt x="76" y="37"/>
                    <a:pt x="76" y="37"/>
                  </a:cubicBezTo>
                  <a:cubicBezTo>
                    <a:pt x="73" y="33"/>
                    <a:pt x="73" y="33"/>
                    <a:pt x="73" y="33"/>
                  </a:cubicBezTo>
                  <a:cubicBezTo>
                    <a:pt x="73" y="33"/>
                    <a:pt x="71" y="25"/>
                    <a:pt x="65" y="23"/>
                  </a:cubicBezTo>
                  <a:cubicBezTo>
                    <a:pt x="59" y="21"/>
                    <a:pt x="55" y="9"/>
                    <a:pt x="55" y="9"/>
                  </a:cubicBezTo>
                  <a:cubicBezTo>
                    <a:pt x="49" y="9"/>
                    <a:pt x="49" y="9"/>
                    <a:pt x="49" y="9"/>
                  </a:cubicBezTo>
                  <a:cubicBezTo>
                    <a:pt x="49" y="9"/>
                    <a:pt x="45" y="4"/>
                    <a:pt x="41" y="2"/>
                  </a:cubicBezTo>
                  <a:cubicBezTo>
                    <a:pt x="37" y="0"/>
                    <a:pt x="30" y="3"/>
                    <a:pt x="30" y="3"/>
                  </a:cubicBezTo>
                  <a:cubicBezTo>
                    <a:pt x="30" y="3"/>
                    <a:pt x="22" y="4"/>
                    <a:pt x="17" y="3"/>
                  </a:cubicBezTo>
                  <a:cubicBezTo>
                    <a:pt x="12" y="2"/>
                    <a:pt x="13" y="9"/>
                    <a:pt x="9" y="10"/>
                  </a:cubicBezTo>
                  <a:cubicBezTo>
                    <a:pt x="8" y="11"/>
                    <a:pt x="8" y="11"/>
                    <a:pt x="8" y="11"/>
                  </a:cubicBezTo>
                  <a:cubicBezTo>
                    <a:pt x="7" y="15"/>
                    <a:pt x="7" y="19"/>
                    <a:pt x="4" y="22"/>
                  </a:cubicBezTo>
                  <a:cubicBezTo>
                    <a:pt x="0" y="29"/>
                    <a:pt x="6" y="40"/>
                    <a:pt x="10" y="43"/>
                  </a:cubicBezTo>
                  <a:cubicBezTo>
                    <a:pt x="11" y="44"/>
                    <a:pt x="11" y="45"/>
                    <a:pt x="11" y="46"/>
                  </a:cubicBezTo>
                  <a:cubicBezTo>
                    <a:pt x="19" y="47"/>
                    <a:pt x="23" y="46"/>
                    <a:pt x="29" y="43"/>
                  </a:cubicBezTo>
                  <a:cubicBezTo>
                    <a:pt x="35" y="40"/>
                    <a:pt x="36" y="48"/>
                    <a:pt x="43" y="49"/>
                  </a:cubicBezTo>
                  <a:cubicBezTo>
                    <a:pt x="50" y="49"/>
                    <a:pt x="51" y="50"/>
                    <a:pt x="51" y="50"/>
                  </a:cubicBezTo>
                  <a:cubicBezTo>
                    <a:pt x="51" y="50"/>
                    <a:pt x="46" y="53"/>
                    <a:pt x="42" y="52"/>
                  </a:cubicBezTo>
                  <a:cubicBezTo>
                    <a:pt x="38" y="52"/>
                    <a:pt x="33" y="46"/>
                    <a:pt x="30" y="49"/>
                  </a:cubicBezTo>
                  <a:cubicBezTo>
                    <a:pt x="27" y="52"/>
                    <a:pt x="17" y="53"/>
                    <a:pt x="13" y="54"/>
                  </a:cubicBezTo>
                  <a:cubicBezTo>
                    <a:pt x="12" y="54"/>
                    <a:pt x="11" y="54"/>
                    <a:pt x="9" y="54"/>
                  </a:cubicBezTo>
                  <a:cubicBezTo>
                    <a:pt x="9" y="57"/>
                    <a:pt x="9" y="59"/>
                    <a:pt x="10" y="61"/>
                  </a:cubicBezTo>
                  <a:cubicBezTo>
                    <a:pt x="11" y="62"/>
                    <a:pt x="12" y="62"/>
                    <a:pt x="12" y="63"/>
                  </a:cubicBezTo>
                  <a:cubicBezTo>
                    <a:pt x="19" y="61"/>
                    <a:pt x="17" y="65"/>
                    <a:pt x="19" y="6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7" name="Freeform 194"/>
            <p:cNvSpPr/>
            <p:nvPr/>
          </p:nvSpPr>
          <p:spPr>
            <a:xfrm>
              <a:off x="4375151" y="3494088"/>
              <a:ext cx="68263" cy="39688"/>
            </a:xfrm>
            <a:custGeom>
              <a:gdLst>
                <a:gd name="T0" fmla="*/ 21 w 40"/>
                <a:gd name="T1" fmla="*/ 23 h 24"/>
                <a:gd name="T2" fmla="*/ 33 w 40"/>
                <a:gd name="T3" fmla="*/ 16 h 24"/>
                <a:gd name="T4" fmla="*/ 38 w 40"/>
                <a:gd name="T5" fmla="*/ 13 h 24"/>
                <a:gd name="T6" fmla="*/ 37 w 40"/>
                <a:gd name="T7" fmla="*/ 7 h 24"/>
                <a:gd name="T8" fmla="*/ 40 w 40"/>
                <a:gd name="T9" fmla="*/ 1 h 24"/>
                <a:gd name="T10" fmla="*/ 37 w 40"/>
                <a:gd name="T11" fmla="*/ 0 h 24"/>
                <a:gd name="T12" fmla="*/ 16 w 40"/>
                <a:gd name="T13" fmla="*/ 2 h 24"/>
                <a:gd name="T14" fmla="*/ 7 w 40"/>
                <a:gd name="T15" fmla="*/ 5 h 24"/>
                <a:gd name="T16" fmla="*/ 0 w 40"/>
                <a:gd name="T17" fmla="*/ 3 h 24"/>
                <a:gd name="T18" fmla="*/ 12 w 40"/>
                <a:gd name="T19" fmla="*/ 12 h 24"/>
                <a:gd name="T20" fmla="*/ 18 w 40"/>
                <a:gd name="T21" fmla="*/ 23 h 24"/>
                <a:gd name="T22" fmla="*/ 20 w 40"/>
                <a:gd name="T23" fmla="*/ 24 h 24"/>
                <a:gd name="T24" fmla="*/ 21 w 40"/>
                <a:gd name="T25" fmla="*/ 23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4">
                  <a:moveTo>
                    <a:pt x="21" y="23"/>
                  </a:moveTo>
                  <a:cubicBezTo>
                    <a:pt x="24" y="20"/>
                    <a:pt x="31" y="15"/>
                    <a:pt x="33" y="16"/>
                  </a:cubicBezTo>
                  <a:cubicBezTo>
                    <a:pt x="35" y="17"/>
                    <a:pt x="38" y="15"/>
                    <a:pt x="38" y="13"/>
                  </a:cubicBezTo>
                  <a:cubicBezTo>
                    <a:pt x="38" y="12"/>
                    <a:pt x="34" y="8"/>
                    <a:pt x="37" y="7"/>
                  </a:cubicBezTo>
                  <a:cubicBezTo>
                    <a:pt x="40" y="6"/>
                    <a:pt x="40" y="3"/>
                    <a:pt x="40" y="1"/>
                  </a:cubicBezTo>
                  <a:cubicBezTo>
                    <a:pt x="39" y="0"/>
                    <a:pt x="38" y="0"/>
                    <a:pt x="37" y="0"/>
                  </a:cubicBezTo>
                  <a:cubicBezTo>
                    <a:pt x="34" y="0"/>
                    <a:pt x="16" y="2"/>
                    <a:pt x="16" y="2"/>
                  </a:cubicBezTo>
                  <a:cubicBezTo>
                    <a:pt x="16" y="2"/>
                    <a:pt x="10" y="5"/>
                    <a:pt x="7" y="5"/>
                  </a:cubicBezTo>
                  <a:cubicBezTo>
                    <a:pt x="5" y="5"/>
                    <a:pt x="7" y="1"/>
                    <a:pt x="0" y="3"/>
                  </a:cubicBezTo>
                  <a:cubicBezTo>
                    <a:pt x="4" y="8"/>
                    <a:pt x="4" y="10"/>
                    <a:pt x="12" y="12"/>
                  </a:cubicBezTo>
                  <a:cubicBezTo>
                    <a:pt x="20" y="14"/>
                    <a:pt x="11" y="19"/>
                    <a:pt x="18" y="23"/>
                  </a:cubicBezTo>
                  <a:cubicBezTo>
                    <a:pt x="18" y="23"/>
                    <a:pt x="19" y="24"/>
                    <a:pt x="20" y="24"/>
                  </a:cubicBezTo>
                  <a:cubicBezTo>
                    <a:pt x="20" y="23"/>
                    <a:pt x="21" y="23"/>
                    <a:pt x="21"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8" name="Freeform 195"/>
            <p:cNvSpPr/>
            <p:nvPr/>
          </p:nvSpPr>
          <p:spPr>
            <a:xfrm>
              <a:off x="5138739" y="3530600"/>
              <a:ext cx="303213" cy="214313"/>
            </a:xfrm>
            <a:custGeom>
              <a:gdLst>
                <a:gd name="T0" fmla="*/ 165 w 179"/>
                <a:gd name="T1" fmla="*/ 71 h 126"/>
                <a:gd name="T2" fmla="*/ 160 w 179"/>
                <a:gd name="T3" fmla="*/ 62 h 126"/>
                <a:gd name="T4" fmla="*/ 151 w 179"/>
                <a:gd name="T5" fmla="*/ 53 h 126"/>
                <a:gd name="T6" fmla="*/ 145 w 179"/>
                <a:gd name="T7" fmla="*/ 44 h 126"/>
                <a:gd name="T8" fmla="*/ 133 w 179"/>
                <a:gd name="T9" fmla="*/ 39 h 126"/>
                <a:gd name="T10" fmla="*/ 131 w 179"/>
                <a:gd name="T11" fmla="*/ 35 h 126"/>
                <a:gd name="T12" fmla="*/ 125 w 179"/>
                <a:gd name="T13" fmla="*/ 34 h 126"/>
                <a:gd name="T14" fmla="*/ 127 w 179"/>
                <a:gd name="T15" fmla="*/ 28 h 126"/>
                <a:gd name="T16" fmla="*/ 126 w 179"/>
                <a:gd name="T17" fmla="*/ 16 h 126"/>
                <a:gd name="T18" fmla="*/ 116 w 179"/>
                <a:gd name="T19" fmla="*/ 2 h 126"/>
                <a:gd name="T20" fmla="*/ 113 w 179"/>
                <a:gd name="T21" fmla="*/ 1 h 126"/>
                <a:gd name="T22" fmla="*/ 101 w 179"/>
                <a:gd name="T23" fmla="*/ 6 h 126"/>
                <a:gd name="T24" fmla="*/ 98 w 179"/>
                <a:gd name="T25" fmla="*/ 13 h 126"/>
                <a:gd name="T26" fmla="*/ 84 w 179"/>
                <a:gd name="T27" fmla="*/ 28 h 126"/>
                <a:gd name="T28" fmla="*/ 63 w 179"/>
                <a:gd name="T29" fmla="*/ 32 h 126"/>
                <a:gd name="T30" fmla="*/ 62 w 179"/>
                <a:gd name="T31" fmla="*/ 40 h 126"/>
                <a:gd name="T32" fmla="*/ 49 w 179"/>
                <a:gd name="T33" fmla="*/ 47 h 126"/>
                <a:gd name="T34" fmla="*/ 33 w 179"/>
                <a:gd name="T35" fmla="*/ 51 h 126"/>
                <a:gd name="T36" fmla="*/ 24 w 179"/>
                <a:gd name="T37" fmla="*/ 51 h 126"/>
                <a:gd name="T38" fmla="*/ 16 w 179"/>
                <a:gd name="T39" fmla="*/ 55 h 126"/>
                <a:gd name="T40" fmla="*/ 15 w 179"/>
                <a:gd name="T41" fmla="*/ 53 h 126"/>
                <a:gd name="T42" fmla="*/ 7 w 179"/>
                <a:gd name="T43" fmla="*/ 62 h 126"/>
                <a:gd name="T44" fmla="*/ 0 w 179"/>
                <a:gd name="T45" fmla="*/ 77 h 126"/>
                <a:gd name="T46" fmla="*/ 2 w 179"/>
                <a:gd name="T47" fmla="*/ 89 h 126"/>
                <a:gd name="T48" fmla="*/ 6 w 179"/>
                <a:gd name="T49" fmla="*/ 100 h 126"/>
                <a:gd name="T50" fmla="*/ 9 w 179"/>
                <a:gd name="T51" fmla="*/ 109 h 126"/>
                <a:gd name="T52" fmla="*/ 12 w 179"/>
                <a:gd name="T53" fmla="*/ 114 h 126"/>
                <a:gd name="T54" fmla="*/ 21 w 179"/>
                <a:gd name="T55" fmla="*/ 123 h 126"/>
                <a:gd name="T56" fmla="*/ 24 w 179"/>
                <a:gd name="T57" fmla="*/ 126 h 126"/>
                <a:gd name="T58" fmla="*/ 24 w 179"/>
                <a:gd name="T59" fmla="*/ 124 h 126"/>
                <a:gd name="T60" fmla="*/ 27 w 179"/>
                <a:gd name="T61" fmla="*/ 114 h 126"/>
                <a:gd name="T62" fmla="*/ 35 w 179"/>
                <a:gd name="T63" fmla="*/ 112 h 126"/>
                <a:gd name="T64" fmla="*/ 42 w 179"/>
                <a:gd name="T65" fmla="*/ 110 h 126"/>
                <a:gd name="T66" fmla="*/ 54 w 179"/>
                <a:gd name="T67" fmla="*/ 112 h 126"/>
                <a:gd name="T68" fmla="*/ 54 w 179"/>
                <a:gd name="T69" fmla="*/ 102 h 126"/>
                <a:gd name="T70" fmla="*/ 69 w 179"/>
                <a:gd name="T71" fmla="*/ 90 h 126"/>
                <a:gd name="T72" fmla="*/ 81 w 179"/>
                <a:gd name="T73" fmla="*/ 98 h 126"/>
                <a:gd name="T74" fmla="*/ 109 w 179"/>
                <a:gd name="T75" fmla="*/ 104 h 126"/>
                <a:gd name="T76" fmla="*/ 113 w 179"/>
                <a:gd name="T77" fmla="*/ 94 h 126"/>
                <a:gd name="T78" fmla="*/ 125 w 179"/>
                <a:gd name="T79" fmla="*/ 94 h 126"/>
                <a:gd name="T80" fmla="*/ 140 w 179"/>
                <a:gd name="T81" fmla="*/ 89 h 126"/>
                <a:gd name="T82" fmla="*/ 152 w 179"/>
                <a:gd name="T83" fmla="*/ 88 h 126"/>
                <a:gd name="T84" fmla="*/ 168 w 179"/>
                <a:gd name="T85" fmla="*/ 89 h 126"/>
                <a:gd name="T86" fmla="*/ 179 w 179"/>
                <a:gd name="T87" fmla="*/ 88 h 126"/>
                <a:gd name="T88" fmla="*/ 175 w 179"/>
                <a:gd name="T89" fmla="*/ 79 h 126"/>
                <a:gd name="T90" fmla="*/ 165 w 179"/>
                <a:gd name="T91" fmla="*/ 71 h 1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9" h="126">
                  <a:moveTo>
                    <a:pt x="165" y="71"/>
                  </a:moveTo>
                  <a:cubicBezTo>
                    <a:pt x="165" y="69"/>
                    <a:pt x="165" y="66"/>
                    <a:pt x="160" y="62"/>
                  </a:cubicBezTo>
                  <a:cubicBezTo>
                    <a:pt x="155" y="57"/>
                    <a:pt x="151" y="56"/>
                    <a:pt x="151" y="53"/>
                  </a:cubicBezTo>
                  <a:cubicBezTo>
                    <a:pt x="151" y="51"/>
                    <a:pt x="149" y="50"/>
                    <a:pt x="145" y="44"/>
                  </a:cubicBezTo>
                  <a:cubicBezTo>
                    <a:pt x="140" y="39"/>
                    <a:pt x="133" y="39"/>
                    <a:pt x="133" y="39"/>
                  </a:cubicBezTo>
                  <a:cubicBezTo>
                    <a:pt x="131" y="35"/>
                    <a:pt x="131" y="35"/>
                    <a:pt x="131" y="35"/>
                  </a:cubicBezTo>
                  <a:cubicBezTo>
                    <a:pt x="125" y="34"/>
                    <a:pt x="125" y="34"/>
                    <a:pt x="125" y="34"/>
                  </a:cubicBezTo>
                  <a:cubicBezTo>
                    <a:pt x="125" y="34"/>
                    <a:pt x="121" y="31"/>
                    <a:pt x="127" y="28"/>
                  </a:cubicBezTo>
                  <a:cubicBezTo>
                    <a:pt x="132" y="26"/>
                    <a:pt x="127" y="18"/>
                    <a:pt x="126" y="16"/>
                  </a:cubicBezTo>
                  <a:cubicBezTo>
                    <a:pt x="125" y="13"/>
                    <a:pt x="118" y="4"/>
                    <a:pt x="116" y="2"/>
                  </a:cubicBezTo>
                  <a:cubicBezTo>
                    <a:pt x="115" y="2"/>
                    <a:pt x="114" y="2"/>
                    <a:pt x="113" y="1"/>
                  </a:cubicBezTo>
                  <a:cubicBezTo>
                    <a:pt x="110" y="0"/>
                    <a:pt x="104" y="3"/>
                    <a:pt x="101" y="6"/>
                  </a:cubicBezTo>
                  <a:cubicBezTo>
                    <a:pt x="98" y="9"/>
                    <a:pt x="100" y="11"/>
                    <a:pt x="98" y="13"/>
                  </a:cubicBezTo>
                  <a:cubicBezTo>
                    <a:pt x="96" y="15"/>
                    <a:pt x="89" y="22"/>
                    <a:pt x="84" y="28"/>
                  </a:cubicBezTo>
                  <a:cubicBezTo>
                    <a:pt x="79" y="34"/>
                    <a:pt x="67" y="30"/>
                    <a:pt x="63" y="32"/>
                  </a:cubicBezTo>
                  <a:cubicBezTo>
                    <a:pt x="59" y="34"/>
                    <a:pt x="65" y="38"/>
                    <a:pt x="62" y="40"/>
                  </a:cubicBezTo>
                  <a:cubicBezTo>
                    <a:pt x="60" y="42"/>
                    <a:pt x="52" y="45"/>
                    <a:pt x="49" y="47"/>
                  </a:cubicBezTo>
                  <a:cubicBezTo>
                    <a:pt x="47" y="48"/>
                    <a:pt x="36" y="47"/>
                    <a:pt x="33" y="51"/>
                  </a:cubicBezTo>
                  <a:cubicBezTo>
                    <a:pt x="30" y="55"/>
                    <a:pt x="27" y="47"/>
                    <a:pt x="24" y="51"/>
                  </a:cubicBezTo>
                  <a:cubicBezTo>
                    <a:pt x="21" y="56"/>
                    <a:pt x="18" y="56"/>
                    <a:pt x="16" y="55"/>
                  </a:cubicBezTo>
                  <a:cubicBezTo>
                    <a:pt x="15" y="54"/>
                    <a:pt x="15" y="54"/>
                    <a:pt x="15" y="53"/>
                  </a:cubicBezTo>
                  <a:cubicBezTo>
                    <a:pt x="12" y="56"/>
                    <a:pt x="8" y="59"/>
                    <a:pt x="7" y="62"/>
                  </a:cubicBezTo>
                  <a:cubicBezTo>
                    <a:pt x="5" y="68"/>
                    <a:pt x="0" y="74"/>
                    <a:pt x="0" y="77"/>
                  </a:cubicBezTo>
                  <a:cubicBezTo>
                    <a:pt x="0" y="80"/>
                    <a:pt x="2" y="84"/>
                    <a:pt x="2" y="89"/>
                  </a:cubicBezTo>
                  <a:cubicBezTo>
                    <a:pt x="2" y="94"/>
                    <a:pt x="3" y="96"/>
                    <a:pt x="6" y="100"/>
                  </a:cubicBezTo>
                  <a:cubicBezTo>
                    <a:pt x="9" y="104"/>
                    <a:pt x="9" y="109"/>
                    <a:pt x="9" y="109"/>
                  </a:cubicBezTo>
                  <a:cubicBezTo>
                    <a:pt x="9" y="109"/>
                    <a:pt x="9" y="111"/>
                    <a:pt x="12" y="114"/>
                  </a:cubicBezTo>
                  <a:cubicBezTo>
                    <a:pt x="14" y="117"/>
                    <a:pt x="20" y="121"/>
                    <a:pt x="21" y="123"/>
                  </a:cubicBezTo>
                  <a:cubicBezTo>
                    <a:pt x="21" y="124"/>
                    <a:pt x="23" y="125"/>
                    <a:pt x="24" y="126"/>
                  </a:cubicBezTo>
                  <a:cubicBezTo>
                    <a:pt x="24" y="125"/>
                    <a:pt x="24" y="125"/>
                    <a:pt x="24" y="124"/>
                  </a:cubicBezTo>
                  <a:cubicBezTo>
                    <a:pt x="28" y="120"/>
                    <a:pt x="27" y="114"/>
                    <a:pt x="27" y="114"/>
                  </a:cubicBezTo>
                  <a:cubicBezTo>
                    <a:pt x="35" y="112"/>
                    <a:pt x="35" y="112"/>
                    <a:pt x="35" y="112"/>
                  </a:cubicBezTo>
                  <a:cubicBezTo>
                    <a:pt x="42" y="110"/>
                    <a:pt x="42" y="110"/>
                    <a:pt x="42" y="110"/>
                  </a:cubicBezTo>
                  <a:cubicBezTo>
                    <a:pt x="54" y="112"/>
                    <a:pt x="54" y="112"/>
                    <a:pt x="54" y="112"/>
                  </a:cubicBezTo>
                  <a:cubicBezTo>
                    <a:pt x="54" y="102"/>
                    <a:pt x="54" y="102"/>
                    <a:pt x="54" y="102"/>
                  </a:cubicBezTo>
                  <a:cubicBezTo>
                    <a:pt x="54" y="102"/>
                    <a:pt x="63" y="90"/>
                    <a:pt x="69" y="90"/>
                  </a:cubicBezTo>
                  <a:cubicBezTo>
                    <a:pt x="76" y="90"/>
                    <a:pt x="81" y="98"/>
                    <a:pt x="81" y="98"/>
                  </a:cubicBezTo>
                  <a:cubicBezTo>
                    <a:pt x="109" y="104"/>
                    <a:pt x="109" y="104"/>
                    <a:pt x="109" y="104"/>
                  </a:cubicBezTo>
                  <a:cubicBezTo>
                    <a:pt x="109" y="104"/>
                    <a:pt x="111" y="96"/>
                    <a:pt x="113" y="94"/>
                  </a:cubicBezTo>
                  <a:cubicBezTo>
                    <a:pt x="116" y="92"/>
                    <a:pt x="121" y="96"/>
                    <a:pt x="125" y="94"/>
                  </a:cubicBezTo>
                  <a:cubicBezTo>
                    <a:pt x="129" y="92"/>
                    <a:pt x="134" y="89"/>
                    <a:pt x="140" y="89"/>
                  </a:cubicBezTo>
                  <a:cubicBezTo>
                    <a:pt x="146" y="89"/>
                    <a:pt x="149" y="93"/>
                    <a:pt x="152" y="88"/>
                  </a:cubicBezTo>
                  <a:cubicBezTo>
                    <a:pt x="155" y="82"/>
                    <a:pt x="168" y="89"/>
                    <a:pt x="168" y="89"/>
                  </a:cubicBezTo>
                  <a:cubicBezTo>
                    <a:pt x="179" y="88"/>
                    <a:pt x="179" y="88"/>
                    <a:pt x="179" y="88"/>
                  </a:cubicBezTo>
                  <a:cubicBezTo>
                    <a:pt x="175" y="79"/>
                    <a:pt x="175" y="79"/>
                    <a:pt x="175" y="79"/>
                  </a:cubicBezTo>
                  <a:cubicBezTo>
                    <a:pt x="175" y="79"/>
                    <a:pt x="165" y="74"/>
                    <a:pt x="165" y="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69" name="Freeform 196"/>
            <p:cNvSpPr/>
            <p:nvPr/>
          </p:nvSpPr>
          <p:spPr>
            <a:xfrm>
              <a:off x="4849814" y="3459163"/>
              <a:ext cx="293688" cy="244475"/>
            </a:xfrm>
            <a:custGeom>
              <a:gdLst>
                <a:gd name="T0" fmla="*/ 107 w 173"/>
                <a:gd name="T1" fmla="*/ 105 h 144"/>
                <a:gd name="T2" fmla="*/ 115 w 173"/>
                <a:gd name="T3" fmla="*/ 104 h 144"/>
                <a:gd name="T4" fmla="*/ 126 w 173"/>
                <a:gd name="T5" fmla="*/ 111 h 144"/>
                <a:gd name="T6" fmla="*/ 132 w 173"/>
                <a:gd name="T7" fmla="*/ 105 h 144"/>
                <a:gd name="T8" fmla="*/ 142 w 173"/>
                <a:gd name="T9" fmla="*/ 83 h 144"/>
                <a:gd name="T10" fmla="*/ 149 w 173"/>
                <a:gd name="T11" fmla="*/ 74 h 144"/>
                <a:gd name="T12" fmla="*/ 151 w 173"/>
                <a:gd name="T13" fmla="*/ 66 h 144"/>
                <a:gd name="T14" fmla="*/ 154 w 173"/>
                <a:gd name="T15" fmla="*/ 57 h 144"/>
                <a:gd name="T16" fmla="*/ 163 w 173"/>
                <a:gd name="T17" fmla="*/ 41 h 144"/>
                <a:gd name="T18" fmla="*/ 172 w 173"/>
                <a:gd name="T19" fmla="*/ 36 h 144"/>
                <a:gd name="T20" fmla="*/ 171 w 173"/>
                <a:gd name="T21" fmla="*/ 27 h 144"/>
                <a:gd name="T22" fmla="*/ 165 w 173"/>
                <a:gd name="T23" fmla="*/ 21 h 144"/>
                <a:gd name="T24" fmla="*/ 166 w 173"/>
                <a:gd name="T25" fmla="*/ 13 h 144"/>
                <a:gd name="T26" fmla="*/ 160 w 173"/>
                <a:gd name="T27" fmla="*/ 7 h 144"/>
                <a:gd name="T28" fmla="*/ 155 w 173"/>
                <a:gd name="T29" fmla="*/ 4 h 144"/>
                <a:gd name="T30" fmla="*/ 145 w 173"/>
                <a:gd name="T31" fmla="*/ 14 h 144"/>
                <a:gd name="T32" fmla="*/ 132 w 173"/>
                <a:gd name="T33" fmla="*/ 11 h 144"/>
                <a:gd name="T34" fmla="*/ 114 w 173"/>
                <a:gd name="T35" fmla="*/ 10 h 144"/>
                <a:gd name="T36" fmla="*/ 103 w 173"/>
                <a:gd name="T37" fmla="*/ 17 h 144"/>
                <a:gd name="T38" fmla="*/ 89 w 173"/>
                <a:gd name="T39" fmla="*/ 17 h 144"/>
                <a:gd name="T40" fmla="*/ 78 w 173"/>
                <a:gd name="T41" fmla="*/ 11 h 144"/>
                <a:gd name="T42" fmla="*/ 66 w 173"/>
                <a:gd name="T43" fmla="*/ 15 h 144"/>
                <a:gd name="T44" fmla="*/ 58 w 173"/>
                <a:gd name="T45" fmla="*/ 7 h 144"/>
                <a:gd name="T46" fmla="*/ 46 w 173"/>
                <a:gd name="T47" fmla="*/ 3 h 144"/>
                <a:gd name="T48" fmla="*/ 37 w 173"/>
                <a:gd name="T49" fmla="*/ 6 h 144"/>
                <a:gd name="T50" fmla="*/ 24 w 173"/>
                <a:gd name="T51" fmla="*/ 6 h 144"/>
                <a:gd name="T52" fmla="*/ 21 w 173"/>
                <a:gd name="T53" fmla="*/ 18 h 144"/>
                <a:gd name="T54" fmla="*/ 14 w 173"/>
                <a:gd name="T55" fmla="*/ 28 h 144"/>
                <a:gd name="T56" fmla="*/ 13 w 173"/>
                <a:gd name="T57" fmla="*/ 31 h 144"/>
                <a:gd name="T58" fmla="*/ 14 w 173"/>
                <a:gd name="T59" fmla="*/ 41 h 144"/>
                <a:gd name="T60" fmla="*/ 13 w 173"/>
                <a:gd name="T61" fmla="*/ 62 h 144"/>
                <a:gd name="T62" fmla="*/ 7 w 173"/>
                <a:gd name="T63" fmla="*/ 70 h 144"/>
                <a:gd name="T64" fmla="*/ 1 w 173"/>
                <a:gd name="T65" fmla="*/ 81 h 144"/>
                <a:gd name="T66" fmla="*/ 1 w 173"/>
                <a:gd name="T67" fmla="*/ 98 h 144"/>
                <a:gd name="T68" fmla="*/ 6 w 173"/>
                <a:gd name="T69" fmla="*/ 109 h 144"/>
                <a:gd name="T70" fmla="*/ 6 w 173"/>
                <a:gd name="T71" fmla="*/ 109 h 144"/>
                <a:gd name="T72" fmla="*/ 28 w 173"/>
                <a:gd name="T73" fmla="*/ 115 h 144"/>
                <a:gd name="T74" fmla="*/ 42 w 173"/>
                <a:gd name="T75" fmla="*/ 130 h 144"/>
                <a:gd name="T76" fmla="*/ 49 w 173"/>
                <a:gd name="T77" fmla="*/ 142 h 144"/>
                <a:gd name="T78" fmla="*/ 64 w 173"/>
                <a:gd name="T79" fmla="*/ 139 h 144"/>
                <a:gd name="T80" fmla="*/ 83 w 173"/>
                <a:gd name="T81" fmla="*/ 137 h 144"/>
                <a:gd name="T82" fmla="*/ 86 w 173"/>
                <a:gd name="T83" fmla="*/ 137 h 144"/>
                <a:gd name="T84" fmla="*/ 90 w 173"/>
                <a:gd name="T85" fmla="*/ 121 h 144"/>
                <a:gd name="T86" fmla="*/ 107 w 173"/>
                <a:gd name="T87" fmla="*/ 105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144">
                  <a:moveTo>
                    <a:pt x="107" y="105"/>
                  </a:moveTo>
                  <a:cubicBezTo>
                    <a:pt x="108" y="105"/>
                    <a:pt x="112" y="106"/>
                    <a:pt x="115" y="104"/>
                  </a:cubicBezTo>
                  <a:cubicBezTo>
                    <a:pt x="118" y="102"/>
                    <a:pt x="125" y="107"/>
                    <a:pt x="126" y="111"/>
                  </a:cubicBezTo>
                  <a:cubicBezTo>
                    <a:pt x="126" y="116"/>
                    <a:pt x="129" y="110"/>
                    <a:pt x="132" y="105"/>
                  </a:cubicBezTo>
                  <a:cubicBezTo>
                    <a:pt x="134" y="100"/>
                    <a:pt x="142" y="86"/>
                    <a:pt x="142" y="83"/>
                  </a:cubicBezTo>
                  <a:cubicBezTo>
                    <a:pt x="142" y="79"/>
                    <a:pt x="149" y="76"/>
                    <a:pt x="149" y="74"/>
                  </a:cubicBezTo>
                  <a:cubicBezTo>
                    <a:pt x="149" y="72"/>
                    <a:pt x="149" y="67"/>
                    <a:pt x="151" y="66"/>
                  </a:cubicBezTo>
                  <a:cubicBezTo>
                    <a:pt x="153" y="65"/>
                    <a:pt x="155" y="59"/>
                    <a:pt x="154" y="57"/>
                  </a:cubicBezTo>
                  <a:cubicBezTo>
                    <a:pt x="154" y="55"/>
                    <a:pt x="162" y="43"/>
                    <a:pt x="163" y="41"/>
                  </a:cubicBezTo>
                  <a:cubicBezTo>
                    <a:pt x="164" y="39"/>
                    <a:pt x="171" y="40"/>
                    <a:pt x="172" y="36"/>
                  </a:cubicBezTo>
                  <a:cubicBezTo>
                    <a:pt x="172" y="32"/>
                    <a:pt x="173" y="28"/>
                    <a:pt x="171" y="27"/>
                  </a:cubicBezTo>
                  <a:cubicBezTo>
                    <a:pt x="168" y="26"/>
                    <a:pt x="165" y="23"/>
                    <a:pt x="165" y="21"/>
                  </a:cubicBezTo>
                  <a:cubicBezTo>
                    <a:pt x="165" y="20"/>
                    <a:pt x="165" y="16"/>
                    <a:pt x="166" y="13"/>
                  </a:cubicBezTo>
                  <a:cubicBezTo>
                    <a:pt x="162" y="13"/>
                    <a:pt x="162" y="9"/>
                    <a:pt x="160" y="7"/>
                  </a:cubicBezTo>
                  <a:cubicBezTo>
                    <a:pt x="158" y="5"/>
                    <a:pt x="158" y="3"/>
                    <a:pt x="155" y="4"/>
                  </a:cubicBezTo>
                  <a:cubicBezTo>
                    <a:pt x="152" y="5"/>
                    <a:pt x="148" y="12"/>
                    <a:pt x="145" y="14"/>
                  </a:cubicBezTo>
                  <a:cubicBezTo>
                    <a:pt x="141" y="15"/>
                    <a:pt x="135" y="12"/>
                    <a:pt x="132" y="11"/>
                  </a:cubicBezTo>
                  <a:cubicBezTo>
                    <a:pt x="130" y="9"/>
                    <a:pt x="118" y="11"/>
                    <a:pt x="114" y="10"/>
                  </a:cubicBezTo>
                  <a:cubicBezTo>
                    <a:pt x="110" y="10"/>
                    <a:pt x="106" y="15"/>
                    <a:pt x="103" y="17"/>
                  </a:cubicBezTo>
                  <a:cubicBezTo>
                    <a:pt x="100" y="19"/>
                    <a:pt x="92" y="18"/>
                    <a:pt x="89" y="17"/>
                  </a:cubicBezTo>
                  <a:cubicBezTo>
                    <a:pt x="86" y="16"/>
                    <a:pt x="80" y="11"/>
                    <a:pt x="78" y="11"/>
                  </a:cubicBezTo>
                  <a:cubicBezTo>
                    <a:pt x="75" y="11"/>
                    <a:pt x="70" y="12"/>
                    <a:pt x="66" y="15"/>
                  </a:cubicBezTo>
                  <a:cubicBezTo>
                    <a:pt x="62" y="17"/>
                    <a:pt x="60" y="10"/>
                    <a:pt x="58" y="7"/>
                  </a:cubicBezTo>
                  <a:cubicBezTo>
                    <a:pt x="55" y="4"/>
                    <a:pt x="49" y="6"/>
                    <a:pt x="46" y="3"/>
                  </a:cubicBezTo>
                  <a:cubicBezTo>
                    <a:pt x="43" y="0"/>
                    <a:pt x="40" y="7"/>
                    <a:pt x="37" y="6"/>
                  </a:cubicBezTo>
                  <a:cubicBezTo>
                    <a:pt x="34" y="6"/>
                    <a:pt x="27" y="4"/>
                    <a:pt x="24" y="6"/>
                  </a:cubicBezTo>
                  <a:cubicBezTo>
                    <a:pt x="22" y="9"/>
                    <a:pt x="22" y="17"/>
                    <a:pt x="21" y="18"/>
                  </a:cubicBezTo>
                  <a:cubicBezTo>
                    <a:pt x="19" y="19"/>
                    <a:pt x="14" y="25"/>
                    <a:pt x="14" y="28"/>
                  </a:cubicBezTo>
                  <a:cubicBezTo>
                    <a:pt x="14" y="30"/>
                    <a:pt x="14" y="31"/>
                    <a:pt x="13" y="31"/>
                  </a:cubicBezTo>
                  <a:cubicBezTo>
                    <a:pt x="13" y="35"/>
                    <a:pt x="14" y="39"/>
                    <a:pt x="14" y="41"/>
                  </a:cubicBezTo>
                  <a:cubicBezTo>
                    <a:pt x="15" y="44"/>
                    <a:pt x="16" y="58"/>
                    <a:pt x="13" y="62"/>
                  </a:cubicBezTo>
                  <a:cubicBezTo>
                    <a:pt x="9" y="65"/>
                    <a:pt x="7" y="70"/>
                    <a:pt x="7" y="70"/>
                  </a:cubicBezTo>
                  <a:cubicBezTo>
                    <a:pt x="7" y="70"/>
                    <a:pt x="2" y="74"/>
                    <a:pt x="1" y="81"/>
                  </a:cubicBezTo>
                  <a:cubicBezTo>
                    <a:pt x="0" y="88"/>
                    <a:pt x="1" y="92"/>
                    <a:pt x="1" y="98"/>
                  </a:cubicBezTo>
                  <a:cubicBezTo>
                    <a:pt x="1" y="102"/>
                    <a:pt x="4" y="104"/>
                    <a:pt x="6" y="109"/>
                  </a:cubicBezTo>
                  <a:cubicBezTo>
                    <a:pt x="6" y="109"/>
                    <a:pt x="6" y="109"/>
                    <a:pt x="6" y="109"/>
                  </a:cubicBezTo>
                  <a:cubicBezTo>
                    <a:pt x="9" y="113"/>
                    <a:pt x="21" y="114"/>
                    <a:pt x="28" y="115"/>
                  </a:cubicBezTo>
                  <a:cubicBezTo>
                    <a:pt x="35" y="117"/>
                    <a:pt x="42" y="126"/>
                    <a:pt x="42" y="130"/>
                  </a:cubicBezTo>
                  <a:cubicBezTo>
                    <a:pt x="41" y="134"/>
                    <a:pt x="46" y="141"/>
                    <a:pt x="49" y="142"/>
                  </a:cubicBezTo>
                  <a:cubicBezTo>
                    <a:pt x="52" y="144"/>
                    <a:pt x="60" y="139"/>
                    <a:pt x="64" y="139"/>
                  </a:cubicBezTo>
                  <a:cubicBezTo>
                    <a:pt x="68" y="139"/>
                    <a:pt x="81" y="139"/>
                    <a:pt x="83" y="137"/>
                  </a:cubicBezTo>
                  <a:cubicBezTo>
                    <a:pt x="84" y="136"/>
                    <a:pt x="85" y="136"/>
                    <a:pt x="86" y="137"/>
                  </a:cubicBezTo>
                  <a:cubicBezTo>
                    <a:pt x="89" y="129"/>
                    <a:pt x="90" y="121"/>
                    <a:pt x="90" y="121"/>
                  </a:cubicBezTo>
                  <a:cubicBezTo>
                    <a:pt x="90" y="121"/>
                    <a:pt x="105" y="106"/>
                    <a:pt x="107" y="10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0" name="Freeform 197"/>
            <p:cNvSpPr/>
            <p:nvPr/>
          </p:nvSpPr>
          <p:spPr>
            <a:xfrm>
              <a:off x="4802189" y="3498850"/>
              <a:ext cx="74613" cy="152400"/>
            </a:xfrm>
            <a:custGeom>
              <a:gdLst>
                <a:gd name="T0" fmla="*/ 29 w 44"/>
                <a:gd name="T1" fmla="*/ 58 h 90"/>
                <a:gd name="T2" fmla="*/ 35 w 44"/>
                <a:gd name="T3" fmla="*/ 47 h 90"/>
                <a:gd name="T4" fmla="*/ 41 w 44"/>
                <a:gd name="T5" fmla="*/ 39 h 90"/>
                <a:gd name="T6" fmla="*/ 42 w 44"/>
                <a:gd name="T7" fmla="*/ 18 h 90"/>
                <a:gd name="T8" fmla="*/ 41 w 44"/>
                <a:gd name="T9" fmla="*/ 8 h 90"/>
                <a:gd name="T10" fmla="*/ 36 w 44"/>
                <a:gd name="T11" fmla="*/ 8 h 90"/>
                <a:gd name="T12" fmla="*/ 31 w 44"/>
                <a:gd name="T13" fmla="*/ 1 h 90"/>
                <a:gd name="T14" fmla="*/ 26 w 44"/>
                <a:gd name="T15" fmla="*/ 8 h 90"/>
                <a:gd name="T16" fmla="*/ 22 w 44"/>
                <a:gd name="T17" fmla="*/ 14 h 90"/>
                <a:gd name="T18" fmla="*/ 10 w 44"/>
                <a:gd name="T19" fmla="*/ 16 h 90"/>
                <a:gd name="T20" fmla="*/ 2 w 44"/>
                <a:gd name="T21" fmla="*/ 22 h 90"/>
                <a:gd name="T22" fmla="*/ 0 w 44"/>
                <a:gd name="T23" fmla="*/ 22 h 90"/>
                <a:gd name="T24" fmla="*/ 8 w 44"/>
                <a:gd name="T25" fmla="*/ 35 h 90"/>
                <a:gd name="T26" fmla="*/ 11 w 44"/>
                <a:gd name="T27" fmla="*/ 46 h 90"/>
                <a:gd name="T28" fmla="*/ 13 w 44"/>
                <a:gd name="T29" fmla="*/ 64 h 90"/>
                <a:gd name="T30" fmla="*/ 14 w 44"/>
                <a:gd name="T31" fmla="*/ 90 h 90"/>
                <a:gd name="T32" fmla="*/ 24 w 44"/>
                <a:gd name="T33" fmla="*/ 89 h 90"/>
                <a:gd name="T34" fmla="*/ 34 w 44"/>
                <a:gd name="T35" fmla="*/ 86 h 90"/>
                <a:gd name="T36" fmla="*/ 29 w 44"/>
                <a:gd name="T37" fmla="*/ 75 h 90"/>
                <a:gd name="T38" fmla="*/ 29 w 44"/>
                <a:gd name="T39" fmla="*/ 58 h 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90">
                  <a:moveTo>
                    <a:pt x="29" y="58"/>
                  </a:moveTo>
                  <a:cubicBezTo>
                    <a:pt x="30" y="51"/>
                    <a:pt x="35" y="47"/>
                    <a:pt x="35" y="47"/>
                  </a:cubicBezTo>
                  <a:cubicBezTo>
                    <a:pt x="35" y="47"/>
                    <a:pt x="37" y="42"/>
                    <a:pt x="41" y="39"/>
                  </a:cubicBezTo>
                  <a:cubicBezTo>
                    <a:pt x="44" y="35"/>
                    <a:pt x="43" y="21"/>
                    <a:pt x="42" y="18"/>
                  </a:cubicBezTo>
                  <a:cubicBezTo>
                    <a:pt x="42" y="16"/>
                    <a:pt x="41" y="12"/>
                    <a:pt x="41" y="8"/>
                  </a:cubicBezTo>
                  <a:cubicBezTo>
                    <a:pt x="40" y="9"/>
                    <a:pt x="38" y="9"/>
                    <a:pt x="36" y="8"/>
                  </a:cubicBezTo>
                  <a:cubicBezTo>
                    <a:pt x="32" y="6"/>
                    <a:pt x="36" y="2"/>
                    <a:pt x="31" y="1"/>
                  </a:cubicBezTo>
                  <a:cubicBezTo>
                    <a:pt x="27" y="0"/>
                    <a:pt x="25" y="4"/>
                    <a:pt x="26" y="8"/>
                  </a:cubicBezTo>
                  <a:cubicBezTo>
                    <a:pt x="27" y="11"/>
                    <a:pt x="24" y="11"/>
                    <a:pt x="22" y="14"/>
                  </a:cubicBezTo>
                  <a:cubicBezTo>
                    <a:pt x="21" y="16"/>
                    <a:pt x="13" y="16"/>
                    <a:pt x="10" y="16"/>
                  </a:cubicBezTo>
                  <a:cubicBezTo>
                    <a:pt x="8" y="16"/>
                    <a:pt x="5" y="21"/>
                    <a:pt x="2" y="22"/>
                  </a:cubicBezTo>
                  <a:cubicBezTo>
                    <a:pt x="2" y="22"/>
                    <a:pt x="1" y="22"/>
                    <a:pt x="0" y="22"/>
                  </a:cubicBezTo>
                  <a:cubicBezTo>
                    <a:pt x="1" y="33"/>
                    <a:pt x="2" y="32"/>
                    <a:pt x="8" y="35"/>
                  </a:cubicBezTo>
                  <a:cubicBezTo>
                    <a:pt x="14" y="39"/>
                    <a:pt x="8" y="44"/>
                    <a:pt x="11" y="46"/>
                  </a:cubicBezTo>
                  <a:cubicBezTo>
                    <a:pt x="13" y="49"/>
                    <a:pt x="12" y="55"/>
                    <a:pt x="13" y="64"/>
                  </a:cubicBezTo>
                  <a:cubicBezTo>
                    <a:pt x="13" y="68"/>
                    <a:pt x="14" y="81"/>
                    <a:pt x="14" y="90"/>
                  </a:cubicBezTo>
                  <a:cubicBezTo>
                    <a:pt x="18" y="90"/>
                    <a:pt x="21" y="89"/>
                    <a:pt x="24" y="89"/>
                  </a:cubicBezTo>
                  <a:cubicBezTo>
                    <a:pt x="29" y="89"/>
                    <a:pt x="31" y="83"/>
                    <a:pt x="34" y="86"/>
                  </a:cubicBezTo>
                  <a:cubicBezTo>
                    <a:pt x="32" y="81"/>
                    <a:pt x="29" y="79"/>
                    <a:pt x="29" y="75"/>
                  </a:cubicBezTo>
                  <a:cubicBezTo>
                    <a:pt x="29" y="69"/>
                    <a:pt x="28" y="65"/>
                    <a:pt x="29" y="5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1" name="Freeform 198"/>
            <p:cNvSpPr/>
            <p:nvPr/>
          </p:nvSpPr>
          <p:spPr>
            <a:xfrm>
              <a:off x="4781551" y="3532188"/>
              <a:ext cx="44450" cy="127000"/>
            </a:xfrm>
            <a:custGeom>
              <a:gdLst>
                <a:gd name="T0" fmla="*/ 24 w 27"/>
                <a:gd name="T1" fmla="*/ 26 h 75"/>
                <a:gd name="T2" fmla="*/ 21 w 27"/>
                <a:gd name="T3" fmla="*/ 15 h 75"/>
                <a:gd name="T4" fmla="*/ 13 w 27"/>
                <a:gd name="T5" fmla="*/ 2 h 75"/>
                <a:gd name="T6" fmla="*/ 2 w 27"/>
                <a:gd name="T7" fmla="*/ 0 h 75"/>
                <a:gd name="T8" fmla="*/ 0 w 27"/>
                <a:gd name="T9" fmla="*/ 0 h 75"/>
                <a:gd name="T10" fmla="*/ 3 w 27"/>
                <a:gd name="T11" fmla="*/ 10 h 75"/>
                <a:gd name="T12" fmla="*/ 7 w 27"/>
                <a:gd name="T13" fmla="*/ 18 h 75"/>
                <a:gd name="T14" fmla="*/ 7 w 27"/>
                <a:gd name="T15" fmla="*/ 39 h 75"/>
                <a:gd name="T16" fmla="*/ 11 w 27"/>
                <a:gd name="T17" fmla="*/ 59 h 75"/>
                <a:gd name="T18" fmla="*/ 16 w 27"/>
                <a:gd name="T19" fmla="*/ 75 h 75"/>
                <a:gd name="T20" fmla="*/ 19 w 27"/>
                <a:gd name="T21" fmla="*/ 74 h 75"/>
                <a:gd name="T22" fmla="*/ 27 w 27"/>
                <a:gd name="T23" fmla="*/ 70 h 75"/>
                <a:gd name="T24" fmla="*/ 26 w 27"/>
                <a:gd name="T25" fmla="*/ 44 h 75"/>
                <a:gd name="T26" fmla="*/ 24 w 27"/>
                <a:gd name="T27" fmla="*/ 26 h 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75">
                  <a:moveTo>
                    <a:pt x="24" y="26"/>
                  </a:moveTo>
                  <a:cubicBezTo>
                    <a:pt x="21" y="24"/>
                    <a:pt x="27" y="19"/>
                    <a:pt x="21" y="15"/>
                  </a:cubicBezTo>
                  <a:cubicBezTo>
                    <a:pt x="15" y="12"/>
                    <a:pt x="14" y="13"/>
                    <a:pt x="13" y="2"/>
                  </a:cubicBezTo>
                  <a:cubicBezTo>
                    <a:pt x="10" y="2"/>
                    <a:pt x="5" y="0"/>
                    <a:pt x="2" y="0"/>
                  </a:cubicBezTo>
                  <a:cubicBezTo>
                    <a:pt x="1" y="0"/>
                    <a:pt x="1" y="0"/>
                    <a:pt x="0" y="0"/>
                  </a:cubicBezTo>
                  <a:cubicBezTo>
                    <a:pt x="1" y="4"/>
                    <a:pt x="2" y="9"/>
                    <a:pt x="3" y="10"/>
                  </a:cubicBezTo>
                  <a:cubicBezTo>
                    <a:pt x="5" y="11"/>
                    <a:pt x="7" y="14"/>
                    <a:pt x="7" y="18"/>
                  </a:cubicBezTo>
                  <a:cubicBezTo>
                    <a:pt x="6" y="23"/>
                    <a:pt x="5" y="34"/>
                    <a:pt x="7" y="39"/>
                  </a:cubicBezTo>
                  <a:cubicBezTo>
                    <a:pt x="9" y="44"/>
                    <a:pt x="11" y="51"/>
                    <a:pt x="11" y="59"/>
                  </a:cubicBezTo>
                  <a:cubicBezTo>
                    <a:pt x="11" y="63"/>
                    <a:pt x="13" y="70"/>
                    <a:pt x="16" y="75"/>
                  </a:cubicBezTo>
                  <a:cubicBezTo>
                    <a:pt x="17" y="75"/>
                    <a:pt x="18" y="74"/>
                    <a:pt x="19" y="74"/>
                  </a:cubicBezTo>
                  <a:cubicBezTo>
                    <a:pt x="21" y="72"/>
                    <a:pt x="24" y="71"/>
                    <a:pt x="27" y="70"/>
                  </a:cubicBezTo>
                  <a:cubicBezTo>
                    <a:pt x="27" y="61"/>
                    <a:pt x="26" y="48"/>
                    <a:pt x="26" y="44"/>
                  </a:cubicBezTo>
                  <a:cubicBezTo>
                    <a:pt x="25" y="35"/>
                    <a:pt x="26" y="29"/>
                    <a:pt x="24" y="2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2" name="Freeform 199"/>
            <p:cNvSpPr/>
            <p:nvPr/>
          </p:nvSpPr>
          <p:spPr>
            <a:xfrm>
              <a:off x="4995864" y="3481388"/>
              <a:ext cx="184150" cy="285750"/>
            </a:xfrm>
            <a:custGeom>
              <a:gdLst>
                <a:gd name="T0" fmla="*/ 45 w 108"/>
                <a:gd name="T1" fmla="*/ 160 h 168"/>
                <a:gd name="T2" fmla="*/ 83 w 108"/>
                <a:gd name="T3" fmla="*/ 160 h 168"/>
                <a:gd name="T4" fmla="*/ 104 w 108"/>
                <a:gd name="T5" fmla="*/ 168 h 168"/>
                <a:gd name="T6" fmla="*/ 108 w 108"/>
                <a:gd name="T7" fmla="*/ 155 h 168"/>
                <a:gd name="T8" fmla="*/ 105 w 108"/>
                <a:gd name="T9" fmla="*/ 152 h 168"/>
                <a:gd name="T10" fmla="*/ 96 w 108"/>
                <a:gd name="T11" fmla="*/ 143 h 168"/>
                <a:gd name="T12" fmla="*/ 93 w 108"/>
                <a:gd name="T13" fmla="*/ 138 h 168"/>
                <a:gd name="T14" fmla="*/ 90 w 108"/>
                <a:gd name="T15" fmla="*/ 129 h 168"/>
                <a:gd name="T16" fmla="*/ 86 w 108"/>
                <a:gd name="T17" fmla="*/ 118 h 168"/>
                <a:gd name="T18" fmla="*/ 84 w 108"/>
                <a:gd name="T19" fmla="*/ 106 h 168"/>
                <a:gd name="T20" fmla="*/ 91 w 108"/>
                <a:gd name="T21" fmla="*/ 91 h 168"/>
                <a:gd name="T22" fmla="*/ 99 w 108"/>
                <a:gd name="T23" fmla="*/ 82 h 168"/>
                <a:gd name="T24" fmla="*/ 94 w 108"/>
                <a:gd name="T25" fmla="*/ 72 h 168"/>
                <a:gd name="T26" fmla="*/ 82 w 108"/>
                <a:gd name="T27" fmla="*/ 59 h 168"/>
                <a:gd name="T28" fmla="*/ 79 w 108"/>
                <a:gd name="T29" fmla="*/ 49 h 168"/>
                <a:gd name="T30" fmla="*/ 91 w 108"/>
                <a:gd name="T31" fmla="*/ 47 h 168"/>
                <a:gd name="T32" fmla="*/ 97 w 108"/>
                <a:gd name="T33" fmla="*/ 45 h 168"/>
                <a:gd name="T34" fmla="*/ 91 w 108"/>
                <a:gd name="T35" fmla="*/ 27 h 168"/>
                <a:gd name="T36" fmla="*/ 90 w 108"/>
                <a:gd name="T37" fmla="*/ 14 h 168"/>
                <a:gd name="T38" fmla="*/ 80 w 108"/>
                <a:gd name="T39" fmla="*/ 0 h 168"/>
                <a:gd name="T40" fmla="*/ 80 w 108"/>
                <a:gd name="T41" fmla="*/ 0 h 168"/>
                <a:gd name="T42" fmla="*/ 79 w 108"/>
                <a:gd name="T43" fmla="*/ 8 h 168"/>
                <a:gd name="T44" fmla="*/ 85 w 108"/>
                <a:gd name="T45" fmla="*/ 14 h 168"/>
                <a:gd name="T46" fmla="*/ 86 w 108"/>
                <a:gd name="T47" fmla="*/ 23 h 168"/>
                <a:gd name="T48" fmla="*/ 77 w 108"/>
                <a:gd name="T49" fmla="*/ 28 h 168"/>
                <a:gd name="T50" fmla="*/ 68 w 108"/>
                <a:gd name="T51" fmla="*/ 44 h 168"/>
                <a:gd name="T52" fmla="*/ 65 w 108"/>
                <a:gd name="T53" fmla="*/ 53 h 168"/>
                <a:gd name="T54" fmla="*/ 63 w 108"/>
                <a:gd name="T55" fmla="*/ 61 h 168"/>
                <a:gd name="T56" fmla="*/ 56 w 108"/>
                <a:gd name="T57" fmla="*/ 70 h 168"/>
                <a:gd name="T58" fmla="*/ 46 w 108"/>
                <a:gd name="T59" fmla="*/ 92 h 168"/>
                <a:gd name="T60" fmla="*/ 40 w 108"/>
                <a:gd name="T61" fmla="*/ 98 h 168"/>
                <a:gd name="T62" fmla="*/ 29 w 108"/>
                <a:gd name="T63" fmla="*/ 91 h 168"/>
                <a:gd name="T64" fmla="*/ 21 w 108"/>
                <a:gd name="T65" fmla="*/ 92 h 168"/>
                <a:gd name="T66" fmla="*/ 4 w 108"/>
                <a:gd name="T67" fmla="*/ 108 h 168"/>
                <a:gd name="T68" fmla="*/ 0 w 108"/>
                <a:gd name="T69" fmla="*/ 124 h 168"/>
                <a:gd name="T70" fmla="*/ 6 w 108"/>
                <a:gd name="T71" fmla="*/ 132 h 168"/>
                <a:gd name="T72" fmla="*/ 17 w 108"/>
                <a:gd name="T73" fmla="*/ 134 h 168"/>
                <a:gd name="T74" fmla="*/ 21 w 108"/>
                <a:gd name="T75" fmla="*/ 148 h 168"/>
                <a:gd name="T76" fmla="*/ 18 w 108"/>
                <a:gd name="T77" fmla="*/ 161 h 168"/>
                <a:gd name="T78" fmla="*/ 39 w 108"/>
                <a:gd name="T79" fmla="*/ 161 h 168"/>
                <a:gd name="T80" fmla="*/ 45 w 108"/>
                <a:gd name="T81" fmla="*/ 160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68">
                  <a:moveTo>
                    <a:pt x="45" y="160"/>
                  </a:moveTo>
                  <a:cubicBezTo>
                    <a:pt x="45" y="160"/>
                    <a:pt x="79" y="161"/>
                    <a:pt x="83" y="160"/>
                  </a:cubicBezTo>
                  <a:cubicBezTo>
                    <a:pt x="88" y="160"/>
                    <a:pt x="104" y="168"/>
                    <a:pt x="104" y="168"/>
                  </a:cubicBezTo>
                  <a:cubicBezTo>
                    <a:pt x="104" y="168"/>
                    <a:pt x="105" y="160"/>
                    <a:pt x="108" y="155"/>
                  </a:cubicBezTo>
                  <a:cubicBezTo>
                    <a:pt x="107" y="154"/>
                    <a:pt x="105" y="153"/>
                    <a:pt x="105" y="152"/>
                  </a:cubicBezTo>
                  <a:cubicBezTo>
                    <a:pt x="104" y="150"/>
                    <a:pt x="98" y="146"/>
                    <a:pt x="96" y="143"/>
                  </a:cubicBezTo>
                  <a:cubicBezTo>
                    <a:pt x="93" y="140"/>
                    <a:pt x="93" y="138"/>
                    <a:pt x="93" y="138"/>
                  </a:cubicBezTo>
                  <a:cubicBezTo>
                    <a:pt x="93" y="138"/>
                    <a:pt x="93" y="133"/>
                    <a:pt x="90" y="129"/>
                  </a:cubicBezTo>
                  <a:cubicBezTo>
                    <a:pt x="87" y="125"/>
                    <a:pt x="86" y="123"/>
                    <a:pt x="86" y="118"/>
                  </a:cubicBezTo>
                  <a:cubicBezTo>
                    <a:pt x="86" y="113"/>
                    <a:pt x="84" y="109"/>
                    <a:pt x="84" y="106"/>
                  </a:cubicBezTo>
                  <a:cubicBezTo>
                    <a:pt x="84" y="103"/>
                    <a:pt x="89" y="97"/>
                    <a:pt x="91" y="91"/>
                  </a:cubicBezTo>
                  <a:cubicBezTo>
                    <a:pt x="92" y="88"/>
                    <a:pt x="96" y="85"/>
                    <a:pt x="99" y="82"/>
                  </a:cubicBezTo>
                  <a:cubicBezTo>
                    <a:pt x="97" y="80"/>
                    <a:pt x="96" y="76"/>
                    <a:pt x="94" y="72"/>
                  </a:cubicBezTo>
                  <a:cubicBezTo>
                    <a:pt x="93" y="66"/>
                    <a:pt x="88" y="64"/>
                    <a:pt x="82" y="59"/>
                  </a:cubicBezTo>
                  <a:cubicBezTo>
                    <a:pt x="77" y="54"/>
                    <a:pt x="79" y="51"/>
                    <a:pt x="79" y="49"/>
                  </a:cubicBezTo>
                  <a:cubicBezTo>
                    <a:pt x="79" y="47"/>
                    <a:pt x="86" y="47"/>
                    <a:pt x="91" y="47"/>
                  </a:cubicBezTo>
                  <a:cubicBezTo>
                    <a:pt x="96" y="48"/>
                    <a:pt x="99" y="46"/>
                    <a:pt x="97" y="45"/>
                  </a:cubicBezTo>
                  <a:cubicBezTo>
                    <a:pt x="95" y="44"/>
                    <a:pt x="91" y="34"/>
                    <a:pt x="91" y="27"/>
                  </a:cubicBezTo>
                  <a:cubicBezTo>
                    <a:pt x="92" y="20"/>
                    <a:pt x="89" y="18"/>
                    <a:pt x="90" y="14"/>
                  </a:cubicBezTo>
                  <a:cubicBezTo>
                    <a:pt x="90" y="10"/>
                    <a:pt x="85" y="0"/>
                    <a:pt x="80" y="0"/>
                  </a:cubicBezTo>
                  <a:cubicBezTo>
                    <a:pt x="80" y="0"/>
                    <a:pt x="80" y="0"/>
                    <a:pt x="80" y="0"/>
                  </a:cubicBezTo>
                  <a:cubicBezTo>
                    <a:pt x="79" y="3"/>
                    <a:pt x="79" y="7"/>
                    <a:pt x="79" y="8"/>
                  </a:cubicBezTo>
                  <a:cubicBezTo>
                    <a:pt x="79" y="10"/>
                    <a:pt x="82" y="13"/>
                    <a:pt x="85" y="14"/>
                  </a:cubicBezTo>
                  <a:cubicBezTo>
                    <a:pt x="87" y="15"/>
                    <a:pt x="86" y="19"/>
                    <a:pt x="86" y="23"/>
                  </a:cubicBezTo>
                  <a:cubicBezTo>
                    <a:pt x="85" y="27"/>
                    <a:pt x="78" y="26"/>
                    <a:pt x="77" y="28"/>
                  </a:cubicBezTo>
                  <a:cubicBezTo>
                    <a:pt x="76" y="30"/>
                    <a:pt x="68" y="42"/>
                    <a:pt x="68" y="44"/>
                  </a:cubicBezTo>
                  <a:cubicBezTo>
                    <a:pt x="69" y="46"/>
                    <a:pt x="67" y="52"/>
                    <a:pt x="65" y="53"/>
                  </a:cubicBezTo>
                  <a:cubicBezTo>
                    <a:pt x="63" y="54"/>
                    <a:pt x="63" y="59"/>
                    <a:pt x="63" y="61"/>
                  </a:cubicBezTo>
                  <a:cubicBezTo>
                    <a:pt x="63" y="63"/>
                    <a:pt x="56" y="66"/>
                    <a:pt x="56" y="70"/>
                  </a:cubicBezTo>
                  <a:cubicBezTo>
                    <a:pt x="56" y="73"/>
                    <a:pt x="48" y="87"/>
                    <a:pt x="46" y="92"/>
                  </a:cubicBezTo>
                  <a:cubicBezTo>
                    <a:pt x="43" y="97"/>
                    <a:pt x="40" y="103"/>
                    <a:pt x="40" y="98"/>
                  </a:cubicBezTo>
                  <a:cubicBezTo>
                    <a:pt x="39" y="94"/>
                    <a:pt x="32" y="89"/>
                    <a:pt x="29" y="91"/>
                  </a:cubicBezTo>
                  <a:cubicBezTo>
                    <a:pt x="26" y="93"/>
                    <a:pt x="22" y="92"/>
                    <a:pt x="21" y="92"/>
                  </a:cubicBezTo>
                  <a:cubicBezTo>
                    <a:pt x="19" y="93"/>
                    <a:pt x="4" y="108"/>
                    <a:pt x="4" y="108"/>
                  </a:cubicBezTo>
                  <a:cubicBezTo>
                    <a:pt x="4" y="108"/>
                    <a:pt x="3" y="116"/>
                    <a:pt x="0" y="124"/>
                  </a:cubicBezTo>
                  <a:cubicBezTo>
                    <a:pt x="2" y="125"/>
                    <a:pt x="4" y="129"/>
                    <a:pt x="6" y="132"/>
                  </a:cubicBezTo>
                  <a:cubicBezTo>
                    <a:pt x="9" y="136"/>
                    <a:pt x="15" y="133"/>
                    <a:pt x="17" y="134"/>
                  </a:cubicBezTo>
                  <a:cubicBezTo>
                    <a:pt x="19" y="136"/>
                    <a:pt x="22" y="146"/>
                    <a:pt x="21" y="148"/>
                  </a:cubicBezTo>
                  <a:cubicBezTo>
                    <a:pt x="20" y="151"/>
                    <a:pt x="17" y="158"/>
                    <a:pt x="18" y="161"/>
                  </a:cubicBezTo>
                  <a:cubicBezTo>
                    <a:pt x="39" y="161"/>
                    <a:pt x="39" y="161"/>
                    <a:pt x="39" y="161"/>
                  </a:cubicBezTo>
                  <a:lnTo>
                    <a:pt x="45" y="1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3" name="Freeform 200"/>
            <p:cNvSpPr/>
            <p:nvPr/>
          </p:nvSpPr>
          <p:spPr>
            <a:xfrm>
              <a:off x="4568826" y="3543300"/>
              <a:ext cx="152400" cy="155575"/>
            </a:xfrm>
            <a:custGeom>
              <a:gdLst>
                <a:gd name="T0" fmla="*/ 85 w 90"/>
                <a:gd name="T1" fmla="*/ 77 h 92"/>
                <a:gd name="T2" fmla="*/ 79 w 90"/>
                <a:gd name="T3" fmla="*/ 61 h 92"/>
                <a:gd name="T4" fmla="*/ 85 w 90"/>
                <a:gd name="T5" fmla="*/ 47 h 92"/>
                <a:gd name="T6" fmla="*/ 90 w 90"/>
                <a:gd name="T7" fmla="*/ 37 h 92"/>
                <a:gd name="T8" fmla="*/ 85 w 90"/>
                <a:gd name="T9" fmla="*/ 14 h 92"/>
                <a:gd name="T10" fmla="*/ 83 w 90"/>
                <a:gd name="T11" fmla="*/ 13 h 92"/>
                <a:gd name="T12" fmla="*/ 65 w 90"/>
                <a:gd name="T13" fmla="*/ 15 h 92"/>
                <a:gd name="T14" fmla="*/ 52 w 90"/>
                <a:gd name="T15" fmla="*/ 9 h 92"/>
                <a:gd name="T16" fmla="*/ 41 w 90"/>
                <a:gd name="T17" fmla="*/ 5 h 92"/>
                <a:gd name="T18" fmla="*/ 36 w 90"/>
                <a:gd name="T19" fmla="*/ 3 h 92"/>
                <a:gd name="T20" fmla="*/ 29 w 90"/>
                <a:gd name="T21" fmla="*/ 4 h 92"/>
                <a:gd name="T22" fmla="*/ 21 w 90"/>
                <a:gd name="T23" fmla="*/ 8 h 92"/>
                <a:gd name="T24" fmla="*/ 13 w 90"/>
                <a:gd name="T25" fmla="*/ 6 h 92"/>
                <a:gd name="T26" fmla="*/ 8 w 90"/>
                <a:gd name="T27" fmla="*/ 7 h 92"/>
                <a:gd name="T28" fmla="*/ 8 w 90"/>
                <a:gd name="T29" fmla="*/ 19 h 92"/>
                <a:gd name="T30" fmla="*/ 11 w 90"/>
                <a:gd name="T31" fmla="*/ 26 h 92"/>
                <a:gd name="T32" fmla="*/ 14 w 90"/>
                <a:gd name="T33" fmla="*/ 35 h 92"/>
                <a:gd name="T34" fmla="*/ 7 w 90"/>
                <a:gd name="T35" fmla="*/ 36 h 92"/>
                <a:gd name="T36" fmla="*/ 8 w 90"/>
                <a:gd name="T37" fmla="*/ 44 h 92"/>
                <a:gd name="T38" fmla="*/ 4 w 90"/>
                <a:gd name="T39" fmla="*/ 52 h 92"/>
                <a:gd name="T40" fmla="*/ 2 w 90"/>
                <a:gd name="T41" fmla="*/ 63 h 92"/>
                <a:gd name="T42" fmla="*/ 7 w 90"/>
                <a:gd name="T43" fmla="*/ 67 h 92"/>
                <a:gd name="T44" fmla="*/ 18 w 90"/>
                <a:gd name="T45" fmla="*/ 78 h 92"/>
                <a:gd name="T46" fmla="*/ 14 w 90"/>
                <a:gd name="T47" fmla="*/ 92 h 92"/>
                <a:gd name="T48" fmla="*/ 57 w 90"/>
                <a:gd name="T49" fmla="*/ 82 h 92"/>
                <a:gd name="T50" fmla="*/ 85 w 90"/>
                <a:gd name="T51" fmla="*/ 84 h 92"/>
                <a:gd name="T52" fmla="*/ 85 w 90"/>
                <a:gd name="T53" fmla="*/ 77 h 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 h="92">
                  <a:moveTo>
                    <a:pt x="85" y="77"/>
                  </a:moveTo>
                  <a:cubicBezTo>
                    <a:pt x="84" y="74"/>
                    <a:pt x="79" y="63"/>
                    <a:pt x="79" y="61"/>
                  </a:cubicBezTo>
                  <a:cubicBezTo>
                    <a:pt x="80" y="58"/>
                    <a:pt x="85" y="50"/>
                    <a:pt x="85" y="47"/>
                  </a:cubicBezTo>
                  <a:cubicBezTo>
                    <a:pt x="85" y="43"/>
                    <a:pt x="90" y="40"/>
                    <a:pt x="90" y="37"/>
                  </a:cubicBezTo>
                  <a:cubicBezTo>
                    <a:pt x="90" y="34"/>
                    <a:pt x="89" y="22"/>
                    <a:pt x="85" y="14"/>
                  </a:cubicBezTo>
                  <a:cubicBezTo>
                    <a:pt x="85" y="14"/>
                    <a:pt x="84" y="14"/>
                    <a:pt x="83" y="13"/>
                  </a:cubicBezTo>
                  <a:cubicBezTo>
                    <a:pt x="80" y="10"/>
                    <a:pt x="69" y="11"/>
                    <a:pt x="65" y="15"/>
                  </a:cubicBezTo>
                  <a:cubicBezTo>
                    <a:pt x="62" y="19"/>
                    <a:pt x="54" y="11"/>
                    <a:pt x="52" y="9"/>
                  </a:cubicBezTo>
                  <a:cubicBezTo>
                    <a:pt x="51" y="7"/>
                    <a:pt x="46" y="2"/>
                    <a:pt x="41" y="5"/>
                  </a:cubicBezTo>
                  <a:cubicBezTo>
                    <a:pt x="37" y="8"/>
                    <a:pt x="36" y="7"/>
                    <a:pt x="36" y="3"/>
                  </a:cubicBezTo>
                  <a:cubicBezTo>
                    <a:pt x="37" y="0"/>
                    <a:pt x="30" y="1"/>
                    <a:pt x="29" y="4"/>
                  </a:cubicBezTo>
                  <a:cubicBezTo>
                    <a:pt x="28" y="8"/>
                    <a:pt x="22" y="11"/>
                    <a:pt x="21" y="8"/>
                  </a:cubicBezTo>
                  <a:cubicBezTo>
                    <a:pt x="19" y="6"/>
                    <a:pt x="15" y="2"/>
                    <a:pt x="13" y="6"/>
                  </a:cubicBezTo>
                  <a:cubicBezTo>
                    <a:pt x="12" y="9"/>
                    <a:pt x="10" y="8"/>
                    <a:pt x="8" y="7"/>
                  </a:cubicBezTo>
                  <a:cubicBezTo>
                    <a:pt x="7" y="12"/>
                    <a:pt x="6" y="17"/>
                    <a:pt x="8" y="19"/>
                  </a:cubicBezTo>
                  <a:cubicBezTo>
                    <a:pt x="11" y="20"/>
                    <a:pt x="12" y="24"/>
                    <a:pt x="11" y="26"/>
                  </a:cubicBezTo>
                  <a:cubicBezTo>
                    <a:pt x="10" y="28"/>
                    <a:pt x="16" y="32"/>
                    <a:pt x="14" y="35"/>
                  </a:cubicBezTo>
                  <a:cubicBezTo>
                    <a:pt x="11" y="37"/>
                    <a:pt x="8" y="32"/>
                    <a:pt x="7" y="36"/>
                  </a:cubicBezTo>
                  <a:cubicBezTo>
                    <a:pt x="5" y="39"/>
                    <a:pt x="10" y="42"/>
                    <a:pt x="8" y="44"/>
                  </a:cubicBezTo>
                  <a:cubicBezTo>
                    <a:pt x="6" y="47"/>
                    <a:pt x="3" y="47"/>
                    <a:pt x="4" y="52"/>
                  </a:cubicBezTo>
                  <a:cubicBezTo>
                    <a:pt x="5" y="58"/>
                    <a:pt x="4" y="61"/>
                    <a:pt x="2" y="63"/>
                  </a:cubicBezTo>
                  <a:cubicBezTo>
                    <a:pt x="0" y="64"/>
                    <a:pt x="3" y="64"/>
                    <a:pt x="7" y="67"/>
                  </a:cubicBezTo>
                  <a:cubicBezTo>
                    <a:pt x="12" y="70"/>
                    <a:pt x="19" y="73"/>
                    <a:pt x="18" y="78"/>
                  </a:cubicBezTo>
                  <a:cubicBezTo>
                    <a:pt x="18" y="83"/>
                    <a:pt x="16" y="84"/>
                    <a:pt x="14" y="92"/>
                  </a:cubicBezTo>
                  <a:cubicBezTo>
                    <a:pt x="23" y="92"/>
                    <a:pt x="39" y="86"/>
                    <a:pt x="57" y="82"/>
                  </a:cubicBezTo>
                  <a:cubicBezTo>
                    <a:pt x="69" y="80"/>
                    <a:pt x="78" y="82"/>
                    <a:pt x="85" y="84"/>
                  </a:cubicBezTo>
                  <a:cubicBezTo>
                    <a:pt x="86" y="81"/>
                    <a:pt x="86" y="78"/>
                    <a:pt x="85" y="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4" name="Freeform 201"/>
            <p:cNvSpPr/>
            <p:nvPr/>
          </p:nvSpPr>
          <p:spPr>
            <a:xfrm>
              <a:off x="4702176" y="3532188"/>
              <a:ext cx="106363" cy="161925"/>
            </a:xfrm>
            <a:custGeom>
              <a:gdLst>
                <a:gd name="T0" fmla="*/ 53 w 62"/>
                <a:gd name="T1" fmla="*/ 39 h 95"/>
                <a:gd name="T2" fmla="*/ 53 w 62"/>
                <a:gd name="T3" fmla="*/ 18 h 95"/>
                <a:gd name="T4" fmla="*/ 49 w 62"/>
                <a:gd name="T5" fmla="*/ 10 h 95"/>
                <a:gd name="T6" fmla="*/ 46 w 62"/>
                <a:gd name="T7" fmla="*/ 0 h 95"/>
                <a:gd name="T8" fmla="*/ 42 w 62"/>
                <a:gd name="T9" fmla="*/ 4 h 95"/>
                <a:gd name="T10" fmla="*/ 6 w 62"/>
                <a:gd name="T11" fmla="*/ 3 h 95"/>
                <a:gd name="T12" fmla="*/ 8 w 62"/>
                <a:gd name="T13" fmla="*/ 18 h 95"/>
                <a:gd name="T14" fmla="*/ 6 w 62"/>
                <a:gd name="T15" fmla="*/ 20 h 95"/>
                <a:gd name="T16" fmla="*/ 11 w 62"/>
                <a:gd name="T17" fmla="*/ 43 h 95"/>
                <a:gd name="T18" fmla="*/ 6 w 62"/>
                <a:gd name="T19" fmla="*/ 53 h 95"/>
                <a:gd name="T20" fmla="*/ 0 w 62"/>
                <a:gd name="T21" fmla="*/ 67 h 95"/>
                <a:gd name="T22" fmla="*/ 6 w 62"/>
                <a:gd name="T23" fmla="*/ 83 h 95"/>
                <a:gd name="T24" fmla="*/ 6 w 62"/>
                <a:gd name="T25" fmla="*/ 90 h 95"/>
                <a:gd name="T26" fmla="*/ 17 w 62"/>
                <a:gd name="T27" fmla="*/ 94 h 95"/>
                <a:gd name="T28" fmla="*/ 45 w 62"/>
                <a:gd name="T29" fmla="*/ 83 h 95"/>
                <a:gd name="T30" fmla="*/ 62 w 62"/>
                <a:gd name="T31" fmla="*/ 75 h 95"/>
                <a:gd name="T32" fmla="*/ 57 w 62"/>
                <a:gd name="T33" fmla="*/ 59 h 95"/>
                <a:gd name="T34" fmla="*/ 53 w 62"/>
                <a:gd name="T35" fmla="*/ 39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5">
                  <a:moveTo>
                    <a:pt x="53" y="39"/>
                  </a:moveTo>
                  <a:cubicBezTo>
                    <a:pt x="51" y="34"/>
                    <a:pt x="52" y="23"/>
                    <a:pt x="53" y="18"/>
                  </a:cubicBezTo>
                  <a:cubicBezTo>
                    <a:pt x="53" y="14"/>
                    <a:pt x="51" y="11"/>
                    <a:pt x="49" y="10"/>
                  </a:cubicBezTo>
                  <a:cubicBezTo>
                    <a:pt x="48" y="9"/>
                    <a:pt x="47" y="4"/>
                    <a:pt x="46" y="0"/>
                  </a:cubicBezTo>
                  <a:cubicBezTo>
                    <a:pt x="44" y="1"/>
                    <a:pt x="43" y="6"/>
                    <a:pt x="42" y="4"/>
                  </a:cubicBezTo>
                  <a:cubicBezTo>
                    <a:pt x="41" y="2"/>
                    <a:pt x="7" y="0"/>
                    <a:pt x="6" y="3"/>
                  </a:cubicBezTo>
                  <a:cubicBezTo>
                    <a:pt x="4" y="6"/>
                    <a:pt x="9" y="15"/>
                    <a:pt x="8" y="18"/>
                  </a:cubicBezTo>
                  <a:cubicBezTo>
                    <a:pt x="8" y="19"/>
                    <a:pt x="7" y="20"/>
                    <a:pt x="6" y="20"/>
                  </a:cubicBezTo>
                  <a:cubicBezTo>
                    <a:pt x="10" y="28"/>
                    <a:pt x="11" y="40"/>
                    <a:pt x="11" y="43"/>
                  </a:cubicBezTo>
                  <a:cubicBezTo>
                    <a:pt x="11" y="46"/>
                    <a:pt x="6" y="49"/>
                    <a:pt x="6" y="53"/>
                  </a:cubicBezTo>
                  <a:cubicBezTo>
                    <a:pt x="6" y="56"/>
                    <a:pt x="1" y="64"/>
                    <a:pt x="0" y="67"/>
                  </a:cubicBezTo>
                  <a:cubicBezTo>
                    <a:pt x="0" y="69"/>
                    <a:pt x="5" y="80"/>
                    <a:pt x="6" y="83"/>
                  </a:cubicBezTo>
                  <a:cubicBezTo>
                    <a:pt x="7" y="84"/>
                    <a:pt x="7" y="87"/>
                    <a:pt x="6" y="90"/>
                  </a:cubicBezTo>
                  <a:cubicBezTo>
                    <a:pt x="12" y="92"/>
                    <a:pt x="16" y="94"/>
                    <a:pt x="17" y="94"/>
                  </a:cubicBezTo>
                  <a:cubicBezTo>
                    <a:pt x="20" y="95"/>
                    <a:pt x="38" y="86"/>
                    <a:pt x="45" y="83"/>
                  </a:cubicBezTo>
                  <a:cubicBezTo>
                    <a:pt x="51" y="80"/>
                    <a:pt x="58" y="78"/>
                    <a:pt x="62" y="75"/>
                  </a:cubicBezTo>
                  <a:cubicBezTo>
                    <a:pt x="59" y="70"/>
                    <a:pt x="57" y="63"/>
                    <a:pt x="57" y="59"/>
                  </a:cubicBezTo>
                  <a:cubicBezTo>
                    <a:pt x="57" y="51"/>
                    <a:pt x="55" y="44"/>
                    <a:pt x="53" y="3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5" name="Freeform 202"/>
            <p:cNvSpPr/>
            <p:nvPr/>
          </p:nvSpPr>
          <p:spPr>
            <a:xfrm>
              <a:off x="4410076" y="3494088"/>
              <a:ext cx="185738" cy="139700"/>
            </a:xfrm>
            <a:custGeom>
              <a:gdLst>
                <a:gd name="T0" fmla="*/ 36 w 110"/>
                <a:gd name="T1" fmla="*/ 44 h 83"/>
                <a:gd name="T2" fmla="*/ 43 w 110"/>
                <a:gd name="T3" fmla="*/ 42 h 83"/>
                <a:gd name="T4" fmla="*/ 54 w 110"/>
                <a:gd name="T5" fmla="*/ 40 h 83"/>
                <a:gd name="T6" fmla="*/ 66 w 110"/>
                <a:gd name="T7" fmla="*/ 55 h 83"/>
                <a:gd name="T8" fmla="*/ 68 w 110"/>
                <a:gd name="T9" fmla="*/ 63 h 83"/>
                <a:gd name="T10" fmla="*/ 68 w 110"/>
                <a:gd name="T11" fmla="*/ 64 h 83"/>
                <a:gd name="T12" fmla="*/ 79 w 110"/>
                <a:gd name="T13" fmla="*/ 62 h 83"/>
                <a:gd name="T14" fmla="*/ 83 w 110"/>
                <a:gd name="T15" fmla="*/ 75 h 83"/>
                <a:gd name="T16" fmla="*/ 90 w 110"/>
                <a:gd name="T17" fmla="*/ 80 h 83"/>
                <a:gd name="T18" fmla="*/ 95 w 110"/>
                <a:gd name="T19" fmla="*/ 75 h 83"/>
                <a:gd name="T20" fmla="*/ 98 w 110"/>
                <a:gd name="T21" fmla="*/ 78 h 83"/>
                <a:gd name="T22" fmla="*/ 102 w 110"/>
                <a:gd name="T23" fmla="*/ 73 h 83"/>
                <a:gd name="T24" fmla="*/ 101 w 110"/>
                <a:gd name="T25" fmla="*/ 65 h 83"/>
                <a:gd name="T26" fmla="*/ 108 w 110"/>
                <a:gd name="T27" fmla="*/ 64 h 83"/>
                <a:gd name="T28" fmla="*/ 105 w 110"/>
                <a:gd name="T29" fmla="*/ 55 h 83"/>
                <a:gd name="T30" fmla="*/ 102 w 110"/>
                <a:gd name="T31" fmla="*/ 48 h 83"/>
                <a:gd name="T32" fmla="*/ 102 w 110"/>
                <a:gd name="T33" fmla="*/ 36 h 83"/>
                <a:gd name="T34" fmla="*/ 100 w 110"/>
                <a:gd name="T35" fmla="*/ 34 h 83"/>
                <a:gd name="T36" fmla="*/ 97 w 110"/>
                <a:gd name="T37" fmla="*/ 26 h 83"/>
                <a:gd name="T38" fmla="*/ 97 w 110"/>
                <a:gd name="T39" fmla="*/ 21 h 83"/>
                <a:gd name="T40" fmla="*/ 92 w 110"/>
                <a:gd name="T41" fmla="*/ 14 h 83"/>
                <a:gd name="T42" fmla="*/ 86 w 110"/>
                <a:gd name="T43" fmla="*/ 3 h 83"/>
                <a:gd name="T44" fmla="*/ 76 w 110"/>
                <a:gd name="T45" fmla="*/ 11 h 83"/>
                <a:gd name="T46" fmla="*/ 66 w 110"/>
                <a:gd name="T47" fmla="*/ 10 h 83"/>
                <a:gd name="T48" fmla="*/ 58 w 110"/>
                <a:gd name="T49" fmla="*/ 11 h 83"/>
                <a:gd name="T50" fmla="*/ 54 w 110"/>
                <a:gd name="T51" fmla="*/ 7 h 83"/>
                <a:gd name="T52" fmla="*/ 54 w 110"/>
                <a:gd name="T53" fmla="*/ 5 h 83"/>
                <a:gd name="T54" fmla="*/ 52 w 110"/>
                <a:gd name="T55" fmla="*/ 5 h 83"/>
                <a:gd name="T56" fmla="*/ 31 w 110"/>
                <a:gd name="T57" fmla="*/ 4 h 83"/>
                <a:gd name="T58" fmla="*/ 20 w 110"/>
                <a:gd name="T59" fmla="*/ 0 h 83"/>
                <a:gd name="T60" fmla="*/ 17 w 110"/>
                <a:gd name="T61" fmla="*/ 7 h 83"/>
                <a:gd name="T62" fmla="*/ 18 w 110"/>
                <a:gd name="T63" fmla="*/ 13 h 83"/>
                <a:gd name="T64" fmla="*/ 13 w 110"/>
                <a:gd name="T65" fmla="*/ 16 h 83"/>
                <a:gd name="T66" fmla="*/ 1 w 110"/>
                <a:gd name="T67" fmla="*/ 23 h 83"/>
                <a:gd name="T68" fmla="*/ 0 w 110"/>
                <a:gd name="T69" fmla="*/ 24 h 83"/>
                <a:gd name="T70" fmla="*/ 10 w 110"/>
                <a:gd name="T71" fmla="*/ 37 h 83"/>
                <a:gd name="T72" fmla="*/ 26 w 110"/>
                <a:gd name="T73" fmla="*/ 55 h 83"/>
                <a:gd name="T74" fmla="*/ 36 w 110"/>
                <a:gd name="T75" fmla="*/ 44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83">
                  <a:moveTo>
                    <a:pt x="36" y="44"/>
                  </a:moveTo>
                  <a:cubicBezTo>
                    <a:pt x="37" y="40"/>
                    <a:pt x="39" y="42"/>
                    <a:pt x="43" y="42"/>
                  </a:cubicBezTo>
                  <a:cubicBezTo>
                    <a:pt x="47" y="43"/>
                    <a:pt x="51" y="40"/>
                    <a:pt x="54" y="40"/>
                  </a:cubicBezTo>
                  <a:cubicBezTo>
                    <a:pt x="57" y="40"/>
                    <a:pt x="66" y="51"/>
                    <a:pt x="66" y="55"/>
                  </a:cubicBezTo>
                  <a:cubicBezTo>
                    <a:pt x="66" y="58"/>
                    <a:pt x="66" y="61"/>
                    <a:pt x="68" y="63"/>
                  </a:cubicBezTo>
                  <a:cubicBezTo>
                    <a:pt x="68" y="64"/>
                    <a:pt x="68" y="64"/>
                    <a:pt x="68" y="64"/>
                  </a:cubicBezTo>
                  <a:cubicBezTo>
                    <a:pt x="73" y="63"/>
                    <a:pt x="77" y="62"/>
                    <a:pt x="79" y="62"/>
                  </a:cubicBezTo>
                  <a:cubicBezTo>
                    <a:pt x="80" y="62"/>
                    <a:pt x="83" y="70"/>
                    <a:pt x="83" y="75"/>
                  </a:cubicBezTo>
                  <a:cubicBezTo>
                    <a:pt x="82" y="80"/>
                    <a:pt x="87" y="83"/>
                    <a:pt x="90" y="80"/>
                  </a:cubicBezTo>
                  <a:cubicBezTo>
                    <a:pt x="92" y="77"/>
                    <a:pt x="95" y="73"/>
                    <a:pt x="95" y="75"/>
                  </a:cubicBezTo>
                  <a:cubicBezTo>
                    <a:pt x="96" y="76"/>
                    <a:pt x="97" y="77"/>
                    <a:pt x="98" y="78"/>
                  </a:cubicBezTo>
                  <a:cubicBezTo>
                    <a:pt x="99" y="76"/>
                    <a:pt x="101" y="75"/>
                    <a:pt x="102" y="73"/>
                  </a:cubicBezTo>
                  <a:cubicBezTo>
                    <a:pt x="104" y="71"/>
                    <a:pt x="99" y="68"/>
                    <a:pt x="101" y="65"/>
                  </a:cubicBezTo>
                  <a:cubicBezTo>
                    <a:pt x="102" y="61"/>
                    <a:pt x="105" y="66"/>
                    <a:pt x="108" y="64"/>
                  </a:cubicBezTo>
                  <a:cubicBezTo>
                    <a:pt x="110" y="61"/>
                    <a:pt x="104" y="57"/>
                    <a:pt x="105" y="55"/>
                  </a:cubicBezTo>
                  <a:cubicBezTo>
                    <a:pt x="106" y="53"/>
                    <a:pt x="105" y="49"/>
                    <a:pt x="102" y="48"/>
                  </a:cubicBezTo>
                  <a:cubicBezTo>
                    <a:pt x="100" y="46"/>
                    <a:pt x="101" y="41"/>
                    <a:pt x="102" y="36"/>
                  </a:cubicBezTo>
                  <a:cubicBezTo>
                    <a:pt x="102" y="36"/>
                    <a:pt x="101" y="35"/>
                    <a:pt x="100" y="34"/>
                  </a:cubicBezTo>
                  <a:cubicBezTo>
                    <a:pt x="99" y="32"/>
                    <a:pt x="100" y="26"/>
                    <a:pt x="97" y="26"/>
                  </a:cubicBezTo>
                  <a:cubicBezTo>
                    <a:pt x="94" y="26"/>
                    <a:pt x="94" y="22"/>
                    <a:pt x="97" y="21"/>
                  </a:cubicBezTo>
                  <a:cubicBezTo>
                    <a:pt x="100" y="20"/>
                    <a:pt x="92" y="17"/>
                    <a:pt x="92" y="14"/>
                  </a:cubicBezTo>
                  <a:cubicBezTo>
                    <a:pt x="92" y="11"/>
                    <a:pt x="88" y="4"/>
                    <a:pt x="86" y="3"/>
                  </a:cubicBezTo>
                  <a:cubicBezTo>
                    <a:pt x="85" y="3"/>
                    <a:pt x="79" y="11"/>
                    <a:pt x="76" y="11"/>
                  </a:cubicBezTo>
                  <a:cubicBezTo>
                    <a:pt x="73" y="11"/>
                    <a:pt x="68" y="5"/>
                    <a:pt x="66" y="10"/>
                  </a:cubicBezTo>
                  <a:cubicBezTo>
                    <a:pt x="64" y="14"/>
                    <a:pt x="60" y="7"/>
                    <a:pt x="58" y="11"/>
                  </a:cubicBezTo>
                  <a:cubicBezTo>
                    <a:pt x="55" y="14"/>
                    <a:pt x="54" y="7"/>
                    <a:pt x="54" y="7"/>
                  </a:cubicBezTo>
                  <a:cubicBezTo>
                    <a:pt x="54" y="7"/>
                    <a:pt x="54" y="6"/>
                    <a:pt x="54" y="5"/>
                  </a:cubicBezTo>
                  <a:cubicBezTo>
                    <a:pt x="53" y="5"/>
                    <a:pt x="53" y="5"/>
                    <a:pt x="52" y="5"/>
                  </a:cubicBezTo>
                  <a:cubicBezTo>
                    <a:pt x="45" y="8"/>
                    <a:pt x="31" y="6"/>
                    <a:pt x="31" y="4"/>
                  </a:cubicBezTo>
                  <a:cubicBezTo>
                    <a:pt x="30" y="2"/>
                    <a:pt x="20" y="0"/>
                    <a:pt x="20" y="0"/>
                  </a:cubicBezTo>
                  <a:cubicBezTo>
                    <a:pt x="20" y="0"/>
                    <a:pt x="21" y="5"/>
                    <a:pt x="17" y="7"/>
                  </a:cubicBezTo>
                  <a:cubicBezTo>
                    <a:pt x="14" y="8"/>
                    <a:pt x="18" y="12"/>
                    <a:pt x="18" y="13"/>
                  </a:cubicBezTo>
                  <a:cubicBezTo>
                    <a:pt x="18" y="15"/>
                    <a:pt x="15" y="17"/>
                    <a:pt x="13" y="16"/>
                  </a:cubicBezTo>
                  <a:cubicBezTo>
                    <a:pt x="11" y="15"/>
                    <a:pt x="4" y="20"/>
                    <a:pt x="1" y="23"/>
                  </a:cubicBezTo>
                  <a:cubicBezTo>
                    <a:pt x="1" y="23"/>
                    <a:pt x="0" y="23"/>
                    <a:pt x="0" y="24"/>
                  </a:cubicBezTo>
                  <a:cubicBezTo>
                    <a:pt x="4" y="28"/>
                    <a:pt x="4" y="33"/>
                    <a:pt x="10" y="37"/>
                  </a:cubicBezTo>
                  <a:cubicBezTo>
                    <a:pt x="15" y="41"/>
                    <a:pt x="22" y="46"/>
                    <a:pt x="26" y="55"/>
                  </a:cubicBezTo>
                  <a:cubicBezTo>
                    <a:pt x="30" y="51"/>
                    <a:pt x="36" y="46"/>
                    <a:pt x="36" y="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6" name="Freeform 203"/>
            <p:cNvSpPr/>
            <p:nvPr/>
          </p:nvSpPr>
          <p:spPr>
            <a:xfrm>
              <a:off x="4497389" y="3598863"/>
              <a:ext cx="103188" cy="100013"/>
            </a:xfrm>
            <a:custGeom>
              <a:gdLst>
                <a:gd name="T0" fmla="*/ 49 w 61"/>
                <a:gd name="T1" fmla="*/ 34 h 59"/>
                <a:gd name="T2" fmla="*/ 44 w 61"/>
                <a:gd name="T3" fmla="*/ 30 h 59"/>
                <a:gd name="T4" fmla="*/ 46 w 61"/>
                <a:gd name="T5" fmla="*/ 19 h 59"/>
                <a:gd name="T6" fmla="*/ 46 w 61"/>
                <a:gd name="T7" fmla="*/ 16 h 59"/>
                <a:gd name="T8" fmla="*/ 43 w 61"/>
                <a:gd name="T9" fmla="*/ 13 h 59"/>
                <a:gd name="T10" fmla="*/ 38 w 61"/>
                <a:gd name="T11" fmla="*/ 18 h 59"/>
                <a:gd name="T12" fmla="*/ 31 w 61"/>
                <a:gd name="T13" fmla="*/ 13 h 59"/>
                <a:gd name="T14" fmla="*/ 27 w 61"/>
                <a:gd name="T15" fmla="*/ 0 h 59"/>
                <a:gd name="T16" fmla="*/ 16 w 61"/>
                <a:gd name="T17" fmla="*/ 2 h 59"/>
                <a:gd name="T18" fmla="*/ 15 w 61"/>
                <a:gd name="T19" fmla="*/ 10 h 59"/>
                <a:gd name="T20" fmla="*/ 3 w 61"/>
                <a:gd name="T21" fmla="*/ 19 h 59"/>
                <a:gd name="T22" fmla="*/ 0 w 61"/>
                <a:gd name="T23" fmla="*/ 24 h 59"/>
                <a:gd name="T24" fmla="*/ 19 w 61"/>
                <a:gd name="T25" fmla="*/ 37 h 59"/>
                <a:gd name="T26" fmla="*/ 53 w 61"/>
                <a:gd name="T27" fmla="*/ 58 h 59"/>
                <a:gd name="T28" fmla="*/ 56 w 61"/>
                <a:gd name="T29" fmla="*/ 59 h 59"/>
                <a:gd name="T30" fmla="*/ 60 w 61"/>
                <a:gd name="T31" fmla="*/ 45 h 59"/>
                <a:gd name="T32" fmla="*/ 49 w 61"/>
                <a:gd name="T33" fmla="*/ 34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59">
                  <a:moveTo>
                    <a:pt x="49" y="34"/>
                  </a:moveTo>
                  <a:cubicBezTo>
                    <a:pt x="45" y="31"/>
                    <a:pt x="42" y="31"/>
                    <a:pt x="44" y="30"/>
                  </a:cubicBezTo>
                  <a:cubicBezTo>
                    <a:pt x="46" y="28"/>
                    <a:pt x="47" y="25"/>
                    <a:pt x="46" y="19"/>
                  </a:cubicBezTo>
                  <a:cubicBezTo>
                    <a:pt x="46" y="18"/>
                    <a:pt x="46" y="17"/>
                    <a:pt x="46" y="16"/>
                  </a:cubicBezTo>
                  <a:cubicBezTo>
                    <a:pt x="45" y="15"/>
                    <a:pt x="44" y="14"/>
                    <a:pt x="43" y="13"/>
                  </a:cubicBezTo>
                  <a:cubicBezTo>
                    <a:pt x="43" y="11"/>
                    <a:pt x="40" y="15"/>
                    <a:pt x="38" y="18"/>
                  </a:cubicBezTo>
                  <a:cubicBezTo>
                    <a:pt x="35" y="21"/>
                    <a:pt x="30" y="18"/>
                    <a:pt x="31" y="13"/>
                  </a:cubicBezTo>
                  <a:cubicBezTo>
                    <a:pt x="31" y="8"/>
                    <a:pt x="28" y="0"/>
                    <a:pt x="27" y="0"/>
                  </a:cubicBezTo>
                  <a:cubicBezTo>
                    <a:pt x="25" y="0"/>
                    <a:pt x="21" y="1"/>
                    <a:pt x="16" y="2"/>
                  </a:cubicBezTo>
                  <a:cubicBezTo>
                    <a:pt x="17" y="5"/>
                    <a:pt x="15" y="7"/>
                    <a:pt x="15" y="10"/>
                  </a:cubicBezTo>
                  <a:cubicBezTo>
                    <a:pt x="14" y="13"/>
                    <a:pt x="6" y="17"/>
                    <a:pt x="3" y="19"/>
                  </a:cubicBezTo>
                  <a:cubicBezTo>
                    <a:pt x="2" y="20"/>
                    <a:pt x="1" y="22"/>
                    <a:pt x="0" y="24"/>
                  </a:cubicBezTo>
                  <a:cubicBezTo>
                    <a:pt x="6" y="28"/>
                    <a:pt x="13" y="33"/>
                    <a:pt x="19" y="37"/>
                  </a:cubicBezTo>
                  <a:cubicBezTo>
                    <a:pt x="29" y="45"/>
                    <a:pt x="45" y="55"/>
                    <a:pt x="53" y="58"/>
                  </a:cubicBezTo>
                  <a:cubicBezTo>
                    <a:pt x="54" y="59"/>
                    <a:pt x="55" y="59"/>
                    <a:pt x="56" y="59"/>
                  </a:cubicBezTo>
                  <a:cubicBezTo>
                    <a:pt x="58" y="51"/>
                    <a:pt x="60" y="50"/>
                    <a:pt x="60" y="45"/>
                  </a:cubicBezTo>
                  <a:cubicBezTo>
                    <a:pt x="61" y="40"/>
                    <a:pt x="54" y="37"/>
                    <a:pt x="49"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7" name="Freeform 204"/>
            <p:cNvSpPr/>
            <p:nvPr/>
          </p:nvSpPr>
          <p:spPr>
            <a:xfrm>
              <a:off x="4452939" y="3560763"/>
              <a:ext cx="73025" cy="79375"/>
            </a:xfrm>
            <a:custGeom>
              <a:gdLst>
                <a:gd name="T0" fmla="*/ 41 w 43"/>
                <a:gd name="T1" fmla="*/ 32 h 46"/>
                <a:gd name="T2" fmla="*/ 42 w 43"/>
                <a:gd name="T3" fmla="*/ 23 h 46"/>
                <a:gd name="T4" fmla="*/ 40 w 43"/>
                <a:gd name="T5" fmla="*/ 15 h 46"/>
                <a:gd name="T6" fmla="*/ 28 w 43"/>
                <a:gd name="T7" fmla="*/ 0 h 46"/>
                <a:gd name="T8" fmla="*/ 17 w 43"/>
                <a:gd name="T9" fmla="*/ 2 h 46"/>
                <a:gd name="T10" fmla="*/ 10 w 43"/>
                <a:gd name="T11" fmla="*/ 4 h 46"/>
                <a:gd name="T12" fmla="*/ 0 w 43"/>
                <a:gd name="T13" fmla="*/ 15 h 46"/>
                <a:gd name="T14" fmla="*/ 2 w 43"/>
                <a:gd name="T15" fmla="*/ 20 h 46"/>
                <a:gd name="T16" fmla="*/ 14 w 43"/>
                <a:gd name="T17" fmla="*/ 38 h 46"/>
                <a:gd name="T18" fmla="*/ 26 w 43"/>
                <a:gd name="T19" fmla="*/ 46 h 46"/>
                <a:gd name="T20" fmla="*/ 29 w 43"/>
                <a:gd name="T21" fmla="*/ 41 h 46"/>
                <a:gd name="T22" fmla="*/ 41 w 43"/>
                <a:gd name="T23" fmla="*/ 32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46">
                  <a:moveTo>
                    <a:pt x="41" y="32"/>
                  </a:moveTo>
                  <a:cubicBezTo>
                    <a:pt x="41" y="29"/>
                    <a:pt x="43" y="26"/>
                    <a:pt x="42" y="23"/>
                  </a:cubicBezTo>
                  <a:cubicBezTo>
                    <a:pt x="40" y="21"/>
                    <a:pt x="40" y="18"/>
                    <a:pt x="40" y="15"/>
                  </a:cubicBezTo>
                  <a:cubicBezTo>
                    <a:pt x="40" y="11"/>
                    <a:pt x="31" y="0"/>
                    <a:pt x="28" y="0"/>
                  </a:cubicBezTo>
                  <a:cubicBezTo>
                    <a:pt x="25" y="0"/>
                    <a:pt x="21" y="3"/>
                    <a:pt x="17" y="2"/>
                  </a:cubicBezTo>
                  <a:cubicBezTo>
                    <a:pt x="13" y="2"/>
                    <a:pt x="11" y="0"/>
                    <a:pt x="10" y="4"/>
                  </a:cubicBezTo>
                  <a:cubicBezTo>
                    <a:pt x="10" y="6"/>
                    <a:pt x="4" y="11"/>
                    <a:pt x="0" y="15"/>
                  </a:cubicBezTo>
                  <a:cubicBezTo>
                    <a:pt x="1" y="16"/>
                    <a:pt x="2" y="18"/>
                    <a:pt x="2" y="20"/>
                  </a:cubicBezTo>
                  <a:cubicBezTo>
                    <a:pt x="6" y="32"/>
                    <a:pt x="9" y="34"/>
                    <a:pt x="14" y="38"/>
                  </a:cubicBezTo>
                  <a:cubicBezTo>
                    <a:pt x="16" y="40"/>
                    <a:pt x="21" y="43"/>
                    <a:pt x="26" y="46"/>
                  </a:cubicBezTo>
                  <a:cubicBezTo>
                    <a:pt x="27" y="44"/>
                    <a:pt x="28" y="42"/>
                    <a:pt x="29" y="41"/>
                  </a:cubicBezTo>
                  <a:cubicBezTo>
                    <a:pt x="32" y="39"/>
                    <a:pt x="40" y="35"/>
                    <a:pt x="41" y="3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8" name="Freeform 206"/>
            <p:cNvSpPr/>
            <p:nvPr/>
          </p:nvSpPr>
          <p:spPr>
            <a:xfrm>
              <a:off x="4362451" y="3103563"/>
              <a:ext cx="206375" cy="169863"/>
            </a:xfrm>
            <a:custGeom>
              <a:gdLst>
                <a:gd name="T0" fmla="*/ 57 w 122"/>
                <a:gd name="T1" fmla="*/ 77 h 100"/>
                <a:gd name="T2" fmla="*/ 72 w 122"/>
                <a:gd name="T3" fmla="*/ 66 h 100"/>
                <a:gd name="T4" fmla="*/ 72 w 122"/>
                <a:gd name="T5" fmla="*/ 27 h 100"/>
                <a:gd name="T6" fmla="*/ 121 w 122"/>
                <a:gd name="T7" fmla="*/ 27 h 100"/>
                <a:gd name="T8" fmla="*/ 121 w 122"/>
                <a:gd name="T9" fmla="*/ 6 h 100"/>
                <a:gd name="T10" fmla="*/ 111 w 122"/>
                <a:gd name="T11" fmla="*/ 0 h 100"/>
                <a:gd name="T12" fmla="*/ 57 w 122"/>
                <a:gd name="T13" fmla="*/ 0 h 100"/>
                <a:gd name="T14" fmla="*/ 49 w 122"/>
                <a:gd name="T15" fmla="*/ 14 h 100"/>
                <a:gd name="T16" fmla="*/ 30 w 122"/>
                <a:gd name="T17" fmla="*/ 40 h 100"/>
                <a:gd name="T18" fmla="*/ 4 w 122"/>
                <a:gd name="T19" fmla="*/ 86 h 100"/>
                <a:gd name="T20" fmla="*/ 0 w 122"/>
                <a:gd name="T21" fmla="*/ 100 h 100"/>
                <a:gd name="T22" fmla="*/ 57 w 122"/>
                <a:gd name="T23" fmla="*/ 100 h 100"/>
                <a:gd name="T24" fmla="*/ 57 w 122"/>
                <a:gd name="T25" fmla="*/ 77 h 1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00">
                  <a:moveTo>
                    <a:pt x="57" y="77"/>
                  </a:moveTo>
                  <a:cubicBezTo>
                    <a:pt x="57" y="73"/>
                    <a:pt x="72" y="69"/>
                    <a:pt x="72" y="66"/>
                  </a:cubicBezTo>
                  <a:cubicBezTo>
                    <a:pt x="72" y="63"/>
                    <a:pt x="72" y="27"/>
                    <a:pt x="72" y="27"/>
                  </a:cubicBezTo>
                  <a:cubicBezTo>
                    <a:pt x="72" y="27"/>
                    <a:pt x="120" y="28"/>
                    <a:pt x="121" y="27"/>
                  </a:cubicBezTo>
                  <a:cubicBezTo>
                    <a:pt x="122" y="27"/>
                    <a:pt x="122" y="16"/>
                    <a:pt x="121" y="6"/>
                  </a:cubicBezTo>
                  <a:cubicBezTo>
                    <a:pt x="120" y="3"/>
                    <a:pt x="122" y="0"/>
                    <a:pt x="111" y="0"/>
                  </a:cubicBezTo>
                  <a:cubicBezTo>
                    <a:pt x="102" y="0"/>
                    <a:pt x="75" y="0"/>
                    <a:pt x="57" y="0"/>
                  </a:cubicBezTo>
                  <a:cubicBezTo>
                    <a:pt x="53" y="4"/>
                    <a:pt x="50" y="10"/>
                    <a:pt x="49" y="14"/>
                  </a:cubicBezTo>
                  <a:cubicBezTo>
                    <a:pt x="46" y="21"/>
                    <a:pt x="30" y="31"/>
                    <a:pt x="30" y="40"/>
                  </a:cubicBezTo>
                  <a:cubicBezTo>
                    <a:pt x="29" y="50"/>
                    <a:pt x="14" y="65"/>
                    <a:pt x="4" y="86"/>
                  </a:cubicBezTo>
                  <a:cubicBezTo>
                    <a:pt x="1" y="92"/>
                    <a:pt x="0" y="96"/>
                    <a:pt x="0" y="100"/>
                  </a:cubicBezTo>
                  <a:cubicBezTo>
                    <a:pt x="57" y="100"/>
                    <a:pt x="57" y="100"/>
                    <a:pt x="57" y="100"/>
                  </a:cubicBezTo>
                  <a:cubicBezTo>
                    <a:pt x="57" y="100"/>
                    <a:pt x="57" y="80"/>
                    <a:pt x="57" y="7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79" name="Freeform 207"/>
            <p:cNvSpPr/>
            <p:nvPr/>
          </p:nvSpPr>
          <p:spPr>
            <a:xfrm>
              <a:off x="4360863" y="3113088"/>
              <a:ext cx="300038" cy="330200"/>
            </a:xfrm>
            <a:custGeom>
              <a:gdLst>
                <a:gd name="T0" fmla="*/ 14 w 177"/>
                <a:gd name="T1" fmla="*/ 167 h 194"/>
                <a:gd name="T2" fmla="*/ 27 w 177"/>
                <a:gd name="T3" fmla="*/ 167 h 194"/>
                <a:gd name="T4" fmla="*/ 38 w 177"/>
                <a:gd name="T5" fmla="*/ 166 h 194"/>
                <a:gd name="T6" fmla="*/ 46 w 177"/>
                <a:gd name="T7" fmla="*/ 173 h 194"/>
                <a:gd name="T8" fmla="*/ 52 w 177"/>
                <a:gd name="T9" fmla="*/ 173 h 194"/>
                <a:gd name="T10" fmla="*/ 62 w 177"/>
                <a:gd name="T11" fmla="*/ 187 h 194"/>
                <a:gd name="T12" fmla="*/ 69 w 177"/>
                <a:gd name="T13" fmla="*/ 194 h 194"/>
                <a:gd name="T14" fmla="*/ 76 w 177"/>
                <a:gd name="T15" fmla="*/ 189 h 194"/>
                <a:gd name="T16" fmla="*/ 85 w 177"/>
                <a:gd name="T17" fmla="*/ 186 h 194"/>
                <a:gd name="T18" fmla="*/ 93 w 177"/>
                <a:gd name="T19" fmla="*/ 184 h 194"/>
                <a:gd name="T20" fmla="*/ 103 w 177"/>
                <a:gd name="T21" fmla="*/ 185 h 194"/>
                <a:gd name="T22" fmla="*/ 112 w 177"/>
                <a:gd name="T23" fmla="*/ 182 h 194"/>
                <a:gd name="T24" fmla="*/ 168 w 177"/>
                <a:gd name="T25" fmla="*/ 182 h 194"/>
                <a:gd name="T26" fmla="*/ 170 w 177"/>
                <a:gd name="T27" fmla="*/ 169 h 194"/>
                <a:gd name="T28" fmla="*/ 166 w 177"/>
                <a:gd name="T29" fmla="*/ 165 h 194"/>
                <a:gd name="T30" fmla="*/ 152 w 177"/>
                <a:gd name="T31" fmla="*/ 36 h 194"/>
                <a:gd name="T32" fmla="*/ 177 w 177"/>
                <a:gd name="T33" fmla="*/ 36 h 194"/>
                <a:gd name="T34" fmla="*/ 125 w 177"/>
                <a:gd name="T35" fmla="*/ 3 h 194"/>
                <a:gd name="T36" fmla="*/ 122 w 177"/>
                <a:gd name="T37" fmla="*/ 0 h 194"/>
                <a:gd name="T38" fmla="*/ 122 w 177"/>
                <a:gd name="T39" fmla="*/ 21 h 194"/>
                <a:gd name="T40" fmla="*/ 73 w 177"/>
                <a:gd name="T41" fmla="*/ 21 h 194"/>
                <a:gd name="T42" fmla="*/ 73 w 177"/>
                <a:gd name="T43" fmla="*/ 60 h 194"/>
                <a:gd name="T44" fmla="*/ 58 w 177"/>
                <a:gd name="T45" fmla="*/ 71 h 194"/>
                <a:gd name="T46" fmla="*/ 58 w 177"/>
                <a:gd name="T47" fmla="*/ 94 h 194"/>
                <a:gd name="T48" fmla="*/ 1 w 177"/>
                <a:gd name="T49" fmla="*/ 94 h 194"/>
                <a:gd name="T50" fmla="*/ 9 w 177"/>
                <a:gd name="T51" fmla="*/ 110 h 194"/>
                <a:gd name="T52" fmla="*/ 12 w 177"/>
                <a:gd name="T53" fmla="*/ 133 h 194"/>
                <a:gd name="T54" fmla="*/ 7 w 177"/>
                <a:gd name="T55" fmla="*/ 162 h 194"/>
                <a:gd name="T56" fmla="*/ 5 w 177"/>
                <a:gd name="T57" fmla="*/ 175 h 194"/>
                <a:gd name="T58" fmla="*/ 6 w 177"/>
                <a:gd name="T59" fmla="*/ 174 h 194"/>
                <a:gd name="T60" fmla="*/ 14 w 177"/>
                <a:gd name="T61" fmla="*/ 167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 h="194">
                  <a:moveTo>
                    <a:pt x="14" y="167"/>
                  </a:moveTo>
                  <a:cubicBezTo>
                    <a:pt x="19" y="168"/>
                    <a:pt x="27" y="167"/>
                    <a:pt x="27" y="167"/>
                  </a:cubicBezTo>
                  <a:cubicBezTo>
                    <a:pt x="27" y="167"/>
                    <a:pt x="34" y="164"/>
                    <a:pt x="38" y="166"/>
                  </a:cubicBezTo>
                  <a:cubicBezTo>
                    <a:pt x="42" y="168"/>
                    <a:pt x="46" y="173"/>
                    <a:pt x="46" y="173"/>
                  </a:cubicBezTo>
                  <a:cubicBezTo>
                    <a:pt x="52" y="173"/>
                    <a:pt x="52" y="173"/>
                    <a:pt x="52" y="173"/>
                  </a:cubicBezTo>
                  <a:cubicBezTo>
                    <a:pt x="52" y="173"/>
                    <a:pt x="56" y="185"/>
                    <a:pt x="62" y="187"/>
                  </a:cubicBezTo>
                  <a:cubicBezTo>
                    <a:pt x="65" y="188"/>
                    <a:pt x="67" y="191"/>
                    <a:pt x="69" y="194"/>
                  </a:cubicBezTo>
                  <a:cubicBezTo>
                    <a:pt x="73" y="194"/>
                    <a:pt x="76" y="192"/>
                    <a:pt x="76" y="189"/>
                  </a:cubicBezTo>
                  <a:cubicBezTo>
                    <a:pt x="76" y="185"/>
                    <a:pt x="78" y="180"/>
                    <a:pt x="85" y="186"/>
                  </a:cubicBezTo>
                  <a:cubicBezTo>
                    <a:pt x="91" y="192"/>
                    <a:pt x="91" y="186"/>
                    <a:pt x="93" y="184"/>
                  </a:cubicBezTo>
                  <a:cubicBezTo>
                    <a:pt x="94" y="182"/>
                    <a:pt x="99" y="185"/>
                    <a:pt x="103" y="185"/>
                  </a:cubicBezTo>
                  <a:cubicBezTo>
                    <a:pt x="106" y="185"/>
                    <a:pt x="112" y="182"/>
                    <a:pt x="112" y="182"/>
                  </a:cubicBezTo>
                  <a:cubicBezTo>
                    <a:pt x="112" y="182"/>
                    <a:pt x="166" y="183"/>
                    <a:pt x="168" y="182"/>
                  </a:cubicBezTo>
                  <a:cubicBezTo>
                    <a:pt x="171" y="180"/>
                    <a:pt x="170" y="169"/>
                    <a:pt x="170" y="169"/>
                  </a:cubicBezTo>
                  <a:cubicBezTo>
                    <a:pt x="166" y="165"/>
                    <a:pt x="166" y="165"/>
                    <a:pt x="166" y="165"/>
                  </a:cubicBezTo>
                  <a:cubicBezTo>
                    <a:pt x="152" y="36"/>
                    <a:pt x="152" y="36"/>
                    <a:pt x="152" y="36"/>
                  </a:cubicBezTo>
                  <a:cubicBezTo>
                    <a:pt x="177" y="36"/>
                    <a:pt x="177" y="36"/>
                    <a:pt x="177" y="36"/>
                  </a:cubicBezTo>
                  <a:cubicBezTo>
                    <a:pt x="150" y="19"/>
                    <a:pt x="128" y="4"/>
                    <a:pt x="125" y="3"/>
                  </a:cubicBezTo>
                  <a:cubicBezTo>
                    <a:pt x="124" y="2"/>
                    <a:pt x="123" y="1"/>
                    <a:pt x="122" y="0"/>
                  </a:cubicBezTo>
                  <a:cubicBezTo>
                    <a:pt x="123" y="10"/>
                    <a:pt x="123" y="21"/>
                    <a:pt x="122" y="21"/>
                  </a:cubicBezTo>
                  <a:cubicBezTo>
                    <a:pt x="121" y="22"/>
                    <a:pt x="73" y="21"/>
                    <a:pt x="73" y="21"/>
                  </a:cubicBezTo>
                  <a:cubicBezTo>
                    <a:pt x="73" y="21"/>
                    <a:pt x="73" y="57"/>
                    <a:pt x="73" y="60"/>
                  </a:cubicBezTo>
                  <a:cubicBezTo>
                    <a:pt x="73" y="63"/>
                    <a:pt x="58" y="67"/>
                    <a:pt x="58" y="71"/>
                  </a:cubicBezTo>
                  <a:cubicBezTo>
                    <a:pt x="58" y="74"/>
                    <a:pt x="58" y="94"/>
                    <a:pt x="58" y="94"/>
                  </a:cubicBezTo>
                  <a:cubicBezTo>
                    <a:pt x="1" y="94"/>
                    <a:pt x="1" y="94"/>
                    <a:pt x="1" y="94"/>
                  </a:cubicBezTo>
                  <a:cubicBezTo>
                    <a:pt x="0" y="103"/>
                    <a:pt x="6" y="106"/>
                    <a:pt x="9" y="110"/>
                  </a:cubicBezTo>
                  <a:cubicBezTo>
                    <a:pt x="13" y="115"/>
                    <a:pt x="5" y="124"/>
                    <a:pt x="12" y="133"/>
                  </a:cubicBezTo>
                  <a:cubicBezTo>
                    <a:pt x="19" y="143"/>
                    <a:pt x="11" y="157"/>
                    <a:pt x="7" y="162"/>
                  </a:cubicBezTo>
                  <a:cubicBezTo>
                    <a:pt x="6" y="165"/>
                    <a:pt x="5" y="170"/>
                    <a:pt x="5" y="175"/>
                  </a:cubicBezTo>
                  <a:cubicBezTo>
                    <a:pt x="5" y="175"/>
                    <a:pt x="5" y="175"/>
                    <a:pt x="6" y="174"/>
                  </a:cubicBezTo>
                  <a:cubicBezTo>
                    <a:pt x="10" y="173"/>
                    <a:pt x="9" y="166"/>
                    <a:pt x="14" y="16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0" name="Freeform 208"/>
            <p:cNvSpPr/>
            <p:nvPr/>
          </p:nvSpPr>
          <p:spPr>
            <a:xfrm>
              <a:off x="4476751" y="3175000"/>
              <a:ext cx="412750" cy="385763"/>
            </a:xfrm>
            <a:custGeom>
              <a:gdLst>
                <a:gd name="T0" fmla="*/ 230 w 243"/>
                <a:gd name="T1" fmla="*/ 95 h 228"/>
                <a:gd name="T2" fmla="*/ 223 w 243"/>
                <a:gd name="T3" fmla="*/ 79 h 228"/>
                <a:gd name="T4" fmla="*/ 207 w 243"/>
                <a:gd name="T5" fmla="*/ 74 h 228"/>
                <a:gd name="T6" fmla="*/ 197 w 243"/>
                <a:gd name="T7" fmla="*/ 61 h 228"/>
                <a:gd name="T8" fmla="*/ 108 w 243"/>
                <a:gd name="T9" fmla="*/ 0 h 228"/>
                <a:gd name="T10" fmla="*/ 83 w 243"/>
                <a:gd name="T11" fmla="*/ 0 h 228"/>
                <a:gd name="T12" fmla="*/ 97 w 243"/>
                <a:gd name="T13" fmla="*/ 129 h 228"/>
                <a:gd name="T14" fmla="*/ 101 w 243"/>
                <a:gd name="T15" fmla="*/ 133 h 228"/>
                <a:gd name="T16" fmla="*/ 99 w 243"/>
                <a:gd name="T17" fmla="*/ 146 h 228"/>
                <a:gd name="T18" fmla="*/ 43 w 243"/>
                <a:gd name="T19" fmla="*/ 146 h 228"/>
                <a:gd name="T20" fmla="*/ 34 w 243"/>
                <a:gd name="T21" fmla="*/ 149 h 228"/>
                <a:gd name="T22" fmla="*/ 24 w 243"/>
                <a:gd name="T23" fmla="*/ 148 h 228"/>
                <a:gd name="T24" fmla="*/ 16 w 243"/>
                <a:gd name="T25" fmla="*/ 150 h 228"/>
                <a:gd name="T26" fmla="*/ 7 w 243"/>
                <a:gd name="T27" fmla="*/ 153 h 228"/>
                <a:gd name="T28" fmla="*/ 0 w 243"/>
                <a:gd name="T29" fmla="*/ 158 h 228"/>
                <a:gd name="T30" fmla="*/ 1 w 243"/>
                <a:gd name="T31" fmla="*/ 161 h 228"/>
                <a:gd name="T32" fmla="*/ 4 w 243"/>
                <a:gd name="T33" fmla="*/ 165 h 228"/>
                <a:gd name="T34" fmla="*/ 6 w 243"/>
                <a:gd name="T35" fmla="*/ 174 h 228"/>
                <a:gd name="T36" fmla="*/ 14 w 243"/>
                <a:gd name="T37" fmla="*/ 183 h 228"/>
                <a:gd name="T38" fmla="*/ 14 w 243"/>
                <a:gd name="T39" fmla="*/ 195 h 228"/>
                <a:gd name="T40" fmla="*/ 18 w 243"/>
                <a:gd name="T41" fmla="*/ 199 h 228"/>
                <a:gd name="T42" fmla="*/ 26 w 243"/>
                <a:gd name="T43" fmla="*/ 198 h 228"/>
                <a:gd name="T44" fmla="*/ 36 w 243"/>
                <a:gd name="T45" fmla="*/ 199 h 228"/>
                <a:gd name="T46" fmla="*/ 46 w 243"/>
                <a:gd name="T47" fmla="*/ 191 h 228"/>
                <a:gd name="T48" fmla="*/ 52 w 243"/>
                <a:gd name="T49" fmla="*/ 202 h 228"/>
                <a:gd name="T50" fmla="*/ 57 w 243"/>
                <a:gd name="T51" fmla="*/ 209 h 228"/>
                <a:gd name="T52" fmla="*/ 57 w 243"/>
                <a:gd name="T53" fmla="*/ 214 h 228"/>
                <a:gd name="T54" fmla="*/ 60 w 243"/>
                <a:gd name="T55" fmla="*/ 222 h 228"/>
                <a:gd name="T56" fmla="*/ 67 w 243"/>
                <a:gd name="T57" fmla="*/ 223 h 228"/>
                <a:gd name="T58" fmla="*/ 75 w 243"/>
                <a:gd name="T59" fmla="*/ 225 h 228"/>
                <a:gd name="T60" fmla="*/ 83 w 243"/>
                <a:gd name="T61" fmla="*/ 221 h 228"/>
                <a:gd name="T62" fmla="*/ 90 w 243"/>
                <a:gd name="T63" fmla="*/ 220 h 228"/>
                <a:gd name="T64" fmla="*/ 95 w 243"/>
                <a:gd name="T65" fmla="*/ 222 h 228"/>
                <a:gd name="T66" fmla="*/ 99 w 243"/>
                <a:gd name="T67" fmla="*/ 221 h 228"/>
                <a:gd name="T68" fmla="*/ 103 w 243"/>
                <a:gd name="T69" fmla="*/ 210 h 228"/>
                <a:gd name="T70" fmla="*/ 103 w 243"/>
                <a:gd name="T71" fmla="*/ 201 h 228"/>
                <a:gd name="T72" fmla="*/ 114 w 243"/>
                <a:gd name="T73" fmla="*/ 195 h 228"/>
                <a:gd name="T74" fmla="*/ 119 w 243"/>
                <a:gd name="T75" fmla="*/ 186 h 228"/>
                <a:gd name="T76" fmla="*/ 124 w 243"/>
                <a:gd name="T77" fmla="*/ 176 h 228"/>
                <a:gd name="T78" fmla="*/ 133 w 243"/>
                <a:gd name="T79" fmla="*/ 176 h 228"/>
                <a:gd name="T80" fmla="*/ 139 w 243"/>
                <a:gd name="T81" fmla="*/ 169 h 228"/>
                <a:gd name="T82" fmla="*/ 146 w 243"/>
                <a:gd name="T83" fmla="*/ 166 h 228"/>
                <a:gd name="T84" fmla="*/ 152 w 243"/>
                <a:gd name="T85" fmla="*/ 163 h 228"/>
                <a:gd name="T86" fmla="*/ 164 w 243"/>
                <a:gd name="T87" fmla="*/ 158 h 228"/>
                <a:gd name="T88" fmla="*/ 175 w 243"/>
                <a:gd name="T89" fmla="*/ 153 h 228"/>
                <a:gd name="T90" fmla="*/ 193 w 243"/>
                <a:gd name="T91" fmla="*/ 154 h 228"/>
                <a:gd name="T92" fmla="*/ 205 w 243"/>
                <a:gd name="T93" fmla="*/ 150 h 228"/>
                <a:gd name="T94" fmla="*/ 228 w 243"/>
                <a:gd name="T95" fmla="*/ 148 h 228"/>
                <a:gd name="T96" fmla="*/ 237 w 243"/>
                <a:gd name="T97" fmla="*/ 141 h 228"/>
                <a:gd name="T98" fmla="*/ 242 w 243"/>
                <a:gd name="T99" fmla="*/ 131 h 228"/>
                <a:gd name="T100" fmla="*/ 242 w 243"/>
                <a:gd name="T101" fmla="*/ 92 h 228"/>
                <a:gd name="T102" fmla="*/ 230 w 243"/>
                <a:gd name="T103" fmla="*/ 95 h 2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28">
                  <a:moveTo>
                    <a:pt x="230" y="95"/>
                  </a:moveTo>
                  <a:cubicBezTo>
                    <a:pt x="230" y="95"/>
                    <a:pt x="230" y="83"/>
                    <a:pt x="223" y="79"/>
                  </a:cubicBezTo>
                  <a:cubicBezTo>
                    <a:pt x="216" y="75"/>
                    <a:pt x="207" y="74"/>
                    <a:pt x="207" y="74"/>
                  </a:cubicBezTo>
                  <a:cubicBezTo>
                    <a:pt x="207" y="74"/>
                    <a:pt x="201" y="65"/>
                    <a:pt x="197" y="61"/>
                  </a:cubicBezTo>
                  <a:cubicBezTo>
                    <a:pt x="195" y="58"/>
                    <a:pt x="147" y="26"/>
                    <a:pt x="108" y="0"/>
                  </a:cubicBezTo>
                  <a:cubicBezTo>
                    <a:pt x="83" y="0"/>
                    <a:pt x="83" y="0"/>
                    <a:pt x="83" y="0"/>
                  </a:cubicBezTo>
                  <a:cubicBezTo>
                    <a:pt x="97" y="129"/>
                    <a:pt x="97" y="129"/>
                    <a:pt x="97" y="129"/>
                  </a:cubicBezTo>
                  <a:cubicBezTo>
                    <a:pt x="101" y="133"/>
                    <a:pt x="101" y="133"/>
                    <a:pt x="101" y="133"/>
                  </a:cubicBezTo>
                  <a:cubicBezTo>
                    <a:pt x="101" y="133"/>
                    <a:pt x="102" y="144"/>
                    <a:pt x="99" y="146"/>
                  </a:cubicBezTo>
                  <a:cubicBezTo>
                    <a:pt x="97" y="147"/>
                    <a:pt x="43" y="146"/>
                    <a:pt x="43" y="146"/>
                  </a:cubicBezTo>
                  <a:cubicBezTo>
                    <a:pt x="43" y="146"/>
                    <a:pt x="37" y="149"/>
                    <a:pt x="34" y="149"/>
                  </a:cubicBezTo>
                  <a:cubicBezTo>
                    <a:pt x="30" y="149"/>
                    <a:pt x="25" y="146"/>
                    <a:pt x="24" y="148"/>
                  </a:cubicBezTo>
                  <a:cubicBezTo>
                    <a:pt x="22" y="150"/>
                    <a:pt x="22" y="156"/>
                    <a:pt x="16" y="150"/>
                  </a:cubicBezTo>
                  <a:cubicBezTo>
                    <a:pt x="9" y="144"/>
                    <a:pt x="7" y="149"/>
                    <a:pt x="7" y="153"/>
                  </a:cubicBezTo>
                  <a:cubicBezTo>
                    <a:pt x="7" y="156"/>
                    <a:pt x="4" y="158"/>
                    <a:pt x="0" y="158"/>
                  </a:cubicBezTo>
                  <a:cubicBezTo>
                    <a:pt x="1" y="159"/>
                    <a:pt x="1" y="161"/>
                    <a:pt x="1" y="161"/>
                  </a:cubicBezTo>
                  <a:cubicBezTo>
                    <a:pt x="4" y="165"/>
                    <a:pt x="4" y="165"/>
                    <a:pt x="4" y="165"/>
                  </a:cubicBezTo>
                  <a:cubicBezTo>
                    <a:pt x="4" y="165"/>
                    <a:pt x="3" y="171"/>
                    <a:pt x="6" y="174"/>
                  </a:cubicBezTo>
                  <a:cubicBezTo>
                    <a:pt x="8" y="177"/>
                    <a:pt x="13" y="181"/>
                    <a:pt x="14" y="183"/>
                  </a:cubicBezTo>
                  <a:cubicBezTo>
                    <a:pt x="14" y="186"/>
                    <a:pt x="14" y="195"/>
                    <a:pt x="14" y="195"/>
                  </a:cubicBezTo>
                  <a:cubicBezTo>
                    <a:pt x="14" y="195"/>
                    <a:pt x="15" y="202"/>
                    <a:pt x="18" y="199"/>
                  </a:cubicBezTo>
                  <a:cubicBezTo>
                    <a:pt x="20" y="195"/>
                    <a:pt x="24" y="202"/>
                    <a:pt x="26" y="198"/>
                  </a:cubicBezTo>
                  <a:cubicBezTo>
                    <a:pt x="28" y="193"/>
                    <a:pt x="33" y="199"/>
                    <a:pt x="36" y="199"/>
                  </a:cubicBezTo>
                  <a:cubicBezTo>
                    <a:pt x="39" y="199"/>
                    <a:pt x="45" y="191"/>
                    <a:pt x="46" y="191"/>
                  </a:cubicBezTo>
                  <a:cubicBezTo>
                    <a:pt x="48" y="192"/>
                    <a:pt x="52" y="199"/>
                    <a:pt x="52" y="202"/>
                  </a:cubicBezTo>
                  <a:cubicBezTo>
                    <a:pt x="52" y="205"/>
                    <a:pt x="60" y="208"/>
                    <a:pt x="57" y="209"/>
                  </a:cubicBezTo>
                  <a:cubicBezTo>
                    <a:pt x="54" y="210"/>
                    <a:pt x="54" y="214"/>
                    <a:pt x="57" y="214"/>
                  </a:cubicBezTo>
                  <a:cubicBezTo>
                    <a:pt x="60" y="214"/>
                    <a:pt x="59" y="220"/>
                    <a:pt x="60" y="222"/>
                  </a:cubicBezTo>
                  <a:cubicBezTo>
                    <a:pt x="62" y="225"/>
                    <a:pt x="66" y="227"/>
                    <a:pt x="67" y="223"/>
                  </a:cubicBezTo>
                  <a:cubicBezTo>
                    <a:pt x="69" y="219"/>
                    <a:pt x="73" y="223"/>
                    <a:pt x="75" y="225"/>
                  </a:cubicBezTo>
                  <a:cubicBezTo>
                    <a:pt x="76" y="228"/>
                    <a:pt x="82" y="225"/>
                    <a:pt x="83" y="221"/>
                  </a:cubicBezTo>
                  <a:cubicBezTo>
                    <a:pt x="84" y="218"/>
                    <a:pt x="91" y="217"/>
                    <a:pt x="90" y="220"/>
                  </a:cubicBezTo>
                  <a:cubicBezTo>
                    <a:pt x="90" y="224"/>
                    <a:pt x="91" y="225"/>
                    <a:pt x="95" y="222"/>
                  </a:cubicBezTo>
                  <a:cubicBezTo>
                    <a:pt x="97" y="221"/>
                    <a:pt x="98" y="221"/>
                    <a:pt x="99" y="221"/>
                  </a:cubicBezTo>
                  <a:cubicBezTo>
                    <a:pt x="101" y="216"/>
                    <a:pt x="103" y="212"/>
                    <a:pt x="103" y="210"/>
                  </a:cubicBezTo>
                  <a:cubicBezTo>
                    <a:pt x="105" y="208"/>
                    <a:pt x="100" y="202"/>
                    <a:pt x="103" y="201"/>
                  </a:cubicBezTo>
                  <a:cubicBezTo>
                    <a:pt x="105" y="200"/>
                    <a:pt x="112" y="202"/>
                    <a:pt x="114" y="195"/>
                  </a:cubicBezTo>
                  <a:cubicBezTo>
                    <a:pt x="116" y="189"/>
                    <a:pt x="119" y="186"/>
                    <a:pt x="119" y="186"/>
                  </a:cubicBezTo>
                  <a:cubicBezTo>
                    <a:pt x="119" y="186"/>
                    <a:pt x="120" y="174"/>
                    <a:pt x="124" y="176"/>
                  </a:cubicBezTo>
                  <a:cubicBezTo>
                    <a:pt x="128" y="178"/>
                    <a:pt x="132" y="181"/>
                    <a:pt x="133" y="176"/>
                  </a:cubicBezTo>
                  <a:cubicBezTo>
                    <a:pt x="133" y="171"/>
                    <a:pt x="138" y="174"/>
                    <a:pt x="139" y="169"/>
                  </a:cubicBezTo>
                  <a:cubicBezTo>
                    <a:pt x="140" y="165"/>
                    <a:pt x="143" y="165"/>
                    <a:pt x="146" y="166"/>
                  </a:cubicBezTo>
                  <a:cubicBezTo>
                    <a:pt x="149" y="167"/>
                    <a:pt x="152" y="165"/>
                    <a:pt x="152" y="163"/>
                  </a:cubicBezTo>
                  <a:cubicBezTo>
                    <a:pt x="152" y="160"/>
                    <a:pt x="159" y="162"/>
                    <a:pt x="164" y="158"/>
                  </a:cubicBezTo>
                  <a:cubicBezTo>
                    <a:pt x="170" y="154"/>
                    <a:pt x="173" y="151"/>
                    <a:pt x="175" y="153"/>
                  </a:cubicBezTo>
                  <a:cubicBezTo>
                    <a:pt x="177" y="155"/>
                    <a:pt x="191" y="155"/>
                    <a:pt x="193" y="154"/>
                  </a:cubicBezTo>
                  <a:cubicBezTo>
                    <a:pt x="195" y="153"/>
                    <a:pt x="200" y="149"/>
                    <a:pt x="205" y="150"/>
                  </a:cubicBezTo>
                  <a:cubicBezTo>
                    <a:pt x="210" y="151"/>
                    <a:pt x="223" y="148"/>
                    <a:pt x="228" y="148"/>
                  </a:cubicBezTo>
                  <a:cubicBezTo>
                    <a:pt x="233" y="148"/>
                    <a:pt x="235" y="143"/>
                    <a:pt x="237" y="141"/>
                  </a:cubicBezTo>
                  <a:cubicBezTo>
                    <a:pt x="239" y="140"/>
                    <a:pt x="240" y="132"/>
                    <a:pt x="242" y="131"/>
                  </a:cubicBezTo>
                  <a:cubicBezTo>
                    <a:pt x="243" y="130"/>
                    <a:pt x="243" y="102"/>
                    <a:pt x="242" y="92"/>
                  </a:cubicBezTo>
                  <a:cubicBezTo>
                    <a:pt x="237" y="93"/>
                    <a:pt x="230" y="95"/>
                    <a:pt x="230" y="9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1" name="Freeform 209"/>
            <p:cNvSpPr/>
            <p:nvPr/>
          </p:nvSpPr>
          <p:spPr>
            <a:xfrm>
              <a:off x="4645026" y="3430588"/>
              <a:ext cx="203200" cy="144463"/>
            </a:xfrm>
            <a:custGeom>
              <a:gdLst>
                <a:gd name="T0" fmla="*/ 119 w 120"/>
                <a:gd name="T1" fmla="*/ 48 h 85"/>
                <a:gd name="T2" fmla="*/ 113 w 120"/>
                <a:gd name="T3" fmla="*/ 45 h 85"/>
                <a:gd name="T4" fmla="*/ 112 w 120"/>
                <a:gd name="T5" fmla="*/ 37 h 85"/>
                <a:gd name="T6" fmla="*/ 105 w 120"/>
                <a:gd name="T7" fmla="*/ 38 h 85"/>
                <a:gd name="T8" fmla="*/ 99 w 120"/>
                <a:gd name="T9" fmla="*/ 33 h 85"/>
                <a:gd name="T10" fmla="*/ 97 w 120"/>
                <a:gd name="T11" fmla="*/ 27 h 85"/>
                <a:gd name="T12" fmla="*/ 90 w 120"/>
                <a:gd name="T13" fmla="*/ 20 h 85"/>
                <a:gd name="T14" fmla="*/ 85 w 120"/>
                <a:gd name="T15" fmla="*/ 11 h 85"/>
                <a:gd name="T16" fmla="*/ 85 w 120"/>
                <a:gd name="T17" fmla="*/ 3 h 85"/>
                <a:gd name="T18" fmla="*/ 76 w 120"/>
                <a:gd name="T19" fmla="*/ 2 h 85"/>
                <a:gd name="T20" fmla="*/ 65 w 120"/>
                <a:gd name="T21" fmla="*/ 7 h 85"/>
                <a:gd name="T22" fmla="*/ 53 w 120"/>
                <a:gd name="T23" fmla="*/ 12 h 85"/>
                <a:gd name="T24" fmla="*/ 47 w 120"/>
                <a:gd name="T25" fmla="*/ 15 h 85"/>
                <a:gd name="T26" fmla="*/ 40 w 120"/>
                <a:gd name="T27" fmla="*/ 18 h 85"/>
                <a:gd name="T28" fmla="*/ 34 w 120"/>
                <a:gd name="T29" fmla="*/ 25 h 85"/>
                <a:gd name="T30" fmla="*/ 25 w 120"/>
                <a:gd name="T31" fmla="*/ 25 h 85"/>
                <a:gd name="T32" fmla="*/ 20 w 120"/>
                <a:gd name="T33" fmla="*/ 35 h 85"/>
                <a:gd name="T34" fmla="*/ 15 w 120"/>
                <a:gd name="T35" fmla="*/ 44 h 85"/>
                <a:gd name="T36" fmla="*/ 4 w 120"/>
                <a:gd name="T37" fmla="*/ 50 h 85"/>
                <a:gd name="T38" fmla="*/ 4 w 120"/>
                <a:gd name="T39" fmla="*/ 59 h 85"/>
                <a:gd name="T40" fmla="*/ 0 w 120"/>
                <a:gd name="T41" fmla="*/ 70 h 85"/>
                <a:gd name="T42" fmla="*/ 7 w 120"/>
                <a:gd name="T43" fmla="*/ 75 h 85"/>
                <a:gd name="T44" fmla="*/ 20 w 120"/>
                <a:gd name="T45" fmla="*/ 81 h 85"/>
                <a:gd name="T46" fmla="*/ 38 w 120"/>
                <a:gd name="T47" fmla="*/ 79 h 85"/>
                <a:gd name="T48" fmla="*/ 42 w 120"/>
                <a:gd name="T49" fmla="*/ 78 h 85"/>
                <a:gd name="T50" fmla="*/ 40 w 120"/>
                <a:gd name="T51" fmla="*/ 63 h 85"/>
                <a:gd name="T52" fmla="*/ 76 w 120"/>
                <a:gd name="T53" fmla="*/ 64 h 85"/>
                <a:gd name="T54" fmla="*/ 82 w 120"/>
                <a:gd name="T55" fmla="*/ 60 h 85"/>
                <a:gd name="T56" fmla="*/ 95 w 120"/>
                <a:gd name="T57" fmla="*/ 62 h 85"/>
                <a:gd name="T58" fmla="*/ 103 w 120"/>
                <a:gd name="T59" fmla="*/ 56 h 85"/>
                <a:gd name="T60" fmla="*/ 115 w 120"/>
                <a:gd name="T61" fmla="*/ 54 h 85"/>
                <a:gd name="T62" fmla="*/ 119 w 120"/>
                <a:gd name="T63" fmla="*/ 48 h 85"/>
                <a:gd name="T64" fmla="*/ 119 w 120"/>
                <a:gd name="T65" fmla="*/ 48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85">
                  <a:moveTo>
                    <a:pt x="119" y="48"/>
                  </a:moveTo>
                  <a:cubicBezTo>
                    <a:pt x="117" y="46"/>
                    <a:pt x="114" y="45"/>
                    <a:pt x="113" y="45"/>
                  </a:cubicBezTo>
                  <a:cubicBezTo>
                    <a:pt x="112" y="45"/>
                    <a:pt x="113" y="38"/>
                    <a:pt x="112" y="37"/>
                  </a:cubicBezTo>
                  <a:cubicBezTo>
                    <a:pt x="112" y="36"/>
                    <a:pt x="108" y="39"/>
                    <a:pt x="105" y="38"/>
                  </a:cubicBezTo>
                  <a:cubicBezTo>
                    <a:pt x="102" y="37"/>
                    <a:pt x="101" y="33"/>
                    <a:pt x="99" y="33"/>
                  </a:cubicBezTo>
                  <a:cubicBezTo>
                    <a:pt x="97" y="33"/>
                    <a:pt x="97" y="30"/>
                    <a:pt x="97" y="27"/>
                  </a:cubicBezTo>
                  <a:cubicBezTo>
                    <a:pt x="97" y="24"/>
                    <a:pt x="92" y="22"/>
                    <a:pt x="90" y="20"/>
                  </a:cubicBezTo>
                  <a:cubicBezTo>
                    <a:pt x="87" y="18"/>
                    <a:pt x="87" y="12"/>
                    <a:pt x="85" y="11"/>
                  </a:cubicBezTo>
                  <a:cubicBezTo>
                    <a:pt x="84" y="11"/>
                    <a:pt x="84" y="7"/>
                    <a:pt x="85" y="3"/>
                  </a:cubicBezTo>
                  <a:cubicBezTo>
                    <a:pt x="81" y="3"/>
                    <a:pt x="77" y="3"/>
                    <a:pt x="76" y="2"/>
                  </a:cubicBezTo>
                  <a:cubicBezTo>
                    <a:pt x="74" y="0"/>
                    <a:pt x="71" y="3"/>
                    <a:pt x="65" y="7"/>
                  </a:cubicBezTo>
                  <a:cubicBezTo>
                    <a:pt x="60" y="11"/>
                    <a:pt x="53" y="9"/>
                    <a:pt x="53" y="12"/>
                  </a:cubicBezTo>
                  <a:cubicBezTo>
                    <a:pt x="53" y="14"/>
                    <a:pt x="50" y="16"/>
                    <a:pt x="47" y="15"/>
                  </a:cubicBezTo>
                  <a:cubicBezTo>
                    <a:pt x="44" y="14"/>
                    <a:pt x="41" y="14"/>
                    <a:pt x="40" y="18"/>
                  </a:cubicBezTo>
                  <a:cubicBezTo>
                    <a:pt x="39" y="23"/>
                    <a:pt x="34" y="20"/>
                    <a:pt x="34" y="25"/>
                  </a:cubicBezTo>
                  <a:cubicBezTo>
                    <a:pt x="33" y="30"/>
                    <a:pt x="29" y="27"/>
                    <a:pt x="25" y="25"/>
                  </a:cubicBezTo>
                  <a:cubicBezTo>
                    <a:pt x="21" y="23"/>
                    <a:pt x="20" y="35"/>
                    <a:pt x="20" y="35"/>
                  </a:cubicBezTo>
                  <a:cubicBezTo>
                    <a:pt x="20" y="35"/>
                    <a:pt x="17" y="38"/>
                    <a:pt x="15" y="44"/>
                  </a:cubicBezTo>
                  <a:cubicBezTo>
                    <a:pt x="13" y="51"/>
                    <a:pt x="6" y="49"/>
                    <a:pt x="4" y="50"/>
                  </a:cubicBezTo>
                  <a:cubicBezTo>
                    <a:pt x="1" y="51"/>
                    <a:pt x="6" y="57"/>
                    <a:pt x="4" y="59"/>
                  </a:cubicBezTo>
                  <a:cubicBezTo>
                    <a:pt x="4" y="61"/>
                    <a:pt x="2" y="65"/>
                    <a:pt x="0" y="70"/>
                  </a:cubicBezTo>
                  <a:cubicBezTo>
                    <a:pt x="4" y="71"/>
                    <a:pt x="7" y="74"/>
                    <a:pt x="7" y="75"/>
                  </a:cubicBezTo>
                  <a:cubicBezTo>
                    <a:pt x="9" y="77"/>
                    <a:pt x="17" y="85"/>
                    <a:pt x="20" y="81"/>
                  </a:cubicBezTo>
                  <a:cubicBezTo>
                    <a:pt x="24" y="77"/>
                    <a:pt x="35" y="76"/>
                    <a:pt x="38" y="79"/>
                  </a:cubicBezTo>
                  <a:cubicBezTo>
                    <a:pt x="40" y="81"/>
                    <a:pt x="42" y="80"/>
                    <a:pt x="42" y="78"/>
                  </a:cubicBezTo>
                  <a:cubicBezTo>
                    <a:pt x="43" y="75"/>
                    <a:pt x="38" y="66"/>
                    <a:pt x="40" y="63"/>
                  </a:cubicBezTo>
                  <a:cubicBezTo>
                    <a:pt x="41" y="60"/>
                    <a:pt x="75" y="62"/>
                    <a:pt x="76" y="64"/>
                  </a:cubicBezTo>
                  <a:cubicBezTo>
                    <a:pt x="78" y="66"/>
                    <a:pt x="78" y="60"/>
                    <a:pt x="82" y="60"/>
                  </a:cubicBezTo>
                  <a:cubicBezTo>
                    <a:pt x="86" y="60"/>
                    <a:pt x="93" y="63"/>
                    <a:pt x="95" y="62"/>
                  </a:cubicBezTo>
                  <a:cubicBezTo>
                    <a:pt x="98" y="61"/>
                    <a:pt x="101" y="56"/>
                    <a:pt x="103" y="56"/>
                  </a:cubicBezTo>
                  <a:cubicBezTo>
                    <a:pt x="106" y="56"/>
                    <a:pt x="114" y="56"/>
                    <a:pt x="115" y="54"/>
                  </a:cubicBezTo>
                  <a:cubicBezTo>
                    <a:pt x="117" y="51"/>
                    <a:pt x="120" y="51"/>
                    <a:pt x="119" y="48"/>
                  </a:cubicBezTo>
                  <a:cubicBezTo>
                    <a:pt x="119" y="48"/>
                    <a:pt x="119" y="48"/>
                    <a:pt x="119" y="4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2" name="Freeform 210"/>
            <p:cNvSpPr/>
            <p:nvPr/>
          </p:nvSpPr>
          <p:spPr>
            <a:xfrm>
              <a:off x="4787901" y="3214688"/>
              <a:ext cx="382588" cy="301625"/>
            </a:xfrm>
            <a:custGeom>
              <a:gdLst>
                <a:gd name="T0" fmla="*/ 216 w 226"/>
                <a:gd name="T1" fmla="*/ 26 h 177"/>
                <a:gd name="T2" fmla="*/ 215 w 226"/>
                <a:gd name="T3" fmla="*/ 7 h 177"/>
                <a:gd name="T4" fmla="*/ 204 w 226"/>
                <a:gd name="T5" fmla="*/ 13 h 177"/>
                <a:gd name="T6" fmla="*/ 194 w 226"/>
                <a:gd name="T7" fmla="*/ 4 h 177"/>
                <a:gd name="T8" fmla="*/ 173 w 226"/>
                <a:gd name="T9" fmla="*/ 0 h 177"/>
                <a:gd name="T10" fmla="*/ 110 w 226"/>
                <a:gd name="T11" fmla="*/ 39 h 177"/>
                <a:gd name="T12" fmla="*/ 84 w 226"/>
                <a:gd name="T13" fmla="*/ 60 h 177"/>
                <a:gd name="T14" fmla="*/ 61 w 226"/>
                <a:gd name="T15" fmla="*/ 67 h 177"/>
                <a:gd name="T16" fmla="*/ 59 w 226"/>
                <a:gd name="T17" fmla="*/ 68 h 177"/>
                <a:gd name="T18" fmla="*/ 59 w 226"/>
                <a:gd name="T19" fmla="*/ 107 h 177"/>
                <a:gd name="T20" fmla="*/ 54 w 226"/>
                <a:gd name="T21" fmla="*/ 117 h 177"/>
                <a:gd name="T22" fmla="*/ 45 w 226"/>
                <a:gd name="T23" fmla="*/ 124 h 177"/>
                <a:gd name="T24" fmla="*/ 22 w 226"/>
                <a:gd name="T25" fmla="*/ 126 h 177"/>
                <a:gd name="T26" fmla="*/ 10 w 226"/>
                <a:gd name="T27" fmla="*/ 130 h 177"/>
                <a:gd name="T28" fmla="*/ 1 w 226"/>
                <a:gd name="T29" fmla="*/ 130 h 177"/>
                <a:gd name="T30" fmla="*/ 1 w 226"/>
                <a:gd name="T31" fmla="*/ 138 h 177"/>
                <a:gd name="T32" fmla="*/ 6 w 226"/>
                <a:gd name="T33" fmla="*/ 147 h 177"/>
                <a:gd name="T34" fmla="*/ 13 w 226"/>
                <a:gd name="T35" fmla="*/ 154 h 177"/>
                <a:gd name="T36" fmla="*/ 15 w 226"/>
                <a:gd name="T37" fmla="*/ 160 h 177"/>
                <a:gd name="T38" fmla="*/ 21 w 226"/>
                <a:gd name="T39" fmla="*/ 165 h 177"/>
                <a:gd name="T40" fmla="*/ 28 w 226"/>
                <a:gd name="T41" fmla="*/ 164 h 177"/>
                <a:gd name="T42" fmla="*/ 29 w 226"/>
                <a:gd name="T43" fmla="*/ 172 h 177"/>
                <a:gd name="T44" fmla="*/ 35 w 226"/>
                <a:gd name="T45" fmla="*/ 175 h 177"/>
                <a:gd name="T46" fmla="*/ 40 w 226"/>
                <a:gd name="T47" fmla="*/ 168 h 177"/>
                <a:gd name="T48" fmla="*/ 45 w 226"/>
                <a:gd name="T49" fmla="*/ 175 h 177"/>
                <a:gd name="T50" fmla="*/ 51 w 226"/>
                <a:gd name="T51" fmla="*/ 172 h 177"/>
                <a:gd name="T52" fmla="*/ 58 w 226"/>
                <a:gd name="T53" fmla="*/ 162 h 177"/>
                <a:gd name="T54" fmla="*/ 61 w 226"/>
                <a:gd name="T55" fmla="*/ 150 h 177"/>
                <a:gd name="T56" fmla="*/ 74 w 226"/>
                <a:gd name="T57" fmla="*/ 150 h 177"/>
                <a:gd name="T58" fmla="*/ 83 w 226"/>
                <a:gd name="T59" fmla="*/ 147 h 177"/>
                <a:gd name="T60" fmla="*/ 95 w 226"/>
                <a:gd name="T61" fmla="*/ 151 h 177"/>
                <a:gd name="T62" fmla="*/ 103 w 226"/>
                <a:gd name="T63" fmla="*/ 159 h 177"/>
                <a:gd name="T64" fmla="*/ 115 w 226"/>
                <a:gd name="T65" fmla="*/ 155 h 177"/>
                <a:gd name="T66" fmla="*/ 126 w 226"/>
                <a:gd name="T67" fmla="*/ 161 h 177"/>
                <a:gd name="T68" fmla="*/ 140 w 226"/>
                <a:gd name="T69" fmla="*/ 161 h 177"/>
                <a:gd name="T70" fmla="*/ 151 w 226"/>
                <a:gd name="T71" fmla="*/ 154 h 177"/>
                <a:gd name="T72" fmla="*/ 169 w 226"/>
                <a:gd name="T73" fmla="*/ 155 h 177"/>
                <a:gd name="T74" fmla="*/ 182 w 226"/>
                <a:gd name="T75" fmla="*/ 158 h 177"/>
                <a:gd name="T76" fmla="*/ 192 w 226"/>
                <a:gd name="T77" fmla="*/ 148 h 177"/>
                <a:gd name="T78" fmla="*/ 194 w 226"/>
                <a:gd name="T79" fmla="*/ 148 h 177"/>
                <a:gd name="T80" fmla="*/ 194 w 226"/>
                <a:gd name="T81" fmla="*/ 144 h 177"/>
                <a:gd name="T82" fmla="*/ 197 w 226"/>
                <a:gd name="T83" fmla="*/ 131 h 177"/>
                <a:gd name="T84" fmla="*/ 220 w 226"/>
                <a:gd name="T85" fmla="*/ 102 h 177"/>
                <a:gd name="T86" fmla="*/ 222 w 226"/>
                <a:gd name="T87" fmla="*/ 66 h 177"/>
                <a:gd name="T88" fmla="*/ 225 w 226"/>
                <a:gd name="T89" fmla="*/ 50 h 177"/>
                <a:gd name="T90" fmla="*/ 222 w 226"/>
                <a:gd name="T91" fmla="*/ 39 h 177"/>
                <a:gd name="T92" fmla="*/ 216 w 226"/>
                <a:gd name="T93" fmla="*/ 26 h 1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177">
                  <a:moveTo>
                    <a:pt x="216" y="26"/>
                  </a:moveTo>
                  <a:cubicBezTo>
                    <a:pt x="216" y="24"/>
                    <a:pt x="215" y="14"/>
                    <a:pt x="215" y="7"/>
                  </a:cubicBezTo>
                  <a:cubicBezTo>
                    <a:pt x="204" y="13"/>
                    <a:pt x="204" y="13"/>
                    <a:pt x="204" y="13"/>
                  </a:cubicBezTo>
                  <a:cubicBezTo>
                    <a:pt x="204" y="13"/>
                    <a:pt x="200" y="8"/>
                    <a:pt x="194" y="4"/>
                  </a:cubicBezTo>
                  <a:cubicBezTo>
                    <a:pt x="188" y="0"/>
                    <a:pt x="173" y="0"/>
                    <a:pt x="173" y="0"/>
                  </a:cubicBezTo>
                  <a:cubicBezTo>
                    <a:pt x="110" y="39"/>
                    <a:pt x="110" y="39"/>
                    <a:pt x="110" y="39"/>
                  </a:cubicBezTo>
                  <a:cubicBezTo>
                    <a:pt x="84" y="60"/>
                    <a:pt x="84" y="60"/>
                    <a:pt x="84" y="60"/>
                  </a:cubicBezTo>
                  <a:cubicBezTo>
                    <a:pt x="84" y="60"/>
                    <a:pt x="67" y="66"/>
                    <a:pt x="61" y="67"/>
                  </a:cubicBezTo>
                  <a:cubicBezTo>
                    <a:pt x="61" y="68"/>
                    <a:pt x="60" y="68"/>
                    <a:pt x="59" y="68"/>
                  </a:cubicBezTo>
                  <a:cubicBezTo>
                    <a:pt x="60" y="78"/>
                    <a:pt x="60" y="106"/>
                    <a:pt x="59" y="107"/>
                  </a:cubicBezTo>
                  <a:cubicBezTo>
                    <a:pt x="57" y="108"/>
                    <a:pt x="56" y="116"/>
                    <a:pt x="54" y="117"/>
                  </a:cubicBezTo>
                  <a:cubicBezTo>
                    <a:pt x="52" y="119"/>
                    <a:pt x="50" y="124"/>
                    <a:pt x="45" y="124"/>
                  </a:cubicBezTo>
                  <a:cubicBezTo>
                    <a:pt x="40" y="124"/>
                    <a:pt x="27" y="127"/>
                    <a:pt x="22" y="126"/>
                  </a:cubicBezTo>
                  <a:cubicBezTo>
                    <a:pt x="17" y="125"/>
                    <a:pt x="12" y="129"/>
                    <a:pt x="10" y="130"/>
                  </a:cubicBezTo>
                  <a:cubicBezTo>
                    <a:pt x="9" y="130"/>
                    <a:pt x="5" y="131"/>
                    <a:pt x="1" y="130"/>
                  </a:cubicBezTo>
                  <a:cubicBezTo>
                    <a:pt x="0" y="134"/>
                    <a:pt x="0" y="138"/>
                    <a:pt x="1" y="138"/>
                  </a:cubicBezTo>
                  <a:cubicBezTo>
                    <a:pt x="3" y="139"/>
                    <a:pt x="3" y="145"/>
                    <a:pt x="6" y="147"/>
                  </a:cubicBezTo>
                  <a:cubicBezTo>
                    <a:pt x="8" y="149"/>
                    <a:pt x="13" y="151"/>
                    <a:pt x="13" y="154"/>
                  </a:cubicBezTo>
                  <a:cubicBezTo>
                    <a:pt x="13" y="157"/>
                    <a:pt x="13" y="160"/>
                    <a:pt x="15" y="160"/>
                  </a:cubicBezTo>
                  <a:cubicBezTo>
                    <a:pt x="17" y="160"/>
                    <a:pt x="18" y="164"/>
                    <a:pt x="21" y="165"/>
                  </a:cubicBezTo>
                  <a:cubicBezTo>
                    <a:pt x="24" y="166"/>
                    <a:pt x="28" y="163"/>
                    <a:pt x="28" y="164"/>
                  </a:cubicBezTo>
                  <a:cubicBezTo>
                    <a:pt x="29" y="165"/>
                    <a:pt x="28" y="172"/>
                    <a:pt x="29" y="172"/>
                  </a:cubicBezTo>
                  <a:cubicBezTo>
                    <a:pt x="30" y="172"/>
                    <a:pt x="33" y="173"/>
                    <a:pt x="35" y="175"/>
                  </a:cubicBezTo>
                  <a:cubicBezTo>
                    <a:pt x="35" y="171"/>
                    <a:pt x="36" y="167"/>
                    <a:pt x="40" y="168"/>
                  </a:cubicBezTo>
                  <a:cubicBezTo>
                    <a:pt x="45" y="169"/>
                    <a:pt x="41" y="173"/>
                    <a:pt x="45" y="175"/>
                  </a:cubicBezTo>
                  <a:cubicBezTo>
                    <a:pt x="49" y="177"/>
                    <a:pt x="51" y="175"/>
                    <a:pt x="51" y="172"/>
                  </a:cubicBezTo>
                  <a:cubicBezTo>
                    <a:pt x="51" y="169"/>
                    <a:pt x="56" y="163"/>
                    <a:pt x="58" y="162"/>
                  </a:cubicBezTo>
                  <a:cubicBezTo>
                    <a:pt x="59" y="161"/>
                    <a:pt x="59" y="153"/>
                    <a:pt x="61" y="150"/>
                  </a:cubicBezTo>
                  <a:cubicBezTo>
                    <a:pt x="64" y="148"/>
                    <a:pt x="71" y="150"/>
                    <a:pt x="74" y="150"/>
                  </a:cubicBezTo>
                  <a:cubicBezTo>
                    <a:pt x="77" y="151"/>
                    <a:pt x="80" y="144"/>
                    <a:pt x="83" y="147"/>
                  </a:cubicBezTo>
                  <a:cubicBezTo>
                    <a:pt x="86" y="150"/>
                    <a:pt x="92" y="148"/>
                    <a:pt x="95" y="151"/>
                  </a:cubicBezTo>
                  <a:cubicBezTo>
                    <a:pt x="97" y="154"/>
                    <a:pt x="99" y="161"/>
                    <a:pt x="103" y="159"/>
                  </a:cubicBezTo>
                  <a:cubicBezTo>
                    <a:pt x="107" y="156"/>
                    <a:pt x="112" y="155"/>
                    <a:pt x="115" y="155"/>
                  </a:cubicBezTo>
                  <a:cubicBezTo>
                    <a:pt x="117" y="155"/>
                    <a:pt x="123" y="160"/>
                    <a:pt x="126" y="161"/>
                  </a:cubicBezTo>
                  <a:cubicBezTo>
                    <a:pt x="129" y="162"/>
                    <a:pt x="137" y="163"/>
                    <a:pt x="140" y="161"/>
                  </a:cubicBezTo>
                  <a:cubicBezTo>
                    <a:pt x="143" y="159"/>
                    <a:pt x="147" y="154"/>
                    <a:pt x="151" y="154"/>
                  </a:cubicBezTo>
                  <a:cubicBezTo>
                    <a:pt x="155" y="155"/>
                    <a:pt x="167" y="153"/>
                    <a:pt x="169" y="155"/>
                  </a:cubicBezTo>
                  <a:cubicBezTo>
                    <a:pt x="172" y="156"/>
                    <a:pt x="178" y="159"/>
                    <a:pt x="182" y="158"/>
                  </a:cubicBezTo>
                  <a:cubicBezTo>
                    <a:pt x="185" y="156"/>
                    <a:pt x="189" y="149"/>
                    <a:pt x="192" y="148"/>
                  </a:cubicBezTo>
                  <a:cubicBezTo>
                    <a:pt x="193" y="148"/>
                    <a:pt x="193" y="148"/>
                    <a:pt x="194" y="148"/>
                  </a:cubicBezTo>
                  <a:cubicBezTo>
                    <a:pt x="194" y="147"/>
                    <a:pt x="194" y="145"/>
                    <a:pt x="194" y="144"/>
                  </a:cubicBezTo>
                  <a:cubicBezTo>
                    <a:pt x="194" y="136"/>
                    <a:pt x="196" y="139"/>
                    <a:pt x="197" y="131"/>
                  </a:cubicBezTo>
                  <a:cubicBezTo>
                    <a:pt x="198" y="123"/>
                    <a:pt x="219" y="103"/>
                    <a:pt x="220" y="102"/>
                  </a:cubicBezTo>
                  <a:cubicBezTo>
                    <a:pt x="222" y="101"/>
                    <a:pt x="222" y="70"/>
                    <a:pt x="222" y="66"/>
                  </a:cubicBezTo>
                  <a:cubicBezTo>
                    <a:pt x="222" y="61"/>
                    <a:pt x="223" y="56"/>
                    <a:pt x="225" y="50"/>
                  </a:cubicBezTo>
                  <a:cubicBezTo>
                    <a:pt x="226" y="44"/>
                    <a:pt x="222" y="45"/>
                    <a:pt x="222" y="39"/>
                  </a:cubicBezTo>
                  <a:cubicBezTo>
                    <a:pt x="222" y="33"/>
                    <a:pt x="216" y="29"/>
                    <a:pt x="216" y="2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3" name="Freeform 211"/>
            <p:cNvSpPr/>
            <p:nvPr/>
          </p:nvSpPr>
          <p:spPr>
            <a:xfrm>
              <a:off x="5116513" y="3214688"/>
              <a:ext cx="247650" cy="411163"/>
            </a:xfrm>
            <a:custGeom>
              <a:gdLst>
                <a:gd name="T0" fmla="*/ 145 w 146"/>
                <a:gd name="T1" fmla="*/ 60 h 242"/>
                <a:gd name="T2" fmla="*/ 34 w 146"/>
                <a:gd name="T3" fmla="*/ 0 h 242"/>
                <a:gd name="T4" fmla="*/ 21 w 146"/>
                <a:gd name="T5" fmla="*/ 7 h 242"/>
                <a:gd name="T6" fmla="*/ 22 w 146"/>
                <a:gd name="T7" fmla="*/ 26 h 242"/>
                <a:gd name="T8" fmla="*/ 28 w 146"/>
                <a:gd name="T9" fmla="*/ 39 h 242"/>
                <a:gd name="T10" fmla="*/ 31 w 146"/>
                <a:gd name="T11" fmla="*/ 50 h 242"/>
                <a:gd name="T12" fmla="*/ 28 w 146"/>
                <a:gd name="T13" fmla="*/ 66 h 242"/>
                <a:gd name="T14" fmla="*/ 26 w 146"/>
                <a:gd name="T15" fmla="*/ 102 h 242"/>
                <a:gd name="T16" fmla="*/ 3 w 146"/>
                <a:gd name="T17" fmla="*/ 131 h 242"/>
                <a:gd name="T18" fmla="*/ 0 w 146"/>
                <a:gd name="T19" fmla="*/ 144 h 242"/>
                <a:gd name="T20" fmla="*/ 0 w 146"/>
                <a:gd name="T21" fmla="*/ 148 h 242"/>
                <a:gd name="T22" fmla="*/ 3 w 146"/>
                <a:gd name="T23" fmla="*/ 151 h 242"/>
                <a:gd name="T24" fmla="*/ 9 w 146"/>
                <a:gd name="T25" fmla="*/ 157 h 242"/>
                <a:gd name="T26" fmla="*/ 19 w 146"/>
                <a:gd name="T27" fmla="*/ 171 h 242"/>
                <a:gd name="T28" fmla="*/ 20 w 146"/>
                <a:gd name="T29" fmla="*/ 184 h 242"/>
                <a:gd name="T30" fmla="*/ 26 w 146"/>
                <a:gd name="T31" fmla="*/ 202 h 242"/>
                <a:gd name="T32" fmla="*/ 20 w 146"/>
                <a:gd name="T33" fmla="*/ 204 h 242"/>
                <a:gd name="T34" fmla="*/ 8 w 146"/>
                <a:gd name="T35" fmla="*/ 206 h 242"/>
                <a:gd name="T36" fmla="*/ 11 w 146"/>
                <a:gd name="T37" fmla="*/ 216 h 242"/>
                <a:gd name="T38" fmla="*/ 23 w 146"/>
                <a:gd name="T39" fmla="*/ 229 h 242"/>
                <a:gd name="T40" fmla="*/ 29 w 146"/>
                <a:gd name="T41" fmla="*/ 241 h 242"/>
                <a:gd name="T42" fmla="*/ 37 w 146"/>
                <a:gd name="T43" fmla="*/ 237 h 242"/>
                <a:gd name="T44" fmla="*/ 46 w 146"/>
                <a:gd name="T45" fmla="*/ 237 h 242"/>
                <a:gd name="T46" fmla="*/ 62 w 146"/>
                <a:gd name="T47" fmla="*/ 233 h 242"/>
                <a:gd name="T48" fmla="*/ 75 w 146"/>
                <a:gd name="T49" fmla="*/ 226 h 242"/>
                <a:gd name="T50" fmla="*/ 76 w 146"/>
                <a:gd name="T51" fmla="*/ 218 h 242"/>
                <a:gd name="T52" fmla="*/ 97 w 146"/>
                <a:gd name="T53" fmla="*/ 214 h 242"/>
                <a:gd name="T54" fmla="*/ 111 w 146"/>
                <a:gd name="T55" fmla="*/ 199 h 242"/>
                <a:gd name="T56" fmla="*/ 114 w 146"/>
                <a:gd name="T57" fmla="*/ 192 h 242"/>
                <a:gd name="T58" fmla="*/ 126 w 146"/>
                <a:gd name="T59" fmla="*/ 187 h 242"/>
                <a:gd name="T60" fmla="*/ 129 w 146"/>
                <a:gd name="T61" fmla="*/ 188 h 242"/>
                <a:gd name="T62" fmla="*/ 128 w 146"/>
                <a:gd name="T63" fmla="*/ 187 h 242"/>
                <a:gd name="T64" fmla="*/ 130 w 146"/>
                <a:gd name="T65" fmla="*/ 181 h 242"/>
                <a:gd name="T66" fmla="*/ 123 w 146"/>
                <a:gd name="T67" fmla="*/ 172 h 242"/>
                <a:gd name="T68" fmla="*/ 120 w 146"/>
                <a:gd name="T69" fmla="*/ 161 h 242"/>
                <a:gd name="T70" fmla="*/ 118 w 146"/>
                <a:gd name="T71" fmla="*/ 153 h 242"/>
                <a:gd name="T72" fmla="*/ 119 w 146"/>
                <a:gd name="T73" fmla="*/ 143 h 242"/>
                <a:gd name="T74" fmla="*/ 125 w 146"/>
                <a:gd name="T75" fmla="*/ 132 h 242"/>
                <a:gd name="T76" fmla="*/ 131 w 146"/>
                <a:gd name="T77" fmla="*/ 123 h 242"/>
                <a:gd name="T78" fmla="*/ 143 w 146"/>
                <a:gd name="T79" fmla="*/ 115 h 242"/>
                <a:gd name="T80" fmla="*/ 145 w 146"/>
                <a:gd name="T81" fmla="*/ 100 h 242"/>
                <a:gd name="T82" fmla="*/ 145 w 146"/>
                <a:gd name="T83" fmla="*/ 60 h 2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6" h="242">
                  <a:moveTo>
                    <a:pt x="145" y="60"/>
                  </a:moveTo>
                  <a:cubicBezTo>
                    <a:pt x="34" y="0"/>
                    <a:pt x="34" y="0"/>
                    <a:pt x="34" y="0"/>
                  </a:cubicBezTo>
                  <a:cubicBezTo>
                    <a:pt x="21" y="7"/>
                    <a:pt x="21" y="7"/>
                    <a:pt x="21" y="7"/>
                  </a:cubicBezTo>
                  <a:cubicBezTo>
                    <a:pt x="21" y="14"/>
                    <a:pt x="22" y="24"/>
                    <a:pt x="22" y="26"/>
                  </a:cubicBezTo>
                  <a:cubicBezTo>
                    <a:pt x="22" y="29"/>
                    <a:pt x="28" y="33"/>
                    <a:pt x="28" y="39"/>
                  </a:cubicBezTo>
                  <a:cubicBezTo>
                    <a:pt x="28" y="45"/>
                    <a:pt x="32" y="44"/>
                    <a:pt x="31" y="50"/>
                  </a:cubicBezTo>
                  <a:cubicBezTo>
                    <a:pt x="29" y="56"/>
                    <a:pt x="28" y="61"/>
                    <a:pt x="28" y="66"/>
                  </a:cubicBezTo>
                  <a:cubicBezTo>
                    <a:pt x="28" y="70"/>
                    <a:pt x="28" y="101"/>
                    <a:pt x="26" y="102"/>
                  </a:cubicBezTo>
                  <a:cubicBezTo>
                    <a:pt x="25" y="103"/>
                    <a:pt x="4" y="123"/>
                    <a:pt x="3" y="131"/>
                  </a:cubicBezTo>
                  <a:cubicBezTo>
                    <a:pt x="2" y="139"/>
                    <a:pt x="0" y="136"/>
                    <a:pt x="0" y="144"/>
                  </a:cubicBezTo>
                  <a:cubicBezTo>
                    <a:pt x="0" y="145"/>
                    <a:pt x="0" y="147"/>
                    <a:pt x="0" y="148"/>
                  </a:cubicBezTo>
                  <a:cubicBezTo>
                    <a:pt x="1" y="149"/>
                    <a:pt x="2" y="150"/>
                    <a:pt x="3" y="151"/>
                  </a:cubicBezTo>
                  <a:cubicBezTo>
                    <a:pt x="5" y="153"/>
                    <a:pt x="5" y="157"/>
                    <a:pt x="9" y="157"/>
                  </a:cubicBezTo>
                  <a:cubicBezTo>
                    <a:pt x="14" y="157"/>
                    <a:pt x="19" y="167"/>
                    <a:pt x="19" y="171"/>
                  </a:cubicBezTo>
                  <a:cubicBezTo>
                    <a:pt x="18" y="175"/>
                    <a:pt x="21" y="177"/>
                    <a:pt x="20" y="184"/>
                  </a:cubicBezTo>
                  <a:cubicBezTo>
                    <a:pt x="20" y="191"/>
                    <a:pt x="24" y="201"/>
                    <a:pt x="26" y="202"/>
                  </a:cubicBezTo>
                  <a:cubicBezTo>
                    <a:pt x="28" y="203"/>
                    <a:pt x="25" y="205"/>
                    <a:pt x="20" y="204"/>
                  </a:cubicBezTo>
                  <a:cubicBezTo>
                    <a:pt x="15" y="204"/>
                    <a:pt x="8" y="204"/>
                    <a:pt x="8" y="206"/>
                  </a:cubicBezTo>
                  <a:cubicBezTo>
                    <a:pt x="8" y="208"/>
                    <a:pt x="6" y="211"/>
                    <a:pt x="11" y="216"/>
                  </a:cubicBezTo>
                  <a:cubicBezTo>
                    <a:pt x="17" y="221"/>
                    <a:pt x="22" y="223"/>
                    <a:pt x="23" y="229"/>
                  </a:cubicBezTo>
                  <a:cubicBezTo>
                    <a:pt x="25" y="234"/>
                    <a:pt x="27" y="239"/>
                    <a:pt x="29" y="241"/>
                  </a:cubicBezTo>
                  <a:cubicBezTo>
                    <a:pt x="31" y="242"/>
                    <a:pt x="34" y="242"/>
                    <a:pt x="37" y="237"/>
                  </a:cubicBezTo>
                  <a:cubicBezTo>
                    <a:pt x="40" y="233"/>
                    <a:pt x="43" y="241"/>
                    <a:pt x="46" y="237"/>
                  </a:cubicBezTo>
                  <a:cubicBezTo>
                    <a:pt x="49" y="233"/>
                    <a:pt x="60" y="234"/>
                    <a:pt x="62" y="233"/>
                  </a:cubicBezTo>
                  <a:cubicBezTo>
                    <a:pt x="65" y="231"/>
                    <a:pt x="73" y="228"/>
                    <a:pt x="75" y="226"/>
                  </a:cubicBezTo>
                  <a:cubicBezTo>
                    <a:pt x="78" y="224"/>
                    <a:pt x="72" y="220"/>
                    <a:pt x="76" y="218"/>
                  </a:cubicBezTo>
                  <a:cubicBezTo>
                    <a:pt x="80" y="216"/>
                    <a:pt x="92" y="220"/>
                    <a:pt x="97" y="214"/>
                  </a:cubicBezTo>
                  <a:cubicBezTo>
                    <a:pt x="102" y="208"/>
                    <a:pt x="109" y="201"/>
                    <a:pt x="111" y="199"/>
                  </a:cubicBezTo>
                  <a:cubicBezTo>
                    <a:pt x="113" y="197"/>
                    <a:pt x="111" y="195"/>
                    <a:pt x="114" y="192"/>
                  </a:cubicBezTo>
                  <a:cubicBezTo>
                    <a:pt x="117" y="189"/>
                    <a:pt x="123" y="186"/>
                    <a:pt x="126" y="187"/>
                  </a:cubicBezTo>
                  <a:cubicBezTo>
                    <a:pt x="127" y="188"/>
                    <a:pt x="128" y="188"/>
                    <a:pt x="129" y="188"/>
                  </a:cubicBezTo>
                  <a:cubicBezTo>
                    <a:pt x="128" y="188"/>
                    <a:pt x="128" y="187"/>
                    <a:pt x="128" y="187"/>
                  </a:cubicBezTo>
                  <a:cubicBezTo>
                    <a:pt x="130" y="181"/>
                    <a:pt x="130" y="181"/>
                    <a:pt x="130" y="181"/>
                  </a:cubicBezTo>
                  <a:cubicBezTo>
                    <a:pt x="130" y="181"/>
                    <a:pt x="123" y="178"/>
                    <a:pt x="123" y="172"/>
                  </a:cubicBezTo>
                  <a:cubicBezTo>
                    <a:pt x="123" y="167"/>
                    <a:pt x="125" y="161"/>
                    <a:pt x="120" y="161"/>
                  </a:cubicBezTo>
                  <a:cubicBezTo>
                    <a:pt x="116" y="161"/>
                    <a:pt x="115" y="157"/>
                    <a:pt x="118" y="153"/>
                  </a:cubicBezTo>
                  <a:cubicBezTo>
                    <a:pt x="122" y="150"/>
                    <a:pt x="113" y="143"/>
                    <a:pt x="119" y="143"/>
                  </a:cubicBezTo>
                  <a:cubicBezTo>
                    <a:pt x="125" y="143"/>
                    <a:pt x="121" y="133"/>
                    <a:pt x="125" y="132"/>
                  </a:cubicBezTo>
                  <a:cubicBezTo>
                    <a:pt x="130" y="131"/>
                    <a:pt x="131" y="127"/>
                    <a:pt x="131" y="123"/>
                  </a:cubicBezTo>
                  <a:cubicBezTo>
                    <a:pt x="131" y="118"/>
                    <a:pt x="141" y="116"/>
                    <a:pt x="143" y="115"/>
                  </a:cubicBezTo>
                  <a:cubicBezTo>
                    <a:pt x="146" y="114"/>
                    <a:pt x="145" y="100"/>
                    <a:pt x="145" y="100"/>
                  </a:cubicBezTo>
                  <a:lnTo>
                    <a:pt x="145" y="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4" name="Freeform 212"/>
            <p:cNvSpPr/>
            <p:nvPr/>
          </p:nvSpPr>
          <p:spPr>
            <a:xfrm>
              <a:off x="5378451" y="2987675"/>
              <a:ext cx="269875" cy="269875"/>
            </a:xfrm>
            <a:custGeom>
              <a:gdLst>
                <a:gd name="T0" fmla="*/ 149 w 159"/>
                <a:gd name="T1" fmla="*/ 35 h 159"/>
                <a:gd name="T2" fmla="*/ 138 w 159"/>
                <a:gd name="T3" fmla="*/ 9 h 159"/>
                <a:gd name="T4" fmla="*/ 137 w 159"/>
                <a:gd name="T5" fmla="*/ 11 h 159"/>
                <a:gd name="T6" fmla="*/ 121 w 159"/>
                <a:gd name="T7" fmla="*/ 10 h 159"/>
                <a:gd name="T8" fmla="*/ 103 w 159"/>
                <a:gd name="T9" fmla="*/ 7 h 159"/>
                <a:gd name="T10" fmla="*/ 73 w 159"/>
                <a:gd name="T11" fmla="*/ 12 h 159"/>
                <a:gd name="T12" fmla="*/ 56 w 159"/>
                <a:gd name="T13" fmla="*/ 13 h 159"/>
                <a:gd name="T14" fmla="*/ 30 w 159"/>
                <a:gd name="T15" fmla="*/ 5 h 159"/>
                <a:gd name="T16" fmla="*/ 8 w 159"/>
                <a:gd name="T17" fmla="*/ 0 h 159"/>
                <a:gd name="T18" fmla="*/ 6 w 159"/>
                <a:gd name="T19" fmla="*/ 4 h 159"/>
                <a:gd name="T20" fmla="*/ 5 w 159"/>
                <a:gd name="T21" fmla="*/ 22 h 159"/>
                <a:gd name="T22" fmla="*/ 5 w 159"/>
                <a:gd name="T23" fmla="*/ 43 h 159"/>
                <a:gd name="T24" fmla="*/ 5 w 159"/>
                <a:gd name="T25" fmla="*/ 155 h 159"/>
                <a:gd name="T26" fmla="*/ 93 w 159"/>
                <a:gd name="T27" fmla="*/ 155 h 159"/>
                <a:gd name="T28" fmla="*/ 98 w 159"/>
                <a:gd name="T29" fmla="*/ 152 h 159"/>
                <a:gd name="T30" fmla="*/ 105 w 159"/>
                <a:gd name="T31" fmla="*/ 155 h 159"/>
                <a:gd name="T32" fmla="*/ 124 w 159"/>
                <a:gd name="T33" fmla="*/ 155 h 159"/>
                <a:gd name="T34" fmla="*/ 132 w 159"/>
                <a:gd name="T35" fmla="*/ 159 h 159"/>
                <a:gd name="T36" fmla="*/ 141 w 159"/>
                <a:gd name="T37" fmla="*/ 152 h 159"/>
                <a:gd name="T38" fmla="*/ 150 w 159"/>
                <a:gd name="T39" fmla="*/ 142 h 159"/>
                <a:gd name="T40" fmla="*/ 158 w 159"/>
                <a:gd name="T41" fmla="*/ 136 h 159"/>
                <a:gd name="T42" fmla="*/ 158 w 159"/>
                <a:gd name="T43" fmla="*/ 136 h 159"/>
                <a:gd name="T44" fmla="*/ 158 w 159"/>
                <a:gd name="T45" fmla="*/ 130 h 159"/>
                <a:gd name="T46" fmla="*/ 152 w 159"/>
                <a:gd name="T47" fmla="*/ 114 h 159"/>
                <a:gd name="T48" fmla="*/ 136 w 159"/>
                <a:gd name="T49" fmla="*/ 84 h 159"/>
                <a:gd name="T50" fmla="*/ 129 w 159"/>
                <a:gd name="T51" fmla="*/ 69 h 159"/>
                <a:gd name="T52" fmla="*/ 119 w 159"/>
                <a:gd name="T53" fmla="*/ 53 h 159"/>
                <a:gd name="T54" fmla="*/ 113 w 159"/>
                <a:gd name="T55" fmla="*/ 27 h 159"/>
                <a:gd name="T56" fmla="*/ 122 w 159"/>
                <a:gd name="T57" fmla="*/ 45 h 159"/>
                <a:gd name="T58" fmla="*/ 137 w 159"/>
                <a:gd name="T59" fmla="*/ 64 h 159"/>
                <a:gd name="T60" fmla="*/ 146 w 159"/>
                <a:gd name="T61" fmla="*/ 44 h 159"/>
                <a:gd name="T62" fmla="*/ 146 w 159"/>
                <a:gd name="T63" fmla="*/ 44 h 159"/>
                <a:gd name="T64" fmla="*/ 147 w 159"/>
                <a:gd name="T65" fmla="*/ 40 h 159"/>
                <a:gd name="T66" fmla="*/ 149 w 159"/>
                <a:gd name="T67" fmla="*/ 35 h 1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59">
                  <a:moveTo>
                    <a:pt x="149" y="35"/>
                  </a:moveTo>
                  <a:cubicBezTo>
                    <a:pt x="138" y="9"/>
                    <a:pt x="138" y="9"/>
                    <a:pt x="138" y="9"/>
                  </a:cubicBezTo>
                  <a:cubicBezTo>
                    <a:pt x="138" y="10"/>
                    <a:pt x="137" y="11"/>
                    <a:pt x="137" y="11"/>
                  </a:cubicBezTo>
                  <a:cubicBezTo>
                    <a:pt x="135" y="13"/>
                    <a:pt x="128" y="9"/>
                    <a:pt x="121" y="10"/>
                  </a:cubicBezTo>
                  <a:cubicBezTo>
                    <a:pt x="115" y="12"/>
                    <a:pt x="109" y="10"/>
                    <a:pt x="103" y="7"/>
                  </a:cubicBezTo>
                  <a:cubicBezTo>
                    <a:pt x="97" y="3"/>
                    <a:pt x="75" y="7"/>
                    <a:pt x="73" y="12"/>
                  </a:cubicBezTo>
                  <a:cubicBezTo>
                    <a:pt x="70" y="16"/>
                    <a:pt x="63" y="16"/>
                    <a:pt x="56" y="13"/>
                  </a:cubicBezTo>
                  <a:cubicBezTo>
                    <a:pt x="50" y="10"/>
                    <a:pt x="42" y="7"/>
                    <a:pt x="30" y="5"/>
                  </a:cubicBezTo>
                  <a:cubicBezTo>
                    <a:pt x="19" y="4"/>
                    <a:pt x="10" y="3"/>
                    <a:pt x="8" y="0"/>
                  </a:cubicBezTo>
                  <a:cubicBezTo>
                    <a:pt x="7" y="1"/>
                    <a:pt x="7" y="3"/>
                    <a:pt x="6" y="4"/>
                  </a:cubicBezTo>
                  <a:cubicBezTo>
                    <a:pt x="3" y="14"/>
                    <a:pt x="9" y="16"/>
                    <a:pt x="5" y="22"/>
                  </a:cubicBezTo>
                  <a:cubicBezTo>
                    <a:pt x="0" y="27"/>
                    <a:pt x="5" y="33"/>
                    <a:pt x="5" y="43"/>
                  </a:cubicBezTo>
                  <a:cubicBezTo>
                    <a:pt x="5" y="50"/>
                    <a:pt x="5" y="116"/>
                    <a:pt x="5" y="155"/>
                  </a:cubicBezTo>
                  <a:cubicBezTo>
                    <a:pt x="93" y="155"/>
                    <a:pt x="93" y="155"/>
                    <a:pt x="93" y="155"/>
                  </a:cubicBezTo>
                  <a:cubicBezTo>
                    <a:pt x="93" y="155"/>
                    <a:pt x="96" y="154"/>
                    <a:pt x="98" y="152"/>
                  </a:cubicBezTo>
                  <a:cubicBezTo>
                    <a:pt x="101" y="150"/>
                    <a:pt x="105" y="155"/>
                    <a:pt x="105" y="155"/>
                  </a:cubicBezTo>
                  <a:cubicBezTo>
                    <a:pt x="124" y="155"/>
                    <a:pt x="124" y="155"/>
                    <a:pt x="124" y="155"/>
                  </a:cubicBezTo>
                  <a:cubicBezTo>
                    <a:pt x="124" y="155"/>
                    <a:pt x="128" y="159"/>
                    <a:pt x="132" y="159"/>
                  </a:cubicBezTo>
                  <a:cubicBezTo>
                    <a:pt x="136" y="159"/>
                    <a:pt x="134" y="152"/>
                    <a:pt x="141" y="152"/>
                  </a:cubicBezTo>
                  <a:cubicBezTo>
                    <a:pt x="148" y="152"/>
                    <a:pt x="146" y="142"/>
                    <a:pt x="150" y="142"/>
                  </a:cubicBezTo>
                  <a:cubicBezTo>
                    <a:pt x="154" y="142"/>
                    <a:pt x="154" y="142"/>
                    <a:pt x="158" y="136"/>
                  </a:cubicBezTo>
                  <a:cubicBezTo>
                    <a:pt x="158" y="136"/>
                    <a:pt x="158" y="136"/>
                    <a:pt x="158" y="136"/>
                  </a:cubicBezTo>
                  <a:cubicBezTo>
                    <a:pt x="158" y="134"/>
                    <a:pt x="158" y="132"/>
                    <a:pt x="158" y="130"/>
                  </a:cubicBezTo>
                  <a:cubicBezTo>
                    <a:pt x="159" y="123"/>
                    <a:pt x="155" y="124"/>
                    <a:pt x="152" y="114"/>
                  </a:cubicBezTo>
                  <a:cubicBezTo>
                    <a:pt x="149" y="104"/>
                    <a:pt x="137" y="90"/>
                    <a:pt x="136" y="84"/>
                  </a:cubicBezTo>
                  <a:cubicBezTo>
                    <a:pt x="136" y="79"/>
                    <a:pt x="129" y="75"/>
                    <a:pt x="129" y="69"/>
                  </a:cubicBezTo>
                  <a:cubicBezTo>
                    <a:pt x="129" y="63"/>
                    <a:pt x="126" y="63"/>
                    <a:pt x="119" y="53"/>
                  </a:cubicBezTo>
                  <a:cubicBezTo>
                    <a:pt x="113" y="44"/>
                    <a:pt x="111" y="27"/>
                    <a:pt x="113" y="27"/>
                  </a:cubicBezTo>
                  <a:cubicBezTo>
                    <a:pt x="115" y="26"/>
                    <a:pt x="120" y="41"/>
                    <a:pt x="122" y="45"/>
                  </a:cubicBezTo>
                  <a:cubicBezTo>
                    <a:pt x="125" y="50"/>
                    <a:pt x="132" y="64"/>
                    <a:pt x="137" y="64"/>
                  </a:cubicBezTo>
                  <a:cubicBezTo>
                    <a:pt x="142" y="64"/>
                    <a:pt x="144" y="43"/>
                    <a:pt x="146" y="44"/>
                  </a:cubicBezTo>
                  <a:cubicBezTo>
                    <a:pt x="146" y="44"/>
                    <a:pt x="146" y="44"/>
                    <a:pt x="146" y="44"/>
                  </a:cubicBezTo>
                  <a:cubicBezTo>
                    <a:pt x="147" y="40"/>
                    <a:pt x="147" y="40"/>
                    <a:pt x="147" y="40"/>
                  </a:cubicBezTo>
                  <a:lnTo>
                    <a:pt x="149" y="35"/>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5" name="Freeform 213"/>
            <p:cNvSpPr/>
            <p:nvPr/>
          </p:nvSpPr>
          <p:spPr>
            <a:xfrm>
              <a:off x="4999038" y="3752850"/>
              <a:ext cx="141288" cy="155575"/>
            </a:xfrm>
            <a:custGeom>
              <a:gdLst>
                <a:gd name="T0" fmla="*/ 41 w 83"/>
                <a:gd name="T1" fmla="*/ 87 h 91"/>
                <a:gd name="T2" fmla="*/ 43 w 83"/>
                <a:gd name="T3" fmla="*/ 75 h 91"/>
                <a:gd name="T4" fmla="*/ 52 w 83"/>
                <a:gd name="T5" fmla="*/ 69 h 91"/>
                <a:gd name="T6" fmla="*/ 58 w 83"/>
                <a:gd name="T7" fmla="*/ 60 h 91"/>
                <a:gd name="T8" fmla="*/ 66 w 83"/>
                <a:gd name="T9" fmla="*/ 69 h 91"/>
                <a:gd name="T10" fmla="*/ 77 w 83"/>
                <a:gd name="T11" fmla="*/ 71 h 91"/>
                <a:gd name="T12" fmla="*/ 82 w 83"/>
                <a:gd name="T13" fmla="*/ 54 h 91"/>
                <a:gd name="T14" fmla="*/ 78 w 83"/>
                <a:gd name="T15" fmla="*/ 39 h 91"/>
                <a:gd name="T16" fmla="*/ 75 w 83"/>
                <a:gd name="T17" fmla="*/ 27 h 91"/>
                <a:gd name="T18" fmla="*/ 77 w 83"/>
                <a:gd name="T19" fmla="*/ 16 h 91"/>
                <a:gd name="T20" fmla="*/ 63 w 83"/>
                <a:gd name="T21" fmla="*/ 16 h 91"/>
                <a:gd name="T22" fmla="*/ 64 w 83"/>
                <a:gd name="T23" fmla="*/ 1 h 91"/>
                <a:gd name="T24" fmla="*/ 43 w 83"/>
                <a:gd name="T25" fmla="*/ 0 h 91"/>
                <a:gd name="T26" fmla="*/ 40 w 83"/>
                <a:gd name="T27" fmla="*/ 0 h 91"/>
                <a:gd name="T28" fmla="*/ 40 w 83"/>
                <a:gd name="T29" fmla="*/ 19 h 91"/>
                <a:gd name="T30" fmla="*/ 20 w 83"/>
                <a:gd name="T31" fmla="*/ 20 h 91"/>
                <a:gd name="T32" fmla="*/ 13 w 83"/>
                <a:gd name="T33" fmla="*/ 21 h 91"/>
                <a:gd name="T34" fmla="*/ 11 w 83"/>
                <a:gd name="T35" fmla="*/ 24 h 91"/>
                <a:gd name="T36" fmla="*/ 16 w 83"/>
                <a:gd name="T37" fmla="*/ 31 h 91"/>
                <a:gd name="T38" fmla="*/ 8 w 83"/>
                <a:gd name="T39" fmla="*/ 37 h 91"/>
                <a:gd name="T40" fmla="*/ 2 w 83"/>
                <a:gd name="T41" fmla="*/ 47 h 91"/>
                <a:gd name="T42" fmla="*/ 9 w 83"/>
                <a:gd name="T43" fmla="*/ 59 h 91"/>
                <a:gd name="T44" fmla="*/ 20 w 83"/>
                <a:gd name="T45" fmla="*/ 73 h 91"/>
                <a:gd name="T46" fmla="*/ 34 w 83"/>
                <a:gd name="T47" fmla="*/ 91 h 91"/>
                <a:gd name="T48" fmla="*/ 41 w 83"/>
                <a:gd name="T49" fmla="*/ 87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91">
                  <a:moveTo>
                    <a:pt x="41" y="87"/>
                  </a:moveTo>
                  <a:cubicBezTo>
                    <a:pt x="48" y="87"/>
                    <a:pt x="46" y="82"/>
                    <a:pt x="43" y="75"/>
                  </a:cubicBezTo>
                  <a:cubicBezTo>
                    <a:pt x="40" y="68"/>
                    <a:pt x="48" y="69"/>
                    <a:pt x="52" y="69"/>
                  </a:cubicBezTo>
                  <a:cubicBezTo>
                    <a:pt x="57" y="69"/>
                    <a:pt x="55" y="60"/>
                    <a:pt x="58" y="60"/>
                  </a:cubicBezTo>
                  <a:cubicBezTo>
                    <a:pt x="62" y="60"/>
                    <a:pt x="63" y="70"/>
                    <a:pt x="66" y="69"/>
                  </a:cubicBezTo>
                  <a:cubicBezTo>
                    <a:pt x="70" y="69"/>
                    <a:pt x="73" y="72"/>
                    <a:pt x="77" y="71"/>
                  </a:cubicBezTo>
                  <a:cubicBezTo>
                    <a:pt x="82" y="70"/>
                    <a:pt x="82" y="61"/>
                    <a:pt x="82" y="54"/>
                  </a:cubicBezTo>
                  <a:cubicBezTo>
                    <a:pt x="82" y="47"/>
                    <a:pt x="83" y="42"/>
                    <a:pt x="78" y="39"/>
                  </a:cubicBezTo>
                  <a:cubicBezTo>
                    <a:pt x="74" y="36"/>
                    <a:pt x="70" y="30"/>
                    <a:pt x="75" y="27"/>
                  </a:cubicBezTo>
                  <a:cubicBezTo>
                    <a:pt x="81" y="25"/>
                    <a:pt x="82" y="19"/>
                    <a:pt x="77" y="16"/>
                  </a:cubicBezTo>
                  <a:cubicBezTo>
                    <a:pt x="73" y="12"/>
                    <a:pt x="63" y="19"/>
                    <a:pt x="63" y="16"/>
                  </a:cubicBezTo>
                  <a:cubicBezTo>
                    <a:pt x="63" y="14"/>
                    <a:pt x="64" y="7"/>
                    <a:pt x="64" y="1"/>
                  </a:cubicBezTo>
                  <a:cubicBezTo>
                    <a:pt x="54" y="0"/>
                    <a:pt x="43" y="0"/>
                    <a:pt x="43" y="0"/>
                  </a:cubicBezTo>
                  <a:cubicBezTo>
                    <a:pt x="40" y="0"/>
                    <a:pt x="40" y="0"/>
                    <a:pt x="40" y="0"/>
                  </a:cubicBezTo>
                  <a:cubicBezTo>
                    <a:pt x="41" y="11"/>
                    <a:pt x="40" y="19"/>
                    <a:pt x="40" y="19"/>
                  </a:cubicBezTo>
                  <a:cubicBezTo>
                    <a:pt x="40" y="19"/>
                    <a:pt x="23" y="20"/>
                    <a:pt x="20" y="20"/>
                  </a:cubicBezTo>
                  <a:cubicBezTo>
                    <a:pt x="19" y="20"/>
                    <a:pt x="16" y="20"/>
                    <a:pt x="13" y="21"/>
                  </a:cubicBezTo>
                  <a:cubicBezTo>
                    <a:pt x="12" y="22"/>
                    <a:pt x="11" y="23"/>
                    <a:pt x="11" y="24"/>
                  </a:cubicBezTo>
                  <a:cubicBezTo>
                    <a:pt x="9" y="26"/>
                    <a:pt x="15" y="28"/>
                    <a:pt x="16" y="31"/>
                  </a:cubicBezTo>
                  <a:cubicBezTo>
                    <a:pt x="17" y="34"/>
                    <a:pt x="8" y="33"/>
                    <a:pt x="8" y="37"/>
                  </a:cubicBezTo>
                  <a:cubicBezTo>
                    <a:pt x="8" y="41"/>
                    <a:pt x="5" y="45"/>
                    <a:pt x="2" y="47"/>
                  </a:cubicBezTo>
                  <a:cubicBezTo>
                    <a:pt x="0" y="48"/>
                    <a:pt x="9" y="57"/>
                    <a:pt x="9" y="59"/>
                  </a:cubicBezTo>
                  <a:cubicBezTo>
                    <a:pt x="10" y="62"/>
                    <a:pt x="12" y="65"/>
                    <a:pt x="20" y="73"/>
                  </a:cubicBezTo>
                  <a:cubicBezTo>
                    <a:pt x="28" y="80"/>
                    <a:pt x="24" y="82"/>
                    <a:pt x="34" y="91"/>
                  </a:cubicBezTo>
                  <a:cubicBezTo>
                    <a:pt x="36" y="89"/>
                    <a:pt x="38" y="87"/>
                    <a:pt x="41" y="8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6" name="Freeform 214"/>
            <p:cNvSpPr/>
            <p:nvPr/>
          </p:nvSpPr>
          <p:spPr>
            <a:xfrm>
              <a:off x="5014913" y="3752850"/>
              <a:ext cx="53975" cy="36513"/>
            </a:xfrm>
            <a:custGeom>
              <a:gdLst>
                <a:gd name="T0" fmla="*/ 31 w 32"/>
                <a:gd name="T1" fmla="*/ 19 h 21"/>
                <a:gd name="T2" fmla="*/ 31 w 32"/>
                <a:gd name="T3" fmla="*/ 0 h 21"/>
                <a:gd name="T4" fmla="*/ 28 w 32"/>
                <a:gd name="T5" fmla="*/ 1 h 21"/>
                <a:gd name="T6" fmla="*/ 7 w 32"/>
                <a:gd name="T7" fmla="*/ 1 h 21"/>
                <a:gd name="T8" fmla="*/ 8 w 32"/>
                <a:gd name="T9" fmla="*/ 2 h 21"/>
                <a:gd name="T10" fmla="*/ 4 w 32"/>
                <a:gd name="T11" fmla="*/ 11 h 21"/>
                <a:gd name="T12" fmla="*/ 3 w 32"/>
                <a:gd name="T13" fmla="*/ 17 h 21"/>
                <a:gd name="T14" fmla="*/ 4 w 32"/>
                <a:gd name="T15" fmla="*/ 21 h 21"/>
                <a:gd name="T16" fmla="*/ 11 w 32"/>
                <a:gd name="T17" fmla="*/ 20 h 21"/>
                <a:gd name="T18" fmla="*/ 31 w 32"/>
                <a:gd name="T19" fmla="*/ 19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1">
                  <a:moveTo>
                    <a:pt x="31" y="19"/>
                  </a:moveTo>
                  <a:cubicBezTo>
                    <a:pt x="31" y="19"/>
                    <a:pt x="32" y="11"/>
                    <a:pt x="31" y="0"/>
                  </a:cubicBezTo>
                  <a:cubicBezTo>
                    <a:pt x="28" y="1"/>
                    <a:pt x="28" y="1"/>
                    <a:pt x="28" y="1"/>
                  </a:cubicBezTo>
                  <a:cubicBezTo>
                    <a:pt x="7" y="1"/>
                    <a:pt x="7" y="1"/>
                    <a:pt x="7" y="1"/>
                  </a:cubicBezTo>
                  <a:cubicBezTo>
                    <a:pt x="7" y="2"/>
                    <a:pt x="7" y="2"/>
                    <a:pt x="8" y="2"/>
                  </a:cubicBezTo>
                  <a:cubicBezTo>
                    <a:pt x="10" y="5"/>
                    <a:pt x="9" y="10"/>
                    <a:pt x="4" y="11"/>
                  </a:cubicBezTo>
                  <a:cubicBezTo>
                    <a:pt x="0" y="13"/>
                    <a:pt x="0" y="17"/>
                    <a:pt x="3" y="17"/>
                  </a:cubicBezTo>
                  <a:cubicBezTo>
                    <a:pt x="6" y="17"/>
                    <a:pt x="5" y="19"/>
                    <a:pt x="4" y="21"/>
                  </a:cubicBezTo>
                  <a:cubicBezTo>
                    <a:pt x="7" y="20"/>
                    <a:pt x="10" y="20"/>
                    <a:pt x="11" y="20"/>
                  </a:cubicBezTo>
                  <a:cubicBezTo>
                    <a:pt x="14" y="20"/>
                    <a:pt x="31" y="19"/>
                    <a:pt x="31" y="1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7" name="Freeform 215"/>
            <p:cNvSpPr/>
            <p:nvPr/>
          </p:nvSpPr>
          <p:spPr>
            <a:xfrm>
              <a:off x="5057776" y="3717925"/>
              <a:ext cx="174625" cy="217488"/>
            </a:xfrm>
            <a:custGeom>
              <a:gdLst>
                <a:gd name="T0" fmla="*/ 28 w 103"/>
                <a:gd name="T1" fmla="*/ 121 h 128"/>
                <a:gd name="T2" fmla="*/ 38 w 103"/>
                <a:gd name="T3" fmla="*/ 122 h 128"/>
                <a:gd name="T4" fmla="*/ 50 w 103"/>
                <a:gd name="T5" fmla="*/ 123 h 128"/>
                <a:gd name="T6" fmla="*/ 56 w 103"/>
                <a:gd name="T7" fmla="*/ 122 h 128"/>
                <a:gd name="T8" fmla="*/ 65 w 103"/>
                <a:gd name="T9" fmla="*/ 114 h 128"/>
                <a:gd name="T10" fmla="*/ 70 w 103"/>
                <a:gd name="T11" fmla="*/ 103 h 128"/>
                <a:gd name="T12" fmla="*/ 71 w 103"/>
                <a:gd name="T13" fmla="*/ 79 h 128"/>
                <a:gd name="T14" fmla="*/ 84 w 103"/>
                <a:gd name="T15" fmla="*/ 63 h 128"/>
                <a:gd name="T16" fmla="*/ 95 w 103"/>
                <a:gd name="T17" fmla="*/ 32 h 128"/>
                <a:gd name="T18" fmla="*/ 100 w 103"/>
                <a:gd name="T19" fmla="*/ 17 h 128"/>
                <a:gd name="T20" fmla="*/ 102 w 103"/>
                <a:gd name="T21" fmla="*/ 2 h 128"/>
                <a:gd name="T22" fmla="*/ 102 w 103"/>
                <a:gd name="T23" fmla="*/ 2 h 128"/>
                <a:gd name="T24" fmla="*/ 90 w 103"/>
                <a:gd name="T25" fmla="*/ 0 h 128"/>
                <a:gd name="T26" fmla="*/ 83 w 103"/>
                <a:gd name="T27" fmla="*/ 2 h 128"/>
                <a:gd name="T28" fmla="*/ 75 w 103"/>
                <a:gd name="T29" fmla="*/ 4 h 128"/>
                <a:gd name="T30" fmla="*/ 72 w 103"/>
                <a:gd name="T31" fmla="*/ 14 h 128"/>
                <a:gd name="T32" fmla="*/ 68 w 103"/>
                <a:gd name="T33" fmla="*/ 29 h 128"/>
                <a:gd name="T34" fmla="*/ 47 w 103"/>
                <a:gd name="T35" fmla="*/ 21 h 128"/>
                <a:gd name="T36" fmla="*/ 30 w 103"/>
                <a:gd name="T37" fmla="*/ 22 h 128"/>
                <a:gd name="T38" fmla="*/ 29 w 103"/>
                <a:gd name="T39" fmla="*/ 37 h 128"/>
                <a:gd name="T40" fmla="*/ 43 w 103"/>
                <a:gd name="T41" fmla="*/ 37 h 128"/>
                <a:gd name="T42" fmla="*/ 41 w 103"/>
                <a:gd name="T43" fmla="*/ 48 h 128"/>
                <a:gd name="T44" fmla="*/ 44 w 103"/>
                <a:gd name="T45" fmla="*/ 60 h 128"/>
                <a:gd name="T46" fmla="*/ 48 w 103"/>
                <a:gd name="T47" fmla="*/ 75 h 128"/>
                <a:gd name="T48" fmla="*/ 43 w 103"/>
                <a:gd name="T49" fmla="*/ 92 h 128"/>
                <a:gd name="T50" fmla="*/ 32 w 103"/>
                <a:gd name="T51" fmla="*/ 90 h 128"/>
                <a:gd name="T52" fmla="*/ 24 w 103"/>
                <a:gd name="T53" fmla="*/ 81 h 128"/>
                <a:gd name="T54" fmla="*/ 18 w 103"/>
                <a:gd name="T55" fmla="*/ 90 h 128"/>
                <a:gd name="T56" fmla="*/ 9 w 103"/>
                <a:gd name="T57" fmla="*/ 96 h 128"/>
                <a:gd name="T58" fmla="*/ 7 w 103"/>
                <a:gd name="T59" fmla="*/ 108 h 128"/>
                <a:gd name="T60" fmla="*/ 0 w 103"/>
                <a:gd name="T61" fmla="*/ 112 h 128"/>
                <a:gd name="T62" fmla="*/ 2 w 103"/>
                <a:gd name="T63" fmla="*/ 113 h 128"/>
                <a:gd name="T64" fmla="*/ 14 w 103"/>
                <a:gd name="T65" fmla="*/ 128 h 128"/>
                <a:gd name="T66" fmla="*/ 28 w 103"/>
                <a:gd name="T67" fmla="*/ 121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128">
                  <a:moveTo>
                    <a:pt x="28" y="121"/>
                  </a:moveTo>
                  <a:cubicBezTo>
                    <a:pt x="31" y="122"/>
                    <a:pt x="32" y="126"/>
                    <a:pt x="38" y="122"/>
                  </a:cubicBezTo>
                  <a:cubicBezTo>
                    <a:pt x="43" y="117"/>
                    <a:pt x="50" y="118"/>
                    <a:pt x="50" y="123"/>
                  </a:cubicBezTo>
                  <a:cubicBezTo>
                    <a:pt x="50" y="127"/>
                    <a:pt x="51" y="126"/>
                    <a:pt x="56" y="122"/>
                  </a:cubicBezTo>
                  <a:cubicBezTo>
                    <a:pt x="60" y="117"/>
                    <a:pt x="65" y="123"/>
                    <a:pt x="65" y="114"/>
                  </a:cubicBezTo>
                  <a:cubicBezTo>
                    <a:pt x="65" y="105"/>
                    <a:pt x="70" y="113"/>
                    <a:pt x="70" y="103"/>
                  </a:cubicBezTo>
                  <a:cubicBezTo>
                    <a:pt x="70" y="93"/>
                    <a:pt x="71" y="83"/>
                    <a:pt x="71" y="79"/>
                  </a:cubicBezTo>
                  <a:cubicBezTo>
                    <a:pt x="71" y="74"/>
                    <a:pt x="84" y="70"/>
                    <a:pt x="84" y="63"/>
                  </a:cubicBezTo>
                  <a:cubicBezTo>
                    <a:pt x="84" y="55"/>
                    <a:pt x="95" y="41"/>
                    <a:pt x="95" y="32"/>
                  </a:cubicBezTo>
                  <a:cubicBezTo>
                    <a:pt x="95" y="23"/>
                    <a:pt x="97" y="21"/>
                    <a:pt x="100" y="17"/>
                  </a:cubicBezTo>
                  <a:cubicBezTo>
                    <a:pt x="102" y="14"/>
                    <a:pt x="103" y="7"/>
                    <a:pt x="102" y="2"/>
                  </a:cubicBezTo>
                  <a:cubicBezTo>
                    <a:pt x="102" y="2"/>
                    <a:pt x="102" y="2"/>
                    <a:pt x="102" y="2"/>
                  </a:cubicBezTo>
                  <a:cubicBezTo>
                    <a:pt x="90" y="0"/>
                    <a:pt x="90" y="0"/>
                    <a:pt x="90" y="0"/>
                  </a:cubicBezTo>
                  <a:cubicBezTo>
                    <a:pt x="83" y="2"/>
                    <a:pt x="83" y="2"/>
                    <a:pt x="83" y="2"/>
                  </a:cubicBezTo>
                  <a:cubicBezTo>
                    <a:pt x="75" y="4"/>
                    <a:pt x="75" y="4"/>
                    <a:pt x="75" y="4"/>
                  </a:cubicBezTo>
                  <a:cubicBezTo>
                    <a:pt x="75" y="4"/>
                    <a:pt x="76" y="10"/>
                    <a:pt x="72" y="14"/>
                  </a:cubicBezTo>
                  <a:cubicBezTo>
                    <a:pt x="69" y="19"/>
                    <a:pt x="68" y="29"/>
                    <a:pt x="68" y="29"/>
                  </a:cubicBezTo>
                  <a:cubicBezTo>
                    <a:pt x="68" y="29"/>
                    <a:pt x="52" y="21"/>
                    <a:pt x="47" y="21"/>
                  </a:cubicBezTo>
                  <a:cubicBezTo>
                    <a:pt x="45" y="22"/>
                    <a:pt x="38" y="22"/>
                    <a:pt x="30" y="22"/>
                  </a:cubicBezTo>
                  <a:cubicBezTo>
                    <a:pt x="30" y="28"/>
                    <a:pt x="29" y="35"/>
                    <a:pt x="29" y="37"/>
                  </a:cubicBezTo>
                  <a:cubicBezTo>
                    <a:pt x="29" y="40"/>
                    <a:pt x="39" y="33"/>
                    <a:pt x="43" y="37"/>
                  </a:cubicBezTo>
                  <a:cubicBezTo>
                    <a:pt x="48" y="40"/>
                    <a:pt x="47" y="46"/>
                    <a:pt x="41" y="48"/>
                  </a:cubicBezTo>
                  <a:cubicBezTo>
                    <a:pt x="36" y="51"/>
                    <a:pt x="40" y="57"/>
                    <a:pt x="44" y="60"/>
                  </a:cubicBezTo>
                  <a:cubicBezTo>
                    <a:pt x="49" y="63"/>
                    <a:pt x="48" y="68"/>
                    <a:pt x="48" y="75"/>
                  </a:cubicBezTo>
                  <a:cubicBezTo>
                    <a:pt x="48" y="82"/>
                    <a:pt x="48" y="91"/>
                    <a:pt x="43" y="92"/>
                  </a:cubicBezTo>
                  <a:cubicBezTo>
                    <a:pt x="39" y="93"/>
                    <a:pt x="36" y="90"/>
                    <a:pt x="32" y="90"/>
                  </a:cubicBezTo>
                  <a:cubicBezTo>
                    <a:pt x="29" y="91"/>
                    <a:pt x="28" y="81"/>
                    <a:pt x="24" y="81"/>
                  </a:cubicBezTo>
                  <a:cubicBezTo>
                    <a:pt x="21" y="81"/>
                    <a:pt x="23" y="90"/>
                    <a:pt x="18" y="90"/>
                  </a:cubicBezTo>
                  <a:cubicBezTo>
                    <a:pt x="14" y="90"/>
                    <a:pt x="6" y="89"/>
                    <a:pt x="9" y="96"/>
                  </a:cubicBezTo>
                  <a:cubicBezTo>
                    <a:pt x="12" y="103"/>
                    <a:pt x="14" y="108"/>
                    <a:pt x="7" y="108"/>
                  </a:cubicBezTo>
                  <a:cubicBezTo>
                    <a:pt x="4" y="108"/>
                    <a:pt x="2" y="110"/>
                    <a:pt x="0" y="112"/>
                  </a:cubicBezTo>
                  <a:cubicBezTo>
                    <a:pt x="1" y="112"/>
                    <a:pt x="1" y="112"/>
                    <a:pt x="2" y="113"/>
                  </a:cubicBezTo>
                  <a:cubicBezTo>
                    <a:pt x="8" y="118"/>
                    <a:pt x="12" y="123"/>
                    <a:pt x="14" y="128"/>
                  </a:cubicBezTo>
                  <a:cubicBezTo>
                    <a:pt x="20" y="124"/>
                    <a:pt x="27" y="121"/>
                    <a:pt x="28" y="12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8" name="Freeform 216"/>
            <p:cNvSpPr/>
            <p:nvPr/>
          </p:nvSpPr>
          <p:spPr>
            <a:xfrm>
              <a:off x="5308601" y="3217863"/>
              <a:ext cx="407988" cy="504825"/>
            </a:xfrm>
            <a:custGeom>
              <a:gdLst>
                <a:gd name="T0" fmla="*/ 182 w 241"/>
                <a:gd name="T1" fmla="*/ 16 h 297"/>
                <a:gd name="T2" fmla="*/ 165 w 241"/>
                <a:gd name="T3" fmla="*/ 19 h 297"/>
                <a:gd name="T4" fmla="*/ 139 w 241"/>
                <a:gd name="T5" fmla="*/ 16 h 297"/>
                <a:gd name="T6" fmla="*/ 46 w 241"/>
                <a:gd name="T7" fmla="*/ 19 h 297"/>
                <a:gd name="T8" fmla="*/ 32 w 241"/>
                <a:gd name="T9" fmla="*/ 50 h 297"/>
                <a:gd name="T10" fmla="*/ 30 w 241"/>
                <a:gd name="T11" fmla="*/ 113 h 297"/>
                <a:gd name="T12" fmla="*/ 12 w 241"/>
                <a:gd name="T13" fmla="*/ 130 h 297"/>
                <a:gd name="T14" fmla="*/ 5 w 241"/>
                <a:gd name="T15" fmla="*/ 151 h 297"/>
                <a:gd name="T16" fmla="*/ 10 w 241"/>
                <a:gd name="T17" fmla="*/ 170 h 297"/>
                <a:gd name="T18" fmla="*/ 15 w 241"/>
                <a:gd name="T19" fmla="*/ 185 h 297"/>
                <a:gd name="T20" fmla="*/ 27 w 241"/>
                <a:gd name="T21" fmla="*/ 212 h 297"/>
                <a:gd name="T22" fmla="*/ 31 w 241"/>
                <a:gd name="T23" fmla="*/ 219 h 297"/>
                <a:gd name="T24" fmla="*/ 45 w 241"/>
                <a:gd name="T25" fmla="*/ 228 h 297"/>
                <a:gd name="T26" fmla="*/ 60 w 241"/>
                <a:gd name="T27" fmla="*/ 246 h 297"/>
                <a:gd name="T28" fmla="*/ 75 w 241"/>
                <a:gd name="T29" fmla="*/ 263 h 297"/>
                <a:gd name="T30" fmla="*/ 82 w 241"/>
                <a:gd name="T31" fmla="*/ 275 h 297"/>
                <a:gd name="T32" fmla="*/ 98 w 241"/>
                <a:gd name="T33" fmla="*/ 282 h 297"/>
                <a:gd name="T34" fmla="*/ 113 w 241"/>
                <a:gd name="T35" fmla="*/ 281 h 297"/>
                <a:gd name="T36" fmla="*/ 140 w 241"/>
                <a:gd name="T37" fmla="*/ 292 h 297"/>
                <a:gd name="T38" fmla="*/ 160 w 241"/>
                <a:gd name="T39" fmla="*/ 292 h 297"/>
                <a:gd name="T40" fmla="*/ 174 w 241"/>
                <a:gd name="T41" fmla="*/ 286 h 297"/>
                <a:gd name="T42" fmla="*/ 188 w 241"/>
                <a:gd name="T43" fmla="*/ 276 h 297"/>
                <a:gd name="T44" fmla="*/ 200 w 241"/>
                <a:gd name="T45" fmla="*/ 279 h 297"/>
                <a:gd name="T46" fmla="*/ 187 w 241"/>
                <a:gd name="T47" fmla="*/ 256 h 297"/>
                <a:gd name="T48" fmla="*/ 161 w 241"/>
                <a:gd name="T49" fmla="*/ 232 h 297"/>
                <a:gd name="T50" fmla="*/ 175 w 241"/>
                <a:gd name="T51" fmla="*/ 222 h 297"/>
                <a:gd name="T52" fmla="*/ 181 w 241"/>
                <a:gd name="T53" fmla="*/ 192 h 297"/>
                <a:gd name="T54" fmla="*/ 192 w 241"/>
                <a:gd name="T55" fmla="*/ 171 h 297"/>
                <a:gd name="T56" fmla="*/ 207 w 241"/>
                <a:gd name="T57" fmla="*/ 153 h 297"/>
                <a:gd name="T58" fmla="*/ 214 w 241"/>
                <a:gd name="T59" fmla="*/ 116 h 297"/>
                <a:gd name="T60" fmla="*/ 227 w 241"/>
                <a:gd name="T61" fmla="*/ 94 h 297"/>
                <a:gd name="T62" fmla="*/ 232 w 241"/>
                <a:gd name="T63" fmla="*/ 73 h 297"/>
                <a:gd name="T64" fmla="*/ 220 w 241"/>
                <a:gd name="T65" fmla="*/ 26 h 297"/>
                <a:gd name="T66" fmla="*/ 199 w 241"/>
                <a:gd name="T67" fmla="*/ 0 h 297"/>
                <a:gd name="T68" fmla="*/ 191 w 241"/>
                <a:gd name="T69" fmla="*/ 6 h 2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297">
                  <a:moveTo>
                    <a:pt x="191" y="6"/>
                  </a:moveTo>
                  <a:cubicBezTo>
                    <a:pt x="187" y="6"/>
                    <a:pt x="189" y="16"/>
                    <a:pt x="182" y="16"/>
                  </a:cubicBezTo>
                  <a:cubicBezTo>
                    <a:pt x="175" y="16"/>
                    <a:pt x="177" y="23"/>
                    <a:pt x="173" y="23"/>
                  </a:cubicBezTo>
                  <a:cubicBezTo>
                    <a:pt x="169" y="23"/>
                    <a:pt x="165" y="19"/>
                    <a:pt x="165" y="19"/>
                  </a:cubicBezTo>
                  <a:cubicBezTo>
                    <a:pt x="146" y="19"/>
                    <a:pt x="146" y="19"/>
                    <a:pt x="146" y="19"/>
                  </a:cubicBezTo>
                  <a:cubicBezTo>
                    <a:pt x="146" y="19"/>
                    <a:pt x="142" y="14"/>
                    <a:pt x="139" y="16"/>
                  </a:cubicBezTo>
                  <a:cubicBezTo>
                    <a:pt x="137" y="18"/>
                    <a:pt x="134" y="19"/>
                    <a:pt x="134" y="19"/>
                  </a:cubicBezTo>
                  <a:cubicBezTo>
                    <a:pt x="46" y="19"/>
                    <a:pt x="46" y="19"/>
                    <a:pt x="46" y="19"/>
                  </a:cubicBezTo>
                  <a:cubicBezTo>
                    <a:pt x="46" y="37"/>
                    <a:pt x="46" y="50"/>
                    <a:pt x="46" y="50"/>
                  </a:cubicBezTo>
                  <a:cubicBezTo>
                    <a:pt x="32" y="50"/>
                    <a:pt x="32" y="50"/>
                    <a:pt x="32" y="50"/>
                  </a:cubicBezTo>
                  <a:cubicBezTo>
                    <a:pt x="32" y="98"/>
                    <a:pt x="32" y="98"/>
                    <a:pt x="32" y="98"/>
                  </a:cubicBezTo>
                  <a:cubicBezTo>
                    <a:pt x="32" y="98"/>
                    <a:pt x="33" y="112"/>
                    <a:pt x="30" y="113"/>
                  </a:cubicBezTo>
                  <a:cubicBezTo>
                    <a:pt x="28" y="114"/>
                    <a:pt x="18" y="116"/>
                    <a:pt x="18" y="121"/>
                  </a:cubicBezTo>
                  <a:cubicBezTo>
                    <a:pt x="18" y="125"/>
                    <a:pt x="17" y="129"/>
                    <a:pt x="12" y="130"/>
                  </a:cubicBezTo>
                  <a:cubicBezTo>
                    <a:pt x="8" y="131"/>
                    <a:pt x="12" y="141"/>
                    <a:pt x="6" y="141"/>
                  </a:cubicBezTo>
                  <a:cubicBezTo>
                    <a:pt x="0" y="141"/>
                    <a:pt x="9" y="148"/>
                    <a:pt x="5" y="151"/>
                  </a:cubicBezTo>
                  <a:cubicBezTo>
                    <a:pt x="2" y="155"/>
                    <a:pt x="3" y="159"/>
                    <a:pt x="7" y="159"/>
                  </a:cubicBezTo>
                  <a:cubicBezTo>
                    <a:pt x="12" y="159"/>
                    <a:pt x="10" y="165"/>
                    <a:pt x="10" y="170"/>
                  </a:cubicBezTo>
                  <a:cubicBezTo>
                    <a:pt x="10" y="176"/>
                    <a:pt x="17" y="179"/>
                    <a:pt x="17" y="179"/>
                  </a:cubicBezTo>
                  <a:cubicBezTo>
                    <a:pt x="15" y="185"/>
                    <a:pt x="15" y="185"/>
                    <a:pt x="15" y="185"/>
                  </a:cubicBezTo>
                  <a:cubicBezTo>
                    <a:pt x="15" y="185"/>
                    <a:pt x="25" y="197"/>
                    <a:pt x="26" y="200"/>
                  </a:cubicBezTo>
                  <a:cubicBezTo>
                    <a:pt x="27" y="202"/>
                    <a:pt x="32" y="210"/>
                    <a:pt x="27" y="212"/>
                  </a:cubicBezTo>
                  <a:cubicBezTo>
                    <a:pt x="21" y="215"/>
                    <a:pt x="25" y="218"/>
                    <a:pt x="25" y="218"/>
                  </a:cubicBezTo>
                  <a:cubicBezTo>
                    <a:pt x="31" y="219"/>
                    <a:pt x="31" y="219"/>
                    <a:pt x="31" y="219"/>
                  </a:cubicBezTo>
                  <a:cubicBezTo>
                    <a:pt x="33" y="223"/>
                    <a:pt x="33" y="223"/>
                    <a:pt x="33" y="223"/>
                  </a:cubicBezTo>
                  <a:cubicBezTo>
                    <a:pt x="33" y="223"/>
                    <a:pt x="40" y="223"/>
                    <a:pt x="45" y="228"/>
                  </a:cubicBezTo>
                  <a:cubicBezTo>
                    <a:pt x="49" y="234"/>
                    <a:pt x="51" y="235"/>
                    <a:pt x="51" y="237"/>
                  </a:cubicBezTo>
                  <a:cubicBezTo>
                    <a:pt x="51" y="240"/>
                    <a:pt x="55" y="241"/>
                    <a:pt x="60" y="246"/>
                  </a:cubicBezTo>
                  <a:cubicBezTo>
                    <a:pt x="65" y="250"/>
                    <a:pt x="65" y="253"/>
                    <a:pt x="65" y="255"/>
                  </a:cubicBezTo>
                  <a:cubicBezTo>
                    <a:pt x="65" y="258"/>
                    <a:pt x="75" y="263"/>
                    <a:pt x="75" y="263"/>
                  </a:cubicBezTo>
                  <a:cubicBezTo>
                    <a:pt x="79" y="271"/>
                    <a:pt x="79" y="271"/>
                    <a:pt x="79" y="271"/>
                  </a:cubicBezTo>
                  <a:cubicBezTo>
                    <a:pt x="80" y="272"/>
                    <a:pt x="82" y="273"/>
                    <a:pt x="82" y="275"/>
                  </a:cubicBezTo>
                  <a:cubicBezTo>
                    <a:pt x="84" y="279"/>
                    <a:pt x="89" y="282"/>
                    <a:pt x="89" y="282"/>
                  </a:cubicBezTo>
                  <a:cubicBezTo>
                    <a:pt x="89" y="282"/>
                    <a:pt x="94" y="286"/>
                    <a:pt x="98" y="282"/>
                  </a:cubicBezTo>
                  <a:cubicBezTo>
                    <a:pt x="101" y="278"/>
                    <a:pt x="106" y="283"/>
                    <a:pt x="106" y="283"/>
                  </a:cubicBezTo>
                  <a:cubicBezTo>
                    <a:pt x="106" y="283"/>
                    <a:pt x="110" y="279"/>
                    <a:pt x="113" y="281"/>
                  </a:cubicBezTo>
                  <a:cubicBezTo>
                    <a:pt x="115" y="282"/>
                    <a:pt x="123" y="289"/>
                    <a:pt x="130" y="295"/>
                  </a:cubicBezTo>
                  <a:cubicBezTo>
                    <a:pt x="131" y="295"/>
                    <a:pt x="137" y="292"/>
                    <a:pt x="140" y="292"/>
                  </a:cubicBezTo>
                  <a:cubicBezTo>
                    <a:pt x="144" y="292"/>
                    <a:pt x="148" y="297"/>
                    <a:pt x="149" y="295"/>
                  </a:cubicBezTo>
                  <a:cubicBezTo>
                    <a:pt x="151" y="293"/>
                    <a:pt x="158" y="290"/>
                    <a:pt x="160" y="292"/>
                  </a:cubicBezTo>
                  <a:cubicBezTo>
                    <a:pt x="163" y="293"/>
                    <a:pt x="169" y="293"/>
                    <a:pt x="169" y="291"/>
                  </a:cubicBezTo>
                  <a:cubicBezTo>
                    <a:pt x="169" y="290"/>
                    <a:pt x="172" y="288"/>
                    <a:pt x="174" y="286"/>
                  </a:cubicBezTo>
                  <a:cubicBezTo>
                    <a:pt x="175" y="286"/>
                    <a:pt x="176" y="285"/>
                    <a:pt x="176" y="284"/>
                  </a:cubicBezTo>
                  <a:cubicBezTo>
                    <a:pt x="177" y="281"/>
                    <a:pt x="184" y="277"/>
                    <a:pt x="188" y="276"/>
                  </a:cubicBezTo>
                  <a:cubicBezTo>
                    <a:pt x="191" y="276"/>
                    <a:pt x="195" y="275"/>
                    <a:pt x="196" y="277"/>
                  </a:cubicBezTo>
                  <a:cubicBezTo>
                    <a:pt x="197" y="278"/>
                    <a:pt x="198" y="279"/>
                    <a:pt x="200" y="279"/>
                  </a:cubicBezTo>
                  <a:cubicBezTo>
                    <a:pt x="201" y="271"/>
                    <a:pt x="203" y="267"/>
                    <a:pt x="200" y="267"/>
                  </a:cubicBezTo>
                  <a:cubicBezTo>
                    <a:pt x="197" y="267"/>
                    <a:pt x="189" y="263"/>
                    <a:pt x="187" y="256"/>
                  </a:cubicBezTo>
                  <a:cubicBezTo>
                    <a:pt x="184" y="249"/>
                    <a:pt x="176" y="244"/>
                    <a:pt x="174" y="240"/>
                  </a:cubicBezTo>
                  <a:cubicBezTo>
                    <a:pt x="172" y="235"/>
                    <a:pt x="162" y="236"/>
                    <a:pt x="161" y="232"/>
                  </a:cubicBezTo>
                  <a:cubicBezTo>
                    <a:pt x="159" y="229"/>
                    <a:pt x="163" y="229"/>
                    <a:pt x="163" y="224"/>
                  </a:cubicBezTo>
                  <a:cubicBezTo>
                    <a:pt x="163" y="220"/>
                    <a:pt x="174" y="223"/>
                    <a:pt x="175" y="222"/>
                  </a:cubicBezTo>
                  <a:cubicBezTo>
                    <a:pt x="176" y="221"/>
                    <a:pt x="177" y="211"/>
                    <a:pt x="177" y="206"/>
                  </a:cubicBezTo>
                  <a:cubicBezTo>
                    <a:pt x="177" y="200"/>
                    <a:pt x="184" y="195"/>
                    <a:pt x="181" y="192"/>
                  </a:cubicBezTo>
                  <a:cubicBezTo>
                    <a:pt x="179" y="189"/>
                    <a:pt x="184" y="188"/>
                    <a:pt x="188" y="186"/>
                  </a:cubicBezTo>
                  <a:cubicBezTo>
                    <a:pt x="191" y="183"/>
                    <a:pt x="188" y="175"/>
                    <a:pt x="192" y="171"/>
                  </a:cubicBezTo>
                  <a:cubicBezTo>
                    <a:pt x="196" y="168"/>
                    <a:pt x="198" y="161"/>
                    <a:pt x="201" y="161"/>
                  </a:cubicBezTo>
                  <a:cubicBezTo>
                    <a:pt x="204" y="161"/>
                    <a:pt x="207" y="157"/>
                    <a:pt x="207" y="153"/>
                  </a:cubicBezTo>
                  <a:cubicBezTo>
                    <a:pt x="207" y="150"/>
                    <a:pt x="214" y="143"/>
                    <a:pt x="213" y="136"/>
                  </a:cubicBezTo>
                  <a:cubicBezTo>
                    <a:pt x="212" y="130"/>
                    <a:pt x="209" y="122"/>
                    <a:pt x="214" y="116"/>
                  </a:cubicBezTo>
                  <a:cubicBezTo>
                    <a:pt x="218" y="111"/>
                    <a:pt x="220" y="107"/>
                    <a:pt x="219" y="102"/>
                  </a:cubicBezTo>
                  <a:cubicBezTo>
                    <a:pt x="218" y="98"/>
                    <a:pt x="224" y="97"/>
                    <a:pt x="227" y="94"/>
                  </a:cubicBezTo>
                  <a:cubicBezTo>
                    <a:pt x="229" y="92"/>
                    <a:pt x="236" y="89"/>
                    <a:pt x="241" y="81"/>
                  </a:cubicBezTo>
                  <a:cubicBezTo>
                    <a:pt x="238" y="77"/>
                    <a:pt x="234" y="74"/>
                    <a:pt x="232" y="73"/>
                  </a:cubicBezTo>
                  <a:cubicBezTo>
                    <a:pt x="227" y="70"/>
                    <a:pt x="223" y="61"/>
                    <a:pt x="223" y="50"/>
                  </a:cubicBezTo>
                  <a:cubicBezTo>
                    <a:pt x="223" y="39"/>
                    <a:pt x="221" y="29"/>
                    <a:pt x="220" y="26"/>
                  </a:cubicBezTo>
                  <a:cubicBezTo>
                    <a:pt x="220" y="22"/>
                    <a:pt x="214" y="14"/>
                    <a:pt x="207" y="11"/>
                  </a:cubicBezTo>
                  <a:cubicBezTo>
                    <a:pt x="203" y="8"/>
                    <a:pt x="200" y="4"/>
                    <a:pt x="199" y="0"/>
                  </a:cubicBezTo>
                  <a:cubicBezTo>
                    <a:pt x="199" y="0"/>
                    <a:pt x="199" y="0"/>
                    <a:pt x="199" y="0"/>
                  </a:cubicBezTo>
                  <a:cubicBezTo>
                    <a:pt x="195" y="6"/>
                    <a:pt x="195" y="6"/>
                    <a:pt x="191"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89" name="Freeform 217"/>
            <p:cNvSpPr/>
            <p:nvPr/>
          </p:nvSpPr>
          <p:spPr>
            <a:xfrm>
              <a:off x="5794376" y="3492500"/>
              <a:ext cx="47625" cy="47625"/>
            </a:xfrm>
            <a:custGeom>
              <a:gdLst>
                <a:gd name="T0" fmla="*/ 10 w 28"/>
                <a:gd name="T1" fmla="*/ 3 h 28"/>
                <a:gd name="T2" fmla="*/ 3 w 28"/>
                <a:gd name="T3" fmla="*/ 13 h 28"/>
                <a:gd name="T4" fmla="*/ 2 w 28"/>
                <a:gd name="T5" fmla="*/ 26 h 28"/>
                <a:gd name="T6" fmla="*/ 10 w 28"/>
                <a:gd name="T7" fmla="*/ 25 h 28"/>
                <a:gd name="T8" fmla="*/ 17 w 28"/>
                <a:gd name="T9" fmla="*/ 28 h 28"/>
                <a:gd name="T10" fmla="*/ 23 w 28"/>
                <a:gd name="T11" fmla="*/ 20 h 28"/>
                <a:gd name="T12" fmla="*/ 16 w 28"/>
                <a:gd name="T13" fmla="*/ 17 h 28"/>
                <a:gd name="T14" fmla="*/ 24 w 28"/>
                <a:gd name="T15" fmla="*/ 10 h 28"/>
                <a:gd name="T16" fmla="*/ 23 w 28"/>
                <a:gd name="T17" fmla="*/ 2 h 28"/>
                <a:gd name="T18" fmla="*/ 21 w 28"/>
                <a:gd name="T19" fmla="*/ 0 h 28"/>
                <a:gd name="T20" fmla="*/ 17 w 28"/>
                <a:gd name="T21" fmla="*/ 3 h 28"/>
                <a:gd name="T22" fmla="*/ 10 w 28"/>
                <a:gd name="T23" fmla="*/ 3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0" y="3"/>
                  </a:moveTo>
                  <a:cubicBezTo>
                    <a:pt x="9" y="5"/>
                    <a:pt x="5" y="10"/>
                    <a:pt x="3" y="13"/>
                  </a:cubicBezTo>
                  <a:cubicBezTo>
                    <a:pt x="0" y="17"/>
                    <a:pt x="1" y="24"/>
                    <a:pt x="2" y="26"/>
                  </a:cubicBezTo>
                  <a:cubicBezTo>
                    <a:pt x="3" y="27"/>
                    <a:pt x="8" y="27"/>
                    <a:pt x="10" y="25"/>
                  </a:cubicBezTo>
                  <a:cubicBezTo>
                    <a:pt x="13" y="24"/>
                    <a:pt x="14" y="25"/>
                    <a:pt x="17" y="28"/>
                  </a:cubicBezTo>
                  <a:cubicBezTo>
                    <a:pt x="19" y="25"/>
                    <a:pt x="21" y="23"/>
                    <a:pt x="23" y="20"/>
                  </a:cubicBezTo>
                  <a:cubicBezTo>
                    <a:pt x="20" y="18"/>
                    <a:pt x="16" y="18"/>
                    <a:pt x="16" y="17"/>
                  </a:cubicBezTo>
                  <a:cubicBezTo>
                    <a:pt x="14" y="16"/>
                    <a:pt x="20" y="11"/>
                    <a:pt x="24" y="10"/>
                  </a:cubicBezTo>
                  <a:cubicBezTo>
                    <a:pt x="28" y="10"/>
                    <a:pt x="26" y="5"/>
                    <a:pt x="23" y="2"/>
                  </a:cubicBezTo>
                  <a:cubicBezTo>
                    <a:pt x="22" y="1"/>
                    <a:pt x="21" y="1"/>
                    <a:pt x="21" y="0"/>
                  </a:cubicBezTo>
                  <a:cubicBezTo>
                    <a:pt x="19" y="1"/>
                    <a:pt x="17" y="2"/>
                    <a:pt x="17" y="3"/>
                  </a:cubicBezTo>
                  <a:cubicBezTo>
                    <a:pt x="16" y="4"/>
                    <a:pt x="13" y="4"/>
                    <a:pt x="10"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0" name="Freeform 218"/>
            <p:cNvSpPr/>
            <p:nvPr/>
          </p:nvSpPr>
          <p:spPr>
            <a:xfrm>
              <a:off x="5662613" y="3355975"/>
              <a:ext cx="168275" cy="142875"/>
            </a:xfrm>
            <a:custGeom>
              <a:gdLst>
                <a:gd name="T0" fmla="*/ 18 w 99"/>
                <a:gd name="T1" fmla="*/ 13 h 84"/>
                <a:gd name="T2" fmla="*/ 10 w 99"/>
                <a:gd name="T3" fmla="*/ 21 h 84"/>
                <a:gd name="T4" fmla="*/ 5 w 99"/>
                <a:gd name="T5" fmla="*/ 35 h 84"/>
                <a:gd name="T6" fmla="*/ 4 w 99"/>
                <a:gd name="T7" fmla="*/ 55 h 84"/>
                <a:gd name="T8" fmla="*/ 16 w 99"/>
                <a:gd name="T9" fmla="*/ 56 h 84"/>
                <a:gd name="T10" fmla="*/ 20 w 99"/>
                <a:gd name="T11" fmla="*/ 51 h 84"/>
                <a:gd name="T12" fmla="*/ 27 w 99"/>
                <a:gd name="T13" fmla="*/ 49 h 84"/>
                <a:gd name="T14" fmla="*/ 36 w 99"/>
                <a:gd name="T15" fmla="*/ 53 h 84"/>
                <a:gd name="T16" fmla="*/ 43 w 99"/>
                <a:gd name="T17" fmla="*/ 53 h 84"/>
                <a:gd name="T18" fmla="*/ 57 w 99"/>
                <a:gd name="T19" fmla="*/ 53 h 84"/>
                <a:gd name="T20" fmla="*/ 88 w 99"/>
                <a:gd name="T21" fmla="*/ 83 h 84"/>
                <a:gd name="T22" fmla="*/ 88 w 99"/>
                <a:gd name="T23" fmla="*/ 83 h 84"/>
                <a:gd name="T24" fmla="*/ 95 w 99"/>
                <a:gd name="T25" fmla="*/ 83 h 84"/>
                <a:gd name="T26" fmla="*/ 99 w 99"/>
                <a:gd name="T27" fmla="*/ 80 h 84"/>
                <a:gd name="T28" fmla="*/ 83 w 99"/>
                <a:gd name="T29" fmla="*/ 63 h 84"/>
                <a:gd name="T30" fmla="*/ 60 w 99"/>
                <a:gd name="T31" fmla="*/ 47 h 84"/>
                <a:gd name="T32" fmla="*/ 51 w 99"/>
                <a:gd name="T33" fmla="*/ 38 h 84"/>
                <a:gd name="T34" fmla="*/ 40 w 99"/>
                <a:gd name="T35" fmla="*/ 16 h 84"/>
                <a:gd name="T36" fmla="*/ 32 w 99"/>
                <a:gd name="T37" fmla="*/ 0 h 84"/>
                <a:gd name="T38" fmla="*/ 18 w 99"/>
                <a:gd name="T39" fmla="*/ 13 h 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84">
                  <a:moveTo>
                    <a:pt x="18" y="13"/>
                  </a:moveTo>
                  <a:cubicBezTo>
                    <a:pt x="15" y="16"/>
                    <a:pt x="9" y="17"/>
                    <a:pt x="10" y="21"/>
                  </a:cubicBezTo>
                  <a:cubicBezTo>
                    <a:pt x="11" y="26"/>
                    <a:pt x="9" y="30"/>
                    <a:pt x="5" y="35"/>
                  </a:cubicBezTo>
                  <a:cubicBezTo>
                    <a:pt x="0" y="41"/>
                    <a:pt x="3" y="49"/>
                    <a:pt x="4" y="55"/>
                  </a:cubicBezTo>
                  <a:cubicBezTo>
                    <a:pt x="9" y="55"/>
                    <a:pt x="15" y="55"/>
                    <a:pt x="16" y="56"/>
                  </a:cubicBezTo>
                  <a:cubicBezTo>
                    <a:pt x="18" y="58"/>
                    <a:pt x="19" y="56"/>
                    <a:pt x="20" y="51"/>
                  </a:cubicBezTo>
                  <a:cubicBezTo>
                    <a:pt x="22" y="47"/>
                    <a:pt x="24" y="47"/>
                    <a:pt x="27" y="49"/>
                  </a:cubicBezTo>
                  <a:cubicBezTo>
                    <a:pt x="30" y="52"/>
                    <a:pt x="32" y="55"/>
                    <a:pt x="36" y="53"/>
                  </a:cubicBezTo>
                  <a:cubicBezTo>
                    <a:pt x="41" y="51"/>
                    <a:pt x="40" y="52"/>
                    <a:pt x="43" y="53"/>
                  </a:cubicBezTo>
                  <a:cubicBezTo>
                    <a:pt x="45" y="54"/>
                    <a:pt x="54" y="53"/>
                    <a:pt x="57" y="53"/>
                  </a:cubicBezTo>
                  <a:cubicBezTo>
                    <a:pt x="60" y="54"/>
                    <a:pt x="88" y="83"/>
                    <a:pt x="88" y="83"/>
                  </a:cubicBezTo>
                  <a:cubicBezTo>
                    <a:pt x="88" y="83"/>
                    <a:pt x="88" y="83"/>
                    <a:pt x="88" y="83"/>
                  </a:cubicBezTo>
                  <a:cubicBezTo>
                    <a:pt x="91" y="84"/>
                    <a:pt x="94" y="84"/>
                    <a:pt x="95" y="83"/>
                  </a:cubicBezTo>
                  <a:cubicBezTo>
                    <a:pt x="95" y="82"/>
                    <a:pt x="97" y="81"/>
                    <a:pt x="99" y="80"/>
                  </a:cubicBezTo>
                  <a:cubicBezTo>
                    <a:pt x="95" y="77"/>
                    <a:pt x="90" y="71"/>
                    <a:pt x="83" y="63"/>
                  </a:cubicBezTo>
                  <a:cubicBezTo>
                    <a:pt x="75" y="52"/>
                    <a:pt x="65" y="47"/>
                    <a:pt x="60" y="47"/>
                  </a:cubicBezTo>
                  <a:cubicBezTo>
                    <a:pt x="55" y="47"/>
                    <a:pt x="54" y="38"/>
                    <a:pt x="51" y="38"/>
                  </a:cubicBezTo>
                  <a:cubicBezTo>
                    <a:pt x="48" y="37"/>
                    <a:pt x="40" y="24"/>
                    <a:pt x="40" y="16"/>
                  </a:cubicBezTo>
                  <a:cubicBezTo>
                    <a:pt x="40" y="12"/>
                    <a:pt x="36" y="5"/>
                    <a:pt x="32" y="0"/>
                  </a:cubicBezTo>
                  <a:cubicBezTo>
                    <a:pt x="27" y="8"/>
                    <a:pt x="20" y="11"/>
                    <a:pt x="18"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1" name="Freeform 219"/>
            <p:cNvSpPr/>
            <p:nvPr/>
          </p:nvSpPr>
          <p:spPr>
            <a:xfrm>
              <a:off x="5578476" y="3435350"/>
              <a:ext cx="371475" cy="288925"/>
            </a:xfrm>
            <a:custGeom>
              <a:gdLst>
                <a:gd name="T0" fmla="*/ 15 w 219"/>
                <a:gd name="T1" fmla="*/ 112 h 170"/>
                <a:gd name="T2" fmla="*/ 28 w 219"/>
                <a:gd name="T3" fmla="*/ 128 h 170"/>
                <a:gd name="T4" fmla="*/ 41 w 219"/>
                <a:gd name="T5" fmla="*/ 139 h 170"/>
                <a:gd name="T6" fmla="*/ 41 w 219"/>
                <a:gd name="T7" fmla="*/ 151 h 170"/>
                <a:gd name="T8" fmla="*/ 46 w 219"/>
                <a:gd name="T9" fmla="*/ 153 h 170"/>
                <a:gd name="T10" fmla="*/ 61 w 219"/>
                <a:gd name="T11" fmla="*/ 156 h 170"/>
                <a:gd name="T12" fmla="*/ 77 w 219"/>
                <a:gd name="T13" fmla="*/ 166 h 170"/>
                <a:gd name="T14" fmla="*/ 94 w 219"/>
                <a:gd name="T15" fmla="*/ 169 h 170"/>
                <a:gd name="T16" fmla="*/ 104 w 219"/>
                <a:gd name="T17" fmla="*/ 161 h 170"/>
                <a:gd name="T18" fmla="*/ 116 w 219"/>
                <a:gd name="T19" fmla="*/ 159 h 170"/>
                <a:gd name="T20" fmla="*/ 123 w 219"/>
                <a:gd name="T21" fmla="*/ 161 h 170"/>
                <a:gd name="T22" fmla="*/ 131 w 219"/>
                <a:gd name="T23" fmla="*/ 159 h 170"/>
                <a:gd name="T24" fmla="*/ 142 w 219"/>
                <a:gd name="T25" fmla="*/ 158 h 170"/>
                <a:gd name="T26" fmla="*/ 161 w 219"/>
                <a:gd name="T27" fmla="*/ 148 h 170"/>
                <a:gd name="T28" fmla="*/ 178 w 219"/>
                <a:gd name="T29" fmla="*/ 145 h 170"/>
                <a:gd name="T30" fmla="*/ 216 w 219"/>
                <a:gd name="T31" fmla="*/ 106 h 170"/>
                <a:gd name="T32" fmla="*/ 211 w 219"/>
                <a:gd name="T33" fmla="*/ 103 h 170"/>
                <a:gd name="T34" fmla="*/ 191 w 219"/>
                <a:gd name="T35" fmla="*/ 98 h 170"/>
                <a:gd name="T36" fmla="*/ 162 w 219"/>
                <a:gd name="T37" fmla="*/ 88 h 170"/>
                <a:gd name="T38" fmla="*/ 152 w 219"/>
                <a:gd name="T39" fmla="*/ 79 h 170"/>
                <a:gd name="T40" fmla="*/ 143 w 219"/>
                <a:gd name="T41" fmla="*/ 66 h 170"/>
                <a:gd name="T42" fmla="*/ 145 w 219"/>
                <a:gd name="T43" fmla="*/ 61 h 170"/>
                <a:gd name="T44" fmla="*/ 138 w 219"/>
                <a:gd name="T45" fmla="*/ 58 h 170"/>
                <a:gd name="T46" fmla="*/ 130 w 219"/>
                <a:gd name="T47" fmla="*/ 59 h 170"/>
                <a:gd name="T48" fmla="*/ 131 w 219"/>
                <a:gd name="T49" fmla="*/ 46 h 170"/>
                <a:gd name="T50" fmla="*/ 138 w 219"/>
                <a:gd name="T51" fmla="*/ 36 h 170"/>
                <a:gd name="T52" fmla="*/ 107 w 219"/>
                <a:gd name="T53" fmla="*/ 6 h 170"/>
                <a:gd name="T54" fmla="*/ 93 w 219"/>
                <a:gd name="T55" fmla="*/ 6 h 170"/>
                <a:gd name="T56" fmla="*/ 86 w 219"/>
                <a:gd name="T57" fmla="*/ 6 h 170"/>
                <a:gd name="T58" fmla="*/ 77 w 219"/>
                <a:gd name="T59" fmla="*/ 2 h 170"/>
                <a:gd name="T60" fmla="*/ 70 w 219"/>
                <a:gd name="T61" fmla="*/ 4 h 170"/>
                <a:gd name="T62" fmla="*/ 66 w 219"/>
                <a:gd name="T63" fmla="*/ 9 h 170"/>
                <a:gd name="T64" fmla="*/ 54 w 219"/>
                <a:gd name="T65" fmla="*/ 8 h 170"/>
                <a:gd name="T66" fmla="*/ 54 w 219"/>
                <a:gd name="T67" fmla="*/ 8 h 170"/>
                <a:gd name="T68" fmla="*/ 48 w 219"/>
                <a:gd name="T69" fmla="*/ 25 h 170"/>
                <a:gd name="T70" fmla="*/ 42 w 219"/>
                <a:gd name="T71" fmla="*/ 33 h 170"/>
                <a:gd name="T72" fmla="*/ 33 w 219"/>
                <a:gd name="T73" fmla="*/ 43 h 170"/>
                <a:gd name="T74" fmla="*/ 29 w 219"/>
                <a:gd name="T75" fmla="*/ 58 h 170"/>
                <a:gd name="T76" fmla="*/ 22 w 219"/>
                <a:gd name="T77" fmla="*/ 64 h 170"/>
                <a:gd name="T78" fmla="*/ 18 w 219"/>
                <a:gd name="T79" fmla="*/ 78 h 170"/>
                <a:gd name="T80" fmla="*/ 16 w 219"/>
                <a:gd name="T81" fmla="*/ 94 h 170"/>
                <a:gd name="T82" fmla="*/ 4 w 219"/>
                <a:gd name="T83" fmla="*/ 96 h 170"/>
                <a:gd name="T84" fmla="*/ 2 w 219"/>
                <a:gd name="T85" fmla="*/ 104 h 170"/>
                <a:gd name="T86" fmla="*/ 15 w 219"/>
                <a:gd name="T87" fmla="*/ 112 h 1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170">
                  <a:moveTo>
                    <a:pt x="15" y="112"/>
                  </a:moveTo>
                  <a:cubicBezTo>
                    <a:pt x="17" y="116"/>
                    <a:pt x="25" y="121"/>
                    <a:pt x="28" y="128"/>
                  </a:cubicBezTo>
                  <a:cubicBezTo>
                    <a:pt x="30" y="135"/>
                    <a:pt x="38" y="139"/>
                    <a:pt x="41" y="139"/>
                  </a:cubicBezTo>
                  <a:cubicBezTo>
                    <a:pt x="44" y="139"/>
                    <a:pt x="42" y="143"/>
                    <a:pt x="41" y="151"/>
                  </a:cubicBezTo>
                  <a:cubicBezTo>
                    <a:pt x="43" y="152"/>
                    <a:pt x="44" y="153"/>
                    <a:pt x="46" y="153"/>
                  </a:cubicBezTo>
                  <a:cubicBezTo>
                    <a:pt x="48" y="155"/>
                    <a:pt x="57" y="153"/>
                    <a:pt x="61" y="156"/>
                  </a:cubicBezTo>
                  <a:cubicBezTo>
                    <a:pt x="64" y="159"/>
                    <a:pt x="74" y="166"/>
                    <a:pt x="77" y="166"/>
                  </a:cubicBezTo>
                  <a:cubicBezTo>
                    <a:pt x="81" y="166"/>
                    <a:pt x="92" y="168"/>
                    <a:pt x="94" y="169"/>
                  </a:cubicBezTo>
                  <a:cubicBezTo>
                    <a:pt x="96" y="170"/>
                    <a:pt x="99" y="164"/>
                    <a:pt x="104" y="161"/>
                  </a:cubicBezTo>
                  <a:cubicBezTo>
                    <a:pt x="109" y="158"/>
                    <a:pt x="115" y="156"/>
                    <a:pt x="116" y="159"/>
                  </a:cubicBezTo>
                  <a:cubicBezTo>
                    <a:pt x="117" y="161"/>
                    <a:pt x="121" y="163"/>
                    <a:pt x="123" y="161"/>
                  </a:cubicBezTo>
                  <a:cubicBezTo>
                    <a:pt x="124" y="161"/>
                    <a:pt x="127" y="160"/>
                    <a:pt x="131" y="159"/>
                  </a:cubicBezTo>
                  <a:cubicBezTo>
                    <a:pt x="135" y="158"/>
                    <a:pt x="141" y="157"/>
                    <a:pt x="142" y="158"/>
                  </a:cubicBezTo>
                  <a:cubicBezTo>
                    <a:pt x="145" y="158"/>
                    <a:pt x="152" y="148"/>
                    <a:pt x="161" y="148"/>
                  </a:cubicBezTo>
                  <a:cubicBezTo>
                    <a:pt x="171" y="148"/>
                    <a:pt x="173" y="149"/>
                    <a:pt x="178" y="145"/>
                  </a:cubicBezTo>
                  <a:cubicBezTo>
                    <a:pt x="182" y="140"/>
                    <a:pt x="213" y="108"/>
                    <a:pt x="216" y="106"/>
                  </a:cubicBezTo>
                  <a:cubicBezTo>
                    <a:pt x="219" y="104"/>
                    <a:pt x="214" y="103"/>
                    <a:pt x="211" y="103"/>
                  </a:cubicBezTo>
                  <a:cubicBezTo>
                    <a:pt x="208" y="103"/>
                    <a:pt x="201" y="102"/>
                    <a:pt x="191" y="98"/>
                  </a:cubicBezTo>
                  <a:cubicBezTo>
                    <a:pt x="181" y="94"/>
                    <a:pt x="165" y="89"/>
                    <a:pt x="162" y="88"/>
                  </a:cubicBezTo>
                  <a:cubicBezTo>
                    <a:pt x="159" y="87"/>
                    <a:pt x="155" y="81"/>
                    <a:pt x="152" y="79"/>
                  </a:cubicBezTo>
                  <a:cubicBezTo>
                    <a:pt x="150" y="78"/>
                    <a:pt x="144" y="69"/>
                    <a:pt x="143" y="66"/>
                  </a:cubicBezTo>
                  <a:cubicBezTo>
                    <a:pt x="143" y="65"/>
                    <a:pt x="144" y="63"/>
                    <a:pt x="145" y="61"/>
                  </a:cubicBezTo>
                  <a:cubicBezTo>
                    <a:pt x="142" y="58"/>
                    <a:pt x="141" y="57"/>
                    <a:pt x="138" y="58"/>
                  </a:cubicBezTo>
                  <a:cubicBezTo>
                    <a:pt x="136" y="60"/>
                    <a:pt x="131" y="60"/>
                    <a:pt x="130" y="59"/>
                  </a:cubicBezTo>
                  <a:cubicBezTo>
                    <a:pt x="129" y="57"/>
                    <a:pt x="128" y="50"/>
                    <a:pt x="131" y="46"/>
                  </a:cubicBezTo>
                  <a:cubicBezTo>
                    <a:pt x="134" y="43"/>
                    <a:pt x="138" y="36"/>
                    <a:pt x="138" y="36"/>
                  </a:cubicBezTo>
                  <a:cubicBezTo>
                    <a:pt x="138" y="36"/>
                    <a:pt x="110" y="7"/>
                    <a:pt x="107" y="6"/>
                  </a:cubicBezTo>
                  <a:cubicBezTo>
                    <a:pt x="104" y="6"/>
                    <a:pt x="95" y="7"/>
                    <a:pt x="93" y="6"/>
                  </a:cubicBezTo>
                  <a:cubicBezTo>
                    <a:pt x="90" y="5"/>
                    <a:pt x="91" y="4"/>
                    <a:pt x="86" y="6"/>
                  </a:cubicBezTo>
                  <a:cubicBezTo>
                    <a:pt x="82" y="8"/>
                    <a:pt x="80" y="5"/>
                    <a:pt x="77" y="2"/>
                  </a:cubicBezTo>
                  <a:cubicBezTo>
                    <a:pt x="74" y="0"/>
                    <a:pt x="72" y="0"/>
                    <a:pt x="70" y="4"/>
                  </a:cubicBezTo>
                  <a:cubicBezTo>
                    <a:pt x="69" y="9"/>
                    <a:pt x="68" y="11"/>
                    <a:pt x="66" y="9"/>
                  </a:cubicBezTo>
                  <a:cubicBezTo>
                    <a:pt x="65" y="8"/>
                    <a:pt x="59" y="8"/>
                    <a:pt x="54" y="8"/>
                  </a:cubicBezTo>
                  <a:cubicBezTo>
                    <a:pt x="54" y="8"/>
                    <a:pt x="54" y="8"/>
                    <a:pt x="54" y="8"/>
                  </a:cubicBezTo>
                  <a:cubicBezTo>
                    <a:pt x="55" y="15"/>
                    <a:pt x="48" y="22"/>
                    <a:pt x="48" y="25"/>
                  </a:cubicBezTo>
                  <a:cubicBezTo>
                    <a:pt x="48" y="29"/>
                    <a:pt x="45" y="33"/>
                    <a:pt x="42" y="33"/>
                  </a:cubicBezTo>
                  <a:cubicBezTo>
                    <a:pt x="39" y="33"/>
                    <a:pt x="37" y="40"/>
                    <a:pt x="33" y="43"/>
                  </a:cubicBezTo>
                  <a:cubicBezTo>
                    <a:pt x="29" y="47"/>
                    <a:pt x="32" y="55"/>
                    <a:pt x="29" y="58"/>
                  </a:cubicBezTo>
                  <a:cubicBezTo>
                    <a:pt x="25" y="60"/>
                    <a:pt x="20" y="61"/>
                    <a:pt x="22" y="64"/>
                  </a:cubicBezTo>
                  <a:cubicBezTo>
                    <a:pt x="25" y="67"/>
                    <a:pt x="18" y="72"/>
                    <a:pt x="18" y="78"/>
                  </a:cubicBezTo>
                  <a:cubicBezTo>
                    <a:pt x="18" y="83"/>
                    <a:pt x="17" y="93"/>
                    <a:pt x="16" y="94"/>
                  </a:cubicBezTo>
                  <a:cubicBezTo>
                    <a:pt x="15" y="95"/>
                    <a:pt x="4" y="92"/>
                    <a:pt x="4" y="96"/>
                  </a:cubicBezTo>
                  <a:cubicBezTo>
                    <a:pt x="4" y="101"/>
                    <a:pt x="0" y="101"/>
                    <a:pt x="2" y="104"/>
                  </a:cubicBezTo>
                  <a:cubicBezTo>
                    <a:pt x="3" y="108"/>
                    <a:pt x="13" y="107"/>
                    <a:pt x="15" y="1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2" name="Freeform 220"/>
            <p:cNvSpPr/>
            <p:nvPr/>
          </p:nvSpPr>
          <p:spPr>
            <a:xfrm>
              <a:off x="5635626" y="2906713"/>
              <a:ext cx="39688" cy="46038"/>
            </a:xfrm>
            <a:custGeom>
              <a:gdLst>
                <a:gd name="T0" fmla="*/ 18 w 23"/>
                <a:gd name="T1" fmla="*/ 12 h 27"/>
                <a:gd name="T2" fmla="*/ 11 w 23"/>
                <a:gd name="T3" fmla="*/ 1 h 27"/>
                <a:gd name="T4" fmla="*/ 11 w 23"/>
                <a:gd name="T5" fmla="*/ 2 h 27"/>
                <a:gd name="T6" fmla="*/ 0 w 23"/>
                <a:gd name="T7" fmla="*/ 24 h 27"/>
                <a:gd name="T8" fmla="*/ 7 w 23"/>
                <a:gd name="T9" fmla="*/ 27 h 27"/>
                <a:gd name="T10" fmla="*/ 18 w 23"/>
                <a:gd name="T11" fmla="*/ 12 h 27"/>
              </a:gdLst>
              <a:cxnLst>
                <a:cxn ang="0">
                  <a:pos x="T0" y="T1"/>
                </a:cxn>
                <a:cxn ang="0">
                  <a:pos x="T2" y="T3"/>
                </a:cxn>
                <a:cxn ang="0">
                  <a:pos x="T4" y="T5"/>
                </a:cxn>
                <a:cxn ang="0">
                  <a:pos x="T6" y="T7"/>
                </a:cxn>
                <a:cxn ang="0">
                  <a:pos x="T8" y="T9"/>
                </a:cxn>
                <a:cxn ang="0">
                  <a:pos x="T10" y="T11"/>
                </a:cxn>
              </a:cxnLst>
              <a:rect l="0" t="0" r="r" b="b"/>
              <a:pathLst>
                <a:path w="23" h="27">
                  <a:moveTo>
                    <a:pt x="18" y="12"/>
                  </a:moveTo>
                  <a:cubicBezTo>
                    <a:pt x="21" y="10"/>
                    <a:pt x="23" y="0"/>
                    <a:pt x="11" y="1"/>
                  </a:cubicBezTo>
                  <a:cubicBezTo>
                    <a:pt x="11" y="2"/>
                    <a:pt x="11" y="2"/>
                    <a:pt x="11" y="2"/>
                  </a:cubicBezTo>
                  <a:cubicBezTo>
                    <a:pt x="11" y="7"/>
                    <a:pt x="4" y="16"/>
                    <a:pt x="0" y="24"/>
                  </a:cubicBezTo>
                  <a:cubicBezTo>
                    <a:pt x="7" y="27"/>
                    <a:pt x="7" y="27"/>
                    <a:pt x="7" y="27"/>
                  </a:cubicBezTo>
                  <a:cubicBezTo>
                    <a:pt x="11" y="21"/>
                    <a:pt x="16" y="14"/>
                    <a:pt x="18"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3" name="Freeform 221"/>
            <p:cNvSpPr/>
            <p:nvPr/>
          </p:nvSpPr>
          <p:spPr>
            <a:xfrm>
              <a:off x="5648326" y="2838450"/>
              <a:ext cx="168275" cy="134938"/>
            </a:xfrm>
            <a:custGeom>
              <a:gdLst>
                <a:gd name="T0" fmla="*/ 11 w 100"/>
                <a:gd name="T1" fmla="*/ 52 h 80"/>
                <a:gd name="T2" fmla="*/ 0 w 100"/>
                <a:gd name="T3" fmla="*/ 67 h 80"/>
                <a:gd name="T4" fmla="*/ 1 w 100"/>
                <a:gd name="T5" fmla="*/ 68 h 80"/>
                <a:gd name="T6" fmla="*/ 2 w 100"/>
                <a:gd name="T7" fmla="*/ 73 h 80"/>
                <a:gd name="T8" fmla="*/ 15 w 100"/>
                <a:gd name="T9" fmla="*/ 80 h 80"/>
                <a:gd name="T10" fmla="*/ 29 w 100"/>
                <a:gd name="T11" fmla="*/ 72 h 80"/>
                <a:gd name="T12" fmla="*/ 79 w 100"/>
                <a:gd name="T13" fmla="*/ 47 h 80"/>
                <a:gd name="T14" fmla="*/ 82 w 100"/>
                <a:gd name="T15" fmla="*/ 38 h 80"/>
                <a:gd name="T16" fmla="*/ 84 w 100"/>
                <a:gd name="T17" fmla="*/ 27 h 80"/>
                <a:gd name="T18" fmla="*/ 82 w 100"/>
                <a:gd name="T19" fmla="*/ 15 h 80"/>
                <a:gd name="T20" fmla="*/ 92 w 100"/>
                <a:gd name="T21" fmla="*/ 8 h 80"/>
                <a:gd name="T22" fmla="*/ 100 w 100"/>
                <a:gd name="T23" fmla="*/ 1 h 80"/>
                <a:gd name="T24" fmla="*/ 94 w 100"/>
                <a:gd name="T25" fmla="*/ 0 h 80"/>
                <a:gd name="T26" fmla="*/ 78 w 100"/>
                <a:gd name="T27" fmla="*/ 2 h 80"/>
                <a:gd name="T28" fmla="*/ 59 w 100"/>
                <a:gd name="T29" fmla="*/ 8 h 80"/>
                <a:gd name="T30" fmla="*/ 42 w 100"/>
                <a:gd name="T31" fmla="*/ 7 h 80"/>
                <a:gd name="T32" fmla="*/ 33 w 100"/>
                <a:gd name="T33" fmla="*/ 9 h 80"/>
                <a:gd name="T34" fmla="*/ 20 w 100"/>
                <a:gd name="T35" fmla="*/ 9 h 80"/>
                <a:gd name="T36" fmla="*/ 14 w 100"/>
                <a:gd name="T37" fmla="*/ 12 h 80"/>
                <a:gd name="T38" fmla="*/ 5 w 100"/>
                <a:gd name="T39" fmla="*/ 22 h 80"/>
                <a:gd name="T40" fmla="*/ 5 w 100"/>
                <a:gd name="T41" fmla="*/ 30 h 80"/>
                <a:gd name="T42" fmla="*/ 4 w 100"/>
                <a:gd name="T43" fmla="*/ 41 h 80"/>
                <a:gd name="T44" fmla="*/ 11 w 100"/>
                <a:gd name="T45" fmla="*/ 52 h 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0" h="80">
                  <a:moveTo>
                    <a:pt x="11" y="52"/>
                  </a:moveTo>
                  <a:cubicBezTo>
                    <a:pt x="9" y="54"/>
                    <a:pt x="4" y="61"/>
                    <a:pt x="0" y="67"/>
                  </a:cubicBezTo>
                  <a:cubicBezTo>
                    <a:pt x="1" y="68"/>
                    <a:pt x="1" y="68"/>
                    <a:pt x="1" y="68"/>
                  </a:cubicBezTo>
                  <a:cubicBezTo>
                    <a:pt x="2" y="73"/>
                    <a:pt x="2" y="73"/>
                    <a:pt x="2" y="73"/>
                  </a:cubicBezTo>
                  <a:cubicBezTo>
                    <a:pt x="15" y="80"/>
                    <a:pt x="15" y="80"/>
                    <a:pt x="15" y="80"/>
                  </a:cubicBezTo>
                  <a:cubicBezTo>
                    <a:pt x="15" y="80"/>
                    <a:pt x="25" y="73"/>
                    <a:pt x="29" y="72"/>
                  </a:cubicBezTo>
                  <a:cubicBezTo>
                    <a:pt x="33" y="72"/>
                    <a:pt x="79" y="47"/>
                    <a:pt x="79" y="47"/>
                  </a:cubicBezTo>
                  <a:cubicBezTo>
                    <a:pt x="79" y="47"/>
                    <a:pt x="83" y="41"/>
                    <a:pt x="82" y="38"/>
                  </a:cubicBezTo>
                  <a:cubicBezTo>
                    <a:pt x="82" y="36"/>
                    <a:pt x="81" y="30"/>
                    <a:pt x="84" y="27"/>
                  </a:cubicBezTo>
                  <a:cubicBezTo>
                    <a:pt x="86" y="24"/>
                    <a:pt x="81" y="19"/>
                    <a:pt x="82" y="15"/>
                  </a:cubicBezTo>
                  <a:cubicBezTo>
                    <a:pt x="84" y="10"/>
                    <a:pt x="92" y="8"/>
                    <a:pt x="92" y="8"/>
                  </a:cubicBezTo>
                  <a:cubicBezTo>
                    <a:pt x="100" y="1"/>
                    <a:pt x="100" y="1"/>
                    <a:pt x="100" y="1"/>
                  </a:cubicBezTo>
                  <a:cubicBezTo>
                    <a:pt x="94" y="0"/>
                    <a:pt x="94" y="0"/>
                    <a:pt x="94" y="0"/>
                  </a:cubicBezTo>
                  <a:cubicBezTo>
                    <a:pt x="94" y="0"/>
                    <a:pt x="87" y="3"/>
                    <a:pt x="78" y="2"/>
                  </a:cubicBezTo>
                  <a:cubicBezTo>
                    <a:pt x="70" y="1"/>
                    <a:pt x="68" y="8"/>
                    <a:pt x="59" y="8"/>
                  </a:cubicBezTo>
                  <a:cubicBezTo>
                    <a:pt x="50" y="8"/>
                    <a:pt x="44" y="10"/>
                    <a:pt x="42" y="7"/>
                  </a:cubicBezTo>
                  <a:cubicBezTo>
                    <a:pt x="40" y="4"/>
                    <a:pt x="39" y="6"/>
                    <a:pt x="33" y="9"/>
                  </a:cubicBezTo>
                  <a:cubicBezTo>
                    <a:pt x="27" y="12"/>
                    <a:pt x="23" y="11"/>
                    <a:pt x="20" y="9"/>
                  </a:cubicBezTo>
                  <a:cubicBezTo>
                    <a:pt x="17" y="7"/>
                    <a:pt x="15" y="10"/>
                    <a:pt x="14" y="12"/>
                  </a:cubicBezTo>
                  <a:cubicBezTo>
                    <a:pt x="14" y="15"/>
                    <a:pt x="14" y="21"/>
                    <a:pt x="5" y="22"/>
                  </a:cubicBezTo>
                  <a:cubicBezTo>
                    <a:pt x="5" y="25"/>
                    <a:pt x="4" y="28"/>
                    <a:pt x="5" y="30"/>
                  </a:cubicBezTo>
                  <a:cubicBezTo>
                    <a:pt x="8" y="33"/>
                    <a:pt x="5" y="36"/>
                    <a:pt x="4" y="41"/>
                  </a:cubicBezTo>
                  <a:cubicBezTo>
                    <a:pt x="16" y="40"/>
                    <a:pt x="14" y="50"/>
                    <a:pt x="11" y="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4" name="Freeform 222"/>
            <p:cNvSpPr/>
            <p:nvPr/>
          </p:nvSpPr>
          <p:spPr>
            <a:xfrm>
              <a:off x="7867651" y="2808288"/>
              <a:ext cx="95250" cy="115888"/>
            </a:xfrm>
            <a:custGeom>
              <a:gdLst>
                <a:gd name="T0" fmla="*/ 14 w 56"/>
                <a:gd name="T1" fmla="*/ 6 h 69"/>
                <a:gd name="T2" fmla="*/ 5 w 56"/>
                <a:gd name="T3" fmla="*/ 12 h 69"/>
                <a:gd name="T4" fmla="*/ 10 w 56"/>
                <a:gd name="T5" fmla="*/ 20 h 69"/>
                <a:gd name="T6" fmla="*/ 9 w 56"/>
                <a:gd name="T7" fmla="*/ 26 h 69"/>
                <a:gd name="T8" fmla="*/ 8 w 56"/>
                <a:gd name="T9" fmla="*/ 39 h 69"/>
                <a:gd name="T10" fmla="*/ 4 w 56"/>
                <a:gd name="T11" fmla="*/ 57 h 69"/>
                <a:gd name="T12" fmla="*/ 6 w 56"/>
                <a:gd name="T13" fmla="*/ 67 h 69"/>
                <a:gd name="T14" fmla="*/ 34 w 56"/>
                <a:gd name="T15" fmla="*/ 58 h 69"/>
                <a:gd name="T16" fmla="*/ 48 w 56"/>
                <a:gd name="T17" fmla="*/ 52 h 69"/>
                <a:gd name="T18" fmla="*/ 54 w 56"/>
                <a:gd name="T19" fmla="*/ 45 h 69"/>
                <a:gd name="T20" fmla="*/ 50 w 56"/>
                <a:gd name="T21" fmla="*/ 24 h 69"/>
                <a:gd name="T22" fmla="*/ 35 w 56"/>
                <a:gd name="T23" fmla="*/ 0 h 69"/>
                <a:gd name="T24" fmla="*/ 27 w 56"/>
                <a:gd name="T25" fmla="*/ 3 h 69"/>
                <a:gd name="T26" fmla="*/ 14 w 56"/>
                <a:gd name="T27" fmla="*/ 6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69">
                  <a:moveTo>
                    <a:pt x="14" y="6"/>
                  </a:moveTo>
                  <a:cubicBezTo>
                    <a:pt x="13" y="7"/>
                    <a:pt x="9" y="9"/>
                    <a:pt x="5" y="12"/>
                  </a:cubicBezTo>
                  <a:cubicBezTo>
                    <a:pt x="7" y="15"/>
                    <a:pt x="7" y="20"/>
                    <a:pt x="10" y="20"/>
                  </a:cubicBezTo>
                  <a:cubicBezTo>
                    <a:pt x="14" y="20"/>
                    <a:pt x="14" y="27"/>
                    <a:pt x="9" y="26"/>
                  </a:cubicBezTo>
                  <a:cubicBezTo>
                    <a:pt x="4" y="25"/>
                    <a:pt x="4" y="33"/>
                    <a:pt x="8" y="39"/>
                  </a:cubicBezTo>
                  <a:cubicBezTo>
                    <a:pt x="13" y="46"/>
                    <a:pt x="0" y="54"/>
                    <a:pt x="4" y="57"/>
                  </a:cubicBezTo>
                  <a:cubicBezTo>
                    <a:pt x="7" y="60"/>
                    <a:pt x="4" y="65"/>
                    <a:pt x="6" y="67"/>
                  </a:cubicBezTo>
                  <a:cubicBezTo>
                    <a:pt x="7" y="69"/>
                    <a:pt x="26" y="66"/>
                    <a:pt x="34" y="58"/>
                  </a:cubicBezTo>
                  <a:cubicBezTo>
                    <a:pt x="42" y="50"/>
                    <a:pt x="44" y="51"/>
                    <a:pt x="48" y="52"/>
                  </a:cubicBezTo>
                  <a:cubicBezTo>
                    <a:pt x="52" y="53"/>
                    <a:pt x="56" y="49"/>
                    <a:pt x="54" y="45"/>
                  </a:cubicBezTo>
                  <a:cubicBezTo>
                    <a:pt x="52" y="42"/>
                    <a:pt x="49" y="34"/>
                    <a:pt x="50" y="24"/>
                  </a:cubicBezTo>
                  <a:cubicBezTo>
                    <a:pt x="50" y="19"/>
                    <a:pt x="42" y="8"/>
                    <a:pt x="35" y="0"/>
                  </a:cubicBezTo>
                  <a:cubicBezTo>
                    <a:pt x="33" y="2"/>
                    <a:pt x="30" y="3"/>
                    <a:pt x="27" y="3"/>
                  </a:cubicBezTo>
                  <a:cubicBezTo>
                    <a:pt x="22" y="3"/>
                    <a:pt x="16" y="3"/>
                    <a:pt x="14"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5" name="Freeform 223"/>
            <p:cNvSpPr/>
            <p:nvPr/>
          </p:nvSpPr>
          <p:spPr>
            <a:xfrm>
              <a:off x="6940551" y="3136900"/>
              <a:ext cx="109538" cy="146050"/>
            </a:xfrm>
            <a:custGeom>
              <a:gdLst>
                <a:gd name="T0" fmla="*/ 65 w 65"/>
                <a:gd name="T1" fmla="*/ 72 h 86"/>
                <a:gd name="T2" fmla="*/ 59 w 65"/>
                <a:gd name="T3" fmla="*/ 44 h 86"/>
                <a:gd name="T4" fmla="*/ 49 w 65"/>
                <a:gd name="T5" fmla="*/ 55 h 86"/>
                <a:gd name="T6" fmla="*/ 49 w 65"/>
                <a:gd name="T7" fmla="*/ 40 h 86"/>
                <a:gd name="T8" fmla="*/ 61 w 65"/>
                <a:gd name="T9" fmla="*/ 25 h 86"/>
                <a:gd name="T10" fmla="*/ 50 w 65"/>
                <a:gd name="T11" fmla="*/ 21 h 86"/>
                <a:gd name="T12" fmla="*/ 34 w 65"/>
                <a:gd name="T13" fmla="*/ 22 h 86"/>
                <a:gd name="T14" fmla="*/ 27 w 65"/>
                <a:gd name="T15" fmla="*/ 15 h 86"/>
                <a:gd name="T16" fmla="*/ 17 w 65"/>
                <a:gd name="T17" fmla="*/ 7 h 86"/>
                <a:gd name="T18" fmla="*/ 5 w 65"/>
                <a:gd name="T19" fmla="*/ 7 h 86"/>
                <a:gd name="T20" fmla="*/ 15 w 65"/>
                <a:gd name="T21" fmla="*/ 20 h 86"/>
                <a:gd name="T22" fmla="*/ 7 w 65"/>
                <a:gd name="T23" fmla="*/ 26 h 86"/>
                <a:gd name="T24" fmla="*/ 10 w 65"/>
                <a:gd name="T25" fmla="*/ 48 h 86"/>
                <a:gd name="T26" fmla="*/ 15 w 65"/>
                <a:gd name="T27" fmla="*/ 74 h 86"/>
                <a:gd name="T28" fmla="*/ 25 w 65"/>
                <a:gd name="T29" fmla="*/ 71 h 86"/>
                <a:gd name="T30" fmla="*/ 37 w 65"/>
                <a:gd name="T31" fmla="*/ 66 h 86"/>
                <a:gd name="T32" fmla="*/ 45 w 65"/>
                <a:gd name="T33" fmla="*/ 59 h 86"/>
                <a:gd name="T34" fmla="*/ 53 w 65"/>
                <a:gd name="T35" fmla="*/ 79 h 86"/>
                <a:gd name="T36" fmla="*/ 56 w 65"/>
                <a:gd name="T37" fmla="*/ 86 h 86"/>
                <a:gd name="T38" fmla="*/ 61 w 65"/>
                <a:gd name="T39" fmla="*/ 82 h 86"/>
                <a:gd name="T40" fmla="*/ 65 w 65"/>
                <a:gd name="T41" fmla="*/ 72 h 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6">
                  <a:moveTo>
                    <a:pt x="65" y="72"/>
                  </a:moveTo>
                  <a:cubicBezTo>
                    <a:pt x="62" y="58"/>
                    <a:pt x="61" y="44"/>
                    <a:pt x="59" y="44"/>
                  </a:cubicBezTo>
                  <a:cubicBezTo>
                    <a:pt x="56" y="44"/>
                    <a:pt x="53" y="56"/>
                    <a:pt x="49" y="55"/>
                  </a:cubicBezTo>
                  <a:cubicBezTo>
                    <a:pt x="44" y="54"/>
                    <a:pt x="44" y="40"/>
                    <a:pt x="49" y="40"/>
                  </a:cubicBezTo>
                  <a:cubicBezTo>
                    <a:pt x="55" y="40"/>
                    <a:pt x="61" y="28"/>
                    <a:pt x="61" y="25"/>
                  </a:cubicBezTo>
                  <a:cubicBezTo>
                    <a:pt x="61" y="21"/>
                    <a:pt x="56" y="21"/>
                    <a:pt x="50" y="21"/>
                  </a:cubicBezTo>
                  <a:cubicBezTo>
                    <a:pt x="45" y="21"/>
                    <a:pt x="34" y="22"/>
                    <a:pt x="34" y="22"/>
                  </a:cubicBezTo>
                  <a:cubicBezTo>
                    <a:pt x="34" y="22"/>
                    <a:pt x="27" y="20"/>
                    <a:pt x="27" y="15"/>
                  </a:cubicBezTo>
                  <a:cubicBezTo>
                    <a:pt x="27" y="11"/>
                    <a:pt x="24" y="7"/>
                    <a:pt x="17" y="7"/>
                  </a:cubicBezTo>
                  <a:cubicBezTo>
                    <a:pt x="10" y="7"/>
                    <a:pt x="10" y="0"/>
                    <a:pt x="5" y="7"/>
                  </a:cubicBezTo>
                  <a:cubicBezTo>
                    <a:pt x="0" y="14"/>
                    <a:pt x="16" y="14"/>
                    <a:pt x="15" y="20"/>
                  </a:cubicBezTo>
                  <a:cubicBezTo>
                    <a:pt x="13" y="25"/>
                    <a:pt x="8" y="21"/>
                    <a:pt x="7" y="26"/>
                  </a:cubicBezTo>
                  <a:cubicBezTo>
                    <a:pt x="6" y="30"/>
                    <a:pt x="8" y="41"/>
                    <a:pt x="10" y="48"/>
                  </a:cubicBezTo>
                  <a:cubicBezTo>
                    <a:pt x="12" y="52"/>
                    <a:pt x="15" y="64"/>
                    <a:pt x="15" y="74"/>
                  </a:cubicBezTo>
                  <a:cubicBezTo>
                    <a:pt x="19" y="73"/>
                    <a:pt x="21" y="71"/>
                    <a:pt x="25" y="71"/>
                  </a:cubicBezTo>
                  <a:cubicBezTo>
                    <a:pt x="30" y="71"/>
                    <a:pt x="36" y="71"/>
                    <a:pt x="37" y="66"/>
                  </a:cubicBezTo>
                  <a:cubicBezTo>
                    <a:pt x="37" y="61"/>
                    <a:pt x="42" y="57"/>
                    <a:pt x="45" y="59"/>
                  </a:cubicBezTo>
                  <a:cubicBezTo>
                    <a:pt x="49" y="60"/>
                    <a:pt x="53" y="72"/>
                    <a:pt x="53" y="79"/>
                  </a:cubicBezTo>
                  <a:cubicBezTo>
                    <a:pt x="53" y="81"/>
                    <a:pt x="54" y="83"/>
                    <a:pt x="56" y="86"/>
                  </a:cubicBezTo>
                  <a:cubicBezTo>
                    <a:pt x="58" y="84"/>
                    <a:pt x="61" y="82"/>
                    <a:pt x="61" y="82"/>
                  </a:cubicBezTo>
                  <a:cubicBezTo>
                    <a:pt x="61" y="82"/>
                    <a:pt x="62" y="75"/>
                    <a:pt x="65" y="7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6" name="Freeform 224"/>
            <p:cNvSpPr/>
            <p:nvPr/>
          </p:nvSpPr>
          <p:spPr>
            <a:xfrm>
              <a:off x="6467476" y="2890838"/>
              <a:ext cx="685800" cy="727075"/>
            </a:xfrm>
            <a:custGeom>
              <a:gdLst>
                <a:gd name="T0" fmla="*/ 286 w 405"/>
                <a:gd name="T1" fmla="*/ 171 h 428"/>
                <a:gd name="T2" fmla="*/ 284 w 405"/>
                <a:gd name="T3" fmla="*/ 152 h 428"/>
                <a:gd name="T4" fmla="*/ 306 w 405"/>
                <a:gd name="T5" fmla="*/ 160 h 428"/>
                <a:gd name="T6" fmla="*/ 329 w 405"/>
                <a:gd name="T7" fmla="*/ 166 h 428"/>
                <a:gd name="T8" fmla="*/ 328 w 405"/>
                <a:gd name="T9" fmla="*/ 185 h 428"/>
                <a:gd name="T10" fmla="*/ 338 w 405"/>
                <a:gd name="T11" fmla="*/ 189 h 428"/>
                <a:gd name="T12" fmla="*/ 346 w 405"/>
                <a:gd name="T13" fmla="*/ 216 h 428"/>
                <a:gd name="T14" fmla="*/ 353 w 405"/>
                <a:gd name="T15" fmla="*/ 186 h 428"/>
                <a:gd name="T16" fmla="*/ 370 w 405"/>
                <a:gd name="T17" fmla="*/ 169 h 428"/>
                <a:gd name="T18" fmla="*/ 383 w 405"/>
                <a:gd name="T19" fmla="*/ 139 h 428"/>
                <a:gd name="T20" fmla="*/ 402 w 405"/>
                <a:gd name="T21" fmla="*/ 134 h 428"/>
                <a:gd name="T22" fmla="*/ 404 w 405"/>
                <a:gd name="T23" fmla="*/ 118 h 428"/>
                <a:gd name="T24" fmla="*/ 390 w 405"/>
                <a:gd name="T25" fmla="*/ 103 h 428"/>
                <a:gd name="T26" fmla="*/ 365 w 405"/>
                <a:gd name="T27" fmla="*/ 105 h 428"/>
                <a:gd name="T28" fmla="*/ 347 w 405"/>
                <a:gd name="T29" fmla="*/ 119 h 428"/>
                <a:gd name="T30" fmla="*/ 332 w 405"/>
                <a:gd name="T31" fmla="*/ 128 h 428"/>
                <a:gd name="T32" fmla="*/ 320 w 405"/>
                <a:gd name="T33" fmla="*/ 142 h 428"/>
                <a:gd name="T34" fmla="*/ 296 w 405"/>
                <a:gd name="T35" fmla="*/ 139 h 428"/>
                <a:gd name="T36" fmla="*/ 287 w 405"/>
                <a:gd name="T37" fmla="*/ 122 h 428"/>
                <a:gd name="T38" fmla="*/ 281 w 405"/>
                <a:gd name="T39" fmla="*/ 143 h 428"/>
                <a:gd name="T40" fmla="*/ 236 w 405"/>
                <a:gd name="T41" fmla="*/ 138 h 428"/>
                <a:gd name="T42" fmla="*/ 215 w 405"/>
                <a:gd name="T43" fmla="*/ 132 h 428"/>
                <a:gd name="T44" fmla="*/ 192 w 405"/>
                <a:gd name="T45" fmla="*/ 120 h 428"/>
                <a:gd name="T46" fmla="*/ 173 w 405"/>
                <a:gd name="T47" fmla="*/ 108 h 428"/>
                <a:gd name="T48" fmla="*/ 182 w 405"/>
                <a:gd name="T49" fmla="*/ 88 h 428"/>
                <a:gd name="T50" fmla="*/ 167 w 405"/>
                <a:gd name="T51" fmla="*/ 74 h 428"/>
                <a:gd name="T52" fmla="*/ 150 w 405"/>
                <a:gd name="T53" fmla="*/ 54 h 428"/>
                <a:gd name="T54" fmla="*/ 162 w 405"/>
                <a:gd name="T55" fmla="*/ 43 h 428"/>
                <a:gd name="T56" fmla="*/ 153 w 405"/>
                <a:gd name="T57" fmla="*/ 16 h 428"/>
                <a:gd name="T58" fmla="*/ 139 w 405"/>
                <a:gd name="T59" fmla="*/ 0 h 428"/>
                <a:gd name="T60" fmla="*/ 127 w 405"/>
                <a:gd name="T61" fmla="*/ 11 h 428"/>
                <a:gd name="T62" fmla="*/ 91 w 405"/>
                <a:gd name="T63" fmla="*/ 12 h 428"/>
                <a:gd name="T64" fmla="*/ 86 w 405"/>
                <a:gd name="T65" fmla="*/ 34 h 428"/>
                <a:gd name="T66" fmla="*/ 101 w 405"/>
                <a:gd name="T67" fmla="*/ 54 h 428"/>
                <a:gd name="T68" fmla="*/ 91 w 405"/>
                <a:gd name="T69" fmla="*/ 76 h 428"/>
                <a:gd name="T70" fmla="*/ 76 w 405"/>
                <a:gd name="T71" fmla="*/ 91 h 428"/>
                <a:gd name="T72" fmla="*/ 58 w 405"/>
                <a:gd name="T73" fmla="*/ 114 h 428"/>
                <a:gd name="T74" fmla="*/ 40 w 405"/>
                <a:gd name="T75" fmla="*/ 126 h 428"/>
                <a:gd name="T76" fmla="*/ 18 w 405"/>
                <a:gd name="T77" fmla="*/ 138 h 428"/>
                <a:gd name="T78" fmla="*/ 34 w 405"/>
                <a:gd name="T79" fmla="*/ 163 h 428"/>
                <a:gd name="T80" fmla="*/ 28 w 405"/>
                <a:gd name="T81" fmla="*/ 180 h 428"/>
                <a:gd name="T82" fmla="*/ 1 w 405"/>
                <a:gd name="T83" fmla="*/ 189 h 428"/>
                <a:gd name="T84" fmla="*/ 13 w 405"/>
                <a:gd name="T85" fmla="*/ 203 h 428"/>
                <a:gd name="T86" fmla="*/ 9 w 405"/>
                <a:gd name="T87" fmla="*/ 210 h 428"/>
                <a:gd name="T88" fmla="*/ 55 w 405"/>
                <a:gd name="T89" fmla="*/ 221 h 428"/>
                <a:gd name="T90" fmla="*/ 63 w 405"/>
                <a:gd name="T91" fmla="*/ 228 h 428"/>
                <a:gd name="T92" fmla="*/ 66 w 405"/>
                <a:gd name="T93" fmla="*/ 266 h 428"/>
                <a:gd name="T94" fmla="*/ 86 w 405"/>
                <a:gd name="T95" fmla="*/ 331 h 428"/>
                <a:gd name="T96" fmla="*/ 114 w 405"/>
                <a:gd name="T97" fmla="*/ 399 h 428"/>
                <a:gd name="T98" fmla="*/ 142 w 405"/>
                <a:gd name="T99" fmla="*/ 416 h 428"/>
                <a:gd name="T100" fmla="*/ 161 w 405"/>
                <a:gd name="T101" fmla="*/ 393 h 428"/>
                <a:gd name="T102" fmla="*/ 169 w 405"/>
                <a:gd name="T103" fmla="*/ 364 h 428"/>
                <a:gd name="T104" fmla="*/ 173 w 405"/>
                <a:gd name="T105" fmla="*/ 322 h 428"/>
                <a:gd name="T106" fmla="*/ 192 w 405"/>
                <a:gd name="T107" fmla="*/ 300 h 428"/>
                <a:gd name="T108" fmla="*/ 238 w 405"/>
                <a:gd name="T109" fmla="*/ 259 h 428"/>
                <a:gd name="T110" fmla="*/ 265 w 405"/>
                <a:gd name="T111" fmla="*/ 228 h 428"/>
                <a:gd name="T112" fmla="*/ 294 w 405"/>
                <a:gd name="T113" fmla="*/ 219 h 4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428">
                  <a:moveTo>
                    <a:pt x="289" y="193"/>
                  </a:moveTo>
                  <a:cubicBezTo>
                    <a:pt x="287" y="186"/>
                    <a:pt x="285" y="175"/>
                    <a:pt x="286" y="171"/>
                  </a:cubicBezTo>
                  <a:cubicBezTo>
                    <a:pt x="287" y="166"/>
                    <a:pt x="292" y="170"/>
                    <a:pt x="294" y="165"/>
                  </a:cubicBezTo>
                  <a:cubicBezTo>
                    <a:pt x="295" y="159"/>
                    <a:pt x="279" y="159"/>
                    <a:pt x="284" y="152"/>
                  </a:cubicBezTo>
                  <a:cubicBezTo>
                    <a:pt x="289" y="145"/>
                    <a:pt x="289" y="152"/>
                    <a:pt x="296" y="152"/>
                  </a:cubicBezTo>
                  <a:cubicBezTo>
                    <a:pt x="303" y="152"/>
                    <a:pt x="306" y="156"/>
                    <a:pt x="306" y="160"/>
                  </a:cubicBezTo>
                  <a:cubicBezTo>
                    <a:pt x="306" y="165"/>
                    <a:pt x="313" y="167"/>
                    <a:pt x="313" y="167"/>
                  </a:cubicBezTo>
                  <a:cubicBezTo>
                    <a:pt x="313" y="167"/>
                    <a:pt x="324" y="166"/>
                    <a:pt x="329" y="166"/>
                  </a:cubicBezTo>
                  <a:cubicBezTo>
                    <a:pt x="335" y="166"/>
                    <a:pt x="340" y="166"/>
                    <a:pt x="340" y="170"/>
                  </a:cubicBezTo>
                  <a:cubicBezTo>
                    <a:pt x="340" y="173"/>
                    <a:pt x="334" y="185"/>
                    <a:pt x="328" y="185"/>
                  </a:cubicBezTo>
                  <a:cubicBezTo>
                    <a:pt x="323" y="185"/>
                    <a:pt x="323" y="199"/>
                    <a:pt x="328" y="200"/>
                  </a:cubicBezTo>
                  <a:cubicBezTo>
                    <a:pt x="332" y="201"/>
                    <a:pt x="335" y="189"/>
                    <a:pt x="338" y="189"/>
                  </a:cubicBezTo>
                  <a:cubicBezTo>
                    <a:pt x="340" y="189"/>
                    <a:pt x="341" y="203"/>
                    <a:pt x="344" y="217"/>
                  </a:cubicBezTo>
                  <a:cubicBezTo>
                    <a:pt x="345" y="216"/>
                    <a:pt x="345" y="216"/>
                    <a:pt x="346" y="216"/>
                  </a:cubicBezTo>
                  <a:cubicBezTo>
                    <a:pt x="349" y="216"/>
                    <a:pt x="348" y="204"/>
                    <a:pt x="350" y="200"/>
                  </a:cubicBezTo>
                  <a:cubicBezTo>
                    <a:pt x="352" y="197"/>
                    <a:pt x="351" y="186"/>
                    <a:pt x="353" y="186"/>
                  </a:cubicBezTo>
                  <a:cubicBezTo>
                    <a:pt x="355" y="186"/>
                    <a:pt x="365" y="189"/>
                    <a:pt x="364" y="186"/>
                  </a:cubicBezTo>
                  <a:cubicBezTo>
                    <a:pt x="364" y="184"/>
                    <a:pt x="371" y="174"/>
                    <a:pt x="370" y="169"/>
                  </a:cubicBezTo>
                  <a:cubicBezTo>
                    <a:pt x="368" y="163"/>
                    <a:pt x="374" y="157"/>
                    <a:pt x="374" y="151"/>
                  </a:cubicBezTo>
                  <a:cubicBezTo>
                    <a:pt x="374" y="145"/>
                    <a:pt x="379" y="143"/>
                    <a:pt x="383" y="139"/>
                  </a:cubicBezTo>
                  <a:cubicBezTo>
                    <a:pt x="387" y="136"/>
                    <a:pt x="394" y="131"/>
                    <a:pt x="395" y="134"/>
                  </a:cubicBezTo>
                  <a:cubicBezTo>
                    <a:pt x="397" y="137"/>
                    <a:pt x="405" y="139"/>
                    <a:pt x="402" y="134"/>
                  </a:cubicBezTo>
                  <a:cubicBezTo>
                    <a:pt x="398" y="129"/>
                    <a:pt x="398" y="126"/>
                    <a:pt x="401" y="124"/>
                  </a:cubicBezTo>
                  <a:cubicBezTo>
                    <a:pt x="403" y="123"/>
                    <a:pt x="404" y="118"/>
                    <a:pt x="404" y="118"/>
                  </a:cubicBezTo>
                  <a:cubicBezTo>
                    <a:pt x="404" y="118"/>
                    <a:pt x="397" y="116"/>
                    <a:pt x="395" y="113"/>
                  </a:cubicBezTo>
                  <a:cubicBezTo>
                    <a:pt x="394" y="109"/>
                    <a:pt x="390" y="106"/>
                    <a:pt x="390" y="103"/>
                  </a:cubicBezTo>
                  <a:cubicBezTo>
                    <a:pt x="390" y="100"/>
                    <a:pt x="386" y="101"/>
                    <a:pt x="382" y="104"/>
                  </a:cubicBezTo>
                  <a:cubicBezTo>
                    <a:pt x="379" y="107"/>
                    <a:pt x="372" y="101"/>
                    <a:pt x="365" y="105"/>
                  </a:cubicBezTo>
                  <a:cubicBezTo>
                    <a:pt x="358" y="109"/>
                    <a:pt x="356" y="113"/>
                    <a:pt x="352" y="113"/>
                  </a:cubicBezTo>
                  <a:cubicBezTo>
                    <a:pt x="349" y="112"/>
                    <a:pt x="349" y="116"/>
                    <a:pt x="347" y="119"/>
                  </a:cubicBezTo>
                  <a:cubicBezTo>
                    <a:pt x="344" y="122"/>
                    <a:pt x="341" y="125"/>
                    <a:pt x="340" y="125"/>
                  </a:cubicBezTo>
                  <a:cubicBezTo>
                    <a:pt x="338" y="125"/>
                    <a:pt x="332" y="128"/>
                    <a:pt x="332" y="128"/>
                  </a:cubicBezTo>
                  <a:cubicBezTo>
                    <a:pt x="332" y="128"/>
                    <a:pt x="336" y="136"/>
                    <a:pt x="334" y="140"/>
                  </a:cubicBezTo>
                  <a:cubicBezTo>
                    <a:pt x="332" y="145"/>
                    <a:pt x="326" y="140"/>
                    <a:pt x="320" y="142"/>
                  </a:cubicBezTo>
                  <a:cubicBezTo>
                    <a:pt x="313" y="144"/>
                    <a:pt x="310" y="140"/>
                    <a:pt x="306" y="141"/>
                  </a:cubicBezTo>
                  <a:cubicBezTo>
                    <a:pt x="301" y="142"/>
                    <a:pt x="298" y="138"/>
                    <a:pt x="296" y="139"/>
                  </a:cubicBezTo>
                  <a:cubicBezTo>
                    <a:pt x="294" y="139"/>
                    <a:pt x="290" y="134"/>
                    <a:pt x="291" y="129"/>
                  </a:cubicBezTo>
                  <a:cubicBezTo>
                    <a:pt x="293" y="124"/>
                    <a:pt x="289" y="118"/>
                    <a:pt x="287" y="122"/>
                  </a:cubicBezTo>
                  <a:cubicBezTo>
                    <a:pt x="285" y="125"/>
                    <a:pt x="281" y="123"/>
                    <a:pt x="281" y="128"/>
                  </a:cubicBezTo>
                  <a:cubicBezTo>
                    <a:pt x="281" y="134"/>
                    <a:pt x="284" y="140"/>
                    <a:pt x="281" y="143"/>
                  </a:cubicBezTo>
                  <a:cubicBezTo>
                    <a:pt x="277" y="147"/>
                    <a:pt x="259" y="149"/>
                    <a:pt x="255" y="146"/>
                  </a:cubicBezTo>
                  <a:cubicBezTo>
                    <a:pt x="252" y="143"/>
                    <a:pt x="237" y="141"/>
                    <a:pt x="236" y="138"/>
                  </a:cubicBezTo>
                  <a:cubicBezTo>
                    <a:pt x="236" y="135"/>
                    <a:pt x="231" y="130"/>
                    <a:pt x="228" y="130"/>
                  </a:cubicBezTo>
                  <a:cubicBezTo>
                    <a:pt x="225" y="130"/>
                    <a:pt x="217" y="134"/>
                    <a:pt x="215" y="132"/>
                  </a:cubicBezTo>
                  <a:cubicBezTo>
                    <a:pt x="212" y="131"/>
                    <a:pt x="206" y="126"/>
                    <a:pt x="202" y="126"/>
                  </a:cubicBezTo>
                  <a:cubicBezTo>
                    <a:pt x="198" y="125"/>
                    <a:pt x="192" y="122"/>
                    <a:pt x="192" y="120"/>
                  </a:cubicBezTo>
                  <a:cubicBezTo>
                    <a:pt x="191" y="118"/>
                    <a:pt x="182" y="116"/>
                    <a:pt x="180" y="114"/>
                  </a:cubicBezTo>
                  <a:cubicBezTo>
                    <a:pt x="178" y="112"/>
                    <a:pt x="173" y="111"/>
                    <a:pt x="173" y="108"/>
                  </a:cubicBezTo>
                  <a:cubicBezTo>
                    <a:pt x="173" y="105"/>
                    <a:pt x="175" y="101"/>
                    <a:pt x="175" y="97"/>
                  </a:cubicBezTo>
                  <a:cubicBezTo>
                    <a:pt x="175" y="94"/>
                    <a:pt x="182" y="91"/>
                    <a:pt x="182" y="88"/>
                  </a:cubicBezTo>
                  <a:cubicBezTo>
                    <a:pt x="182" y="86"/>
                    <a:pt x="175" y="82"/>
                    <a:pt x="175" y="82"/>
                  </a:cubicBezTo>
                  <a:cubicBezTo>
                    <a:pt x="175" y="82"/>
                    <a:pt x="171" y="74"/>
                    <a:pt x="167" y="74"/>
                  </a:cubicBezTo>
                  <a:cubicBezTo>
                    <a:pt x="162" y="74"/>
                    <a:pt x="159" y="66"/>
                    <a:pt x="155" y="66"/>
                  </a:cubicBezTo>
                  <a:cubicBezTo>
                    <a:pt x="151" y="65"/>
                    <a:pt x="152" y="57"/>
                    <a:pt x="150" y="54"/>
                  </a:cubicBezTo>
                  <a:cubicBezTo>
                    <a:pt x="147" y="51"/>
                    <a:pt x="149" y="45"/>
                    <a:pt x="153" y="48"/>
                  </a:cubicBezTo>
                  <a:cubicBezTo>
                    <a:pt x="157" y="51"/>
                    <a:pt x="165" y="48"/>
                    <a:pt x="162" y="43"/>
                  </a:cubicBezTo>
                  <a:cubicBezTo>
                    <a:pt x="159" y="38"/>
                    <a:pt x="154" y="33"/>
                    <a:pt x="154" y="30"/>
                  </a:cubicBezTo>
                  <a:cubicBezTo>
                    <a:pt x="154" y="27"/>
                    <a:pt x="157" y="19"/>
                    <a:pt x="153" y="16"/>
                  </a:cubicBezTo>
                  <a:cubicBezTo>
                    <a:pt x="149" y="14"/>
                    <a:pt x="146" y="11"/>
                    <a:pt x="144" y="7"/>
                  </a:cubicBezTo>
                  <a:cubicBezTo>
                    <a:pt x="143" y="3"/>
                    <a:pt x="139" y="0"/>
                    <a:pt x="139" y="0"/>
                  </a:cubicBezTo>
                  <a:cubicBezTo>
                    <a:pt x="133" y="0"/>
                    <a:pt x="133" y="0"/>
                    <a:pt x="133" y="0"/>
                  </a:cubicBezTo>
                  <a:cubicBezTo>
                    <a:pt x="133" y="0"/>
                    <a:pt x="130" y="10"/>
                    <a:pt x="127" y="11"/>
                  </a:cubicBezTo>
                  <a:cubicBezTo>
                    <a:pt x="125" y="12"/>
                    <a:pt x="117" y="14"/>
                    <a:pt x="113" y="16"/>
                  </a:cubicBezTo>
                  <a:cubicBezTo>
                    <a:pt x="109" y="19"/>
                    <a:pt x="97" y="12"/>
                    <a:pt x="91" y="12"/>
                  </a:cubicBezTo>
                  <a:cubicBezTo>
                    <a:pt x="85" y="12"/>
                    <a:pt x="81" y="19"/>
                    <a:pt x="84" y="20"/>
                  </a:cubicBezTo>
                  <a:cubicBezTo>
                    <a:pt x="86" y="22"/>
                    <a:pt x="86" y="34"/>
                    <a:pt x="86" y="34"/>
                  </a:cubicBezTo>
                  <a:cubicBezTo>
                    <a:pt x="86" y="34"/>
                    <a:pt x="89" y="49"/>
                    <a:pt x="94" y="48"/>
                  </a:cubicBezTo>
                  <a:cubicBezTo>
                    <a:pt x="100" y="47"/>
                    <a:pt x="106" y="53"/>
                    <a:pt x="101" y="54"/>
                  </a:cubicBezTo>
                  <a:cubicBezTo>
                    <a:pt x="97" y="55"/>
                    <a:pt x="94" y="61"/>
                    <a:pt x="94" y="65"/>
                  </a:cubicBezTo>
                  <a:cubicBezTo>
                    <a:pt x="93" y="70"/>
                    <a:pt x="94" y="76"/>
                    <a:pt x="91" y="76"/>
                  </a:cubicBezTo>
                  <a:cubicBezTo>
                    <a:pt x="88" y="77"/>
                    <a:pt x="84" y="78"/>
                    <a:pt x="84" y="84"/>
                  </a:cubicBezTo>
                  <a:cubicBezTo>
                    <a:pt x="84" y="91"/>
                    <a:pt x="77" y="89"/>
                    <a:pt x="76" y="91"/>
                  </a:cubicBezTo>
                  <a:cubicBezTo>
                    <a:pt x="74" y="93"/>
                    <a:pt x="71" y="105"/>
                    <a:pt x="70" y="107"/>
                  </a:cubicBezTo>
                  <a:cubicBezTo>
                    <a:pt x="68" y="108"/>
                    <a:pt x="58" y="109"/>
                    <a:pt x="58" y="114"/>
                  </a:cubicBezTo>
                  <a:cubicBezTo>
                    <a:pt x="57" y="119"/>
                    <a:pt x="53" y="126"/>
                    <a:pt x="50" y="125"/>
                  </a:cubicBezTo>
                  <a:cubicBezTo>
                    <a:pt x="47" y="124"/>
                    <a:pt x="42" y="122"/>
                    <a:pt x="40" y="126"/>
                  </a:cubicBezTo>
                  <a:cubicBezTo>
                    <a:pt x="38" y="129"/>
                    <a:pt x="31" y="123"/>
                    <a:pt x="29" y="124"/>
                  </a:cubicBezTo>
                  <a:cubicBezTo>
                    <a:pt x="27" y="126"/>
                    <a:pt x="18" y="134"/>
                    <a:pt x="18" y="138"/>
                  </a:cubicBezTo>
                  <a:cubicBezTo>
                    <a:pt x="18" y="143"/>
                    <a:pt x="28" y="143"/>
                    <a:pt x="27" y="149"/>
                  </a:cubicBezTo>
                  <a:cubicBezTo>
                    <a:pt x="27" y="154"/>
                    <a:pt x="31" y="161"/>
                    <a:pt x="34" y="163"/>
                  </a:cubicBezTo>
                  <a:cubicBezTo>
                    <a:pt x="36" y="166"/>
                    <a:pt x="41" y="173"/>
                    <a:pt x="39" y="177"/>
                  </a:cubicBezTo>
                  <a:cubicBezTo>
                    <a:pt x="36" y="180"/>
                    <a:pt x="33" y="181"/>
                    <a:pt x="28" y="180"/>
                  </a:cubicBezTo>
                  <a:cubicBezTo>
                    <a:pt x="23" y="178"/>
                    <a:pt x="23" y="182"/>
                    <a:pt x="14" y="180"/>
                  </a:cubicBezTo>
                  <a:cubicBezTo>
                    <a:pt x="5" y="178"/>
                    <a:pt x="4" y="185"/>
                    <a:pt x="1" y="189"/>
                  </a:cubicBezTo>
                  <a:cubicBezTo>
                    <a:pt x="1" y="190"/>
                    <a:pt x="0" y="190"/>
                    <a:pt x="0" y="190"/>
                  </a:cubicBezTo>
                  <a:cubicBezTo>
                    <a:pt x="4" y="194"/>
                    <a:pt x="6" y="200"/>
                    <a:pt x="13" y="203"/>
                  </a:cubicBezTo>
                  <a:cubicBezTo>
                    <a:pt x="22" y="206"/>
                    <a:pt x="29" y="197"/>
                    <a:pt x="29" y="204"/>
                  </a:cubicBezTo>
                  <a:cubicBezTo>
                    <a:pt x="29" y="210"/>
                    <a:pt x="9" y="209"/>
                    <a:pt x="9" y="210"/>
                  </a:cubicBezTo>
                  <a:cubicBezTo>
                    <a:pt x="9" y="212"/>
                    <a:pt x="29" y="238"/>
                    <a:pt x="40" y="236"/>
                  </a:cubicBezTo>
                  <a:cubicBezTo>
                    <a:pt x="51" y="234"/>
                    <a:pt x="58" y="222"/>
                    <a:pt x="55" y="221"/>
                  </a:cubicBezTo>
                  <a:cubicBezTo>
                    <a:pt x="52" y="219"/>
                    <a:pt x="57" y="212"/>
                    <a:pt x="60" y="213"/>
                  </a:cubicBezTo>
                  <a:cubicBezTo>
                    <a:pt x="63" y="214"/>
                    <a:pt x="60" y="225"/>
                    <a:pt x="63" y="228"/>
                  </a:cubicBezTo>
                  <a:cubicBezTo>
                    <a:pt x="67" y="231"/>
                    <a:pt x="66" y="235"/>
                    <a:pt x="63" y="241"/>
                  </a:cubicBezTo>
                  <a:cubicBezTo>
                    <a:pt x="61" y="247"/>
                    <a:pt x="66" y="259"/>
                    <a:pt x="66" y="266"/>
                  </a:cubicBezTo>
                  <a:cubicBezTo>
                    <a:pt x="67" y="273"/>
                    <a:pt x="71" y="282"/>
                    <a:pt x="73" y="292"/>
                  </a:cubicBezTo>
                  <a:cubicBezTo>
                    <a:pt x="74" y="302"/>
                    <a:pt x="81" y="320"/>
                    <a:pt x="86" y="331"/>
                  </a:cubicBezTo>
                  <a:cubicBezTo>
                    <a:pt x="92" y="342"/>
                    <a:pt x="97" y="364"/>
                    <a:pt x="101" y="369"/>
                  </a:cubicBezTo>
                  <a:cubicBezTo>
                    <a:pt x="104" y="374"/>
                    <a:pt x="114" y="390"/>
                    <a:pt x="114" y="399"/>
                  </a:cubicBezTo>
                  <a:cubicBezTo>
                    <a:pt x="114" y="409"/>
                    <a:pt x="125" y="422"/>
                    <a:pt x="129" y="425"/>
                  </a:cubicBezTo>
                  <a:cubicBezTo>
                    <a:pt x="132" y="428"/>
                    <a:pt x="140" y="422"/>
                    <a:pt x="142" y="416"/>
                  </a:cubicBezTo>
                  <a:cubicBezTo>
                    <a:pt x="144" y="410"/>
                    <a:pt x="155" y="408"/>
                    <a:pt x="156" y="402"/>
                  </a:cubicBezTo>
                  <a:cubicBezTo>
                    <a:pt x="156" y="397"/>
                    <a:pt x="157" y="393"/>
                    <a:pt x="161" y="393"/>
                  </a:cubicBezTo>
                  <a:cubicBezTo>
                    <a:pt x="165" y="392"/>
                    <a:pt x="165" y="388"/>
                    <a:pt x="165" y="382"/>
                  </a:cubicBezTo>
                  <a:cubicBezTo>
                    <a:pt x="165" y="377"/>
                    <a:pt x="166" y="369"/>
                    <a:pt x="169" y="364"/>
                  </a:cubicBezTo>
                  <a:cubicBezTo>
                    <a:pt x="173" y="359"/>
                    <a:pt x="174" y="346"/>
                    <a:pt x="172" y="340"/>
                  </a:cubicBezTo>
                  <a:cubicBezTo>
                    <a:pt x="169" y="335"/>
                    <a:pt x="171" y="327"/>
                    <a:pt x="173" y="322"/>
                  </a:cubicBezTo>
                  <a:cubicBezTo>
                    <a:pt x="175" y="316"/>
                    <a:pt x="174" y="310"/>
                    <a:pt x="178" y="310"/>
                  </a:cubicBezTo>
                  <a:cubicBezTo>
                    <a:pt x="182" y="309"/>
                    <a:pt x="188" y="306"/>
                    <a:pt x="192" y="300"/>
                  </a:cubicBezTo>
                  <a:cubicBezTo>
                    <a:pt x="197" y="294"/>
                    <a:pt x="210" y="286"/>
                    <a:pt x="215" y="282"/>
                  </a:cubicBezTo>
                  <a:cubicBezTo>
                    <a:pt x="219" y="278"/>
                    <a:pt x="234" y="266"/>
                    <a:pt x="238" y="259"/>
                  </a:cubicBezTo>
                  <a:cubicBezTo>
                    <a:pt x="242" y="252"/>
                    <a:pt x="255" y="249"/>
                    <a:pt x="260" y="243"/>
                  </a:cubicBezTo>
                  <a:cubicBezTo>
                    <a:pt x="266" y="238"/>
                    <a:pt x="264" y="235"/>
                    <a:pt x="265" y="228"/>
                  </a:cubicBezTo>
                  <a:cubicBezTo>
                    <a:pt x="266" y="222"/>
                    <a:pt x="284" y="219"/>
                    <a:pt x="291" y="219"/>
                  </a:cubicBezTo>
                  <a:cubicBezTo>
                    <a:pt x="292" y="219"/>
                    <a:pt x="293" y="219"/>
                    <a:pt x="294" y="219"/>
                  </a:cubicBezTo>
                  <a:cubicBezTo>
                    <a:pt x="294" y="209"/>
                    <a:pt x="291" y="197"/>
                    <a:pt x="289" y="19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7" name="Freeform 225"/>
            <p:cNvSpPr/>
            <p:nvPr/>
          </p:nvSpPr>
          <p:spPr>
            <a:xfrm>
              <a:off x="6942138" y="2382838"/>
              <a:ext cx="774700" cy="334963"/>
            </a:xfrm>
            <a:custGeom>
              <a:gdLst>
                <a:gd name="T0" fmla="*/ 424 w 457"/>
                <a:gd name="T1" fmla="*/ 85 h 197"/>
                <a:gd name="T2" fmla="*/ 395 w 457"/>
                <a:gd name="T3" fmla="*/ 82 h 197"/>
                <a:gd name="T4" fmla="*/ 397 w 457"/>
                <a:gd name="T5" fmla="*/ 67 h 197"/>
                <a:gd name="T6" fmla="*/ 398 w 457"/>
                <a:gd name="T7" fmla="*/ 43 h 197"/>
                <a:gd name="T8" fmla="*/ 368 w 457"/>
                <a:gd name="T9" fmla="*/ 39 h 197"/>
                <a:gd name="T10" fmla="*/ 345 w 457"/>
                <a:gd name="T11" fmla="*/ 51 h 197"/>
                <a:gd name="T12" fmla="*/ 306 w 457"/>
                <a:gd name="T13" fmla="*/ 56 h 197"/>
                <a:gd name="T14" fmla="*/ 280 w 457"/>
                <a:gd name="T15" fmla="*/ 44 h 197"/>
                <a:gd name="T16" fmla="*/ 257 w 457"/>
                <a:gd name="T17" fmla="*/ 36 h 197"/>
                <a:gd name="T18" fmla="*/ 230 w 457"/>
                <a:gd name="T19" fmla="*/ 34 h 197"/>
                <a:gd name="T20" fmla="*/ 207 w 457"/>
                <a:gd name="T21" fmla="*/ 36 h 197"/>
                <a:gd name="T22" fmla="*/ 196 w 457"/>
                <a:gd name="T23" fmla="*/ 16 h 197"/>
                <a:gd name="T24" fmla="*/ 171 w 457"/>
                <a:gd name="T25" fmla="*/ 8 h 197"/>
                <a:gd name="T26" fmla="*/ 152 w 457"/>
                <a:gd name="T27" fmla="*/ 1 h 197"/>
                <a:gd name="T28" fmla="*/ 139 w 457"/>
                <a:gd name="T29" fmla="*/ 11 h 197"/>
                <a:gd name="T30" fmla="*/ 138 w 457"/>
                <a:gd name="T31" fmla="*/ 30 h 197"/>
                <a:gd name="T32" fmla="*/ 125 w 457"/>
                <a:gd name="T33" fmla="*/ 45 h 197"/>
                <a:gd name="T34" fmla="*/ 103 w 457"/>
                <a:gd name="T35" fmla="*/ 43 h 197"/>
                <a:gd name="T36" fmla="*/ 87 w 457"/>
                <a:gd name="T37" fmla="*/ 30 h 197"/>
                <a:gd name="T38" fmla="*/ 56 w 457"/>
                <a:gd name="T39" fmla="*/ 28 h 197"/>
                <a:gd name="T40" fmla="*/ 37 w 457"/>
                <a:gd name="T41" fmla="*/ 39 h 197"/>
                <a:gd name="T42" fmla="*/ 12 w 457"/>
                <a:gd name="T43" fmla="*/ 52 h 197"/>
                <a:gd name="T44" fmla="*/ 0 w 457"/>
                <a:gd name="T45" fmla="*/ 56 h 197"/>
                <a:gd name="T46" fmla="*/ 11 w 457"/>
                <a:gd name="T47" fmla="*/ 71 h 197"/>
                <a:gd name="T48" fmla="*/ 36 w 457"/>
                <a:gd name="T49" fmla="*/ 89 h 197"/>
                <a:gd name="T50" fmla="*/ 43 w 457"/>
                <a:gd name="T51" fmla="*/ 114 h 197"/>
                <a:gd name="T52" fmla="*/ 73 w 457"/>
                <a:gd name="T53" fmla="*/ 134 h 197"/>
                <a:gd name="T54" fmla="*/ 93 w 457"/>
                <a:gd name="T55" fmla="*/ 147 h 197"/>
                <a:gd name="T56" fmla="*/ 113 w 457"/>
                <a:gd name="T57" fmla="*/ 175 h 197"/>
                <a:gd name="T58" fmla="*/ 166 w 457"/>
                <a:gd name="T59" fmla="*/ 177 h 197"/>
                <a:gd name="T60" fmla="*/ 208 w 457"/>
                <a:gd name="T61" fmla="*/ 187 h 197"/>
                <a:gd name="T62" fmla="*/ 234 w 457"/>
                <a:gd name="T63" fmla="*/ 196 h 197"/>
                <a:gd name="T64" fmla="*/ 292 w 457"/>
                <a:gd name="T65" fmla="*/ 182 h 197"/>
                <a:gd name="T66" fmla="*/ 336 w 457"/>
                <a:gd name="T67" fmla="*/ 157 h 197"/>
                <a:gd name="T68" fmla="*/ 347 w 457"/>
                <a:gd name="T69" fmla="*/ 136 h 197"/>
                <a:gd name="T70" fmla="*/ 392 w 457"/>
                <a:gd name="T71" fmla="*/ 128 h 197"/>
                <a:gd name="T72" fmla="*/ 423 w 457"/>
                <a:gd name="T73" fmla="*/ 108 h 197"/>
                <a:gd name="T74" fmla="*/ 456 w 457"/>
                <a:gd name="T75" fmla="*/ 102 h 1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7" h="197">
                  <a:moveTo>
                    <a:pt x="438" y="83"/>
                  </a:moveTo>
                  <a:cubicBezTo>
                    <a:pt x="433" y="77"/>
                    <a:pt x="426" y="80"/>
                    <a:pt x="424" y="85"/>
                  </a:cubicBezTo>
                  <a:cubicBezTo>
                    <a:pt x="422" y="89"/>
                    <a:pt x="418" y="83"/>
                    <a:pt x="410" y="83"/>
                  </a:cubicBezTo>
                  <a:cubicBezTo>
                    <a:pt x="401" y="83"/>
                    <a:pt x="400" y="87"/>
                    <a:pt x="395" y="82"/>
                  </a:cubicBezTo>
                  <a:cubicBezTo>
                    <a:pt x="389" y="76"/>
                    <a:pt x="396" y="74"/>
                    <a:pt x="396" y="74"/>
                  </a:cubicBezTo>
                  <a:cubicBezTo>
                    <a:pt x="397" y="67"/>
                    <a:pt x="397" y="67"/>
                    <a:pt x="397" y="67"/>
                  </a:cubicBezTo>
                  <a:cubicBezTo>
                    <a:pt x="409" y="44"/>
                    <a:pt x="409" y="44"/>
                    <a:pt x="409" y="44"/>
                  </a:cubicBezTo>
                  <a:cubicBezTo>
                    <a:pt x="406" y="42"/>
                    <a:pt x="401" y="42"/>
                    <a:pt x="398" y="43"/>
                  </a:cubicBezTo>
                  <a:cubicBezTo>
                    <a:pt x="395" y="44"/>
                    <a:pt x="387" y="43"/>
                    <a:pt x="386" y="40"/>
                  </a:cubicBezTo>
                  <a:cubicBezTo>
                    <a:pt x="385" y="37"/>
                    <a:pt x="371" y="37"/>
                    <a:pt x="368" y="39"/>
                  </a:cubicBezTo>
                  <a:cubicBezTo>
                    <a:pt x="365" y="42"/>
                    <a:pt x="357" y="44"/>
                    <a:pt x="356" y="47"/>
                  </a:cubicBezTo>
                  <a:cubicBezTo>
                    <a:pt x="356" y="50"/>
                    <a:pt x="348" y="49"/>
                    <a:pt x="345" y="51"/>
                  </a:cubicBezTo>
                  <a:cubicBezTo>
                    <a:pt x="342" y="53"/>
                    <a:pt x="326" y="54"/>
                    <a:pt x="326" y="56"/>
                  </a:cubicBezTo>
                  <a:cubicBezTo>
                    <a:pt x="325" y="58"/>
                    <a:pt x="309" y="58"/>
                    <a:pt x="306" y="56"/>
                  </a:cubicBezTo>
                  <a:cubicBezTo>
                    <a:pt x="304" y="54"/>
                    <a:pt x="290" y="56"/>
                    <a:pt x="288" y="52"/>
                  </a:cubicBezTo>
                  <a:cubicBezTo>
                    <a:pt x="286" y="49"/>
                    <a:pt x="280" y="47"/>
                    <a:pt x="280" y="44"/>
                  </a:cubicBezTo>
                  <a:cubicBezTo>
                    <a:pt x="280" y="41"/>
                    <a:pt x="269" y="41"/>
                    <a:pt x="268" y="39"/>
                  </a:cubicBezTo>
                  <a:cubicBezTo>
                    <a:pt x="267" y="36"/>
                    <a:pt x="258" y="35"/>
                    <a:pt x="257" y="36"/>
                  </a:cubicBezTo>
                  <a:cubicBezTo>
                    <a:pt x="256" y="37"/>
                    <a:pt x="246" y="33"/>
                    <a:pt x="244" y="33"/>
                  </a:cubicBezTo>
                  <a:cubicBezTo>
                    <a:pt x="241" y="32"/>
                    <a:pt x="233" y="34"/>
                    <a:pt x="230" y="34"/>
                  </a:cubicBezTo>
                  <a:cubicBezTo>
                    <a:pt x="228" y="34"/>
                    <a:pt x="223" y="39"/>
                    <a:pt x="220" y="40"/>
                  </a:cubicBezTo>
                  <a:cubicBezTo>
                    <a:pt x="217" y="40"/>
                    <a:pt x="209" y="34"/>
                    <a:pt x="207" y="36"/>
                  </a:cubicBezTo>
                  <a:cubicBezTo>
                    <a:pt x="205" y="37"/>
                    <a:pt x="200" y="31"/>
                    <a:pt x="198" y="29"/>
                  </a:cubicBezTo>
                  <a:cubicBezTo>
                    <a:pt x="196" y="26"/>
                    <a:pt x="198" y="19"/>
                    <a:pt x="196" y="16"/>
                  </a:cubicBezTo>
                  <a:cubicBezTo>
                    <a:pt x="195" y="14"/>
                    <a:pt x="185" y="14"/>
                    <a:pt x="182" y="12"/>
                  </a:cubicBezTo>
                  <a:cubicBezTo>
                    <a:pt x="179" y="10"/>
                    <a:pt x="174" y="8"/>
                    <a:pt x="171" y="8"/>
                  </a:cubicBezTo>
                  <a:cubicBezTo>
                    <a:pt x="168" y="8"/>
                    <a:pt x="164" y="7"/>
                    <a:pt x="162" y="6"/>
                  </a:cubicBezTo>
                  <a:cubicBezTo>
                    <a:pt x="161" y="4"/>
                    <a:pt x="155" y="2"/>
                    <a:pt x="152" y="1"/>
                  </a:cubicBezTo>
                  <a:cubicBezTo>
                    <a:pt x="149" y="0"/>
                    <a:pt x="148" y="4"/>
                    <a:pt x="146" y="6"/>
                  </a:cubicBezTo>
                  <a:cubicBezTo>
                    <a:pt x="145" y="8"/>
                    <a:pt x="140" y="8"/>
                    <a:pt x="139" y="11"/>
                  </a:cubicBezTo>
                  <a:cubicBezTo>
                    <a:pt x="138" y="14"/>
                    <a:pt x="132" y="15"/>
                    <a:pt x="133" y="18"/>
                  </a:cubicBezTo>
                  <a:cubicBezTo>
                    <a:pt x="134" y="22"/>
                    <a:pt x="136" y="29"/>
                    <a:pt x="138" y="30"/>
                  </a:cubicBezTo>
                  <a:cubicBezTo>
                    <a:pt x="140" y="32"/>
                    <a:pt x="139" y="37"/>
                    <a:pt x="137" y="39"/>
                  </a:cubicBezTo>
                  <a:cubicBezTo>
                    <a:pt x="136" y="41"/>
                    <a:pt x="127" y="42"/>
                    <a:pt x="125" y="45"/>
                  </a:cubicBezTo>
                  <a:cubicBezTo>
                    <a:pt x="124" y="48"/>
                    <a:pt x="119" y="45"/>
                    <a:pt x="115" y="42"/>
                  </a:cubicBezTo>
                  <a:cubicBezTo>
                    <a:pt x="111" y="40"/>
                    <a:pt x="106" y="41"/>
                    <a:pt x="103" y="43"/>
                  </a:cubicBezTo>
                  <a:cubicBezTo>
                    <a:pt x="101" y="45"/>
                    <a:pt x="94" y="39"/>
                    <a:pt x="91" y="38"/>
                  </a:cubicBezTo>
                  <a:cubicBezTo>
                    <a:pt x="89" y="38"/>
                    <a:pt x="89" y="30"/>
                    <a:pt x="87" y="30"/>
                  </a:cubicBezTo>
                  <a:cubicBezTo>
                    <a:pt x="85" y="30"/>
                    <a:pt x="69" y="27"/>
                    <a:pt x="66" y="27"/>
                  </a:cubicBezTo>
                  <a:cubicBezTo>
                    <a:pt x="63" y="26"/>
                    <a:pt x="57" y="26"/>
                    <a:pt x="56" y="28"/>
                  </a:cubicBezTo>
                  <a:cubicBezTo>
                    <a:pt x="55" y="31"/>
                    <a:pt x="48" y="30"/>
                    <a:pt x="46" y="33"/>
                  </a:cubicBezTo>
                  <a:cubicBezTo>
                    <a:pt x="45" y="35"/>
                    <a:pt x="39" y="37"/>
                    <a:pt x="37" y="39"/>
                  </a:cubicBezTo>
                  <a:cubicBezTo>
                    <a:pt x="35" y="42"/>
                    <a:pt x="27" y="42"/>
                    <a:pt x="26" y="46"/>
                  </a:cubicBezTo>
                  <a:cubicBezTo>
                    <a:pt x="24" y="49"/>
                    <a:pt x="15" y="51"/>
                    <a:pt x="12" y="52"/>
                  </a:cubicBezTo>
                  <a:cubicBezTo>
                    <a:pt x="10" y="52"/>
                    <a:pt x="3" y="53"/>
                    <a:pt x="2" y="55"/>
                  </a:cubicBezTo>
                  <a:cubicBezTo>
                    <a:pt x="2" y="56"/>
                    <a:pt x="1" y="56"/>
                    <a:pt x="0" y="56"/>
                  </a:cubicBezTo>
                  <a:cubicBezTo>
                    <a:pt x="0" y="57"/>
                    <a:pt x="0" y="57"/>
                    <a:pt x="0" y="58"/>
                  </a:cubicBezTo>
                  <a:cubicBezTo>
                    <a:pt x="2" y="68"/>
                    <a:pt x="6" y="68"/>
                    <a:pt x="11" y="71"/>
                  </a:cubicBezTo>
                  <a:cubicBezTo>
                    <a:pt x="15" y="75"/>
                    <a:pt x="19" y="78"/>
                    <a:pt x="24" y="79"/>
                  </a:cubicBezTo>
                  <a:cubicBezTo>
                    <a:pt x="28" y="79"/>
                    <a:pt x="36" y="85"/>
                    <a:pt x="36" y="89"/>
                  </a:cubicBezTo>
                  <a:cubicBezTo>
                    <a:pt x="37" y="93"/>
                    <a:pt x="41" y="98"/>
                    <a:pt x="44" y="100"/>
                  </a:cubicBezTo>
                  <a:cubicBezTo>
                    <a:pt x="47" y="102"/>
                    <a:pt x="43" y="109"/>
                    <a:pt x="43" y="114"/>
                  </a:cubicBezTo>
                  <a:cubicBezTo>
                    <a:pt x="43" y="120"/>
                    <a:pt x="37" y="121"/>
                    <a:pt x="40" y="126"/>
                  </a:cubicBezTo>
                  <a:cubicBezTo>
                    <a:pt x="43" y="132"/>
                    <a:pt x="66" y="134"/>
                    <a:pt x="73" y="134"/>
                  </a:cubicBezTo>
                  <a:cubicBezTo>
                    <a:pt x="79" y="134"/>
                    <a:pt x="81" y="141"/>
                    <a:pt x="83" y="141"/>
                  </a:cubicBezTo>
                  <a:cubicBezTo>
                    <a:pt x="88" y="142"/>
                    <a:pt x="88" y="146"/>
                    <a:pt x="93" y="147"/>
                  </a:cubicBezTo>
                  <a:cubicBezTo>
                    <a:pt x="98" y="148"/>
                    <a:pt x="102" y="151"/>
                    <a:pt x="104" y="160"/>
                  </a:cubicBezTo>
                  <a:cubicBezTo>
                    <a:pt x="106" y="168"/>
                    <a:pt x="112" y="171"/>
                    <a:pt x="113" y="175"/>
                  </a:cubicBezTo>
                  <a:cubicBezTo>
                    <a:pt x="113" y="178"/>
                    <a:pt x="124" y="176"/>
                    <a:pt x="131" y="176"/>
                  </a:cubicBezTo>
                  <a:cubicBezTo>
                    <a:pt x="139" y="177"/>
                    <a:pt x="160" y="176"/>
                    <a:pt x="166" y="177"/>
                  </a:cubicBezTo>
                  <a:cubicBezTo>
                    <a:pt x="172" y="178"/>
                    <a:pt x="185" y="177"/>
                    <a:pt x="192" y="183"/>
                  </a:cubicBezTo>
                  <a:cubicBezTo>
                    <a:pt x="200" y="189"/>
                    <a:pt x="203" y="184"/>
                    <a:pt x="208" y="187"/>
                  </a:cubicBezTo>
                  <a:cubicBezTo>
                    <a:pt x="213" y="190"/>
                    <a:pt x="217" y="191"/>
                    <a:pt x="223" y="191"/>
                  </a:cubicBezTo>
                  <a:cubicBezTo>
                    <a:pt x="230" y="190"/>
                    <a:pt x="230" y="195"/>
                    <a:pt x="234" y="196"/>
                  </a:cubicBezTo>
                  <a:cubicBezTo>
                    <a:pt x="239" y="197"/>
                    <a:pt x="247" y="189"/>
                    <a:pt x="260" y="183"/>
                  </a:cubicBezTo>
                  <a:cubicBezTo>
                    <a:pt x="272" y="177"/>
                    <a:pt x="286" y="181"/>
                    <a:pt x="292" y="182"/>
                  </a:cubicBezTo>
                  <a:cubicBezTo>
                    <a:pt x="299" y="183"/>
                    <a:pt x="311" y="179"/>
                    <a:pt x="319" y="171"/>
                  </a:cubicBezTo>
                  <a:cubicBezTo>
                    <a:pt x="326" y="162"/>
                    <a:pt x="336" y="164"/>
                    <a:pt x="336" y="157"/>
                  </a:cubicBezTo>
                  <a:cubicBezTo>
                    <a:pt x="337" y="149"/>
                    <a:pt x="329" y="146"/>
                    <a:pt x="333" y="140"/>
                  </a:cubicBezTo>
                  <a:cubicBezTo>
                    <a:pt x="336" y="133"/>
                    <a:pt x="343" y="134"/>
                    <a:pt x="347" y="136"/>
                  </a:cubicBezTo>
                  <a:cubicBezTo>
                    <a:pt x="351" y="138"/>
                    <a:pt x="361" y="141"/>
                    <a:pt x="370" y="134"/>
                  </a:cubicBezTo>
                  <a:cubicBezTo>
                    <a:pt x="380" y="128"/>
                    <a:pt x="383" y="129"/>
                    <a:pt x="392" y="128"/>
                  </a:cubicBezTo>
                  <a:cubicBezTo>
                    <a:pt x="400" y="127"/>
                    <a:pt x="399" y="121"/>
                    <a:pt x="405" y="116"/>
                  </a:cubicBezTo>
                  <a:cubicBezTo>
                    <a:pt x="411" y="110"/>
                    <a:pt x="417" y="108"/>
                    <a:pt x="423" y="108"/>
                  </a:cubicBezTo>
                  <a:cubicBezTo>
                    <a:pt x="428" y="108"/>
                    <a:pt x="436" y="102"/>
                    <a:pt x="441" y="104"/>
                  </a:cubicBezTo>
                  <a:cubicBezTo>
                    <a:pt x="447" y="106"/>
                    <a:pt x="455" y="107"/>
                    <a:pt x="456" y="102"/>
                  </a:cubicBezTo>
                  <a:cubicBezTo>
                    <a:pt x="457" y="98"/>
                    <a:pt x="442" y="88"/>
                    <a:pt x="438" y="8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8" name="Freeform 226"/>
            <p:cNvSpPr/>
            <p:nvPr/>
          </p:nvSpPr>
          <p:spPr>
            <a:xfrm>
              <a:off x="5634038" y="2968625"/>
              <a:ext cx="11113" cy="34925"/>
            </a:xfrm>
            <a:custGeom>
              <a:gdLst>
                <a:gd name="T0" fmla="*/ 3 w 7"/>
                <a:gd name="T1" fmla="*/ 0 h 20"/>
                <a:gd name="T2" fmla="*/ 0 w 7"/>
                <a:gd name="T3" fmla="*/ 11 h 20"/>
                <a:gd name="T4" fmla="*/ 5 w 7"/>
                <a:gd name="T5" fmla="*/ 20 h 20"/>
                <a:gd name="T6" fmla="*/ 7 w 7"/>
                <a:gd name="T7" fmla="*/ 3 h 20"/>
                <a:gd name="T8" fmla="*/ 7 w 7"/>
                <a:gd name="T9" fmla="*/ 0 h 20"/>
                <a:gd name="T10" fmla="*/ 3 w 7"/>
                <a:gd name="T11" fmla="*/ 0 h 20"/>
              </a:gdLst>
              <a:cxnLst>
                <a:cxn ang="0">
                  <a:pos x="T0" y="T1"/>
                </a:cxn>
                <a:cxn ang="0">
                  <a:pos x="T2" y="T3"/>
                </a:cxn>
                <a:cxn ang="0">
                  <a:pos x="T4" y="T5"/>
                </a:cxn>
                <a:cxn ang="0">
                  <a:pos x="T6" y="T7"/>
                </a:cxn>
                <a:cxn ang="0">
                  <a:pos x="T8" y="T9"/>
                </a:cxn>
                <a:cxn ang="0">
                  <a:pos x="T10" y="T11"/>
                </a:cxn>
              </a:cxnLst>
              <a:rect l="0" t="0" r="r" b="b"/>
              <a:pathLst>
                <a:path w="7" h="20">
                  <a:moveTo>
                    <a:pt x="3" y="0"/>
                  </a:moveTo>
                  <a:cubicBezTo>
                    <a:pt x="1" y="1"/>
                    <a:pt x="0" y="9"/>
                    <a:pt x="0" y="11"/>
                  </a:cubicBezTo>
                  <a:cubicBezTo>
                    <a:pt x="0" y="12"/>
                    <a:pt x="1" y="16"/>
                    <a:pt x="5" y="20"/>
                  </a:cubicBezTo>
                  <a:cubicBezTo>
                    <a:pt x="6" y="14"/>
                    <a:pt x="6" y="5"/>
                    <a:pt x="7" y="3"/>
                  </a:cubicBezTo>
                  <a:cubicBezTo>
                    <a:pt x="7" y="2"/>
                    <a:pt x="7" y="1"/>
                    <a:pt x="7" y="0"/>
                  </a:cubicBezTo>
                  <a:cubicBezTo>
                    <a:pt x="5" y="0"/>
                    <a:pt x="4" y="0"/>
                    <a:pt x="3"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999" name="Freeform 227"/>
            <p:cNvSpPr/>
            <p:nvPr/>
          </p:nvSpPr>
          <p:spPr>
            <a:xfrm>
              <a:off x="5611813" y="2946400"/>
              <a:ext cx="38100" cy="104775"/>
            </a:xfrm>
            <a:custGeom>
              <a:gdLst>
                <a:gd name="T0" fmla="*/ 10 w 22"/>
                <a:gd name="T1" fmla="*/ 60 h 61"/>
                <a:gd name="T2" fmla="*/ 12 w 22"/>
                <a:gd name="T3" fmla="*/ 61 h 61"/>
                <a:gd name="T4" fmla="*/ 16 w 22"/>
                <a:gd name="T5" fmla="*/ 40 h 61"/>
                <a:gd name="T6" fmla="*/ 18 w 22"/>
                <a:gd name="T7" fmla="*/ 33 h 61"/>
                <a:gd name="T8" fmla="*/ 13 w 22"/>
                <a:gd name="T9" fmla="*/ 24 h 61"/>
                <a:gd name="T10" fmla="*/ 16 w 22"/>
                <a:gd name="T11" fmla="*/ 13 h 61"/>
                <a:gd name="T12" fmla="*/ 20 w 22"/>
                <a:gd name="T13" fmla="*/ 13 h 61"/>
                <a:gd name="T14" fmla="*/ 22 w 22"/>
                <a:gd name="T15" fmla="*/ 3 h 61"/>
                <a:gd name="T16" fmla="*/ 14 w 22"/>
                <a:gd name="T17" fmla="*/ 0 h 61"/>
                <a:gd name="T18" fmla="*/ 12 w 22"/>
                <a:gd name="T19" fmla="*/ 7 h 61"/>
                <a:gd name="T20" fmla="*/ 0 w 22"/>
                <a:gd name="T21" fmla="*/ 33 h 61"/>
                <a:gd name="T22" fmla="*/ 11 w 22"/>
                <a:gd name="T23" fmla="*/ 59 h 61"/>
                <a:gd name="T24" fmla="*/ 10 w 22"/>
                <a:gd name="T25" fmla="*/ 60 h 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61">
                  <a:moveTo>
                    <a:pt x="10" y="60"/>
                  </a:moveTo>
                  <a:cubicBezTo>
                    <a:pt x="11" y="61"/>
                    <a:pt x="11" y="61"/>
                    <a:pt x="12" y="61"/>
                  </a:cubicBezTo>
                  <a:cubicBezTo>
                    <a:pt x="13" y="52"/>
                    <a:pt x="15" y="42"/>
                    <a:pt x="16" y="40"/>
                  </a:cubicBezTo>
                  <a:cubicBezTo>
                    <a:pt x="17" y="39"/>
                    <a:pt x="18" y="36"/>
                    <a:pt x="18" y="33"/>
                  </a:cubicBezTo>
                  <a:cubicBezTo>
                    <a:pt x="14" y="29"/>
                    <a:pt x="13" y="25"/>
                    <a:pt x="13" y="24"/>
                  </a:cubicBezTo>
                  <a:cubicBezTo>
                    <a:pt x="13" y="22"/>
                    <a:pt x="14" y="14"/>
                    <a:pt x="16" y="13"/>
                  </a:cubicBezTo>
                  <a:cubicBezTo>
                    <a:pt x="17" y="13"/>
                    <a:pt x="18" y="13"/>
                    <a:pt x="20" y="13"/>
                  </a:cubicBezTo>
                  <a:cubicBezTo>
                    <a:pt x="21" y="10"/>
                    <a:pt x="21" y="7"/>
                    <a:pt x="22" y="3"/>
                  </a:cubicBezTo>
                  <a:cubicBezTo>
                    <a:pt x="14" y="0"/>
                    <a:pt x="14" y="0"/>
                    <a:pt x="14" y="0"/>
                  </a:cubicBezTo>
                  <a:cubicBezTo>
                    <a:pt x="13" y="3"/>
                    <a:pt x="12" y="5"/>
                    <a:pt x="12" y="7"/>
                  </a:cubicBezTo>
                  <a:cubicBezTo>
                    <a:pt x="11" y="15"/>
                    <a:pt x="4" y="28"/>
                    <a:pt x="0" y="33"/>
                  </a:cubicBezTo>
                  <a:cubicBezTo>
                    <a:pt x="11" y="59"/>
                    <a:pt x="11" y="59"/>
                    <a:pt x="11" y="59"/>
                  </a:cubicBezTo>
                  <a:lnTo>
                    <a:pt x="10" y="60"/>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0" name="Freeform 228"/>
            <p:cNvSpPr/>
            <p:nvPr/>
          </p:nvSpPr>
          <p:spPr>
            <a:xfrm>
              <a:off x="5632451" y="2944813"/>
              <a:ext cx="103188" cy="115888"/>
            </a:xfrm>
            <a:custGeom>
              <a:gdLst>
                <a:gd name="T0" fmla="*/ 57 w 61"/>
                <a:gd name="T1" fmla="*/ 0 h 68"/>
                <a:gd name="T2" fmla="*/ 38 w 61"/>
                <a:gd name="T3" fmla="*/ 9 h 68"/>
                <a:gd name="T4" fmla="*/ 24 w 61"/>
                <a:gd name="T5" fmla="*/ 17 h 68"/>
                <a:gd name="T6" fmla="*/ 11 w 61"/>
                <a:gd name="T7" fmla="*/ 10 h 68"/>
                <a:gd name="T8" fmla="*/ 10 w 61"/>
                <a:gd name="T9" fmla="*/ 5 h 68"/>
                <a:gd name="T10" fmla="*/ 10 w 61"/>
                <a:gd name="T11" fmla="*/ 4 h 68"/>
                <a:gd name="T12" fmla="*/ 8 w 61"/>
                <a:gd name="T13" fmla="*/ 17 h 68"/>
                <a:gd name="T14" fmla="*/ 4 w 61"/>
                <a:gd name="T15" fmla="*/ 41 h 68"/>
                <a:gd name="T16" fmla="*/ 0 w 61"/>
                <a:gd name="T17" fmla="*/ 62 h 68"/>
                <a:gd name="T18" fmla="*/ 13 w 61"/>
                <a:gd name="T19" fmla="*/ 68 h 68"/>
                <a:gd name="T20" fmla="*/ 24 w 61"/>
                <a:gd name="T21" fmla="*/ 59 h 68"/>
                <a:gd name="T22" fmla="*/ 33 w 61"/>
                <a:gd name="T23" fmla="*/ 55 h 68"/>
                <a:gd name="T24" fmla="*/ 42 w 61"/>
                <a:gd name="T25" fmla="*/ 48 h 68"/>
                <a:gd name="T26" fmla="*/ 31 w 61"/>
                <a:gd name="T27" fmla="*/ 36 h 68"/>
                <a:gd name="T28" fmla="*/ 45 w 61"/>
                <a:gd name="T29" fmla="*/ 26 h 68"/>
                <a:gd name="T30" fmla="*/ 60 w 61"/>
                <a:gd name="T31" fmla="*/ 22 h 68"/>
                <a:gd name="T32" fmla="*/ 61 w 61"/>
                <a:gd name="T33" fmla="*/ 22 h 68"/>
                <a:gd name="T34" fmla="*/ 58 w 61"/>
                <a:gd name="T35" fmla="*/ 7 h 68"/>
                <a:gd name="T36" fmla="*/ 57 w 61"/>
                <a:gd name="T37" fmla="*/ 0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68">
                  <a:moveTo>
                    <a:pt x="57" y="0"/>
                  </a:moveTo>
                  <a:cubicBezTo>
                    <a:pt x="47" y="5"/>
                    <a:pt x="40" y="9"/>
                    <a:pt x="38" y="9"/>
                  </a:cubicBezTo>
                  <a:cubicBezTo>
                    <a:pt x="34" y="10"/>
                    <a:pt x="24" y="17"/>
                    <a:pt x="24" y="17"/>
                  </a:cubicBezTo>
                  <a:cubicBezTo>
                    <a:pt x="11" y="10"/>
                    <a:pt x="11" y="10"/>
                    <a:pt x="11" y="10"/>
                  </a:cubicBezTo>
                  <a:cubicBezTo>
                    <a:pt x="10" y="5"/>
                    <a:pt x="10" y="5"/>
                    <a:pt x="10" y="5"/>
                  </a:cubicBezTo>
                  <a:cubicBezTo>
                    <a:pt x="10" y="4"/>
                    <a:pt x="10" y="4"/>
                    <a:pt x="10" y="4"/>
                  </a:cubicBezTo>
                  <a:cubicBezTo>
                    <a:pt x="9" y="9"/>
                    <a:pt x="8" y="15"/>
                    <a:pt x="8" y="17"/>
                  </a:cubicBezTo>
                  <a:cubicBezTo>
                    <a:pt x="7" y="20"/>
                    <a:pt x="7" y="38"/>
                    <a:pt x="4" y="41"/>
                  </a:cubicBezTo>
                  <a:cubicBezTo>
                    <a:pt x="3" y="43"/>
                    <a:pt x="1" y="53"/>
                    <a:pt x="0" y="62"/>
                  </a:cubicBezTo>
                  <a:cubicBezTo>
                    <a:pt x="5" y="65"/>
                    <a:pt x="10" y="67"/>
                    <a:pt x="13" y="68"/>
                  </a:cubicBezTo>
                  <a:cubicBezTo>
                    <a:pt x="18" y="68"/>
                    <a:pt x="24" y="63"/>
                    <a:pt x="24" y="59"/>
                  </a:cubicBezTo>
                  <a:cubicBezTo>
                    <a:pt x="24" y="56"/>
                    <a:pt x="29" y="55"/>
                    <a:pt x="33" y="55"/>
                  </a:cubicBezTo>
                  <a:cubicBezTo>
                    <a:pt x="38" y="55"/>
                    <a:pt x="39" y="50"/>
                    <a:pt x="42" y="48"/>
                  </a:cubicBezTo>
                  <a:cubicBezTo>
                    <a:pt x="45" y="46"/>
                    <a:pt x="35" y="37"/>
                    <a:pt x="31" y="36"/>
                  </a:cubicBezTo>
                  <a:cubicBezTo>
                    <a:pt x="28" y="34"/>
                    <a:pt x="34" y="27"/>
                    <a:pt x="45" y="26"/>
                  </a:cubicBezTo>
                  <a:cubicBezTo>
                    <a:pt x="57" y="26"/>
                    <a:pt x="54" y="22"/>
                    <a:pt x="60" y="22"/>
                  </a:cubicBezTo>
                  <a:cubicBezTo>
                    <a:pt x="61" y="22"/>
                    <a:pt x="61" y="22"/>
                    <a:pt x="61" y="22"/>
                  </a:cubicBezTo>
                  <a:cubicBezTo>
                    <a:pt x="60" y="17"/>
                    <a:pt x="59" y="11"/>
                    <a:pt x="58" y="7"/>
                  </a:cubicBezTo>
                  <a:cubicBezTo>
                    <a:pt x="57" y="6"/>
                    <a:pt x="57" y="3"/>
                    <a:pt x="57"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1" name="Freeform 229"/>
            <p:cNvSpPr/>
            <p:nvPr/>
          </p:nvSpPr>
          <p:spPr>
            <a:xfrm>
              <a:off x="6494463" y="2663825"/>
              <a:ext cx="269875" cy="117475"/>
            </a:xfrm>
            <a:custGeom>
              <a:gdLst>
                <a:gd name="T0" fmla="*/ 147 w 159"/>
                <a:gd name="T1" fmla="*/ 13 h 69"/>
                <a:gd name="T2" fmla="*/ 133 w 159"/>
                <a:gd name="T3" fmla="*/ 10 h 69"/>
                <a:gd name="T4" fmla="*/ 96 w 159"/>
                <a:gd name="T5" fmla="*/ 7 h 69"/>
                <a:gd name="T6" fmla="*/ 76 w 159"/>
                <a:gd name="T7" fmla="*/ 2 h 69"/>
                <a:gd name="T8" fmla="*/ 61 w 159"/>
                <a:gd name="T9" fmla="*/ 8 h 69"/>
                <a:gd name="T10" fmla="*/ 48 w 159"/>
                <a:gd name="T11" fmla="*/ 10 h 69"/>
                <a:gd name="T12" fmla="*/ 28 w 159"/>
                <a:gd name="T13" fmla="*/ 10 h 69"/>
                <a:gd name="T14" fmla="*/ 19 w 159"/>
                <a:gd name="T15" fmla="*/ 20 h 69"/>
                <a:gd name="T16" fmla="*/ 15 w 159"/>
                <a:gd name="T17" fmla="*/ 28 h 69"/>
                <a:gd name="T18" fmla="*/ 20 w 159"/>
                <a:gd name="T19" fmla="*/ 33 h 69"/>
                <a:gd name="T20" fmla="*/ 32 w 159"/>
                <a:gd name="T21" fmla="*/ 33 h 69"/>
                <a:gd name="T22" fmla="*/ 52 w 159"/>
                <a:gd name="T23" fmla="*/ 42 h 69"/>
                <a:gd name="T24" fmla="*/ 46 w 159"/>
                <a:gd name="T25" fmla="*/ 49 h 69"/>
                <a:gd name="T26" fmla="*/ 32 w 159"/>
                <a:gd name="T27" fmla="*/ 52 h 69"/>
                <a:gd name="T28" fmla="*/ 11 w 159"/>
                <a:gd name="T29" fmla="*/ 55 h 69"/>
                <a:gd name="T30" fmla="*/ 0 w 159"/>
                <a:gd name="T31" fmla="*/ 63 h 69"/>
                <a:gd name="T32" fmla="*/ 21 w 159"/>
                <a:gd name="T33" fmla="*/ 65 h 69"/>
                <a:gd name="T34" fmla="*/ 34 w 159"/>
                <a:gd name="T35" fmla="*/ 65 h 69"/>
                <a:gd name="T36" fmla="*/ 46 w 159"/>
                <a:gd name="T37" fmla="*/ 68 h 69"/>
                <a:gd name="T38" fmla="*/ 65 w 159"/>
                <a:gd name="T39" fmla="*/ 67 h 69"/>
                <a:gd name="T40" fmla="*/ 68 w 159"/>
                <a:gd name="T41" fmla="*/ 59 h 69"/>
                <a:gd name="T42" fmla="*/ 74 w 159"/>
                <a:gd name="T43" fmla="*/ 55 h 69"/>
                <a:gd name="T44" fmla="*/ 82 w 159"/>
                <a:gd name="T45" fmla="*/ 50 h 69"/>
                <a:gd name="T46" fmla="*/ 91 w 159"/>
                <a:gd name="T47" fmla="*/ 47 h 69"/>
                <a:gd name="T48" fmla="*/ 100 w 159"/>
                <a:gd name="T49" fmla="*/ 50 h 69"/>
                <a:gd name="T50" fmla="*/ 109 w 159"/>
                <a:gd name="T51" fmla="*/ 45 h 69"/>
                <a:gd name="T52" fmla="*/ 122 w 159"/>
                <a:gd name="T53" fmla="*/ 41 h 69"/>
                <a:gd name="T54" fmla="*/ 133 w 159"/>
                <a:gd name="T55" fmla="*/ 34 h 69"/>
                <a:gd name="T56" fmla="*/ 145 w 159"/>
                <a:gd name="T57" fmla="*/ 28 h 69"/>
                <a:gd name="T58" fmla="*/ 158 w 159"/>
                <a:gd name="T59" fmla="*/ 21 h 69"/>
                <a:gd name="T60" fmla="*/ 159 w 159"/>
                <a:gd name="T61" fmla="*/ 18 h 69"/>
                <a:gd name="T62" fmla="*/ 147 w 159"/>
                <a:gd name="T63" fmla="*/ 13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69">
                  <a:moveTo>
                    <a:pt x="147" y="13"/>
                  </a:moveTo>
                  <a:cubicBezTo>
                    <a:pt x="141" y="7"/>
                    <a:pt x="139" y="11"/>
                    <a:pt x="133" y="10"/>
                  </a:cubicBezTo>
                  <a:cubicBezTo>
                    <a:pt x="127" y="8"/>
                    <a:pt x="101" y="5"/>
                    <a:pt x="96" y="7"/>
                  </a:cubicBezTo>
                  <a:cubicBezTo>
                    <a:pt x="90" y="10"/>
                    <a:pt x="80" y="4"/>
                    <a:pt x="76" y="2"/>
                  </a:cubicBezTo>
                  <a:cubicBezTo>
                    <a:pt x="73" y="0"/>
                    <a:pt x="62" y="2"/>
                    <a:pt x="61" y="8"/>
                  </a:cubicBezTo>
                  <a:cubicBezTo>
                    <a:pt x="61" y="14"/>
                    <a:pt x="56" y="14"/>
                    <a:pt x="48" y="10"/>
                  </a:cubicBezTo>
                  <a:cubicBezTo>
                    <a:pt x="41" y="6"/>
                    <a:pt x="29" y="6"/>
                    <a:pt x="28" y="10"/>
                  </a:cubicBezTo>
                  <a:cubicBezTo>
                    <a:pt x="28" y="15"/>
                    <a:pt x="22" y="19"/>
                    <a:pt x="19" y="20"/>
                  </a:cubicBezTo>
                  <a:cubicBezTo>
                    <a:pt x="18" y="21"/>
                    <a:pt x="17" y="24"/>
                    <a:pt x="15" y="28"/>
                  </a:cubicBezTo>
                  <a:cubicBezTo>
                    <a:pt x="17" y="29"/>
                    <a:pt x="19" y="31"/>
                    <a:pt x="20" y="33"/>
                  </a:cubicBezTo>
                  <a:cubicBezTo>
                    <a:pt x="23" y="37"/>
                    <a:pt x="31" y="36"/>
                    <a:pt x="32" y="33"/>
                  </a:cubicBezTo>
                  <a:cubicBezTo>
                    <a:pt x="33" y="29"/>
                    <a:pt x="45" y="36"/>
                    <a:pt x="52" y="42"/>
                  </a:cubicBezTo>
                  <a:cubicBezTo>
                    <a:pt x="59" y="48"/>
                    <a:pt x="49" y="44"/>
                    <a:pt x="46" y="49"/>
                  </a:cubicBezTo>
                  <a:cubicBezTo>
                    <a:pt x="43" y="55"/>
                    <a:pt x="34" y="49"/>
                    <a:pt x="32" y="52"/>
                  </a:cubicBezTo>
                  <a:cubicBezTo>
                    <a:pt x="30" y="54"/>
                    <a:pt x="15" y="55"/>
                    <a:pt x="11" y="55"/>
                  </a:cubicBezTo>
                  <a:cubicBezTo>
                    <a:pt x="7" y="54"/>
                    <a:pt x="0" y="60"/>
                    <a:pt x="0" y="63"/>
                  </a:cubicBezTo>
                  <a:cubicBezTo>
                    <a:pt x="1" y="66"/>
                    <a:pt x="16" y="61"/>
                    <a:pt x="21" y="65"/>
                  </a:cubicBezTo>
                  <a:cubicBezTo>
                    <a:pt x="26" y="68"/>
                    <a:pt x="31" y="61"/>
                    <a:pt x="34" y="65"/>
                  </a:cubicBezTo>
                  <a:cubicBezTo>
                    <a:pt x="37" y="69"/>
                    <a:pt x="43" y="67"/>
                    <a:pt x="46" y="68"/>
                  </a:cubicBezTo>
                  <a:cubicBezTo>
                    <a:pt x="49" y="69"/>
                    <a:pt x="65" y="67"/>
                    <a:pt x="65" y="67"/>
                  </a:cubicBezTo>
                  <a:cubicBezTo>
                    <a:pt x="67" y="65"/>
                    <a:pt x="68" y="62"/>
                    <a:pt x="68" y="59"/>
                  </a:cubicBezTo>
                  <a:cubicBezTo>
                    <a:pt x="68" y="55"/>
                    <a:pt x="71" y="56"/>
                    <a:pt x="74" y="55"/>
                  </a:cubicBezTo>
                  <a:cubicBezTo>
                    <a:pt x="77" y="55"/>
                    <a:pt x="80" y="50"/>
                    <a:pt x="82" y="50"/>
                  </a:cubicBezTo>
                  <a:cubicBezTo>
                    <a:pt x="85" y="50"/>
                    <a:pt x="88" y="46"/>
                    <a:pt x="91" y="47"/>
                  </a:cubicBezTo>
                  <a:cubicBezTo>
                    <a:pt x="93" y="48"/>
                    <a:pt x="97" y="53"/>
                    <a:pt x="100" y="50"/>
                  </a:cubicBezTo>
                  <a:cubicBezTo>
                    <a:pt x="103" y="48"/>
                    <a:pt x="104" y="50"/>
                    <a:pt x="109" y="45"/>
                  </a:cubicBezTo>
                  <a:cubicBezTo>
                    <a:pt x="113" y="39"/>
                    <a:pt x="116" y="40"/>
                    <a:pt x="122" y="41"/>
                  </a:cubicBezTo>
                  <a:cubicBezTo>
                    <a:pt x="129" y="41"/>
                    <a:pt x="131" y="38"/>
                    <a:pt x="133" y="34"/>
                  </a:cubicBezTo>
                  <a:cubicBezTo>
                    <a:pt x="135" y="30"/>
                    <a:pt x="141" y="30"/>
                    <a:pt x="145" y="28"/>
                  </a:cubicBezTo>
                  <a:cubicBezTo>
                    <a:pt x="148" y="25"/>
                    <a:pt x="155" y="22"/>
                    <a:pt x="158" y="21"/>
                  </a:cubicBezTo>
                  <a:cubicBezTo>
                    <a:pt x="159" y="21"/>
                    <a:pt x="159" y="20"/>
                    <a:pt x="159" y="18"/>
                  </a:cubicBezTo>
                  <a:cubicBezTo>
                    <a:pt x="154" y="14"/>
                    <a:pt x="151" y="19"/>
                    <a:pt x="147"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2" name="Freeform 230"/>
            <p:cNvSpPr/>
            <p:nvPr/>
          </p:nvSpPr>
          <p:spPr>
            <a:xfrm>
              <a:off x="5754688" y="2649538"/>
              <a:ext cx="171450" cy="77788"/>
            </a:xfrm>
            <a:custGeom>
              <a:gdLst>
                <a:gd name="T0" fmla="*/ 40 w 101"/>
                <a:gd name="T1" fmla="*/ 35 h 46"/>
                <a:gd name="T2" fmla="*/ 50 w 101"/>
                <a:gd name="T3" fmla="*/ 43 h 46"/>
                <a:gd name="T4" fmla="*/ 51 w 101"/>
                <a:gd name="T5" fmla="*/ 44 h 46"/>
                <a:gd name="T6" fmla="*/ 66 w 101"/>
                <a:gd name="T7" fmla="*/ 41 h 46"/>
                <a:gd name="T8" fmla="*/ 79 w 101"/>
                <a:gd name="T9" fmla="*/ 43 h 46"/>
                <a:gd name="T10" fmla="*/ 78 w 101"/>
                <a:gd name="T11" fmla="*/ 40 h 46"/>
                <a:gd name="T12" fmla="*/ 88 w 101"/>
                <a:gd name="T13" fmla="*/ 43 h 46"/>
                <a:gd name="T14" fmla="*/ 99 w 101"/>
                <a:gd name="T15" fmla="*/ 43 h 46"/>
                <a:gd name="T16" fmla="*/ 94 w 101"/>
                <a:gd name="T17" fmla="*/ 37 h 46"/>
                <a:gd name="T18" fmla="*/ 97 w 101"/>
                <a:gd name="T19" fmla="*/ 32 h 46"/>
                <a:gd name="T20" fmla="*/ 88 w 101"/>
                <a:gd name="T21" fmla="*/ 27 h 46"/>
                <a:gd name="T22" fmla="*/ 84 w 101"/>
                <a:gd name="T23" fmla="*/ 18 h 46"/>
                <a:gd name="T24" fmla="*/ 78 w 101"/>
                <a:gd name="T25" fmla="*/ 16 h 46"/>
                <a:gd name="T26" fmla="*/ 64 w 101"/>
                <a:gd name="T27" fmla="*/ 18 h 46"/>
                <a:gd name="T28" fmla="*/ 55 w 101"/>
                <a:gd name="T29" fmla="*/ 13 h 46"/>
                <a:gd name="T30" fmla="*/ 46 w 101"/>
                <a:gd name="T31" fmla="*/ 8 h 46"/>
                <a:gd name="T32" fmla="*/ 23 w 101"/>
                <a:gd name="T33" fmla="*/ 6 h 46"/>
                <a:gd name="T34" fmla="*/ 6 w 101"/>
                <a:gd name="T35" fmla="*/ 1 h 46"/>
                <a:gd name="T36" fmla="*/ 0 w 101"/>
                <a:gd name="T37" fmla="*/ 3 h 46"/>
                <a:gd name="T38" fmla="*/ 23 w 101"/>
                <a:gd name="T39" fmla="*/ 16 h 46"/>
                <a:gd name="T40" fmla="*/ 28 w 101"/>
                <a:gd name="T41" fmla="*/ 31 h 46"/>
                <a:gd name="T42" fmla="*/ 25 w 101"/>
                <a:gd name="T43" fmla="*/ 36 h 46"/>
                <a:gd name="T44" fmla="*/ 40 w 101"/>
                <a:gd name="T45" fmla="*/ 35 h 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 h="46">
                  <a:moveTo>
                    <a:pt x="40" y="35"/>
                  </a:moveTo>
                  <a:cubicBezTo>
                    <a:pt x="45" y="33"/>
                    <a:pt x="46" y="38"/>
                    <a:pt x="50" y="43"/>
                  </a:cubicBezTo>
                  <a:cubicBezTo>
                    <a:pt x="51" y="44"/>
                    <a:pt x="51" y="44"/>
                    <a:pt x="51" y="44"/>
                  </a:cubicBezTo>
                  <a:cubicBezTo>
                    <a:pt x="56" y="44"/>
                    <a:pt x="60" y="42"/>
                    <a:pt x="66" y="41"/>
                  </a:cubicBezTo>
                  <a:cubicBezTo>
                    <a:pt x="70" y="41"/>
                    <a:pt x="75" y="42"/>
                    <a:pt x="79" y="43"/>
                  </a:cubicBezTo>
                  <a:cubicBezTo>
                    <a:pt x="78" y="41"/>
                    <a:pt x="77" y="40"/>
                    <a:pt x="78" y="40"/>
                  </a:cubicBezTo>
                  <a:cubicBezTo>
                    <a:pt x="79" y="37"/>
                    <a:pt x="86" y="40"/>
                    <a:pt x="88" y="43"/>
                  </a:cubicBezTo>
                  <a:cubicBezTo>
                    <a:pt x="90" y="45"/>
                    <a:pt x="97" y="46"/>
                    <a:pt x="99" y="43"/>
                  </a:cubicBezTo>
                  <a:cubicBezTo>
                    <a:pt x="101" y="41"/>
                    <a:pt x="95" y="39"/>
                    <a:pt x="94" y="37"/>
                  </a:cubicBezTo>
                  <a:cubicBezTo>
                    <a:pt x="94" y="36"/>
                    <a:pt x="95" y="34"/>
                    <a:pt x="97" y="32"/>
                  </a:cubicBezTo>
                  <a:cubicBezTo>
                    <a:pt x="93" y="30"/>
                    <a:pt x="89" y="27"/>
                    <a:pt x="88" y="27"/>
                  </a:cubicBezTo>
                  <a:cubicBezTo>
                    <a:pt x="86" y="28"/>
                    <a:pt x="86" y="18"/>
                    <a:pt x="84" y="18"/>
                  </a:cubicBezTo>
                  <a:cubicBezTo>
                    <a:pt x="81" y="18"/>
                    <a:pt x="81" y="16"/>
                    <a:pt x="78" y="16"/>
                  </a:cubicBezTo>
                  <a:cubicBezTo>
                    <a:pt x="76" y="16"/>
                    <a:pt x="66" y="16"/>
                    <a:pt x="64" y="18"/>
                  </a:cubicBezTo>
                  <a:cubicBezTo>
                    <a:pt x="61" y="20"/>
                    <a:pt x="58" y="13"/>
                    <a:pt x="55" y="13"/>
                  </a:cubicBezTo>
                  <a:cubicBezTo>
                    <a:pt x="51" y="13"/>
                    <a:pt x="47" y="10"/>
                    <a:pt x="46" y="8"/>
                  </a:cubicBezTo>
                  <a:cubicBezTo>
                    <a:pt x="44" y="5"/>
                    <a:pt x="27" y="9"/>
                    <a:pt x="23" y="6"/>
                  </a:cubicBezTo>
                  <a:cubicBezTo>
                    <a:pt x="18" y="3"/>
                    <a:pt x="10" y="0"/>
                    <a:pt x="6" y="1"/>
                  </a:cubicBezTo>
                  <a:cubicBezTo>
                    <a:pt x="4" y="1"/>
                    <a:pt x="2" y="2"/>
                    <a:pt x="0" y="3"/>
                  </a:cubicBezTo>
                  <a:cubicBezTo>
                    <a:pt x="9" y="8"/>
                    <a:pt x="21" y="7"/>
                    <a:pt x="23" y="16"/>
                  </a:cubicBezTo>
                  <a:cubicBezTo>
                    <a:pt x="24" y="26"/>
                    <a:pt x="30" y="22"/>
                    <a:pt x="28" y="31"/>
                  </a:cubicBezTo>
                  <a:cubicBezTo>
                    <a:pt x="28" y="32"/>
                    <a:pt x="26" y="34"/>
                    <a:pt x="25" y="36"/>
                  </a:cubicBezTo>
                  <a:cubicBezTo>
                    <a:pt x="31" y="36"/>
                    <a:pt x="38" y="36"/>
                    <a:pt x="40" y="3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3" name="Freeform 231"/>
            <p:cNvSpPr>
              <a:spLocks noEditPoints="1"/>
            </p:cNvSpPr>
            <p:nvPr/>
          </p:nvSpPr>
          <p:spPr>
            <a:xfrm>
              <a:off x="5413376" y="2693988"/>
              <a:ext cx="463550" cy="180975"/>
            </a:xfrm>
            <a:custGeom>
              <a:gdLst>
                <a:gd name="T0" fmla="*/ 266 w 273"/>
                <a:gd name="T1" fmla="*/ 75 h 107"/>
                <a:gd name="T2" fmla="*/ 266 w 273"/>
                <a:gd name="T3" fmla="*/ 59 h 107"/>
                <a:gd name="T4" fmla="*/ 265 w 273"/>
                <a:gd name="T5" fmla="*/ 47 h 107"/>
                <a:gd name="T6" fmla="*/ 269 w 273"/>
                <a:gd name="T7" fmla="*/ 40 h 107"/>
                <a:gd name="T8" fmla="*/ 266 w 273"/>
                <a:gd name="T9" fmla="*/ 35 h 107"/>
                <a:gd name="T10" fmla="*/ 255 w 273"/>
                <a:gd name="T11" fmla="*/ 30 h 107"/>
                <a:gd name="T12" fmla="*/ 251 w 273"/>
                <a:gd name="T13" fmla="*/ 17 h 107"/>
                <a:gd name="T14" fmla="*/ 241 w 273"/>
                <a:gd name="T15" fmla="*/ 9 h 107"/>
                <a:gd name="T16" fmla="*/ 226 w 273"/>
                <a:gd name="T17" fmla="*/ 10 h 107"/>
                <a:gd name="T18" fmla="*/ 199 w 273"/>
                <a:gd name="T19" fmla="*/ 19 h 107"/>
                <a:gd name="T20" fmla="*/ 173 w 273"/>
                <a:gd name="T21" fmla="*/ 19 h 107"/>
                <a:gd name="T22" fmla="*/ 156 w 273"/>
                <a:gd name="T23" fmla="*/ 14 h 107"/>
                <a:gd name="T24" fmla="*/ 143 w 273"/>
                <a:gd name="T25" fmla="*/ 8 h 107"/>
                <a:gd name="T26" fmla="*/ 122 w 273"/>
                <a:gd name="T27" fmla="*/ 2 h 107"/>
                <a:gd name="T28" fmla="*/ 77 w 273"/>
                <a:gd name="T29" fmla="*/ 16 h 107"/>
                <a:gd name="T30" fmla="*/ 46 w 273"/>
                <a:gd name="T31" fmla="*/ 17 h 107"/>
                <a:gd name="T32" fmla="*/ 38 w 273"/>
                <a:gd name="T33" fmla="*/ 29 h 107"/>
                <a:gd name="T34" fmla="*/ 8 w 273"/>
                <a:gd name="T35" fmla="*/ 31 h 107"/>
                <a:gd name="T36" fmla="*/ 5 w 273"/>
                <a:gd name="T37" fmla="*/ 42 h 107"/>
                <a:gd name="T38" fmla="*/ 11 w 273"/>
                <a:gd name="T39" fmla="*/ 46 h 107"/>
                <a:gd name="T40" fmla="*/ 12 w 273"/>
                <a:gd name="T41" fmla="*/ 57 h 107"/>
                <a:gd name="T42" fmla="*/ 13 w 273"/>
                <a:gd name="T43" fmla="*/ 67 h 107"/>
                <a:gd name="T44" fmla="*/ 13 w 273"/>
                <a:gd name="T45" fmla="*/ 75 h 107"/>
                <a:gd name="T46" fmla="*/ 20 w 273"/>
                <a:gd name="T47" fmla="*/ 82 h 107"/>
                <a:gd name="T48" fmla="*/ 29 w 273"/>
                <a:gd name="T49" fmla="*/ 88 h 107"/>
                <a:gd name="T50" fmla="*/ 37 w 273"/>
                <a:gd name="T51" fmla="*/ 90 h 107"/>
                <a:gd name="T52" fmla="*/ 46 w 273"/>
                <a:gd name="T53" fmla="*/ 100 h 107"/>
                <a:gd name="T54" fmla="*/ 64 w 273"/>
                <a:gd name="T55" fmla="*/ 96 h 107"/>
                <a:gd name="T56" fmla="*/ 76 w 273"/>
                <a:gd name="T57" fmla="*/ 91 h 107"/>
                <a:gd name="T58" fmla="*/ 96 w 273"/>
                <a:gd name="T59" fmla="*/ 102 h 107"/>
                <a:gd name="T60" fmla="*/ 111 w 273"/>
                <a:gd name="T61" fmla="*/ 100 h 107"/>
                <a:gd name="T62" fmla="*/ 125 w 273"/>
                <a:gd name="T63" fmla="*/ 91 h 107"/>
                <a:gd name="T64" fmla="*/ 136 w 273"/>
                <a:gd name="T65" fmla="*/ 94 h 107"/>
                <a:gd name="T66" fmla="*/ 147 w 273"/>
                <a:gd name="T67" fmla="*/ 91 h 107"/>
                <a:gd name="T68" fmla="*/ 143 w 273"/>
                <a:gd name="T69" fmla="*/ 103 h 107"/>
                <a:gd name="T70" fmla="*/ 143 w 273"/>
                <a:gd name="T71" fmla="*/ 107 h 107"/>
                <a:gd name="T72" fmla="*/ 152 w 273"/>
                <a:gd name="T73" fmla="*/ 97 h 107"/>
                <a:gd name="T74" fmla="*/ 158 w 273"/>
                <a:gd name="T75" fmla="*/ 94 h 107"/>
                <a:gd name="T76" fmla="*/ 171 w 273"/>
                <a:gd name="T77" fmla="*/ 94 h 107"/>
                <a:gd name="T78" fmla="*/ 180 w 273"/>
                <a:gd name="T79" fmla="*/ 92 h 107"/>
                <a:gd name="T80" fmla="*/ 197 w 273"/>
                <a:gd name="T81" fmla="*/ 93 h 107"/>
                <a:gd name="T82" fmla="*/ 216 w 273"/>
                <a:gd name="T83" fmla="*/ 87 h 107"/>
                <a:gd name="T84" fmla="*/ 232 w 273"/>
                <a:gd name="T85" fmla="*/ 85 h 107"/>
                <a:gd name="T86" fmla="*/ 238 w 273"/>
                <a:gd name="T87" fmla="*/ 86 h 107"/>
                <a:gd name="T88" fmla="*/ 244 w 273"/>
                <a:gd name="T89" fmla="*/ 81 h 107"/>
                <a:gd name="T90" fmla="*/ 257 w 273"/>
                <a:gd name="T91" fmla="*/ 84 h 107"/>
                <a:gd name="T92" fmla="*/ 273 w 273"/>
                <a:gd name="T93" fmla="*/ 86 h 107"/>
                <a:gd name="T94" fmla="*/ 266 w 273"/>
                <a:gd name="T95" fmla="*/ 75 h 107"/>
                <a:gd name="T96" fmla="*/ 24 w 273"/>
                <a:gd name="T97" fmla="*/ 20 h 107"/>
                <a:gd name="T98" fmla="*/ 43 w 273"/>
                <a:gd name="T99" fmla="*/ 18 h 107"/>
                <a:gd name="T100" fmla="*/ 32 w 273"/>
                <a:gd name="T101" fmla="*/ 9 h 107"/>
                <a:gd name="T102" fmla="*/ 29 w 273"/>
                <a:gd name="T103" fmla="*/ 1 h 107"/>
                <a:gd name="T104" fmla="*/ 23 w 273"/>
                <a:gd name="T105" fmla="*/ 2 h 107"/>
                <a:gd name="T106" fmla="*/ 8 w 273"/>
                <a:gd name="T107" fmla="*/ 2 h 107"/>
                <a:gd name="T108" fmla="*/ 9 w 273"/>
                <a:gd name="T109" fmla="*/ 12 h 107"/>
                <a:gd name="T110" fmla="*/ 5 w 273"/>
                <a:gd name="T111" fmla="*/ 19 h 107"/>
                <a:gd name="T112" fmla="*/ 2 w 273"/>
                <a:gd name="T113" fmla="*/ 24 h 107"/>
                <a:gd name="T114" fmla="*/ 10 w 273"/>
                <a:gd name="T115" fmla="*/ 28 h 107"/>
                <a:gd name="T116" fmla="*/ 24 w 273"/>
                <a:gd name="T117" fmla="*/ 20 h 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107">
                  <a:moveTo>
                    <a:pt x="266" y="75"/>
                  </a:moveTo>
                  <a:cubicBezTo>
                    <a:pt x="263" y="74"/>
                    <a:pt x="267" y="62"/>
                    <a:pt x="266" y="59"/>
                  </a:cubicBezTo>
                  <a:cubicBezTo>
                    <a:pt x="265" y="57"/>
                    <a:pt x="262" y="47"/>
                    <a:pt x="265" y="47"/>
                  </a:cubicBezTo>
                  <a:cubicBezTo>
                    <a:pt x="268" y="47"/>
                    <a:pt x="265" y="40"/>
                    <a:pt x="269" y="40"/>
                  </a:cubicBezTo>
                  <a:cubicBezTo>
                    <a:pt x="268" y="37"/>
                    <a:pt x="267" y="35"/>
                    <a:pt x="266" y="35"/>
                  </a:cubicBezTo>
                  <a:cubicBezTo>
                    <a:pt x="264" y="33"/>
                    <a:pt x="258" y="36"/>
                    <a:pt x="255" y="30"/>
                  </a:cubicBezTo>
                  <a:cubicBezTo>
                    <a:pt x="253" y="23"/>
                    <a:pt x="255" y="23"/>
                    <a:pt x="251" y="17"/>
                  </a:cubicBezTo>
                  <a:cubicBezTo>
                    <a:pt x="247" y="12"/>
                    <a:pt x="246" y="7"/>
                    <a:pt x="241" y="9"/>
                  </a:cubicBezTo>
                  <a:cubicBezTo>
                    <a:pt x="239" y="10"/>
                    <a:pt x="232" y="10"/>
                    <a:pt x="226" y="10"/>
                  </a:cubicBezTo>
                  <a:cubicBezTo>
                    <a:pt x="219" y="16"/>
                    <a:pt x="203" y="20"/>
                    <a:pt x="199" y="19"/>
                  </a:cubicBezTo>
                  <a:cubicBezTo>
                    <a:pt x="193" y="17"/>
                    <a:pt x="182" y="19"/>
                    <a:pt x="173" y="19"/>
                  </a:cubicBezTo>
                  <a:cubicBezTo>
                    <a:pt x="165" y="19"/>
                    <a:pt x="163" y="13"/>
                    <a:pt x="156" y="14"/>
                  </a:cubicBezTo>
                  <a:cubicBezTo>
                    <a:pt x="150" y="14"/>
                    <a:pt x="150" y="8"/>
                    <a:pt x="143" y="8"/>
                  </a:cubicBezTo>
                  <a:cubicBezTo>
                    <a:pt x="137" y="8"/>
                    <a:pt x="142" y="5"/>
                    <a:pt x="122" y="2"/>
                  </a:cubicBezTo>
                  <a:cubicBezTo>
                    <a:pt x="101" y="0"/>
                    <a:pt x="84" y="10"/>
                    <a:pt x="77" y="16"/>
                  </a:cubicBezTo>
                  <a:cubicBezTo>
                    <a:pt x="71" y="21"/>
                    <a:pt x="48" y="16"/>
                    <a:pt x="46" y="17"/>
                  </a:cubicBezTo>
                  <a:cubicBezTo>
                    <a:pt x="44" y="19"/>
                    <a:pt x="46" y="26"/>
                    <a:pt x="38" y="29"/>
                  </a:cubicBezTo>
                  <a:cubicBezTo>
                    <a:pt x="31" y="32"/>
                    <a:pt x="14" y="29"/>
                    <a:pt x="8" y="31"/>
                  </a:cubicBezTo>
                  <a:cubicBezTo>
                    <a:pt x="2" y="34"/>
                    <a:pt x="0" y="42"/>
                    <a:pt x="5" y="42"/>
                  </a:cubicBezTo>
                  <a:cubicBezTo>
                    <a:pt x="10" y="41"/>
                    <a:pt x="12" y="44"/>
                    <a:pt x="11" y="46"/>
                  </a:cubicBezTo>
                  <a:cubicBezTo>
                    <a:pt x="9" y="48"/>
                    <a:pt x="15" y="54"/>
                    <a:pt x="12" y="57"/>
                  </a:cubicBezTo>
                  <a:cubicBezTo>
                    <a:pt x="9" y="59"/>
                    <a:pt x="9" y="64"/>
                    <a:pt x="13" y="67"/>
                  </a:cubicBezTo>
                  <a:cubicBezTo>
                    <a:pt x="16" y="69"/>
                    <a:pt x="17" y="74"/>
                    <a:pt x="13" y="75"/>
                  </a:cubicBezTo>
                  <a:cubicBezTo>
                    <a:pt x="8" y="75"/>
                    <a:pt x="20" y="80"/>
                    <a:pt x="20" y="82"/>
                  </a:cubicBezTo>
                  <a:cubicBezTo>
                    <a:pt x="20" y="84"/>
                    <a:pt x="29" y="86"/>
                    <a:pt x="29" y="88"/>
                  </a:cubicBezTo>
                  <a:cubicBezTo>
                    <a:pt x="29" y="91"/>
                    <a:pt x="32" y="92"/>
                    <a:pt x="37" y="90"/>
                  </a:cubicBezTo>
                  <a:cubicBezTo>
                    <a:pt x="41" y="89"/>
                    <a:pt x="43" y="95"/>
                    <a:pt x="46" y="100"/>
                  </a:cubicBezTo>
                  <a:cubicBezTo>
                    <a:pt x="48" y="104"/>
                    <a:pt x="64" y="101"/>
                    <a:pt x="64" y="96"/>
                  </a:cubicBezTo>
                  <a:cubicBezTo>
                    <a:pt x="64" y="91"/>
                    <a:pt x="69" y="90"/>
                    <a:pt x="76" y="91"/>
                  </a:cubicBezTo>
                  <a:cubicBezTo>
                    <a:pt x="83" y="91"/>
                    <a:pt x="93" y="101"/>
                    <a:pt x="96" y="102"/>
                  </a:cubicBezTo>
                  <a:cubicBezTo>
                    <a:pt x="99" y="104"/>
                    <a:pt x="107" y="100"/>
                    <a:pt x="111" y="100"/>
                  </a:cubicBezTo>
                  <a:cubicBezTo>
                    <a:pt x="116" y="100"/>
                    <a:pt x="122" y="93"/>
                    <a:pt x="125" y="91"/>
                  </a:cubicBezTo>
                  <a:cubicBezTo>
                    <a:pt x="127" y="90"/>
                    <a:pt x="132" y="96"/>
                    <a:pt x="136" y="94"/>
                  </a:cubicBezTo>
                  <a:cubicBezTo>
                    <a:pt x="140" y="92"/>
                    <a:pt x="144" y="89"/>
                    <a:pt x="147" y="91"/>
                  </a:cubicBezTo>
                  <a:cubicBezTo>
                    <a:pt x="150" y="92"/>
                    <a:pt x="141" y="99"/>
                    <a:pt x="143" y="103"/>
                  </a:cubicBezTo>
                  <a:cubicBezTo>
                    <a:pt x="144" y="104"/>
                    <a:pt x="144" y="106"/>
                    <a:pt x="143" y="107"/>
                  </a:cubicBezTo>
                  <a:cubicBezTo>
                    <a:pt x="152" y="106"/>
                    <a:pt x="152" y="100"/>
                    <a:pt x="152" y="97"/>
                  </a:cubicBezTo>
                  <a:cubicBezTo>
                    <a:pt x="153" y="95"/>
                    <a:pt x="155" y="92"/>
                    <a:pt x="158" y="94"/>
                  </a:cubicBezTo>
                  <a:cubicBezTo>
                    <a:pt x="161" y="96"/>
                    <a:pt x="165" y="97"/>
                    <a:pt x="171" y="94"/>
                  </a:cubicBezTo>
                  <a:cubicBezTo>
                    <a:pt x="177" y="91"/>
                    <a:pt x="178" y="89"/>
                    <a:pt x="180" y="92"/>
                  </a:cubicBezTo>
                  <a:cubicBezTo>
                    <a:pt x="182" y="95"/>
                    <a:pt x="188" y="93"/>
                    <a:pt x="197" y="93"/>
                  </a:cubicBezTo>
                  <a:cubicBezTo>
                    <a:pt x="206" y="93"/>
                    <a:pt x="208" y="86"/>
                    <a:pt x="216" y="87"/>
                  </a:cubicBezTo>
                  <a:cubicBezTo>
                    <a:pt x="225" y="88"/>
                    <a:pt x="232" y="85"/>
                    <a:pt x="232" y="85"/>
                  </a:cubicBezTo>
                  <a:cubicBezTo>
                    <a:pt x="238" y="86"/>
                    <a:pt x="238" y="86"/>
                    <a:pt x="238" y="86"/>
                  </a:cubicBezTo>
                  <a:cubicBezTo>
                    <a:pt x="240" y="84"/>
                    <a:pt x="240" y="82"/>
                    <a:pt x="244" y="81"/>
                  </a:cubicBezTo>
                  <a:cubicBezTo>
                    <a:pt x="251" y="81"/>
                    <a:pt x="254" y="86"/>
                    <a:pt x="257" y="84"/>
                  </a:cubicBezTo>
                  <a:cubicBezTo>
                    <a:pt x="261" y="82"/>
                    <a:pt x="272" y="94"/>
                    <a:pt x="273" y="86"/>
                  </a:cubicBezTo>
                  <a:cubicBezTo>
                    <a:pt x="273" y="85"/>
                    <a:pt x="268" y="76"/>
                    <a:pt x="266" y="75"/>
                  </a:cubicBezTo>
                  <a:close/>
                  <a:moveTo>
                    <a:pt x="24" y="20"/>
                  </a:moveTo>
                  <a:cubicBezTo>
                    <a:pt x="29" y="18"/>
                    <a:pt x="40" y="20"/>
                    <a:pt x="43" y="18"/>
                  </a:cubicBezTo>
                  <a:cubicBezTo>
                    <a:pt x="46" y="15"/>
                    <a:pt x="36" y="12"/>
                    <a:pt x="32" y="9"/>
                  </a:cubicBezTo>
                  <a:cubicBezTo>
                    <a:pt x="30" y="7"/>
                    <a:pt x="29" y="4"/>
                    <a:pt x="29" y="1"/>
                  </a:cubicBezTo>
                  <a:cubicBezTo>
                    <a:pt x="27" y="2"/>
                    <a:pt x="25" y="3"/>
                    <a:pt x="23" y="2"/>
                  </a:cubicBezTo>
                  <a:cubicBezTo>
                    <a:pt x="19" y="0"/>
                    <a:pt x="9" y="2"/>
                    <a:pt x="8" y="2"/>
                  </a:cubicBezTo>
                  <a:cubicBezTo>
                    <a:pt x="6" y="3"/>
                    <a:pt x="9" y="8"/>
                    <a:pt x="9" y="12"/>
                  </a:cubicBezTo>
                  <a:cubicBezTo>
                    <a:pt x="9" y="16"/>
                    <a:pt x="5" y="17"/>
                    <a:pt x="5" y="19"/>
                  </a:cubicBezTo>
                  <a:cubicBezTo>
                    <a:pt x="5" y="21"/>
                    <a:pt x="3" y="22"/>
                    <a:pt x="2" y="24"/>
                  </a:cubicBezTo>
                  <a:cubicBezTo>
                    <a:pt x="4" y="26"/>
                    <a:pt x="7" y="28"/>
                    <a:pt x="10" y="28"/>
                  </a:cubicBezTo>
                  <a:cubicBezTo>
                    <a:pt x="16" y="28"/>
                    <a:pt x="18" y="21"/>
                    <a:pt x="24" y="2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4" name="Freeform 232"/>
            <p:cNvSpPr/>
            <p:nvPr/>
          </p:nvSpPr>
          <p:spPr>
            <a:xfrm>
              <a:off x="6707188" y="2879725"/>
              <a:ext cx="60325" cy="53975"/>
            </a:xfrm>
            <a:custGeom>
              <a:gdLst>
                <a:gd name="T0" fmla="*/ 16 w 35"/>
                <a:gd name="T1" fmla="*/ 0 h 32"/>
                <a:gd name="T2" fmla="*/ 0 w 35"/>
                <a:gd name="T3" fmla="*/ 10 h 32"/>
                <a:gd name="T4" fmla="*/ 2 w 35"/>
                <a:gd name="T5" fmla="*/ 14 h 32"/>
                <a:gd name="T6" fmla="*/ 11 w 35"/>
                <a:gd name="T7" fmla="*/ 23 h 32"/>
                <a:gd name="T8" fmla="*/ 13 w 35"/>
                <a:gd name="T9" fmla="*/ 32 h 32"/>
                <a:gd name="T10" fmla="*/ 19 w 35"/>
                <a:gd name="T11" fmla="*/ 31 h 32"/>
                <a:gd name="T12" fmla="*/ 33 w 35"/>
                <a:gd name="T13" fmla="*/ 14 h 32"/>
                <a:gd name="T14" fmla="*/ 16 w 35"/>
                <a:gd name="T15" fmla="*/ 0 h 3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2">
                  <a:moveTo>
                    <a:pt x="16" y="0"/>
                  </a:moveTo>
                  <a:cubicBezTo>
                    <a:pt x="11" y="0"/>
                    <a:pt x="1" y="5"/>
                    <a:pt x="0" y="10"/>
                  </a:cubicBezTo>
                  <a:cubicBezTo>
                    <a:pt x="1" y="11"/>
                    <a:pt x="2" y="12"/>
                    <a:pt x="2" y="14"/>
                  </a:cubicBezTo>
                  <a:cubicBezTo>
                    <a:pt x="4" y="18"/>
                    <a:pt x="7" y="21"/>
                    <a:pt x="11" y="23"/>
                  </a:cubicBezTo>
                  <a:cubicBezTo>
                    <a:pt x="14" y="25"/>
                    <a:pt x="13" y="29"/>
                    <a:pt x="13" y="32"/>
                  </a:cubicBezTo>
                  <a:cubicBezTo>
                    <a:pt x="15" y="32"/>
                    <a:pt x="17" y="32"/>
                    <a:pt x="19" y="31"/>
                  </a:cubicBezTo>
                  <a:cubicBezTo>
                    <a:pt x="23" y="30"/>
                    <a:pt x="32" y="18"/>
                    <a:pt x="33" y="14"/>
                  </a:cubicBezTo>
                  <a:cubicBezTo>
                    <a:pt x="35" y="10"/>
                    <a:pt x="22" y="0"/>
                    <a:pt x="16"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5" name="Freeform 233"/>
            <p:cNvSpPr/>
            <p:nvPr/>
          </p:nvSpPr>
          <p:spPr>
            <a:xfrm>
              <a:off x="7821613" y="2673350"/>
              <a:ext cx="169863" cy="161925"/>
            </a:xfrm>
            <a:custGeom>
              <a:gdLst>
                <a:gd name="T0" fmla="*/ 96 w 100"/>
                <a:gd name="T1" fmla="*/ 5 h 95"/>
                <a:gd name="T2" fmla="*/ 84 w 100"/>
                <a:gd name="T3" fmla="*/ 0 h 95"/>
                <a:gd name="T4" fmla="*/ 75 w 100"/>
                <a:gd name="T5" fmla="*/ 11 h 95"/>
                <a:gd name="T6" fmla="*/ 65 w 100"/>
                <a:gd name="T7" fmla="*/ 19 h 95"/>
                <a:gd name="T8" fmla="*/ 59 w 100"/>
                <a:gd name="T9" fmla="*/ 24 h 95"/>
                <a:gd name="T10" fmla="*/ 50 w 100"/>
                <a:gd name="T11" fmla="*/ 27 h 95"/>
                <a:gd name="T12" fmla="*/ 41 w 100"/>
                <a:gd name="T13" fmla="*/ 23 h 95"/>
                <a:gd name="T14" fmla="*/ 31 w 100"/>
                <a:gd name="T15" fmla="*/ 34 h 95"/>
                <a:gd name="T16" fmla="*/ 4 w 100"/>
                <a:gd name="T17" fmla="*/ 49 h 95"/>
                <a:gd name="T18" fmla="*/ 0 w 100"/>
                <a:gd name="T19" fmla="*/ 55 h 95"/>
                <a:gd name="T20" fmla="*/ 16 w 100"/>
                <a:gd name="T21" fmla="*/ 63 h 95"/>
                <a:gd name="T22" fmla="*/ 8 w 100"/>
                <a:gd name="T23" fmla="*/ 79 h 95"/>
                <a:gd name="T24" fmla="*/ 10 w 100"/>
                <a:gd name="T25" fmla="*/ 88 h 95"/>
                <a:gd name="T26" fmla="*/ 18 w 100"/>
                <a:gd name="T27" fmla="*/ 91 h 95"/>
                <a:gd name="T28" fmla="*/ 29 w 100"/>
                <a:gd name="T29" fmla="*/ 89 h 95"/>
                <a:gd name="T30" fmla="*/ 32 w 100"/>
                <a:gd name="T31" fmla="*/ 91 h 95"/>
                <a:gd name="T32" fmla="*/ 41 w 100"/>
                <a:gd name="T33" fmla="*/ 85 h 95"/>
                <a:gd name="T34" fmla="*/ 54 w 100"/>
                <a:gd name="T35" fmla="*/ 82 h 95"/>
                <a:gd name="T36" fmla="*/ 62 w 100"/>
                <a:gd name="T37" fmla="*/ 79 h 95"/>
                <a:gd name="T38" fmla="*/ 49 w 100"/>
                <a:gd name="T39" fmla="*/ 67 h 95"/>
                <a:gd name="T40" fmla="*/ 53 w 100"/>
                <a:gd name="T41" fmla="*/ 54 h 95"/>
                <a:gd name="T42" fmla="*/ 78 w 100"/>
                <a:gd name="T43" fmla="*/ 38 h 95"/>
                <a:gd name="T44" fmla="*/ 84 w 100"/>
                <a:gd name="T45" fmla="*/ 21 h 95"/>
                <a:gd name="T46" fmla="*/ 100 w 100"/>
                <a:gd name="T47" fmla="*/ 5 h 95"/>
                <a:gd name="T48" fmla="*/ 96 w 100"/>
                <a:gd name="T49" fmla="*/ 5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95">
                  <a:moveTo>
                    <a:pt x="96" y="5"/>
                  </a:moveTo>
                  <a:cubicBezTo>
                    <a:pt x="90" y="6"/>
                    <a:pt x="88" y="0"/>
                    <a:pt x="84" y="0"/>
                  </a:cubicBezTo>
                  <a:cubicBezTo>
                    <a:pt x="79" y="0"/>
                    <a:pt x="80" y="11"/>
                    <a:pt x="75" y="11"/>
                  </a:cubicBezTo>
                  <a:cubicBezTo>
                    <a:pt x="70" y="11"/>
                    <a:pt x="71" y="18"/>
                    <a:pt x="65" y="19"/>
                  </a:cubicBezTo>
                  <a:cubicBezTo>
                    <a:pt x="58" y="20"/>
                    <a:pt x="56" y="20"/>
                    <a:pt x="59" y="24"/>
                  </a:cubicBezTo>
                  <a:cubicBezTo>
                    <a:pt x="62" y="29"/>
                    <a:pt x="56" y="27"/>
                    <a:pt x="50" y="27"/>
                  </a:cubicBezTo>
                  <a:cubicBezTo>
                    <a:pt x="44" y="27"/>
                    <a:pt x="44" y="23"/>
                    <a:pt x="41" y="23"/>
                  </a:cubicBezTo>
                  <a:cubicBezTo>
                    <a:pt x="37" y="23"/>
                    <a:pt x="34" y="30"/>
                    <a:pt x="31" y="34"/>
                  </a:cubicBezTo>
                  <a:cubicBezTo>
                    <a:pt x="28" y="37"/>
                    <a:pt x="10" y="46"/>
                    <a:pt x="4" y="49"/>
                  </a:cubicBezTo>
                  <a:cubicBezTo>
                    <a:pt x="2" y="49"/>
                    <a:pt x="1" y="52"/>
                    <a:pt x="0" y="55"/>
                  </a:cubicBezTo>
                  <a:cubicBezTo>
                    <a:pt x="7" y="56"/>
                    <a:pt x="13" y="59"/>
                    <a:pt x="16" y="63"/>
                  </a:cubicBezTo>
                  <a:cubicBezTo>
                    <a:pt x="21" y="68"/>
                    <a:pt x="12" y="74"/>
                    <a:pt x="8" y="79"/>
                  </a:cubicBezTo>
                  <a:cubicBezTo>
                    <a:pt x="4" y="84"/>
                    <a:pt x="10" y="84"/>
                    <a:pt x="10" y="88"/>
                  </a:cubicBezTo>
                  <a:cubicBezTo>
                    <a:pt x="11" y="92"/>
                    <a:pt x="16" y="95"/>
                    <a:pt x="18" y="91"/>
                  </a:cubicBezTo>
                  <a:cubicBezTo>
                    <a:pt x="20" y="88"/>
                    <a:pt x="23" y="89"/>
                    <a:pt x="29" y="89"/>
                  </a:cubicBezTo>
                  <a:cubicBezTo>
                    <a:pt x="31" y="89"/>
                    <a:pt x="32" y="90"/>
                    <a:pt x="32" y="91"/>
                  </a:cubicBezTo>
                  <a:cubicBezTo>
                    <a:pt x="36" y="88"/>
                    <a:pt x="40" y="86"/>
                    <a:pt x="41" y="85"/>
                  </a:cubicBezTo>
                  <a:cubicBezTo>
                    <a:pt x="43" y="82"/>
                    <a:pt x="49" y="82"/>
                    <a:pt x="54" y="82"/>
                  </a:cubicBezTo>
                  <a:cubicBezTo>
                    <a:pt x="57" y="82"/>
                    <a:pt x="60" y="81"/>
                    <a:pt x="62" y="79"/>
                  </a:cubicBezTo>
                  <a:cubicBezTo>
                    <a:pt x="56" y="73"/>
                    <a:pt x="51" y="68"/>
                    <a:pt x="49" y="67"/>
                  </a:cubicBezTo>
                  <a:cubicBezTo>
                    <a:pt x="44" y="64"/>
                    <a:pt x="47" y="55"/>
                    <a:pt x="53" y="54"/>
                  </a:cubicBezTo>
                  <a:cubicBezTo>
                    <a:pt x="59" y="52"/>
                    <a:pt x="74" y="41"/>
                    <a:pt x="78" y="38"/>
                  </a:cubicBezTo>
                  <a:cubicBezTo>
                    <a:pt x="83" y="36"/>
                    <a:pt x="80" y="27"/>
                    <a:pt x="84" y="21"/>
                  </a:cubicBezTo>
                  <a:cubicBezTo>
                    <a:pt x="85" y="17"/>
                    <a:pt x="93" y="11"/>
                    <a:pt x="100" y="5"/>
                  </a:cubicBezTo>
                  <a:cubicBezTo>
                    <a:pt x="98" y="4"/>
                    <a:pt x="97" y="4"/>
                    <a:pt x="96"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6" name="Freeform 234"/>
            <p:cNvSpPr/>
            <p:nvPr/>
          </p:nvSpPr>
          <p:spPr>
            <a:xfrm>
              <a:off x="6759576" y="3033713"/>
              <a:ext cx="188913" cy="109538"/>
            </a:xfrm>
            <a:custGeom>
              <a:gdLst>
                <a:gd name="T0" fmla="*/ 109 w 111"/>
                <a:gd name="T1" fmla="*/ 41 h 65"/>
                <a:gd name="T2" fmla="*/ 106 w 111"/>
                <a:gd name="T3" fmla="*/ 41 h 65"/>
                <a:gd name="T4" fmla="*/ 87 w 111"/>
                <a:gd name="T5" fmla="*/ 38 h 65"/>
                <a:gd name="T6" fmla="*/ 59 w 111"/>
                <a:gd name="T7" fmla="*/ 26 h 65"/>
                <a:gd name="T8" fmla="*/ 29 w 111"/>
                <a:gd name="T9" fmla="*/ 5 h 65"/>
                <a:gd name="T10" fmla="*/ 17 w 111"/>
                <a:gd name="T11" fmla="*/ 2 h 65"/>
                <a:gd name="T12" fmla="*/ 8 w 111"/>
                <a:gd name="T13" fmla="*/ 5 h 65"/>
                <a:gd name="T14" fmla="*/ 2 w 111"/>
                <a:gd name="T15" fmla="*/ 13 h 65"/>
                <a:gd name="T16" fmla="*/ 0 w 111"/>
                <a:gd name="T17" fmla="*/ 24 h 65"/>
                <a:gd name="T18" fmla="*/ 7 w 111"/>
                <a:gd name="T19" fmla="*/ 30 h 65"/>
                <a:gd name="T20" fmla="*/ 19 w 111"/>
                <a:gd name="T21" fmla="*/ 36 h 65"/>
                <a:gd name="T22" fmla="*/ 29 w 111"/>
                <a:gd name="T23" fmla="*/ 42 h 65"/>
                <a:gd name="T24" fmla="*/ 42 w 111"/>
                <a:gd name="T25" fmla="*/ 48 h 65"/>
                <a:gd name="T26" fmla="*/ 55 w 111"/>
                <a:gd name="T27" fmla="*/ 46 h 65"/>
                <a:gd name="T28" fmla="*/ 63 w 111"/>
                <a:gd name="T29" fmla="*/ 54 h 65"/>
                <a:gd name="T30" fmla="*/ 82 w 111"/>
                <a:gd name="T31" fmla="*/ 62 h 65"/>
                <a:gd name="T32" fmla="*/ 108 w 111"/>
                <a:gd name="T33" fmla="*/ 59 h 65"/>
                <a:gd name="T34" fmla="*/ 108 w 111"/>
                <a:gd name="T35" fmla="*/ 44 h 65"/>
                <a:gd name="T36" fmla="*/ 109 w 111"/>
                <a:gd name="T37" fmla="*/ 41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65">
                  <a:moveTo>
                    <a:pt x="109" y="41"/>
                  </a:moveTo>
                  <a:cubicBezTo>
                    <a:pt x="108" y="41"/>
                    <a:pt x="107" y="41"/>
                    <a:pt x="106" y="41"/>
                  </a:cubicBezTo>
                  <a:cubicBezTo>
                    <a:pt x="97" y="41"/>
                    <a:pt x="92" y="37"/>
                    <a:pt x="87" y="38"/>
                  </a:cubicBezTo>
                  <a:cubicBezTo>
                    <a:pt x="81" y="38"/>
                    <a:pt x="65" y="32"/>
                    <a:pt x="59" y="26"/>
                  </a:cubicBezTo>
                  <a:cubicBezTo>
                    <a:pt x="52" y="21"/>
                    <a:pt x="34" y="9"/>
                    <a:pt x="29" y="5"/>
                  </a:cubicBezTo>
                  <a:cubicBezTo>
                    <a:pt x="25" y="0"/>
                    <a:pt x="18" y="0"/>
                    <a:pt x="17" y="2"/>
                  </a:cubicBezTo>
                  <a:cubicBezTo>
                    <a:pt x="17" y="4"/>
                    <a:pt x="13" y="5"/>
                    <a:pt x="8" y="5"/>
                  </a:cubicBezTo>
                  <a:cubicBezTo>
                    <a:pt x="7" y="7"/>
                    <a:pt x="2" y="10"/>
                    <a:pt x="2" y="13"/>
                  </a:cubicBezTo>
                  <a:cubicBezTo>
                    <a:pt x="2" y="17"/>
                    <a:pt x="0" y="21"/>
                    <a:pt x="0" y="24"/>
                  </a:cubicBezTo>
                  <a:cubicBezTo>
                    <a:pt x="0" y="27"/>
                    <a:pt x="5" y="28"/>
                    <a:pt x="7" y="30"/>
                  </a:cubicBezTo>
                  <a:cubicBezTo>
                    <a:pt x="9" y="32"/>
                    <a:pt x="18" y="34"/>
                    <a:pt x="19" y="36"/>
                  </a:cubicBezTo>
                  <a:cubicBezTo>
                    <a:pt x="19" y="38"/>
                    <a:pt x="25" y="41"/>
                    <a:pt x="29" y="42"/>
                  </a:cubicBezTo>
                  <a:cubicBezTo>
                    <a:pt x="33" y="42"/>
                    <a:pt x="39" y="47"/>
                    <a:pt x="42" y="48"/>
                  </a:cubicBezTo>
                  <a:cubicBezTo>
                    <a:pt x="44" y="50"/>
                    <a:pt x="52" y="46"/>
                    <a:pt x="55" y="46"/>
                  </a:cubicBezTo>
                  <a:cubicBezTo>
                    <a:pt x="58" y="46"/>
                    <a:pt x="63" y="51"/>
                    <a:pt x="63" y="54"/>
                  </a:cubicBezTo>
                  <a:cubicBezTo>
                    <a:pt x="64" y="57"/>
                    <a:pt x="79" y="59"/>
                    <a:pt x="82" y="62"/>
                  </a:cubicBezTo>
                  <a:cubicBezTo>
                    <a:pt x="86" y="65"/>
                    <a:pt x="104" y="63"/>
                    <a:pt x="108" y="59"/>
                  </a:cubicBezTo>
                  <a:cubicBezTo>
                    <a:pt x="111" y="56"/>
                    <a:pt x="108" y="50"/>
                    <a:pt x="108" y="44"/>
                  </a:cubicBezTo>
                  <a:cubicBezTo>
                    <a:pt x="108" y="43"/>
                    <a:pt x="109" y="42"/>
                    <a:pt x="109" y="4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7" name="Freeform 235"/>
            <p:cNvSpPr/>
            <p:nvPr/>
          </p:nvSpPr>
          <p:spPr>
            <a:xfrm>
              <a:off x="7035801" y="3082925"/>
              <a:ext cx="209550" cy="466725"/>
            </a:xfrm>
            <a:custGeom>
              <a:gdLst>
                <a:gd name="T0" fmla="*/ 100 w 124"/>
                <a:gd name="T1" fmla="*/ 250 h 275"/>
                <a:gd name="T2" fmla="*/ 95 w 124"/>
                <a:gd name="T3" fmla="*/ 239 h 275"/>
                <a:gd name="T4" fmla="*/ 90 w 124"/>
                <a:gd name="T5" fmla="*/ 222 h 275"/>
                <a:gd name="T6" fmla="*/ 85 w 124"/>
                <a:gd name="T7" fmla="*/ 206 h 275"/>
                <a:gd name="T8" fmla="*/ 87 w 124"/>
                <a:gd name="T9" fmla="*/ 196 h 275"/>
                <a:gd name="T10" fmla="*/ 87 w 124"/>
                <a:gd name="T11" fmla="*/ 189 h 275"/>
                <a:gd name="T12" fmla="*/ 85 w 124"/>
                <a:gd name="T13" fmla="*/ 179 h 275"/>
                <a:gd name="T14" fmla="*/ 74 w 124"/>
                <a:gd name="T15" fmla="*/ 166 h 275"/>
                <a:gd name="T16" fmla="*/ 77 w 124"/>
                <a:gd name="T17" fmla="*/ 143 h 275"/>
                <a:gd name="T18" fmla="*/ 85 w 124"/>
                <a:gd name="T19" fmla="*/ 138 h 275"/>
                <a:gd name="T20" fmla="*/ 95 w 124"/>
                <a:gd name="T21" fmla="*/ 135 h 275"/>
                <a:gd name="T22" fmla="*/ 109 w 124"/>
                <a:gd name="T23" fmla="*/ 127 h 275"/>
                <a:gd name="T24" fmla="*/ 116 w 124"/>
                <a:gd name="T25" fmla="*/ 121 h 275"/>
                <a:gd name="T26" fmla="*/ 124 w 124"/>
                <a:gd name="T27" fmla="*/ 109 h 275"/>
                <a:gd name="T28" fmla="*/ 124 w 124"/>
                <a:gd name="T29" fmla="*/ 109 h 275"/>
                <a:gd name="T30" fmla="*/ 117 w 124"/>
                <a:gd name="T31" fmla="*/ 110 h 275"/>
                <a:gd name="T32" fmla="*/ 108 w 124"/>
                <a:gd name="T33" fmla="*/ 106 h 275"/>
                <a:gd name="T34" fmla="*/ 100 w 124"/>
                <a:gd name="T35" fmla="*/ 102 h 275"/>
                <a:gd name="T36" fmla="*/ 100 w 124"/>
                <a:gd name="T37" fmla="*/ 92 h 275"/>
                <a:gd name="T38" fmla="*/ 95 w 124"/>
                <a:gd name="T39" fmla="*/ 86 h 275"/>
                <a:gd name="T40" fmla="*/ 90 w 124"/>
                <a:gd name="T41" fmla="*/ 74 h 275"/>
                <a:gd name="T42" fmla="*/ 77 w 124"/>
                <a:gd name="T43" fmla="*/ 71 h 275"/>
                <a:gd name="T44" fmla="*/ 74 w 124"/>
                <a:gd name="T45" fmla="*/ 64 h 275"/>
                <a:gd name="T46" fmla="*/ 86 w 124"/>
                <a:gd name="T47" fmla="*/ 44 h 275"/>
                <a:gd name="T48" fmla="*/ 90 w 124"/>
                <a:gd name="T49" fmla="*/ 22 h 275"/>
                <a:gd name="T50" fmla="*/ 84 w 124"/>
                <a:gd name="T51" fmla="*/ 15 h 275"/>
                <a:gd name="T52" fmla="*/ 81 w 124"/>
                <a:gd name="T53" fmla="*/ 7 h 275"/>
                <a:gd name="T54" fmla="*/ 71 w 124"/>
                <a:gd name="T55" fmla="*/ 3 h 275"/>
                <a:gd name="T56" fmla="*/ 69 w 124"/>
                <a:gd name="T57" fmla="*/ 4 h 275"/>
                <a:gd name="T58" fmla="*/ 69 w 124"/>
                <a:gd name="T59" fmla="*/ 5 h 275"/>
                <a:gd name="T60" fmla="*/ 66 w 124"/>
                <a:gd name="T61" fmla="*/ 11 h 275"/>
                <a:gd name="T62" fmla="*/ 67 w 124"/>
                <a:gd name="T63" fmla="*/ 21 h 275"/>
                <a:gd name="T64" fmla="*/ 60 w 124"/>
                <a:gd name="T65" fmla="*/ 21 h 275"/>
                <a:gd name="T66" fmla="*/ 48 w 124"/>
                <a:gd name="T67" fmla="*/ 26 h 275"/>
                <a:gd name="T68" fmla="*/ 39 w 124"/>
                <a:gd name="T69" fmla="*/ 38 h 275"/>
                <a:gd name="T70" fmla="*/ 35 w 124"/>
                <a:gd name="T71" fmla="*/ 56 h 275"/>
                <a:gd name="T72" fmla="*/ 29 w 124"/>
                <a:gd name="T73" fmla="*/ 73 h 275"/>
                <a:gd name="T74" fmla="*/ 18 w 124"/>
                <a:gd name="T75" fmla="*/ 73 h 275"/>
                <a:gd name="T76" fmla="*/ 15 w 124"/>
                <a:gd name="T77" fmla="*/ 87 h 275"/>
                <a:gd name="T78" fmla="*/ 11 w 124"/>
                <a:gd name="T79" fmla="*/ 103 h 275"/>
                <a:gd name="T80" fmla="*/ 5 w 124"/>
                <a:gd name="T81" fmla="*/ 114 h 275"/>
                <a:gd name="T82" fmla="*/ 0 w 124"/>
                <a:gd name="T83" fmla="*/ 118 h 275"/>
                <a:gd name="T84" fmla="*/ 13 w 124"/>
                <a:gd name="T85" fmla="*/ 132 h 275"/>
                <a:gd name="T86" fmla="*/ 30 w 124"/>
                <a:gd name="T87" fmla="*/ 162 h 275"/>
                <a:gd name="T88" fmla="*/ 28 w 124"/>
                <a:gd name="T89" fmla="*/ 185 h 275"/>
                <a:gd name="T90" fmla="*/ 34 w 124"/>
                <a:gd name="T91" fmla="*/ 193 h 275"/>
                <a:gd name="T92" fmla="*/ 48 w 124"/>
                <a:gd name="T93" fmla="*/ 191 h 275"/>
                <a:gd name="T94" fmla="*/ 60 w 124"/>
                <a:gd name="T95" fmla="*/ 177 h 275"/>
                <a:gd name="T96" fmla="*/ 68 w 124"/>
                <a:gd name="T97" fmla="*/ 183 h 275"/>
                <a:gd name="T98" fmla="*/ 73 w 124"/>
                <a:gd name="T99" fmla="*/ 199 h 275"/>
                <a:gd name="T100" fmla="*/ 81 w 124"/>
                <a:gd name="T101" fmla="*/ 230 h 275"/>
                <a:gd name="T102" fmla="*/ 86 w 124"/>
                <a:gd name="T103" fmla="*/ 253 h 275"/>
                <a:gd name="T104" fmla="*/ 88 w 124"/>
                <a:gd name="T105" fmla="*/ 270 h 275"/>
                <a:gd name="T106" fmla="*/ 88 w 124"/>
                <a:gd name="T107" fmla="*/ 274 h 275"/>
                <a:gd name="T108" fmla="*/ 100 w 124"/>
                <a:gd name="T109" fmla="*/ 250 h 2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 h="275">
                  <a:moveTo>
                    <a:pt x="100" y="250"/>
                  </a:moveTo>
                  <a:cubicBezTo>
                    <a:pt x="100" y="245"/>
                    <a:pt x="95" y="244"/>
                    <a:pt x="95" y="239"/>
                  </a:cubicBezTo>
                  <a:cubicBezTo>
                    <a:pt x="95" y="235"/>
                    <a:pt x="95" y="227"/>
                    <a:pt x="90" y="222"/>
                  </a:cubicBezTo>
                  <a:cubicBezTo>
                    <a:pt x="84" y="216"/>
                    <a:pt x="81" y="209"/>
                    <a:pt x="85" y="206"/>
                  </a:cubicBezTo>
                  <a:cubicBezTo>
                    <a:pt x="88" y="203"/>
                    <a:pt x="85" y="195"/>
                    <a:pt x="87" y="196"/>
                  </a:cubicBezTo>
                  <a:cubicBezTo>
                    <a:pt x="89" y="196"/>
                    <a:pt x="91" y="191"/>
                    <a:pt x="87" y="189"/>
                  </a:cubicBezTo>
                  <a:cubicBezTo>
                    <a:pt x="84" y="187"/>
                    <a:pt x="87" y="180"/>
                    <a:pt x="85" y="179"/>
                  </a:cubicBezTo>
                  <a:cubicBezTo>
                    <a:pt x="82" y="178"/>
                    <a:pt x="74" y="169"/>
                    <a:pt x="74" y="166"/>
                  </a:cubicBezTo>
                  <a:cubicBezTo>
                    <a:pt x="74" y="163"/>
                    <a:pt x="76" y="147"/>
                    <a:pt x="77" y="143"/>
                  </a:cubicBezTo>
                  <a:cubicBezTo>
                    <a:pt x="77" y="139"/>
                    <a:pt x="83" y="138"/>
                    <a:pt x="85" y="138"/>
                  </a:cubicBezTo>
                  <a:cubicBezTo>
                    <a:pt x="86" y="138"/>
                    <a:pt x="93" y="139"/>
                    <a:pt x="95" y="135"/>
                  </a:cubicBezTo>
                  <a:cubicBezTo>
                    <a:pt x="98" y="131"/>
                    <a:pt x="108" y="130"/>
                    <a:pt x="109" y="127"/>
                  </a:cubicBezTo>
                  <a:cubicBezTo>
                    <a:pt x="110" y="125"/>
                    <a:pt x="116" y="125"/>
                    <a:pt x="116" y="121"/>
                  </a:cubicBezTo>
                  <a:cubicBezTo>
                    <a:pt x="116" y="118"/>
                    <a:pt x="124" y="109"/>
                    <a:pt x="124" y="109"/>
                  </a:cubicBezTo>
                  <a:cubicBezTo>
                    <a:pt x="124" y="109"/>
                    <a:pt x="124" y="109"/>
                    <a:pt x="124" y="109"/>
                  </a:cubicBezTo>
                  <a:cubicBezTo>
                    <a:pt x="123" y="108"/>
                    <a:pt x="121" y="109"/>
                    <a:pt x="117" y="110"/>
                  </a:cubicBezTo>
                  <a:cubicBezTo>
                    <a:pt x="111" y="113"/>
                    <a:pt x="108" y="109"/>
                    <a:pt x="108" y="106"/>
                  </a:cubicBezTo>
                  <a:cubicBezTo>
                    <a:pt x="109" y="102"/>
                    <a:pt x="104" y="102"/>
                    <a:pt x="100" y="102"/>
                  </a:cubicBezTo>
                  <a:cubicBezTo>
                    <a:pt x="97" y="102"/>
                    <a:pt x="99" y="96"/>
                    <a:pt x="100" y="92"/>
                  </a:cubicBezTo>
                  <a:cubicBezTo>
                    <a:pt x="102" y="88"/>
                    <a:pt x="99" y="86"/>
                    <a:pt x="95" y="86"/>
                  </a:cubicBezTo>
                  <a:cubicBezTo>
                    <a:pt x="91" y="85"/>
                    <a:pt x="89" y="76"/>
                    <a:pt x="90" y="74"/>
                  </a:cubicBezTo>
                  <a:cubicBezTo>
                    <a:pt x="92" y="71"/>
                    <a:pt x="82" y="69"/>
                    <a:pt x="77" y="71"/>
                  </a:cubicBezTo>
                  <a:cubicBezTo>
                    <a:pt x="73" y="73"/>
                    <a:pt x="76" y="67"/>
                    <a:pt x="74" y="64"/>
                  </a:cubicBezTo>
                  <a:cubicBezTo>
                    <a:pt x="73" y="61"/>
                    <a:pt x="80" y="50"/>
                    <a:pt x="86" y="44"/>
                  </a:cubicBezTo>
                  <a:cubicBezTo>
                    <a:pt x="93" y="38"/>
                    <a:pt x="90" y="29"/>
                    <a:pt x="90" y="22"/>
                  </a:cubicBezTo>
                  <a:cubicBezTo>
                    <a:pt x="90" y="15"/>
                    <a:pt x="87" y="15"/>
                    <a:pt x="84" y="15"/>
                  </a:cubicBezTo>
                  <a:cubicBezTo>
                    <a:pt x="81" y="15"/>
                    <a:pt x="81" y="11"/>
                    <a:pt x="81" y="7"/>
                  </a:cubicBezTo>
                  <a:cubicBezTo>
                    <a:pt x="81" y="3"/>
                    <a:pt x="75" y="0"/>
                    <a:pt x="71" y="3"/>
                  </a:cubicBezTo>
                  <a:cubicBezTo>
                    <a:pt x="71" y="3"/>
                    <a:pt x="70" y="4"/>
                    <a:pt x="69" y="4"/>
                  </a:cubicBezTo>
                  <a:cubicBezTo>
                    <a:pt x="69" y="5"/>
                    <a:pt x="69" y="5"/>
                    <a:pt x="69" y="5"/>
                  </a:cubicBezTo>
                  <a:cubicBezTo>
                    <a:pt x="69" y="5"/>
                    <a:pt x="68" y="10"/>
                    <a:pt x="66" y="11"/>
                  </a:cubicBezTo>
                  <a:cubicBezTo>
                    <a:pt x="63" y="13"/>
                    <a:pt x="63" y="16"/>
                    <a:pt x="67" y="21"/>
                  </a:cubicBezTo>
                  <a:cubicBezTo>
                    <a:pt x="70" y="26"/>
                    <a:pt x="62" y="24"/>
                    <a:pt x="60" y="21"/>
                  </a:cubicBezTo>
                  <a:cubicBezTo>
                    <a:pt x="59" y="18"/>
                    <a:pt x="52" y="23"/>
                    <a:pt x="48" y="26"/>
                  </a:cubicBezTo>
                  <a:cubicBezTo>
                    <a:pt x="44" y="30"/>
                    <a:pt x="39" y="32"/>
                    <a:pt x="39" y="38"/>
                  </a:cubicBezTo>
                  <a:cubicBezTo>
                    <a:pt x="39" y="44"/>
                    <a:pt x="33" y="50"/>
                    <a:pt x="35" y="56"/>
                  </a:cubicBezTo>
                  <a:cubicBezTo>
                    <a:pt x="36" y="61"/>
                    <a:pt x="29" y="71"/>
                    <a:pt x="29" y="73"/>
                  </a:cubicBezTo>
                  <a:cubicBezTo>
                    <a:pt x="30" y="76"/>
                    <a:pt x="20" y="73"/>
                    <a:pt x="18" y="73"/>
                  </a:cubicBezTo>
                  <a:cubicBezTo>
                    <a:pt x="16" y="73"/>
                    <a:pt x="17" y="84"/>
                    <a:pt x="15" y="87"/>
                  </a:cubicBezTo>
                  <a:cubicBezTo>
                    <a:pt x="13" y="91"/>
                    <a:pt x="14" y="103"/>
                    <a:pt x="11" y="103"/>
                  </a:cubicBezTo>
                  <a:cubicBezTo>
                    <a:pt x="8" y="103"/>
                    <a:pt x="5" y="114"/>
                    <a:pt x="5" y="114"/>
                  </a:cubicBezTo>
                  <a:cubicBezTo>
                    <a:pt x="5" y="114"/>
                    <a:pt x="2" y="116"/>
                    <a:pt x="0" y="118"/>
                  </a:cubicBezTo>
                  <a:cubicBezTo>
                    <a:pt x="2" y="124"/>
                    <a:pt x="7" y="130"/>
                    <a:pt x="13" y="132"/>
                  </a:cubicBezTo>
                  <a:cubicBezTo>
                    <a:pt x="22" y="136"/>
                    <a:pt x="27" y="153"/>
                    <a:pt x="30" y="162"/>
                  </a:cubicBezTo>
                  <a:cubicBezTo>
                    <a:pt x="32" y="171"/>
                    <a:pt x="31" y="180"/>
                    <a:pt x="28" y="185"/>
                  </a:cubicBezTo>
                  <a:cubicBezTo>
                    <a:pt x="25" y="190"/>
                    <a:pt x="29" y="191"/>
                    <a:pt x="34" y="193"/>
                  </a:cubicBezTo>
                  <a:cubicBezTo>
                    <a:pt x="39" y="196"/>
                    <a:pt x="44" y="197"/>
                    <a:pt x="48" y="191"/>
                  </a:cubicBezTo>
                  <a:cubicBezTo>
                    <a:pt x="51" y="186"/>
                    <a:pt x="59" y="183"/>
                    <a:pt x="60" y="177"/>
                  </a:cubicBezTo>
                  <a:cubicBezTo>
                    <a:pt x="61" y="171"/>
                    <a:pt x="65" y="180"/>
                    <a:pt x="68" y="183"/>
                  </a:cubicBezTo>
                  <a:cubicBezTo>
                    <a:pt x="71" y="186"/>
                    <a:pt x="73" y="191"/>
                    <a:pt x="73" y="199"/>
                  </a:cubicBezTo>
                  <a:cubicBezTo>
                    <a:pt x="74" y="206"/>
                    <a:pt x="75" y="224"/>
                    <a:pt x="81" y="230"/>
                  </a:cubicBezTo>
                  <a:cubicBezTo>
                    <a:pt x="87" y="236"/>
                    <a:pt x="88" y="249"/>
                    <a:pt x="86" y="253"/>
                  </a:cubicBezTo>
                  <a:cubicBezTo>
                    <a:pt x="85" y="258"/>
                    <a:pt x="90" y="265"/>
                    <a:pt x="88" y="270"/>
                  </a:cubicBezTo>
                  <a:cubicBezTo>
                    <a:pt x="88" y="271"/>
                    <a:pt x="88" y="273"/>
                    <a:pt x="88" y="274"/>
                  </a:cubicBezTo>
                  <a:cubicBezTo>
                    <a:pt x="93" y="275"/>
                    <a:pt x="100" y="250"/>
                    <a:pt x="100" y="2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8" name="Freeform 236"/>
            <p:cNvSpPr/>
            <p:nvPr/>
          </p:nvSpPr>
          <p:spPr>
            <a:xfrm>
              <a:off x="6962776" y="3090863"/>
              <a:ext cx="74613" cy="46038"/>
            </a:xfrm>
            <a:custGeom>
              <a:gdLst>
                <a:gd name="T0" fmla="*/ 43 w 44"/>
                <a:gd name="T1" fmla="*/ 9 h 27"/>
                <a:gd name="T2" fmla="*/ 26 w 44"/>
                <a:gd name="T3" fmla="*/ 4 h 27"/>
                <a:gd name="T4" fmla="*/ 14 w 44"/>
                <a:gd name="T5" fmla="*/ 2 h 27"/>
                <a:gd name="T6" fmla="*/ 4 w 44"/>
                <a:gd name="T7" fmla="*/ 11 h 27"/>
                <a:gd name="T8" fmla="*/ 0 w 44"/>
                <a:gd name="T9" fmla="*/ 17 h 27"/>
                <a:gd name="T10" fmla="*/ 4 w 44"/>
                <a:gd name="T11" fmla="*/ 21 h 27"/>
                <a:gd name="T12" fmla="*/ 14 w 44"/>
                <a:gd name="T13" fmla="*/ 23 h 27"/>
                <a:gd name="T14" fmla="*/ 28 w 44"/>
                <a:gd name="T15" fmla="*/ 24 h 27"/>
                <a:gd name="T16" fmla="*/ 42 w 44"/>
                <a:gd name="T17" fmla="*/ 22 h 27"/>
                <a:gd name="T18" fmla="*/ 40 w 44"/>
                <a:gd name="T19" fmla="*/ 10 h 27"/>
                <a:gd name="T20" fmla="*/ 43 w 44"/>
                <a:gd name="T21" fmla="*/ 9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7">
                  <a:moveTo>
                    <a:pt x="43" y="9"/>
                  </a:moveTo>
                  <a:cubicBezTo>
                    <a:pt x="34" y="1"/>
                    <a:pt x="32" y="7"/>
                    <a:pt x="26" y="4"/>
                  </a:cubicBezTo>
                  <a:cubicBezTo>
                    <a:pt x="20" y="1"/>
                    <a:pt x="17" y="0"/>
                    <a:pt x="14" y="2"/>
                  </a:cubicBezTo>
                  <a:cubicBezTo>
                    <a:pt x="11" y="4"/>
                    <a:pt x="6" y="4"/>
                    <a:pt x="4" y="11"/>
                  </a:cubicBezTo>
                  <a:cubicBezTo>
                    <a:pt x="3" y="14"/>
                    <a:pt x="1" y="16"/>
                    <a:pt x="0" y="17"/>
                  </a:cubicBezTo>
                  <a:cubicBezTo>
                    <a:pt x="1" y="20"/>
                    <a:pt x="3" y="21"/>
                    <a:pt x="4" y="21"/>
                  </a:cubicBezTo>
                  <a:cubicBezTo>
                    <a:pt x="6" y="20"/>
                    <a:pt x="9" y="24"/>
                    <a:pt x="14" y="23"/>
                  </a:cubicBezTo>
                  <a:cubicBezTo>
                    <a:pt x="18" y="22"/>
                    <a:pt x="21" y="26"/>
                    <a:pt x="28" y="24"/>
                  </a:cubicBezTo>
                  <a:cubicBezTo>
                    <a:pt x="34" y="22"/>
                    <a:pt x="40" y="27"/>
                    <a:pt x="42" y="22"/>
                  </a:cubicBezTo>
                  <a:cubicBezTo>
                    <a:pt x="44" y="18"/>
                    <a:pt x="40" y="10"/>
                    <a:pt x="40" y="10"/>
                  </a:cubicBezTo>
                  <a:cubicBezTo>
                    <a:pt x="40" y="10"/>
                    <a:pt x="41" y="9"/>
                    <a:pt x="43"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09" name="Freeform 237"/>
            <p:cNvSpPr/>
            <p:nvPr/>
          </p:nvSpPr>
          <p:spPr>
            <a:xfrm>
              <a:off x="7272338" y="3221038"/>
              <a:ext cx="180975" cy="379413"/>
            </a:xfrm>
            <a:custGeom>
              <a:gdLst>
                <a:gd name="T0" fmla="*/ 79 w 107"/>
                <a:gd name="T1" fmla="*/ 28 h 224"/>
                <a:gd name="T2" fmla="*/ 65 w 107"/>
                <a:gd name="T3" fmla="*/ 17 h 224"/>
                <a:gd name="T4" fmla="*/ 61 w 107"/>
                <a:gd name="T5" fmla="*/ 9 h 224"/>
                <a:gd name="T6" fmla="*/ 49 w 107"/>
                <a:gd name="T7" fmla="*/ 2 h 224"/>
                <a:gd name="T8" fmla="*/ 37 w 107"/>
                <a:gd name="T9" fmla="*/ 10 h 224"/>
                <a:gd name="T10" fmla="*/ 27 w 107"/>
                <a:gd name="T11" fmla="*/ 11 h 224"/>
                <a:gd name="T12" fmla="*/ 15 w 107"/>
                <a:gd name="T13" fmla="*/ 11 h 224"/>
                <a:gd name="T14" fmla="*/ 4 w 107"/>
                <a:gd name="T15" fmla="*/ 13 h 224"/>
                <a:gd name="T16" fmla="*/ 0 w 107"/>
                <a:gd name="T17" fmla="*/ 16 h 224"/>
                <a:gd name="T18" fmla="*/ 5 w 107"/>
                <a:gd name="T19" fmla="*/ 23 h 224"/>
                <a:gd name="T20" fmla="*/ 12 w 107"/>
                <a:gd name="T21" fmla="*/ 34 h 224"/>
                <a:gd name="T22" fmla="*/ 24 w 107"/>
                <a:gd name="T23" fmla="*/ 41 h 224"/>
                <a:gd name="T24" fmla="*/ 34 w 107"/>
                <a:gd name="T25" fmla="*/ 44 h 224"/>
                <a:gd name="T26" fmla="*/ 39 w 107"/>
                <a:gd name="T27" fmla="*/ 55 h 224"/>
                <a:gd name="T28" fmla="*/ 28 w 107"/>
                <a:gd name="T29" fmla="*/ 61 h 224"/>
                <a:gd name="T30" fmla="*/ 44 w 107"/>
                <a:gd name="T31" fmla="*/ 75 h 224"/>
                <a:gd name="T32" fmla="*/ 51 w 107"/>
                <a:gd name="T33" fmla="*/ 88 h 224"/>
                <a:gd name="T34" fmla="*/ 63 w 107"/>
                <a:gd name="T35" fmla="*/ 103 h 224"/>
                <a:gd name="T36" fmla="*/ 75 w 107"/>
                <a:gd name="T37" fmla="*/ 115 h 224"/>
                <a:gd name="T38" fmla="*/ 78 w 107"/>
                <a:gd name="T39" fmla="*/ 129 h 224"/>
                <a:gd name="T40" fmla="*/ 82 w 107"/>
                <a:gd name="T41" fmla="*/ 153 h 224"/>
                <a:gd name="T42" fmla="*/ 72 w 107"/>
                <a:gd name="T43" fmla="*/ 170 h 224"/>
                <a:gd name="T44" fmla="*/ 59 w 107"/>
                <a:gd name="T45" fmla="*/ 178 h 224"/>
                <a:gd name="T46" fmla="*/ 59 w 107"/>
                <a:gd name="T47" fmla="*/ 191 h 224"/>
                <a:gd name="T48" fmla="*/ 43 w 107"/>
                <a:gd name="T49" fmla="*/ 191 h 224"/>
                <a:gd name="T50" fmla="*/ 34 w 107"/>
                <a:gd name="T51" fmla="*/ 198 h 224"/>
                <a:gd name="T52" fmla="*/ 40 w 107"/>
                <a:gd name="T53" fmla="*/ 203 h 224"/>
                <a:gd name="T54" fmla="*/ 36 w 107"/>
                <a:gd name="T55" fmla="*/ 216 h 224"/>
                <a:gd name="T56" fmla="*/ 43 w 107"/>
                <a:gd name="T57" fmla="*/ 221 h 224"/>
                <a:gd name="T58" fmla="*/ 57 w 107"/>
                <a:gd name="T59" fmla="*/ 211 h 224"/>
                <a:gd name="T60" fmla="*/ 60 w 107"/>
                <a:gd name="T61" fmla="*/ 206 h 224"/>
                <a:gd name="T62" fmla="*/ 64 w 107"/>
                <a:gd name="T63" fmla="*/ 198 h 224"/>
                <a:gd name="T64" fmla="*/ 73 w 107"/>
                <a:gd name="T65" fmla="*/ 196 h 224"/>
                <a:gd name="T66" fmla="*/ 93 w 107"/>
                <a:gd name="T67" fmla="*/ 187 h 224"/>
                <a:gd name="T68" fmla="*/ 104 w 107"/>
                <a:gd name="T69" fmla="*/ 168 h 224"/>
                <a:gd name="T70" fmla="*/ 101 w 107"/>
                <a:gd name="T71" fmla="*/ 134 h 224"/>
                <a:gd name="T72" fmla="*/ 87 w 107"/>
                <a:gd name="T73" fmla="*/ 111 h 224"/>
                <a:gd name="T74" fmla="*/ 63 w 107"/>
                <a:gd name="T75" fmla="*/ 91 h 224"/>
                <a:gd name="T76" fmla="*/ 57 w 107"/>
                <a:gd name="T77" fmla="*/ 80 h 224"/>
                <a:gd name="T78" fmla="*/ 53 w 107"/>
                <a:gd name="T79" fmla="*/ 60 h 224"/>
                <a:gd name="T80" fmla="*/ 64 w 107"/>
                <a:gd name="T81" fmla="*/ 48 h 224"/>
                <a:gd name="T82" fmla="*/ 69 w 107"/>
                <a:gd name="T83" fmla="*/ 39 h 224"/>
                <a:gd name="T84" fmla="*/ 81 w 107"/>
                <a:gd name="T85" fmla="*/ 31 h 224"/>
                <a:gd name="T86" fmla="*/ 82 w 107"/>
                <a:gd name="T87" fmla="*/ 30 h 224"/>
                <a:gd name="T88" fmla="*/ 79 w 107"/>
                <a:gd name="T89" fmla="*/ 28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24">
                  <a:moveTo>
                    <a:pt x="79" y="28"/>
                  </a:moveTo>
                  <a:cubicBezTo>
                    <a:pt x="75" y="27"/>
                    <a:pt x="65" y="20"/>
                    <a:pt x="65" y="17"/>
                  </a:cubicBezTo>
                  <a:cubicBezTo>
                    <a:pt x="65" y="14"/>
                    <a:pt x="70" y="10"/>
                    <a:pt x="61" y="9"/>
                  </a:cubicBezTo>
                  <a:cubicBezTo>
                    <a:pt x="51" y="7"/>
                    <a:pt x="50" y="4"/>
                    <a:pt x="49" y="2"/>
                  </a:cubicBezTo>
                  <a:cubicBezTo>
                    <a:pt x="47" y="0"/>
                    <a:pt x="39" y="6"/>
                    <a:pt x="37" y="10"/>
                  </a:cubicBezTo>
                  <a:cubicBezTo>
                    <a:pt x="35" y="14"/>
                    <a:pt x="32" y="9"/>
                    <a:pt x="27" y="11"/>
                  </a:cubicBezTo>
                  <a:cubicBezTo>
                    <a:pt x="22" y="14"/>
                    <a:pt x="17" y="7"/>
                    <a:pt x="15" y="11"/>
                  </a:cubicBezTo>
                  <a:cubicBezTo>
                    <a:pt x="12" y="15"/>
                    <a:pt x="7" y="9"/>
                    <a:pt x="4" y="13"/>
                  </a:cubicBezTo>
                  <a:cubicBezTo>
                    <a:pt x="3" y="14"/>
                    <a:pt x="1" y="15"/>
                    <a:pt x="0" y="16"/>
                  </a:cubicBezTo>
                  <a:cubicBezTo>
                    <a:pt x="2" y="18"/>
                    <a:pt x="5" y="21"/>
                    <a:pt x="5" y="23"/>
                  </a:cubicBezTo>
                  <a:cubicBezTo>
                    <a:pt x="5" y="27"/>
                    <a:pt x="12" y="30"/>
                    <a:pt x="12" y="34"/>
                  </a:cubicBezTo>
                  <a:cubicBezTo>
                    <a:pt x="12" y="39"/>
                    <a:pt x="22" y="43"/>
                    <a:pt x="24" y="41"/>
                  </a:cubicBezTo>
                  <a:cubicBezTo>
                    <a:pt x="27" y="39"/>
                    <a:pt x="34" y="37"/>
                    <a:pt x="34" y="44"/>
                  </a:cubicBezTo>
                  <a:cubicBezTo>
                    <a:pt x="35" y="50"/>
                    <a:pt x="39" y="50"/>
                    <a:pt x="39" y="55"/>
                  </a:cubicBezTo>
                  <a:cubicBezTo>
                    <a:pt x="39" y="59"/>
                    <a:pt x="30" y="56"/>
                    <a:pt x="28" y="61"/>
                  </a:cubicBezTo>
                  <a:cubicBezTo>
                    <a:pt x="26" y="66"/>
                    <a:pt x="44" y="71"/>
                    <a:pt x="44" y="75"/>
                  </a:cubicBezTo>
                  <a:cubicBezTo>
                    <a:pt x="44" y="79"/>
                    <a:pt x="49" y="83"/>
                    <a:pt x="51" y="88"/>
                  </a:cubicBezTo>
                  <a:cubicBezTo>
                    <a:pt x="53" y="92"/>
                    <a:pt x="61" y="98"/>
                    <a:pt x="63" y="103"/>
                  </a:cubicBezTo>
                  <a:cubicBezTo>
                    <a:pt x="65" y="109"/>
                    <a:pt x="72" y="112"/>
                    <a:pt x="75" y="115"/>
                  </a:cubicBezTo>
                  <a:cubicBezTo>
                    <a:pt x="78" y="117"/>
                    <a:pt x="79" y="124"/>
                    <a:pt x="78" y="129"/>
                  </a:cubicBezTo>
                  <a:cubicBezTo>
                    <a:pt x="77" y="135"/>
                    <a:pt x="77" y="145"/>
                    <a:pt x="82" y="153"/>
                  </a:cubicBezTo>
                  <a:cubicBezTo>
                    <a:pt x="88" y="162"/>
                    <a:pt x="76" y="165"/>
                    <a:pt x="72" y="170"/>
                  </a:cubicBezTo>
                  <a:cubicBezTo>
                    <a:pt x="69" y="174"/>
                    <a:pt x="70" y="181"/>
                    <a:pt x="59" y="178"/>
                  </a:cubicBezTo>
                  <a:cubicBezTo>
                    <a:pt x="48" y="175"/>
                    <a:pt x="61" y="187"/>
                    <a:pt x="59" y="191"/>
                  </a:cubicBezTo>
                  <a:cubicBezTo>
                    <a:pt x="58" y="195"/>
                    <a:pt x="43" y="187"/>
                    <a:pt x="43" y="191"/>
                  </a:cubicBezTo>
                  <a:cubicBezTo>
                    <a:pt x="43" y="193"/>
                    <a:pt x="38" y="196"/>
                    <a:pt x="34" y="198"/>
                  </a:cubicBezTo>
                  <a:cubicBezTo>
                    <a:pt x="35" y="200"/>
                    <a:pt x="38" y="201"/>
                    <a:pt x="40" y="203"/>
                  </a:cubicBezTo>
                  <a:cubicBezTo>
                    <a:pt x="44" y="205"/>
                    <a:pt x="36" y="209"/>
                    <a:pt x="36" y="216"/>
                  </a:cubicBezTo>
                  <a:cubicBezTo>
                    <a:pt x="36" y="222"/>
                    <a:pt x="42" y="224"/>
                    <a:pt x="43" y="221"/>
                  </a:cubicBezTo>
                  <a:cubicBezTo>
                    <a:pt x="45" y="219"/>
                    <a:pt x="53" y="212"/>
                    <a:pt x="57" y="211"/>
                  </a:cubicBezTo>
                  <a:cubicBezTo>
                    <a:pt x="60" y="210"/>
                    <a:pt x="57" y="205"/>
                    <a:pt x="60" y="206"/>
                  </a:cubicBezTo>
                  <a:cubicBezTo>
                    <a:pt x="63" y="206"/>
                    <a:pt x="62" y="201"/>
                    <a:pt x="64" y="198"/>
                  </a:cubicBezTo>
                  <a:cubicBezTo>
                    <a:pt x="65" y="195"/>
                    <a:pt x="68" y="196"/>
                    <a:pt x="73" y="196"/>
                  </a:cubicBezTo>
                  <a:cubicBezTo>
                    <a:pt x="78" y="197"/>
                    <a:pt x="85" y="192"/>
                    <a:pt x="93" y="187"/>
                  </a:cubicBezTo>
                  <a:cubicBezTo>
                    <a:pt x="100" y="182"/>
                    <a:pt x="101" y="181"/>
                    <a:pt x="104" y="168"/>
                  </a:cubicBezTo>
                  <a:cubicBezTo>
                    <a:pt x="107" y="154"/>
                    <a:pt x="101" y="138"/>
                    <a:pt x="101" y="134"/>
                  </a:cubicBezTo>
                  <a:cubicBezTo>
                    <a:pt x="100" y="130"/>
                    <a:pt x="91" y="111"/>
                    <a:pt x="87" y="111"/>
                  </a:cubicBezTo>
                  <a:cubicBezTo>
                    <a:pt x="83" y="111"/>
                    <a:pt x="67" y="94"/>
                    <a:pt x="63" y="91"/>
                  </a:cubicBezTo>
                  <a:cubicBezTo>
                    <a:pt x="60" y="88"/>
                    <a:pt x="61" y="84"/>
                    <a:pt x="57" y="80"/>
                  </a:cubicBezTo>
                  <a:cubicBezTo>
                    <a:pt x="53" y="76"/>
                    <a:pt x="52" y="67"/>
                    <a:pt x="53" y="60"/>
                  </a:cubicBezTo>
                  <a:cubicBezTo>
                    <a:pt x="54" y="54"/>
                    <a:pt x="64" y="52"/>
                    <a:pt x="64" y="48"/>
                  </a:cubicBezTo>
                  <a:cubicBezTo>
                    <a:pt x="64" y="43"/>
                    <a:pt x="65" y="39"/>
                    <a:pt x="69" y="39"/>
                  </a:cubicBezTo>
                  <a:cubicBezTo>
                    <a:pt x="74" y="39"/>
                    <a:pt x="79" y="35"/>
                    <a:pt x="81" y="31"/>
                  </a:cubicBezTo>
                  <a:cubicBezTo>
                    <a:pt x="81" y="31"/>
                    <a:pt x="81" y="31"/>
                    <a:pt x="82" y="30"/>
                  </a:cubicBezTo>
                  <a:cubicBezTo>
                    <a:pt x="81" y="29"/>
                    <a:pt x="80" y="28"/>
                    <a:pt x="79" y="2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0" name="Freeform 238"/>
            <p:cNvSpPr/>
            <p:nvPr/>
          </p:nvSpPr>
          <p:spPr>
            <a:xfrm>
              <a:off x="7270751" y="3449638"/>
              <a:ext cx="150813" cy="106363"/>
            </a:xfrm>
            <a:custGeom>
              <a:gdLst>
                <a:gd name="T0" fmla="*/ 44 w 89"/>
                <a:gd name="T1" fmla="*/ 56 h 63"/>
                <a:gd name="T2" fmla="*/ 60 w 89"/>
                <a:gd name="T3" fmla="*/ 56 h 63"/>
                <a:gd name="T4" fmla="*/ 60 w 89"/>
                <a:gd name="T5" fmla="*/ 43 h 63"/>
                <a:gd name="T6" fmla="*/ 73 w 89"/>
                <a:gd name="T7" fmla="*/ 35 h 63"/>
                <a:gd name="T8" fmla="*/ 83 w 89"/>
                <a:gd name="T9" fmla="*/ 18 h 63"/>
                <a:gd name="T10" fmla="*/ 78 w 89"/>
                <a:gd name="T11" fmla="*/ 0 h 63"/>
                <a:gd name="T12" fmla="*/ 68 w 89"/>
                <a:gd name="T13" fmla="*/ 2 h 63"/>
                <a:gd name="T14" fmla="*/ 58 w 89"/>
                <a:gd name="T15" fmla="*/ 5 h 63"/>
                <a:gd name="T16" fmla="*/ 54 w 89"/>
                <a:gd name="T17" fmla="*/ 9 h 63"/>
                <a:gd name="T18" fmla="*/ 46 w 89"/>
                <a:gd name="T19" fmla="*/ 3 h 63"/>
                <a:gd name="T20" fmla="*/ 26 w 89"/>
                <a:gd name="T21" fmla="*/ 3 h 63"/>
                <a:gd name="T22" fmla="*/ 6 w 89"/>
                <a:gd name="T23" fmla="*/ 13 h 63"/>
                <a:gd name="T24" fmla="*/ 7 w 89"/>
                <a:gd name="T25" fmla="*/ 26 h 63"/>
                <a:gd name="T26" fmla="*/ 8 w 89"/>
                <a:gd name="T27" fmla="*/ 37 h 63"/>
                <a:gd name="T28" fmla="*/ 8 w 89"/>
                <a:gd name="T29" fmla="*/ 37 h 63"/>
                <a:gd name="T30" fmla="*/ 12 w 89"/>
                <a:gd name="T31" fmla="*/ 50 h 63"/>
                <a:gd name="T32" fmla="*/ 21 w 89"/>
                <a:gd name="T33" fmla="*/ 52 h 63"/>
                <a:gd name="T34" fmla="*/ 22 w 89"/>
                <a:gd name="T35" fmla="*/ 60 h 63"/>
                <a:gd name="T36" fmla="*/ 34 w 89"/>
                <a:gd name="T37" fmla="*/ 61 h 63"/>
                <a:gd name="T38" fmla="*/ 35 w 89"/>
                <a:gd name="T39" fmla="*/ 63 h 63"/>
                <a:gd name="T40" fmla="*/ 44 w 89"/>
                <a:gd name="T41" fmla="*/ 56 h 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63">
                  <a:moveTo>
                    <a:pt x="44" y="56"/>
                  </a:moveTo>
                  <a:cubicBezTo>
                    <a:pt x="44" y="52"/>
                    <a:pt x="59" y="60"/>
                    <a:pt x="60" y="56"/>
                  </a:cubicBezTo>
                  <a:cubicBezTo>
                    <a:pt x="62" y="52"/>
                    <a:pt x="49" y="40"/>
                    <a:pt x="60" y="43"/>
                  </a:cubicBezTo>
                  <a:cubicBezTo>
                    <a:pt x="71" y="46"/>
                    <a:pt x="70" y="39"/>
                    <a:pt x="73" y="35"/>
                  </a:cubicBezTo>
                  <a:cubicBezTo>
                    <a:pt x="77" y="30"/>
                    <a:pt x="89" y="27"/>
                    <a:pt x="83" y="18"/>
                  </a:cubicBezTo>
                  <a:cubicBezTo>
                    <a:pt x="79" y="12"/>
                    <a:pt x="78" y="6"/>
                    <a:pt x="78" y="0"/>
                  </a:cubicBezTo>
                  <a:cubicBezTo>
                    <a:pt x="75" y="3"/>
                    <a:pt x="70" y="3"/>
                    <a:pt x="68" y="2"/>
                  </a:cubicBezTo>
                  <a:cubicBezTo>
                    <a:pt x="65" y="1"/>
                    <a:pt x="58" y="0"/>
                    <a:pt x="58" y="5"/>
                  </a:cubicBezTo>
                  <a:cubicBezTo>
                    <a:pt x="58" y="10"/>
                    <a:pt x="53" y="11"/>
                    <a:pt x="54" y="9"/>
                  </a:cubicBezTo>
                  <a:cubicBezTo>
                    <a:pt x="54" y="7"/>
                    <a:pt x="49" y="7"/>
                    <a:pt x="46" y="3"/>
                  </a:cubicBezTo>
                  <a:cubicBezTo>
                    <a:pt x="43" y="0"/>
                    <a:pt x="31" y="5"/>
                    <a:pt x="26" y="3"/>
                  </a:cubicBezTo>
                  <a:cubicBezTo>
                    <a:pt x="20" y="1"/>
                    <a:pt x="12" y="6"/>
                    <a:pt x="6" y="13"/>
                  </a:cubicBezTo>
                  <a:cubicBezTo>
                    <a:pt x="0" y="20"/>
                    <a:pt x="7" y="20"/>
                    <a:pt x="7" y="26"/>
                  </a:cubicBezTo>
                  <a:cubicBezTo>
                    <a:pt x="7" y="32"/>
                    <a:pt x="10" y="32"/>
                    <a:pt x="8" y="37"/>
                  </a:cubicBezTo>
                  <a:cubicBezTo>
                    <a:pt x="8" y="37"/>
                    <a:pt x="8" y="37"/>
                    <a:pt x="8" y="37"/>
                  </a:cubicBezTo>
                  <a:cubicBezTo>
                    <a:pt x="14" y="40"/>
                    <a:pt x="12" y="47"/>
                    <a:pt x="12" y="50"/>
                  </a:cubicBezTo>
                  <a:cubicBezTo>
                    <a:pt x="13" y="55"/>
                    <a:pt x="18" y="52"/>
                    <a:pt x="21" y="52"/>
                  </a:cubicBezTo>
                  <a:cubicBezTo>
                    <a:pt x="24" y="52"/>
                    <a:pt x="19" y="57"/>
                    <a:pt x="22" y="60"/>
                  </a:cubicBezTo>
                  <a:cubicBezTo>
                    <a:pt x="24" y="63"/>
                    <a:pt x="32" y="57"/>
                    <a:pt x="34" y="61"/>
                  </a:cubicBezTo>
                  <a:cubicBezTo>
                    <a:pt x="34" y="62"/>
                    <a:pt x="34" y="62"/>
                    <a:pt x="35" y="63"/>
                  </a:cubicBezTo>
                  <a:cubicBezTo>
                    <a:pt x="39" y="61"/>
                    <a:pt x="44" y="58"/>
                    <a:pt x="44"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1" name="Freeform 239"/>
            <p:cNvSpPr/>
            <p:nvPr/>
          </p:nvSpPr>
          <p:spPr>
            <a:xfrm>
              <a:off x="7223126" y="3243263"/>
              <a:ext cx="184150" cy="225425"/>
            </a:xfrm>
            <a:custGeom>
              <a:gdLst>
                <a:gd name="T0" fmla="*/ 73 w 108"/>
                <a:gd name="T1" fmla="*/ 61 h 132"/>
                <a:gd name="T2" fmla="*/ 57 w 108"/>
                <a:gd name="T3" fmla="*/ 47 h 132"/>
                <a:gd name="T4" fmla="*/ 68 w 108"/>
                <a:gd name="T5" fmla="*/ 41 h 132"/>
                <a:gd name="T6" fmla="*/ 63 w 108"/>
                <a:gd name="T7" fmla="*/ 30 h 132"/>
                <a:gd name="T8" fmla="*/ 53 w 108"/>
                <a:gd name="T9" fmla="*/ 27 h 132"/>
                <a:gd name="T10" fmla="*/ 41 w 108"/>
                <a:gd name="T11" fmla="*/ 20 h 132"/>
                <a:gd name="T12" fmla="*/ 34 w 108"/>
                <a:gd name="T13" fmla="*/ 9 h 132"/>
                <a:gd name="T14" fmla="*/ 29 w 108"/>
                <a:gd name="T15" fmla="*/ 2 h 132"/>
                <a:gd name="T16" fmla="*/ 23 w 108"/>
                <a:gd name="T17" fmla="*/ 2 h 132"/>
                <a:gd name="T18" fmla="*/ 21 w 108"/>
                <a:gd name="T19" fmla="*/ 9 h 132"/>
                <a:gd name="T20" fmla="*/ 20 w 108"/>
                <a:gd name="T21" fmla="*/ 21 h 132"/>
                <a:gd name="T22" fmla="*/ 13 w 108"/>
                <a:gd name="T23" fmla="*/ 14 h 132"/>
                <a:gd name="T24" fmla="*/ 5 w 108"/>
                <a:gd name="T25" fmla="*/ 26 h 132"/>
                <a:gd name="T26" fmla="*/ 0 w 108"/>
                <a:gd name="T27" fmla="*/ 30 h 132"/>
                <a:gd name="T28" fmla="*/ 3 w 108"/>
                <a:gd name="T29" fmla="*/ 33 h 132"/>
                <a:gd name="T30" fmla="*/ 4 w 108"/>
                <a:gd name="T31" fmla="*/ 44 h 132"/>
                <a:gd name="T32" fmla="*/ 14 w 108"/>
                <a:gd name="T33" fmla="*/ 48 h 132"/>
                <a:gd name="T34" fmla="*/ 13 w 108"/>
                <a:gd name="T35" fmla="*/ 64 h 132"/>
                <a:gd name="T36" fmla="*/ 9 w 108"/>
                <a:gd name="T37" fmla="*/ 75 h 132"/>
                <a:gd name="T38" fmla="*/ 22 w 108"/>
                <a:gd name="T39" fmla="*/ 70 h 132"/>
                <a:gd name="T40" fmla="*/ 33 w 108"/>
                <a:gd name="T41" fmla="*/ 69 h 132"/>
                <a:gd name="T42" fmla="*/ 42 w 108"/>
                <a:gd name="T43" fmla="*/ 67 h 132"/>
                <a:gd name="T44" fmla="*/ 56 w 108"/>
                <a:gd name="T45" fmla="*/ 66 h 132"/>
                <a:gd name="T46" fmla="*/ 66 w 108"/>
                <a:gd name="T47" fmla="*/ 77 h 132"/>
                <a:gd name="T48" fmla="*/ 67 w 108"/>
                <a:gd name="T49" fmla="*/ 94 h 132"/>
                <a:gd name="T50" fmla="*/ 77 w 108"/>
                <a:gd name="T51" fmla="*/ 110 h 132"/>
                <a:gd name="T52" fmla="*/ 76 w 108"/>
                <a:gd name="T53" fmla="*/ 126 h 132"/>
                <a:gd name="T54" fmla="*/ 82 w 108"/>
                <a:gd name="T55" fmla="*/ 130 h 132"/>
                <a:gd name="T56" fmla="*/ 86 w 108"/>
                <a:gd name="T57" fmla="*/ 126 h 132"/>
                <a:gd name="T58" fmla="*/ 96 w 108"/>
                <a:gd name="T59" fmla="*/ 123 h 132"/>
                <a:gd name="T60" fmla="*/ 106 w 108"/>
                <a:gd name="T61" fmla="*/ 121 h 132"/>
                <a:gd name="T62" fmla="*/ 107 w 108"/>
                <a:gd name="T63" fmla="*/ 115 h 132"/>
                <a:gd name="T64" fmla="*/ 104 w 108"/>
                <a:gd name="T65" fmla="*/ 101 h 132"/>
                <a:gd name="T66" fmla="*/ 92 w 108"/>
                <a:gd name="T67" fmla="*/ 89 h 132"/>
                <a:gd name="T68" fmla="*/ 80 w 108"/>
                <a:gd name="T69" fmla="*/ 74 h 132"/>
                <a:gd name="T70" fmla="*/ 73 w 108"/>
                <a:gd name="T71" fmla="*/ 61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32">
                  <a:moveTo>
                    <a:pt x="73" y="61"/>
                  </a:moveTo>
                  <a:cubicBezTo>
                    <a:pt x="73" y="57"/>
                    <a:pt x="55" y="52"/>
                    <a:pt x="57" y="47"/>
                  </a:cubicBezTo>
                  <a:cubicBezTo>
                    <a:pt x="59" y="42"/>
                    <a:pt x="68" y="45"/>
                    <a:pt x="68" y="41"/>
                  </a:cubicBezTo>
                  <a:cubicBezTo>
                    <a:pt x="68" y="36"/>
                    <a:pt x="64" y="36"/>
                    <a:pt x="63" y="30"/>
                  </a:cubicBezTo>
                  <a:cubicBezTo>
                    <a:pt x="63" y="23"/>
                    <a:pt x="56" y="25"/>
                    <a:pt x="53" y="27"/>
                  </a:cubicBezTo>
                  <a:cubicBezTo>
                    <a:pt x="51" y="29"/>
                    <a:pt x="41" y="25"/>
                    <a:pt x="41" y="20"/>
                  </a:cubicBezTo>
                  <a:cubicBezTo>
                    <a:pt x="41" y="16"/>
                    <a:pt x="34" y="13"/>
                    <a:pt x="34" y="9"/>
                  </a:cubicBezTo>
                  <a:cubicBezTo>
                    <a:pt x="34" y="7"/>
                    <a:pt x="31" y="4"/>
                    <a:pt x="29" y="2"/>
                  </a:cubicBezTo>
                  <a:cubicBezTo>
                    <a:pt x="26" y="3"/>
                    <a:pt x="24" y="3"/>
                    <a:pt x="23" y="2"/>
                  </a:cubicBezTo>
                  <a:cubicBezTo>
                    <a:pt x="21" y="0"/>
                    <a:pt x="19" y="8"/>
                    <a:pt x="21" y="9"/>
                  </a:cubicBezTo>
                  <a:cubicBezTo>
                    <a:pt x="22" y="11"/>
                    <a:pt x="25" y="22"/>
                    <a:pt x="20" y="21"/>
                  </a:cubicBezTo>
                  <a:cubicBezTo>
                    <a:pt x="15" y="20"/>
                    <a:pt x="15" y="13"/>
                    <a:pt x="13" y="14"/>
                  </a:cubicBezTo>
                  <a:cubicBezTo>
                    <a:pt x="13" y="14"/>
                    <a:pt x="5" y="23"/>
                    <a:pt x="5" y="26"/>
                  </a:cubicBezTo>
                  <a:cubicBezTo>
                    <a:pt x="5" y="28"/>
                    <a:pt x="2" y="29"/>
                    <a:pt x="0" y="30"/>
                  </a:cubicBezTo>
                  <a:cubicBezTo>
                    <a:pt x="1" y="32"/>
                    <a:pt x="3" y="33"/>
                    <a:pt x="3" y="33"/>
                  </a:cubicBezTo>
                  <a:cubicBezTo>
                    <a:pt x="4" y="35"/>
                    <a:pt x="2" y="40"/>
                    <a:pt x="4" y="44"/>
                  </a:cubicBezTo>
                  <a:cubicBezTo>
                    <a:pt x="6" y="49"/>
                    <a:pt x="12" y="42"/>
                    <a:pt x="14" y="48"/>
                  </a:cubicBezTo>
                  <a:cubicBezTo>
                    <a:pt x="16" y="54"/>
                    <a:pt x="13" y="57"/>
                    <a:pt x="13" y="64"/>
                  </a:cubicBezTo>
                  <a:cubicBezTo>
                    <a:pt x="13" y="70"/>
                    <a:pt x="8" y="69"/>
                    <a:pt x="9" y="75"/>
                  </a:cubicBezTo>
                  <a:cubicBezTo>
                    <a:pt x="10" y="80"/>
                    <a:pt x="17" y="74"/>
                    <a:pt x="22" y="70"/>
                  </a:cubicBezTo>
                  <a:cubicBezTo>
                    <a:pt x="27" y="66"/>
                    <a:pt x="31" y="67"/>
                    <a:pt x="33" y="69"/>
                  </a:cubicBezTo>
                  <a:cubicBezTo>
                    <a:pt x="35" y="72"/>
                    <a:pt x="41" y="70"/>
                    <a:pt x="42" y="67"/>
                  </a:cubicBezTo>
                  <a:cubicBezTo>
                    <a:pt x="43" y="64"/>
                    <a:pt x="53" y="62"/>
                    <a:pt x="56" y="66"/>
                  </a:cubicBezTo>
                  <a:cubicBezTo>
                    <a:pt x="59" y="70"/>
                    <a:pt x="62" y="74"/>
                    <a:pt x="66" y="77"/>
                  </a:cubicBezTo>
                  <a:cubicBezTo>
                    <a:pt x="71" y="79"/>
                    <a:pt x="63" y="93"/>
                    <a:pt x="67" y="94"/>
                  </a:cubicBezTo>
                  <a:cubicBezTo>
                    <a:pt x="72" y="95"/>
                    <a:pt x="78" y="102"/>
                    <a:pt x="77" y="110"/>
                  </a:cubicBezTo>
                  <a:cubicBezTo>
                    <a:pt x="77" y="116"/>
                    <a:pt x="80" y="121"/>
                    <a:pt x="76" y="126"/>
                  </a:cubicBezTo>
                  <a:cubicBezTo>
                    <a:pt x="79" y="128"/>
                    <a:pt x="82" y="128"/>
                    <a:pt x="82" y="130"/>
                  </a:cubicBezTo>
                  <a:cubicBezTo>
                    <a:pt x="81" y="132"/>
                    <a:pt x="86" y="131"/>
                    <a:pt x="86" y="126"/>
                  </a:cubicBezTo>
                  <a:cubicBezTo>
                    <a:pt x="86" y="121"/>
                    <a:pt x="93" y="122"/>
                    <a:pt x="96" y="123"/>
                  </a:cubicBezTo>
                  <a:cubicBezTo>
                    <a:pt x="98" y="124"/>
                    <a:pt x="103" y="124"/>
                    <a:pt x="106" y="121"/>
                  </a:cubicBezTo>
                  <a:cubicBezTo>
                    <a:pt x="106" y="119"/>
                    <a:pt x="107" y="117"/>
                    <a:pt x="107" y="115"/>
                  </a:cubicBezTo>
                  <a:cubicBezTo>
                    <a:pt x="108" y="110"/>
                    <a:pt x="107" y="103"/>
                    <a:pt x="104" y="101"/>
                  </a:cubicBezTo>
                  <a:cubicBezTo>
                    <a:pt x="101" y="98"/>
                    <a:pt x="94" y="95"/>
                    <a:pt x="92" y="89"/>
                  </a:cubicBezTo>
                  <a:cubicBezTo>
                    <a:pt x="90" y="84"/>
                    <a:pt x="82" y="78"/>
                    <a:pt x="80" y="74"/>
                  </a:cubicBezTo>
                  <a:cubicBezTo>
                    <a:pt x="78" y="69"/>
                    <a:pt x="73" y="65"/>
                    <a:pt x="73" y="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2" name="Freeform 240"/>
            <p:cNvSpPr/>
            <p:nvPr/>
          </p:nvSpPr>
          <p:spPr>
            <a:xfrm>
              <a:off x="7161213" y="3295650"/>
              <a:ext cx="198438" cy="376238"/>
            </a:xfrm>
            <a:custGeom>
              <a:gdLst>
                <a:gd name="T0" fmla="*/ 72 w 117"/>
                <a:gd name="T1" fmla="*/ 117 h 222"/>
                <a:gd name="T2" fmla="*/ 71 w 117"/>
                <a:gd name="T3" fmla="*/ 104 h 222"/>
                <a:gd name="T4" fmla="*/ 91 w 117"/>
                <a:gd name="T5" fmla="*/ 94 h 222"/>
                <a:gd name="T6" fmla="*/ 111 w 117"/>
                <a:gd name="T7" fmla="*/ 94 h 222"/>
                <a:gd name="T8" fmla="*/ 113 w 117"/>
                <a:gd name="T9" fmla="*/ 96 h 222"/>
                <a:gd name="T10" fmla="*/ 114 w 117"/>
                <a:gd name="T11" fmla="*/ 80 h 222"/>
                <a:gd name="T12" fmla="*/ 104 w 117"/>
                <a:gd name="T13" fmla="*/ 64 h 222"/>
                <a:gd name="T14" fmla="*/ 103 w 117"/>
                <a:gd name="T15" fmla="*/ 47 h 222"/>
                <a:gd name="T16" fmla="*/ 93 w 117"/>
                <a:gd name="T17" fmla="*/ 36 h 222"/>
                <a:gd name="T18" fmla="*/ 79 w 117"/>
                <a:gd name="T19" fmla="*/ 37 h 222"/>
                <a:gd name="T20" fmla="*/ 70 w 117"/>
                <a:gd name="T21" fmla="*/ 39 h 222"/>
                <a:gd name="T22" fmla="*/ 59 w 117"/>
                <a:gd name="T23" fmla="*/ 40 h 222"/>
                <a:gd name="T24" fmla="*/ 46 w 117"/>
                <a:gd name="T25" fmla="*/ 45 h 222"/>
                <a:gd name="T26" fmla="*/ 50 w 117"/>
                <a:gd name="T27" fmla="*/ 34 h 222"/>
                <a:gd name="T28" fmla="*/ 51 w 117"/>
                <a:gd name="T29" fmla="*/ 18 h 222"/>
                <a:gd name="T30" fmla="*/ 41 w 117"/>
                <a:gd name="T31" fmla="*/ 14 h 222"/>
                <a:gd name="T32" fmla="*/ 40 w 117"/>
                <a:gd name="T33" fmla="*/ 3 h 222"/>
                <a:gd name="T34" fmla="*/ 37 w 117"/>
                <a:gd name="T35" fmla="*/ 0 h 222"/>
                <a:gd name="T36" fmla="*/ 35 w 117"/>
                <a:gd name="T37" fmla="*/ 2 h 222"/>
                <a:gd name="T38" fmla="*/ 21 w 117"/>
                <a:gd name="T39" fmla="*/ 10 h 222"/>
                <a:gd name="T40" fmla="*/ 11 w 117"/>
                <a:gd name="T41" fmla="*/ 13 h 222"/>
                <a:gd name="T42" fmla="*/ 3 w 117"/>
                <a:gd name="T43" fmla="*/ 18 h 222"/>
                <a:gd name="T44" fmla="*/ 0 w 117"/>
                <a:gd name="T45" fmla="*/ 41 h 222"/>
                <a:gd name="T46" fmla="*/ 11 w 117"/>
                <a:gd name="T47" fmla="*/ 54 h 222"/>
                <a:gd name="T48" fmla="*/ 13 w 117"/>
                <a:gd name="T49" fmla="*/ 64 h 222"/>
                <a:gd name="T50" fmla="*/ 13 w 117"/>
                <a:gd name="T51" fmla="*/ 71 h 222"/>
                <a:gd name="T52" fmla="*/ 11 w 117"/>
                <a:gd name="T53" fmla="*/ 81 h 222"/>
                <a:gd name="T54" fmla="*/ 16 w 117"/>
                <a:gd name="T55" fmla="*/ 97 h 222"/>
                <a:gd name="T56" fmla="*/ 21 w 117"/>
                <a:gd name="T57" fmla="*/ 114 h 222"/>
                <a:gd name="T58" fmla="*/ 26 w 117"/>
                <a:gd name="T59" fmla="*/ 125 h 222"/>
                <a:gd name="T60" fmla="*/ 14 w 117"/>
                <a:gd name="T61" fmla="*/ 149 h 222"/>
                <a:gd name="T62" fmla="*/ 9 w 117"/>
                <a:gd name="T63" fmla="*/ 171 h 222"/>
                <a:gd name="T64" fmla="*/ 10 w 117"/>
                <a:gd name="T65" fmla="*/ 184 h 222"/>
                <a:gd name="T66" fmla="*/ 29 w 117"/>
                <a:gd name="T67" fmla="*/ 202 h 222"/>
                <a:gd name="T68" fmla="*/ 34 w 117"/>
                <a:gd name="T69" fmla="*/ 210 h 222"/>
                <a:gd name="T70" fmla="*/ 42 w 117"/>
                <a:gd name="T71" fmla="*/ 210 h 222"/>
                <a:gd name="T72" fmla="*/ 49 w 117"/>
                <a:gd name="T73" fmla="*/ 219 h 222"/>
                <a:gd name="T74" fmla="*/ 61 w 117"/>
                <a:gd name="T75" fmla="*/ 220 h 222"/>
                <a:gd name="T76" fmla="*/ 65 w 117"/>
                <a:gd name="T77" fmla="*/ 214 h 222"/>
                <a:gd name="T78" fmla="*/ 49 w 117"/>
                <a:gd name="T79" fmla="*/ 204 h 222"/>
                <a:gd name="T80" fmla="*/ 39 w 117"/>
                <a:gd name="T81" fmla="*/ 188 h 222"/>
                <a:gd name="T82" fmla="*/ 33 w 117"/>
                <a:gd name="T83" fmla="*/ 174 h 222"/>
                <a:gd name="T84" fmla="*/ 24 w 117"/>
                <a:gd name="T85" fmla="*/ 168 h 222"/>
                <a:gd name="T86" fmla="*/ 26 w 117"/>
                <a:gd name="T87" fmla="*/ 144 h 222"/>
                <a:gd name="T88" fmla="*/ 34 w 117"/>
                <a:gd name="T89" fmla="*/ 115 h 222"/>
                <a:gd name="T90" fmla="*/ 46 w 117"/>
                <a:gd name="T91" fmla="*/ 111 h 222"/>
                <a:gd name="T92" fmla="*/ 57 w 117"/>
                <a:gd name="T93" fmla="*/ 120 h 222"/>
                <a:gd name="T94" fmla="*/ 72 w 117"/>
                <a:gd name="T95" fmla="*/ 128 h 222"/>
                <a:gd name="T96" fmla="*/ 73 w 117"/>
                <a:gd name="T97" fmla="*/ 128 h 222"/>
                <a:gd name="T98" fmla="*/ 73 w 117"/>
                <a:gd name="T99" fmla="*/ 128 h 222"/>
                <a:gd name="T100" fmla="*/ 72 w 117"/>
                <a:gd name="T101" fmla="*/ 117 h 2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222">
                  <a:moveTo>
                    <a:pt x="72" y="117"/>
                  </a:moveTo>
                  <a:cubicBezTo>
                    <a:pt x="72" y="111"/>
                    <a:pt x="65" y="111"/>
                    <a:pt x="71" y="104"/>
                  </a:cubicBezTo>
                  <a:cubicBezTo>
                    <a:pt x="77" y="97"/>
                    <a:pt x="85" y="92"/>
                    <a:pt x="91" y="94"/>
                  </a:cubicBezTo>
                  <a:cubicBezTo>
                    <a:pt x="96" y="96"/>
                    <a:pt x="108" y="91"/>
                    <a:pt x="111" y="94"/>
                  </a:cubicBezTo>
                  <a:cubicBezTo>
                    <a:pt x="111" y="95"/>
                    <a:pt x="112" y="96"/>
                    <a:pt x="113" y="96"/>
                  </a:cubicBezTo>
                  <a:cubicBezTo>
                    <a:pt x="117" y="91"/>
                    <a:pt x="114" y="86"/>
                    <a:pt x="114" y="80"/>
                  </a:cubicBezTo>
                  <a:cubicBezTo>
                    <a:pt x="115" y="72"/>
                    <a:pt x="109" y="65"/>
                    <a:pt x="104" y="64"/>
                  </a:cubicBezTo>
                  <a:cubicBezTo>
                    <a:pt x="100" y="63"/>
                    <a:pt x="108" y="49"/>
                    <a:pt x="103" y="47"/>
                  </a:cubicBezTo>
                  <a:cubicBezTo>
                    <a:pt x="99" y="44"/>
                    <a:pt x="96" y="40"/>
                    <a:pt x="93" y="36"/>
                  </a:cubicBezTo>
                  <a:cubicBezTo>
                    <a:pt x="90" y="32"/>
                    <a:pt x="80" y="34"/>
                    <a:pt x="79" y="37"/>
                  </a:cubicBezTo>
                  <a:cubicBezTo>
                    <a:pt x="78" y="40"/>
                    <a:pt x="72" y="42"/>
                    <a:pt x="70" y="39"/>
                  </a:cubicBezTo>
                  <a:cubicBezTo>
                    <a:pt x="68" y="37"/>
                    <a:pt x="64" y="36"/>
                    <a:pt x="59" y="40"/>
                  </a:cubicBezTo>
                  <a:cubicBezTo>
                    <a:pt x="54" y="44"/>
                    <a:pt x="47" y="50"/>
                    <a:pt x="46" y="45"/>
                  </a:cubicBezTo>
                  <a:cubicBezTo>
                    <a:pt x="45" y="39"/>
                    <a:pt x="50" y="40"/>
                    <a:pt x="50" y="34"/>
                  </a:cubicBezTo>
                  <a:cubicBezTo>
                    <a:pt x="50" y="27"/>
                    <a:pt x="53" y="24"/>
                    <a:pt x="51" y="18"/>
                  </a:cubicBezTo>
                  <a:cubicBezTo>
                    <a:pt x="49" y="12"/>
                    <a:pt x="43" y="19"/>
                    <a:pt x="41" y="14"/>
                  </a:cubicBezTo>
                  <a:cubicBezTo>
                    <a:pt x="39" y="10"/>
                    <a:pt x="41" y="5"/>
                    <a:pt x="40" y="3"/>
                  </a:cubicBezTo>
                  <a:cubicBezTo>
                    <a:pt x="40" y="3"/>
                    <a:pt x="38" y="2"/>
                    <a:pt x="37" y="0"/>
                  </a:cubicBezTo>
                  <a:cubicBezTo>
                    <a:pt x="36" y="1"/>
                    <a:pt x="35" y="2"/>
                    <a:pt x="35" y="2"/>
                  </a:cubicBezTo>
                  <a:cubicBezTo>
                    <a:pt x="34" y="5"/>
                    <a:pt x="24" y="6"/>
                    <a:pt x="21" y="10"/>
                  </a:cubicBezTo>
                  <a:cubicBezTo>
                    <a:pt x="19" y="14"/>
                    <a:pt x="12" y="13"/>
                    <a:pt x="11" y="13"/>
                  </a:cubicBezTo>
                  <a:cubicBezTo>
                    <a:pt x="9" y="13"/>
                    <a:pt x="3" y="14"/>
                    <a:pt x="3" y="18"/>
                  </a:cubicBezTo>
                  <a:cubicBezTo>
                    <a:pt x="2" y="22"/>
                    <a:pt x="0" y="38"/>
                    <a:pt x="0" y="41"/>
                  </a:cubicBezTo>
                  <a:cubicBezTo>
                    <a:pt x="0" y="44"/>
                    <a:pt x="8" y="53"/>
                    <a:pt x="11" y="54"/>
                  </a:cubicBezTo>
                  <a:cubicBezTo>
                    <a:pt x="13" y="55"/>
                    <a:pt x="10" y="62"/>
                    <a:pt x="13" y="64"/>
                  </a:cubicBezTo>
                  <a:cubicBezTo>
                    <a:pt x="17" y="66"/>
                    <a:pt x="15" y="71"/>
                    <a:pt x="13" y="71"/>
                  </a:cubicBezTo>
                  <a:cubicBezTo>
                    <a:pt x="11" y="70"/>
                    <a:pt x="14" y="78"/>
                    <a:pt x="11" y="81"/>
                  </a:cubicBezTo>
                  <a:cubicBezTo>
                    <a:pt x="7" y="84"/>
                    <a:pt x="10" y="91"/>
                    <a:pt x="16" y="97"/>
                  </a:cubicBezTo>
                  <a:cubicBezTo>
                    <a:pt x="21" y="102"/>
                    <a:pt x="21" y="110"/>
                    <a:pt x="21" y="114"/>
                  </a:cubicBezTo>
                  <a:cubicBezTo>
                    <a:pt x="21" y="119"/>
                    <a:pt x="26" y="120"/>
                    <a:pt x="26" y="125"/>
                  </a:cubicBezTo>
                  <a:cubicBezTo>
                    <a:pt x="26" y="125"/>
                    <a:pt x="19" y="150"/>
                    <a:pt x="14" y="149"/>
                  </a:cubicBezTo>
                  <a:cubicBezTo>
                    <a:pt x="12" y="156"/>
                    <a:pt x="11" y="165"/>
                    <a:pt x="9" y="171"/>
                  </a:cubicBezTo>
                  <a:cubicBezTo>
                    <a:pt x="8" y="177"/>
                    <a:pt x="6" y="183"/>
                    <a:pt x="10" y="184"/>
                  </a:cubicBezTo>
                  <a:cubicBezTo>
                    <a:pt x="14" y="184"/>
                    <a:pt x="22" y="193"/>
                    <a:pt x="29" y="202"/>
                  </a:cubicBezTo>
                  <a:cubicBezTo>
                    <a:pt x="31" y="205"/>
                    <a:pt x="33" y="207"/>
                    <a:pt x="34" y="210"/>
                  </a:cubicBezTo>
                  <a:cubicBezTo>
                    <a:pt x="36" y="209"/>
                    <a:pt x="39" y="210"/>
                    <a:pt x="42" y="210"/>
                  </a:cubicBezTo>
                  <a:cubicBezTo>
                    <a:pt x="48" y="211"/>
                    <a:pt x="49" y="216"/>
                    <a:pt x="49" y="219"/>
                  </a:cubicBezTo>
                  <a:cubicBezTo>
                    <a:pt x="49" y="222"/>
                    <a:pt x="59" y="220"/>
                    <a:pt x="61" y="220"/>
                  </a:cubicBezTo>
                  <a:cubicBezTo>
                    <a:pt x="62" y="220"/>
                    <a:pt x="60" y="216"/>
                    <a:pt x="65" y="214"/>
                  </a:cubicBezTo>
                  <a:cubicBezTo>
                    <a:pt x="62" y="210"/>
                    <a:pt x="55" y="205"/>
                    <a:pt x="49" y="204"/>
                  </a:cubicBezTo>
                  <a:cubicBezTo>
                    <a:pt x="41" y="204"/>
                    <a:pt x="38" y="193"/>
                    <a:pt x="39" y="188"/>
                  </a:cubicBezTo>
                  <a:cubicBezTo>
                    <a:pt x="39" y="183"/>
                    <a:pt x="33" y="179"/>
                    <a:pt x="33" y="174"/>
                  </a:cubicBezTo>
                  <a:cubicBezTo>
                    <a:pt x="33" y="170"/>
                    <a:pt x="29" y="170"/>
                    <a:pt x="24" y="168"/>
                  </a:cubicBezTo>
                  <a:cubicBezTo>
                    <a:pt x="19" y="165"/>
                    <a:pt x="25" y="151"/>
                    <a:pt x="26" y="144"/>
                  </a:cubicBezTo>
                  <a:cubicBezTo>
                    <a:pt x="26" y="138"/>
                    <a:pt x="37" y="120"/>
                    <a:pt x="34" y="115"/>
                  </a:cubicBezTo>
                  <a:cubicBezTo>
                    <a:pt x="31" y="109"/>
                    <a:pt x="44" y="105"/>
                    <a:pt x="46" y="111"/>
                  </a:cubicBezTo>
                  <a:cubicBezTo>
                    <a:pt x="48" y="117"/>
                    <a:pt x="48" y="120"/>
                    <a:pt x="57" y="120"/>
                  </a:cubicBezTo>
                  <a:cubicBezTo>
                    <a:pt x="65" y="119"/>
                    <a:pt x="65" y="126"/>
                    <a:pt x="72" y="128"/>
                  </a:cubicBezTo>
                  <a:cubicBezTo>
                    <a:pt x="73" y="128"/>
                    <a:pt x="73" y="128"/>
                    <a:pt x="73" y="128"/>
                  </a:cubicBezTo>
                  <a:cubicBezTo>
                    <a:pt x="73" y="128"/>
                    <a:pt x="73" y="128"/>
                    <a:pt x="73" y="128"/>
                  </a:cubicBezTo>
                  <a:cubicBezTo>
                    <a:pt x="75" y="123"/>
                    <a:pt x="72" y="123"/>
                    <a:pt x="72" y="1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3" name="Freeform 241"/>
            <p:cNvSpPr/>
            <p:nvPr/>
          </p:nvSpPr>
          <p:spPr>
            <a:xfrm>
              <a:off x="5132388" y="2281238"/>
              <a:ext cx="236538" cy="195263"/>
            </a:xfrm>
            <a:custGeom>
              <a:gdLst>
                <a:gd name="T0" fmla="*/ 2 w 140"/>
                <a:gd name="T1" fmla="*/ 24 h 115"/>
                <a:gd name="T2" fmla="*/ 2 w 140"/>
                <a:gd name="T3" fmla="*/ 40 h 115"/>
                <a:gd name="T4" fmla="*/ 3 w 140"/>
                <a:gd name="T5" fmla="*/ 45 h 115"/>
                <a:gd name="T6" fmla="*/ 6 w 140"/>
                <a:gd name="T7" fmla="*/ 52 h 115"/>
                <a:gd name="T8" fmla="*/ 8 w 140"/>
                <a:gd name="T9" fmla="*/ 60 h 115"/>
                <a:gd name="T10" fmla="*/ 12 w 140"/>
                <a:gd name="T11" fmla="*/ 72 h 115"/>
                <a:gd name="T12" fmla="*/ 12 w 140"/>
                <a:gd name="T13" fmla="*/ 78 h 115"/>
                <a:gd name="T14" fmla="*/ 20 w 140"/>
                <a:gd name="T15" fmla="*/ 83 h 115"/>
                <a:gd name="T16" fmla="*/ 30 w 140"/>
                <a:gd name="T17" fmla="*/ 90 h 115"/>
                <a:gd name="T18" fmla="*/ 38 w 140"/>
                <a:gd name="T19" fmla="*/ 93 h 115"/>
                <a:gd name="T20" fmla="*/ 46 w 140"/>
                <a:gd name="T21" fmla="*/ 92 h 115"/>
                <a:gd name="T22" fmla="*/ 50 w 140"/>
                <a:gd name="T23" fmla="*/ 97 h 115"/>
                <a:gd name="T24" fmla="*/ 59 w 140"/>
                <a:gd name="T25" fmla="*/ 100 h 115"/>
                <a:gd name="T26" fmla="*/ 66 w 140"/>
                <a:gd name="T27" fmla="*/ 108 h 115"/>
                <a:gd name="T28" fmla="*/ 75 w 140"/>
                <a:gd name="T29" fmla="*/ 107 h 115"/>
                <a:gd name="T30" fmla="*/ 87 w 140"/>
                <a:gd name="T31" fmla="*/ 109 h 115"/>
                <a:gd name="T32" fmla="*/ 98 w 140"/>
                <a:gd name="T33" fmla="*/ 110 h 115"/>
                <a:gd name="T34" fmla="*/ 111 w 140"/>
                <a:gd name="T35" fmla="*/ 112 h 115"/>
                <a:gd name="T36" fmla="*/ 119 w 140"/>
                <a:gd name="T37" fmla="*/ 115 h 115"/>
                <a:gd name="T38" fmla="*/ 119 w 140"/>
                <a:gd name="T39" fmla="*/ 105 h 115"/>
                <a:gd name="T40" fmla="*/ 132 w 140"/>
                <a:gd name="T41" fmla="*/ 91 h 115"/>
                <a:gd name="T42" fmla="*/ 139 w 140"/>
                <a:gd name="T43" fmla="*/ 86 h 115"/>
                <a:gd name="T44" fmla="*/ 133 w 140"/>
                <a:gd name="T45" fmla="*/ 72 h 115"/>
                <a:gd name="T46" fmla="*/ 132 w 140"/>
                <a:gd name="T47" fmla="*/ 59 h 115"/>
                <a:gd name="T48" fmla="*/ 127 w 140"/>
                <a:gd name="T49" fmla="*/ 51 h 115"/>
                <a:gd name="T50" fmla="*/ 135 w 140"/>
                <a:gd name="T51" fmla="*/ 44 h 115"/>
                <a:gd name="T52" fmla="*/ 135 w 140"/>
                <a:gd name="T53" fmla="*/ 31 h 115"/>
                <a:gd name="T54" fmla="*/ 133 w 140"/>
                <a:gd name="T55" fmla="*/ 20 h 115"/>
                <a:gd name="T56" fmla="*/ 121 w 140"/>
                <a:gd name="T57" fmla="*/ 12 h 115"/>
                <a:gd name="T58" fmla="*/ 121 w 140"/>
                <a:gd name="T59" fmla="*/ 12 h 115"/>
                <a:gd name="T60" fmla="*/ 83 w 140"/>
                <a:gd name="T61" fmla="*/ 10 h 115"/>
                <a:gd name="T62" fmla="*/ 76 w 140"/>
                <a:gd name="T63" fmla="*/ 7 h 115"/>
                <a:gd name="T64" fmla="*/ 68 w 140"/>
                <a:gd name="T65" fmla="*/ 12 h 115"/>
                <a:gd name="T66" fmla="*/ 61 w 140"/>
                <a:gd name="T67" fmla="*/ 3 h 115"/>
                <a:gd name="T68" fmla="*/ 29 w 140"/>
                <a:gd name="T69" fmla="*/ 12 h 115"/>
                <a:gd name="T70" fmla="*/ 6 w 140"/>
                <a:gd name="T71" fmla="*/ 19 h 115"/>
                <a:gd name="T72" fmla="*/ 2 w 140"/>
                <a:gd name="T73" fmla="*/ 23 h 115"/>
                <a:gd name="T74" fmla="*/ 2 w 140"/>
                <a:gd name="T75" fmla="*/ 24 h 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15">
                  <a:moveTo>
                    <a:pt x="2" y="24"/>
                  </a:moveTo>
                  <a:cubicBezTo>
                    <a:pt x="3" y="27"/>
                    <a:pt x="4" y="36"/>
                    <a:pt x="2" y="40"/>
                  </a:cubicBezTo>
                  <a:cubicBezTo>
                    <a:pt x="0" y="43"/>
                    <a:pt x="1" y="44"/>
                    <a:pt x="3" y="45"/>
                  </a:cubicBezTo>
                  <a:cubicBezTo>
                    <a:pt x="5" y="47"/>
                    <a:pt x="6" y="50"/>
                    <a:pt x="6" y="52"/>
                  </a:cubicBezTo>
                  <a:cubicBezTo>
                    <a:pt x="6" y="55"/>
                    <a:pt x="8" y="55"/>
                    <a:pt x="8" y="60"/>
                  </a:cubicBezTo>
                  <a:cubicBezTo>
                    <a:pt x="8" y="66"/>
                    <a:pt x="10" y="70"/>
                    <a:pt x="12" y="72"/>
                  </a:cubicBezTo>
                  <a:cubicBezTo>
                    <a:pt x="13" y="74"/>
                    <a:pt x="13" y="76"/>
                    <a:pt x="12" y="78"/>
                  </a:cubicBezTo>
                  <a:cubicBezTo>
                    <a:pt x="15" y="80"/>
                    <a:pt x="18" y="82"/>
                    <a:pt x="20" y="83"/>
                  </a:cubicBezTo>
                  <a:cubicBezTo>
                    <a:pt x="27" y="86"/>
                    <a:pt x="30" y="87"/>
                    <a:pt x="30" y="90"/>
                  </a:cubicBezTo>
                  <a:cubicBezTo>
                    <a:pt x="31" y="92"/>
                    <a:pt x="36" y="97"/>
                    <a:pt x="38" y="93"/>
                  </a:cubicBezTo>
                  <a:cubicBezTo>
                    <a:pt x="39" y="90"/>
                    <a:pt x="43" y="92"/>
                    <a:pt x="46" y="92"/>
                  </a:cubicBezTo>
                  <a:cubicBezTo>
                    <a:pt x="49" y="92"/>
                    <a:pt x="49" y="95"/>
                    <a:pt x="50" y="97"/>
                  </a:cubicBezTo>
                  <a:cubicBezTo>
                    <a:pt x="50" y="99"/>
                    <a:pt x="57" y="98"/>
                    <a:pt x="59" y="100"/>
                  </a:cubicBezTo>
                  <a:cubicBezTo>
                    <a:pt x="62" y="101"/>
                    <a:pt x="63" y="106"/>
                    <a:pt x="66" y="108"/>
                  </a:cubicBezTo>
                  <a:cubicBezTo>
                    <a:pt x="69" y="110"/>
                    <a:pt x="72" y="106"/>
                    <a:pt x="75" y="107"/>
                  </a:cubicBezTo>
                  <a:cubicBezTo>
                    <a:pt x="77" y="109"/>
                    <a:pt x="83" y="110"/>
                    <a:pt x="87" y="109"/>
                  </a:cubicBezTo>
                  <a:cubicBezTo>
                    <a:pt x="91" y="107"/>
                    <a:pt x="93" y="110"/>
                    <a:pt x="98" y="110"/>
                  </a:cubicBezTo>
                  <a:cubicBezTo>
                    <a:pt x="103" y="109"/>
                    <a:pt x="109" y="111"/>
                    <a:pt x="111" y="112"/>
                  </a:cubicBezTo>
                  <a:cubicBezTo>
                    <a:pt x="111" y="113"/>
                    <a:pt x="116" y="114"/>
                    <a:pt x="119" y="115"/>
                  </a:cubicBezTo>
                  <a:cubicBezTo>
                    <a:pt x="120" y="113"/>
                    <a:pt x="118" y="106"/>
                    <a:pt x="119" y="105"/>
                  </a:cubicBezTo>
                  <a:cubicBezTo>
                    <a:pt x="119" y="103"/>
                    <a:pt x="130" y="93"/>
                    <a:pt x="132" y="91"/>
                  </a:cubicBezTo>
                  <a:cubicBezTo>
                    <a:pt x="134" y="89"/>
                    <a:pt x="137" y="89"/>
                    <a:pt x="139" y="86"/>
                  </a:cubicBezTo>
                  <a:cubicBezTo>
                    <a:pt x="140" y="83"/>
                    <a:pt x="134" y="74"/>
                    <a:pt x="133" y="72"/>
                  </a:cubicBezTo>
                  <a:cubicBezTo>
                    <a:pt x="132" y="70"/>
                    <a:pt x="131" y="62"/>
                    <a:pt x="132" y="59"/>
                  </a:cubicBezTo>
                  <a:cubicBezTo>
                    <a:pt x="133" y="56"/>
                    <a:pt x="127" y="54"/>
                    <a:pt x="127" y="51"/>
                  </a:cubicBezTo>
                  <a:cubicBezTo>
                    <a:pt x="127" y="49"/>
                    <a:pt x="133" y="45"/>
                    <a:pt x="135" y="44"/>
                  </a:cubicBezTo>
                  <a:cubicBezTo>
                    <a:pt x="138" y="43"/>
                    <a:pt x="137" y="34"/>
                    <a:pt x="135" y="31"/>
                  </a:cubicBezTo>
                  <a:cubicBezTo>
                    <a:pt x="132" y="29"/>
                    <a:pt x="131" y="25"/>
                    <a:pt x="133" y="20"/>
                  </a:cubicBezTo>
                  <a:cubicBezTo>
                    <a:pt x="134" y="16"/>
                    <a:pt x="123" y="12"/>
                    <a:pt x="121" y="12"/>
                  </a:cubicBezTo>
                  <a:cubicBezTo>
                    <a:pt x="121" y="12"/>
                    <a:pt x="121" y="12"/>
                    <a:pt x="121" y="12"/>
                  </a:cubicBezTo>
                  <a:cubicBezTo>
                    <a:pt x="111" y="14"/>
                    <a:pt x="85" y="11"/>
                    <a:pt x="83" y="10"/>
                  </a:cubicBezTo>
                  <a:cubicBezTo>
                    <a:pt x="82" y="10"/>
                    <a:pt x="78" y="8"/>
                    <a:pt x="76" y="7"/>
                  </a:cubicBezTo>
                  <a:cubicBezTo>
                    <a:pt x="74" y="10"/>
                    <a:pt x="72" y="12"/>
                    <a:pt x="68" y="12"/>
                  </a:cubicBezTo>
                  <a:cubicBezTo>
                    <a:pt x="61" y="12"/>
                    <a:pt x="61" y="5"/>
                    <a:pt x="61" y="3"/>
                  </a:cubicBezTo>
                  <a:cubicBezTo>
                    <a:pt x="60" y="0"/>
                    <a:pt x="36" y="5"/>
                    <a:pt x="29" y="12"/>
                  </a:cubicBezTo>
                  <a:cubicBezTo>
                    <a:pt x="22" y="18"/>
                    <a:pt x="7" y="16"/>
                    <a:pt x="6" y="19"/>
                  </a:cubicBezTo>
                  <a:cubicBezTo>
                    <a:pt x="6" y="22"/>
                    <a:pt x="4" y="23"/>
                    <a:pt x="2" y="23"/>
                  </a:cubicBezTo>
                  <a:cubicBezTo>
                    <a:pt x="2" y="24"/>
                    <a:pt x="2" y="24"/>
                    <a:pt x="2"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4" name="Freeform 242"/>
            <p:cNvSpPr/>
            <p:nvPr/>
          </p:nvSpPr>
          <p:spPr>
            <a:xfrm>
              <a:off x="5165726" y="2597150"/>
              <a:ext cx="90488" cy="85725"/>
            </a:xfrm>
            <a:custGeom>
              <a:gdLst>
                <a:gd name="T0" fmla="*/ 39 w 53"/>
                <a:gd name="T1" fmla="*/ 46 h 50"/>
                <a:gd name="T2" fmla="*/ 50 w 53"/>
                <a:gd name="T3" fmla="*/ 30 h 50"/>
                <a:gd name="T4" fmla="*/ 52 w 53"/>
                <a:gd name="T5" fmla="*/ 10 h 50"/>
                <a:gd name="T6" fmla="*/ 39 w 53"/>
                <a:gd name="T7" fmla="*/ 4 h 50"/>
                <a:gd name="T8" fmla="*/ 16 w 53"/>
                <a:gd name="T9" fmla="*/ 1 h 50"/>
                <a:gd name="T10" fmla="*/ 7 w 53"/>
                <a:gd name="T11" fmla="*/ 3 h 50"/>
                <a:gd name="T12" fmla="*/ 1 w 53"/>
                <a:gd name="T13" fmla="*/ 7 h 50"/>
                <a:gd name="T14" fmla="*/ 7 w 53"/>
                <a:gd name="T15" fmla="*/ 17 h 50"/>
                <a:gd name="T16" fmla="*/ 19 w 53"/>
                <a:gd name="T17" fmla="*/ 32 h 50"/>
                <a:gd name="T18" fmla="*/ 31 w 53"/>
                <a:gd name="T19" fmla="*/ 45 h 50"/>
                <a:gd name="T20" fmla="*/ 39 w 53"/>
                <a:gd name="T21" fmla="*/ 50 h 50"/>
                <a:gd name="T22" fmla="*/ 39 w 53"/>
                <a:gd name="T23" fmla="*/ 46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50">
                  <a:moveTo>
                    <a:pt x="39" y="46"/>
                  </a:moveTo>
                  <a:cubicBezTo>
                    <a:pt x="39" y="43"/>
                    <a:pt x="48" y="30"/>
                    <a:pt x="50" y="30"/>
                  </a:cubicBezTo>
                  <a:cubicBezTo>
                    <a:pt x="52" y="30"/>
                    <a:pt x="53" y="17"/>
                    <a:pt x="52" y="10"/>
                  </a:cubicBezTo>
                  <a:cubicBezTo>
                    <a:pt x="45" y="5"/>
                    <a:pt x="39" y="4"/>
                    <a:pt x="39" y="4"/>
                  </a:cubicBezTo>
                  <a:cubicBezTo>
                    <a:pt x="39" y="4"/>
                    <a:pt x="20" y="3"/>
                    <a:pt x="16" y="1"/>
                  </a:cubicBezTo>
                  <a:cubicBezTo>
                    <a:pt x="13" y="0"/>
                    <a:pt x="10" y="6"/>
                    <a:pt x="7" y="3"/>
                  </a:cubicBezTo>
                  <a:cubicBezTo>
                    <a:pt x="4" y="1"/>
                    <a:pt x="0" y="4"/>
                    <a:pt x="1" y="7"/>
                  </a:cubicBezTo>
                  <a:cubicBezTo>
                    <a:pt x="1" y="10"/>
                    <a:pt x="7" y="12"/>
                    <a:pt x="7" y="17"/>
                  </a:cubicBezTo>
                  <a:cubicBezTo>
                    <a:pt x="7" y="22"/>
                    <a:pt x="20" y="29"/>
                    <a:pt x="19" y="32"/>
                  </a:cubicBezTo>
                  <a:cubicBezTo>
                    <a:pt x="19" y="33"/>
                    <a:pt x="27" y="38"/>
                    <a:pt x="31" y="45"/>
                  </a:cubicBezTo>
                  <a:cubicBezTo>
                    <a:pt x="34" y="46"/>
                    <a:pt x="36" y="48"/>
                    <a:pt x="39" y="50"/>
                  </a:cubicBezTo>
                  <a:cubicBezTo>
                    <a:pt x="39" y="48"/>
                    <a:pt x="39" y="47"/>
                    <a:pt x="39"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5" name="Freeform 243"/>
            <p:cNvSpPr/>
            <p:nvPr/>
          </p:nvSpPr>
          <p:spPr>
            <a:xfrm>
              <a:off x="5121276" y="2559050"/>
              <a:ext cx="133350" cy="114300"/>
            </a:xfrm>
            <a:custGeom>
              <a:gdLst>
                <a:gd name="T0" fmla="*/ 45 w 78"/>
                <a:gd name="T1" fmla="*/ 55 h 68"/>
                <a:gd name="T2" fmla="*/ 33 w 78"/>
                <a:gd name="T3" fmla="*/ 40 h 68"/>
                <a:gd name="T4" fmla="*/ 27 w 78"/>
                <a:gd name="T5" fmla="*/ 30 h 68"/>
                <a:gd name="T6" fmla="*/ 33 w 78"/>
                <a:gd name="T7" fmla="*/ 26 h 68"/>
                <a:gd name="T8" fmla="*/ 42 w 78"/>
                <a:gd name="T9" fmla="*/ 24 h 68"/>
                <a:gd name="T10" fmla="*/ 65 w 78"/>
                <a:gd name="T11" fmla="*/ 27 h 68"/>
                <a:gd name="T12" fmla="*/ 78 w 78"/>
                <a:gd name="T13" fmla="*/ 33 h 68"/>
                <a:gd name="T14" fmla="*/ 77 w 78"/>
                <a:gd name="T15" fmla="*/ 30 h 68"/>
                <a:gd name="T16" fmla="*/ 73 w 78"/>
                <a:gd name="T17" fmla="*/ 20 h 68"/>
                <a:gd name="T18" fmla="*/ 69 w 78"/>
                <a:gd name="T19" fmla="*/ 11 h 68"/>
                <a:gd name="T20" fmla="*/ 64 w 78"/>
                <a:gd name="T21" fmla="*/ 12 h 68"/>
                <a:gd name="T22" fmla="*/ 49 w 78"/>
                <a:gd name="T23" fmla="*/ 9 h 68"/>
                <a:gd name="T24" fmla="*/ 37 w 78"/>
                <a:gd name="T25" fmla="*/ 0 h 68"/>
                <a:gd name="T26" fmla="*/ 28 w 78"/>
                <a:gd name="T27" fmla="*/ 6 h 68"/>
                <a:gd name="T28" fmla="*/ 25 w 78"/>
                <a:gd name="T29" fmla="*/ 13 h 68"/>
                <a:gd name="T30" fmla="*/ 19 w 78"/>
                <a:gd name="T31" fmla="*/ 19 h 68"/>
                <a:gd name="T32" fmla="*/ 10 w 78"/>
                <a:gd name="T33" fmla="*/ 19 h 68"/>
                <a:gd name="T34" fmla="*/ 0 w 78"/>
                <a:gd name="T35" fmla="*/ 21 h 68"/>
                <a:gd name="T36" fmla="*/ 3 w 78"/>
                <a:gd name="T37" fmla="*/ 27 h 68"/>
                <a:gd name="T38" fmla="*/ 14 w 78"/>
                <a:gd name="T39" fmla="*/ 32 h 68"/>
                <a:gd name="T40" fmla="*/ 27 w 78"/>
                <a:gd name="T41" fmla="*/ 52 h 68"/>
                <a:gd name="T42" fmla="*/ 39 w 78"/>
                <a:gd name="T43" fmla="*/ 59 h 68"/>
                <a:gd name="T44" fmla="*/ 51 w 78"/>
                <a:gd name="T45" fmla="*/ 65 h 68"/>
                <a:gd name="T46" fmla="*/ 57 w 78"/>
                <a:gd name="T47" fmla="*/ 68 h 68"/>
                <a:gd name="T48" fmla="*/ 45 w 78"/>
                <a:gd name="T49" fmla="*/ 55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68">
                  <a:moveTo>
                    <a:pt x="45" y="55"/>
                  </a:moveTo>
                  <a:cubicBezTo>
                    <a:pt x="46" y="52"/>
                    <a:pt x="33" y="45"/>
                    <a:pt x="33" y="40"/>
                  </a:cubicBezTo>
                  <a:cubicBezTo>
                    <a:pt x="33" y="35"/>
                    <a:pt x="27" y="33"/>
                    <a:pt x="27" y="30"/>
                  </a:cubicBezTo>
                  <a:cubicBezTo>
                    <a:pt x="26" y="27"/>
                    <a:pt x="30" y="24"/>
                    <a:pt x="33" y="26"/>
                  </a:cubicBezTo>
                  <a:cubicBezTo>
                    <a:pt x="36" y="29"/>
                    <a:pt x="39" y="23"/>
                    <a:pt x="42" y="24"/>
                  </a:cubicBezTo>
                  <a:cubicBezTo>
                    <a:pt x="46" y="26"/>
                    <a:pt x="65" y="27"/>
                    <a:pt x="65" y="27"/>
                  </a:cubicBezTo>
                  <a:cubicBezTo>
                    <a:pt x="65" y="27"/>
                    <a:pt x="71" y="28"/>
                    <a:pt x="78" y="33"/>
                  </a:cubicBezTo>
                  <a:cubicBezTo>
                    <a:pt x="78" y="32"/>
                    <a:pt x="78" y="31"/>
                    <a:pt x="77" y="30"/>
                  </a:cubicBezTo>
                  <a:cubicBezTo>
                    <a:pt x="76" y="26"/>
                    <a:pt x="77" y="22"/>
                    <a:pt x="73" y="20"/>
                  </a:cubicBezTo>
                  <a:cubicBezTo>
                    <a:pt x="70" y="19"/>
                    <a:pt x="69" y="15"/>
                    <a:pt x="69" y="11"/>
                  </a:cubicBezTo>
                  <a:cubicBezTo>
                    <a:pt x="67" y="12"/>
                    <a:pt x="65" y="12"/>
                    <a:pt x="64" y="12"/>
                  </a:cubicBezTo>
                  <a:cubicBezTo>
                    <a:pt x="60" y="13"/>
                    <a:pt x="52" y="13"/>
                    <a:pt x="49" y="9"/>
                  </a:cubicBezTo>
                  <a:cubicBezTo>
                    <a:pt x="47" y="6"/>
                    <a:pt x="40" y="2"/>
                    <a:pt x="37" y="0"/>
                  </a:cubicBezTo>
                  <a:cubicBezTo>
                    <a:pt x="36" y="1"/>
                    <a:pt x="30" y="6"/>
                    <a:pt x="28" y="6"/>
                  </a:cubicBezTo>
                  <a:cubicBezTo>
                    <a:pt x="26" y="6"/>
                    <a:pt x="27" y="13"/>
                    <a:pt x="25" y="13"/>
                  </a:cubicBezTo>
                  <a:cubicBezTo>
                    <a:pt x="22" y="13"/>
                    <a:pt x="20" y="17"/>
                    <a:pt x="19" y="19"/>
                  </a:cubicBezTo>
                  <a:cubicBezTo>
                    <a:pt x="19" y="21"/>
                    <a:pt x="13" y="18"/>
                    <a:pt x="10" y="19"/>
                  </a:cubicBezTo>
                  <a:cubicBezTo>
                    <a:pt x="9" y="20"/>
                    <a:pt x="3" y="21"/>
                    <a:pt x="0" y="21"/>
                  </a:cubicBezTo>
                  <a:cubicBezTo>
                    <a:pt x="1" y="24"/>
                    <a:pt x="0" y="27"/>
                    <a:pt x="3" y="27"/>
                  </a:cubicBezTo>
                  <a:cubicBezTo>
                    <a:pt x="7" y="27"/>
                    <a:pt x="14" y="27"/>
                    <a:pt x="14" y="32"/>
                  </a:cubicBezTo>
                  <a:cubicBezTo>
                    <a:pt x="14" y="37"/>
                    <a:pt x="23" y="49"/>
                    <a:pt x="27" y="52"/>
                  </a:cubicBezTo>
                  <a:cubicBezTo>
                    <a:pt x="30" y="56"/>
                    <a:pt x="38" y="55"/>
                    <a:pt x="39" y="59"/>
                  </a:cubicBezTo>
                  <a:cubicBezTo>
                    <a:pt x="39" y="62"/>
                    <a:pt x="45" y="65"/>
                    <a:pt x="51" y="65"/>
                  </a:cubicBezTo>
                  <a:cubicBezTo>
                    <a:pt x="53" y="65"/>
                    <a:pt x="55" y="66"/>
                    <a:pt x="57" y="68"/>
                  </a:cubicBezTo>
                  <a:cubicBezTo>
                    <a:pt x="53" y="61"/>
                    <a:pt x="45" y="56"/>
                    <a:pt x="45" y="5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6" name="Freeform 244"/>
            <p:cNvSpPr/>
            <p:nvPr/>
          </p:nvSpPr>
          <p:spPr>
            <a:xfrm>
              <a:off x="5248276" y="2678113"/>
              <a:ext cx="46038" cy="90488"/>
            </a:xfrm>
            <a:custGeom>
              <a:gdLst>
                <a:gd name="T0" fmla="*/ 18 w 27"/>
                <a:gd name="T1" fmla="*/ 46 h 53"/>
                <a:gd name="T2" fmla="*/ 22 w 27"/>
                <a:gd name="T3" fmla="*/ 40 h 53"/>
                <a:gd name="T4" fmla="*/ 27 w 27"/>
                <a:gd name="T5" fmla="*/ 32 h 53"/>
                <a:gd name="T6" fmla="*/ 27 w 27"/>
                <a:gd name="T7" fmla="*/ 31 h 53"/>
                <a:gd name="T8" fmla="*/ 19 w 27"/>
                <a:gd name="T9" fmla="*/ 22 h 53"/>
                <a:gd name="T10" fmla="*/ 20 w 27"/>
                <a:gd name="T11" fmla="*/ 7 h 53"/>
                <a:gd name="T12" fmla="*/ 8 w 27"/>
                <a:gd name="T13" fmla="*/ 0 h 53"/>
                <a:gd name="T14" fmla="*/ 1 w 27"/>
                <a:gd name="T15" fmla="*/ 10 h 53"/>
                <a:gd name="T16" fmla="*/ 5 w 27"/>
                <a:gd name="T17" fmla="*/ 20 h 53"/>
                <a:gd name="T18" fmla="*/ 4 w 27"/>
                <a:gd name="T19" fmla="*/ 41 h 53"/>
                <a:gd name="T20" fmla="*/ 14 w 27"/>
                <a:gd name="T21" fmla="*/ 53 h 53"/>
                <a:gd name="T22" fmla="*/ 18 w 27"/>
                <a:gd name="T23" fmla="*/ 46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3">
                  <a:moveTo>
                    <a:pt x="18" y="46"/>
                  </a:moveTo>
                  <a:cubicBezTo>
                    <a:pt x="21" y="45"/>
                    <a:pt x="19" y="42"/>
                    <a:pt x="22" y="40"/>
                  </a:cubicBezTo>
                  <a:cubicBezTo>
                    <a:pt x="24" y="38"/>
                    <a:pt x="26" y="33"/>
                    <a:pt x="27" y="32"/>
                  </a:cubicBezTo>
                  <a:cubicBezTo>
                    <a:pt x="27" y="31"/>
                    <a:pt x="27" y="31"/>
                    <a:pt x="27" y="31"/>
                  </a:cubicBezTo>
                  <a:cubicBezTo>
                    <a:pt x="23" y="28"/>
                    <a:pt x="20" y="26"/>
                    <a:pt x="19" y="22"/>
                  </a:cubicBezTo>
                  <a:cubicBezTo>
                    <a:pt x="18" y="19"/>
                    <a:pt x="19" y="12"/>
                    <a:pt x="20" y="7"/>
                  </a:cubicBezTo>
                  <a:cubicBezTo>
                    <a:pt x="18" y="5"/>
                    <a:pt x="10" y="0"/>
                    <a:pt x="8" y="0"/>
                  </a:cubicBezTo>
                  <a:cubicBezTo>
                    <a:pt x="5" y="0"/>
                    <a:pt x="2" y="5"/>
                    <a:pt x="1" y="10"/>
                  </a:cubicBezTo>
                  <a:cubicBezTo>
                    <a:pt x="6" y="13"/>
                    <a:pt x="9" y="16"/>
                    <a:pt x="5" y="20"/>
                  </a:cubicBezTo>
                  <a:cubicBezTo>
                    <a:pt x="1" y="24"/>
                    <a:pt x="0" y="37"/>
                    <a:pt x="4" y="41"/>
                  </a:cubicBezTo>
                  <a:cubicBezTo>
                    <a:pt x="8" y="44"/>
                    <a:pt x="10" y="51"/>
                    <a:pt x="14" y="53"/>
                  </a:cubicBezTo>
                  <a:cubicBezTo>
                    <a:pt x="15" y="50"/>
                    <a:pt x="16" y="46"/>
                    <a:pt x="18" y="4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7" name="Freeform 245"/>
            <p:cNvSpPr/>
            <p:nvPr/>
          </p:nvSpPr>
          <p:spPr>
            <a:xfrm>
              <a:off x="5019676" y="2478088"/>
              <a:ext cx="184150" cy="84138"/>
            </a:xfrm>
            <a:custGeom>
              <a:gdLst>
                <a:gd name="T0" fmla="*/ 92 w 108"/>
                <a:gd name="T1" fmla="*/ 5 h 49"/>
                <a:gd name="T2" fmla="*/ 78 w 108"/>
                <a:gd name="T3" fmla="*/ 0 h 49"/>
                <a:gd name="T4" fmla="*/ 76 w 108"/>
                <a:gd name="T5" fmla="*/ 7 h 49"/>
                <a:gd name="T6" fmla="*/ 63 w 108"/>
                <a:gd name="T7" fmla="*/ 8 h 49"/>
                <a:gd name="T8" fmla="*/ 55 w 108"/>
                <a:gd name="T9" fmla="*/ 13 h 49"/>
                <a:gd name="T10" fmla="*/ 49 w 108"/>
                <a:gd name="T11" fmla="*/ 22 h 49"/>
                <a:gd name="T12" fmla="*/ 44 w 108"/>
                <a:gd name="T13" fmla="*/ 26 h 49"/>
                <a:gd name="T14" fmla="*/ 29 w 108"/>
                <a:gd name="T15" fmla="*/ 29 h 49"/>
                <a:gd name="T16" fmla="*/ 20 w 108"/>
                <a:gd name="T17" fmla="*/ 30 h 49"/>
                <a:gd name="T18" fmla="*/ 12 w 108"/>
                <a:gd name="T19" fmla="*/ 31 h 49"/>
                <a:gd name="T20" fmla="*/ 3 w 108"/>
                <a:gd name="T21" fmla="*/ 29 h 49"/>
                <a:gd name="T22" fmla="*/ 2 w 108"/>
                <a:gd name="T23" fmla="*/ 37 h 49"/>
                <a:gd name="T24" fmla="*/ 9 w 108"/>
                <a:gd name="T25" fmla="*/ 41 h 49"/>
                <a:gd name="T26" fmla="*/ 18 w 108"/>
                <a:gd name="T27" fmla="*/ 43 h 49"/>
                <a:gd name="T28" fmla="*/ 27 w 108"/>
                <a:gd name="T29" fmla="*/ 40 h 49"/>
                <a:gd name="T30" fmla="*/ 39 w 108"/>
                <a:gd name="T31" fmla="*/ 38 h 49"/>
                <a:gd name="T32" fmla="*/ 42 w 108"/>
                <a:gd name="T33" fmla="*/ 44 h 49"/>
                <a:gd name="T34" fmla="*/ 55 w 108"/>
                <a:gd name="T35" fmla="*/ 46 h 49"/>
                <a:gd name="T36" fmla="*/ 71 w 108"/>
                <a:gd name="T37" fmla="*/ 49 h 49"/>
                <a:gd name="T38" fmla="*/ 84 w 108"/>
                <a:gd name="T39" fmla="*/ 44 h 49"/>
                <a:gd name="T40" fmla="*/ 94 w 108"/>
                <a:gd name="T41" fmla="*/ 41 h 49"/>
                <a:gd name="T42" fmla="*/ 94 w 108"/>
                <a:gd name="T43" fmla="*/ 41 h 49"/>
                <a:gd name="T44" fmla="*/ 96 w 108"/>
                <a:gd name="T45" fmla="*/ 38 h 49"/>
                <a:gd name="T46" fmla="*/ 98 w 108"/>
                <a:gd name="T47" fmla="*/ 31 h 49"/>
                <a:gd name="T48" fmla="*/ 100 w 108"/>
                <a:gd name="T49" fmla="*/ 26 h 49"/>
                <a:gd name="T50" fmla="*/ 107 w 108"/>
                <a:gd name="T51" fmla="*/ 22 h 49"/>
                <a:gd name="T52" fmla="*/ 108 w 108"/>
                <a:gd name="T53" fmla="*/ 18 h 49"/>
                <a:gd name="T54" fmla="*/ 103 w 108"/>
                <a:gd name="T55" fmla="*/ 6 h 49"/>
                <a:gd name="T56" fmla="*/ 92 w 108"/>
                <a:gd name="T57" fmla="*/ 5 h 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49">
                  <a:moveTo>
                    <a:pt x="92" y="5"/>
                  </a:moveTo>
                  <a:cubicBezTo>
                    <a:pt x="88" y="0"/>
                    <a:pt x="78" y="0"/>
                    <a:pt x="78" y="0"/>
                  </a:cubicBezTo>
                  <a:cubicBezTo>
                    <a:pt x="78" y="0"/>
                    <a:pt x="77" y="5"/>
                    <a:pt x="76" y="7"/>
                  </a:cubicBezTo>
                  <a:cubicBezTo>
                    <a:pt x="75" y="9"/>
                    <a:pt x="68" y="9"/>
                    <a:pt x="63" y="8"/>
                  </a:cubicBezTo>
                  <a:cubicBezTo>
                    <a:pt x="62" y="9"/>
                    <a:pt x="56" y="11"/>
                    <a:pt x="55" y="13"/>
                  </a:cubicBezTo>
                  <a:cubicBezTo>
                    <a:pt x="54" y="16"/>
                    <a:pt x="47" y="14"/>
                    <a:pt x="49" y="22"/>
                  </a:cubicBezTo>
                  <a:cubicBezTo>
                    <a:pt x="52" y="30"/>
                    <a:pt x="46" y="27"/>
                    <a:pt x="44" y="26"/>
                  </a:cubicBezTo>
                  <a:cubicBezTo>
                    <a:pt x="41" y="25"/>
                    <a:pt x="31" y="27"/>
                    <a:pt x="29" y="29"/>
                  </a:cubicBezTo>
                  <a:cubicBezTo>
                    <a:pt x="26" y="32"/>
                    <a:pt x="23" y="31"/>
                    <a:pt x="20" y="30"/>
                  </a:cubicBezTo>
                  <a:cubicBezTo>
                    <a:pt x="18" y="29"/>
                    <a:pt x="14" y="28"/>
                    <a:pt x="12" y="31"/>
                  </a:cubicBezTo>
                  <a:cubicBezTo>
                    <a:pt x="10" y="34"/>
                    <a:pt x="6" y="29"/>
                    <a:pt x="3" y="29"/>
                  </a:cubicBezTo>
                  <a:cubicBezTo>
                    <a:pt x="0" y="29"/>
                    <a:pt x="2" y="35"/>
                    <a:pt x="2" y="37"/>
                  </a:cubicBezTo>
                  <a:cubicBezTo>
                    <a:pt x="2" y="38"/>
                    <a:pt x="6" y="42"/>
                    <a:pt x="9" y="41"/>
                  </a:cubicBezTo>
                  <a:cubicBezTo>
                    <a:pt x="12" y="39"/>
                    <a:pt x="16" y="41"/>
                    <a:pt x="18" y="43"/>
                  </a:cubicBezTo>
                  <a:cubicBezTo>
                    <a:pt x="21" y="44"/>
                    <a:pt x="26" y="41"/>
                    <a:pt x="27" y="40"/>
                  </a:cubicBezTo>
                  <a:cubicBezTo>
                    <a:pt x="29" y="38"/>
                    <a:pt x="38" y="38"/>
                    <a:pt x="39" y="38"/>
                  </a:cubicBezTo>
                  <a:cubicBezTo>
                    <a:pt x="40" y="38"/>
                    <a:pt x="40" y="43"/>
                    <a:pt x="42" y="44"/>
                  </a:cubicBezTo>
                  <a:cubicBezTo>
                    <a:pt x="43" y="45"/>
                    <a:pt x="49" y="46"/>
                    <a:pt x="55" y="46"/>
                  </a:cubicBezTo>
                  <a:cubicBezTo>
                    <a:pt x="60" y="46"/>
                    <a:pt x="69" y="49"/>
                    <a:pt x="71" y="49"/>
                  </a:cubicBezTo>
                  <a:cubicBezTo>
                    <a:pt x="74" y="49"/>
                    <a:pt x="78" y="44"/>
                    <a:pt x="84" y="44"/>
                  </a:cubicBezTo>
                  <a:cubicBezTo>
                    <a:pt x="89" y="44"/>
                    <a:pt x="93" y="41"/>
                    <a:pt x="94" y="41"/>
                  </a:cubicBezTo>
                  <a:cubicBezTo>
                    <a:pt x="94" y="41"/>
                    <a:pt x="94" y="41"/>
                    <a:pt x="94" y="41"/>
                  </a:cubicBezTo>
                  <a:cubicBezTo>
                    <a:pt x="94" y="40"/>
                    <a:pt x="95" y="38"/>
                    <a:pt x="96" y="38"/>
                  </a:cubicBezTo>
                  <a:cubicBezTo>
                    <a:pt x="98" y="38"/>
                    <a:pt x="97" y="34"/>
                    <a:pt x="98" y="31"/>
                  </a:cubicBezTo>
                  <a:cubicBezTo>
                    <a:pt x="100" y="29"/>
                    <a:pt x="97" y="25"/>
                    <a:pt x="100" y="26"/>
                  </a:cubicBezTo>
                  <a:cubicBezTo>
                    <a:pt x="103" y="26"/>
                    <a:pt x="107" y="26"/>
                    <a:pt x="107" y="22"/>
                  </a:cubicBezTo>
                  <a:cubicBezTo>
                    <a:pt x="107" y="21"/>
                    <a:pt x="107" y="19"/>
                    <a:pt x="108" y="18"/>
                  </a:cubicBezTo>
                  <a:cubicBezTo>
                    <a:pt x="105" y="14"/>
                    <a:pt x="103" y="6"/>
                    <a:pt x="103" y="6"/>
                  </a:cubicBezTo>
                  <a:cubicBezTo>
                    <a:pt x="103" y="6"/>
                    <a:pt x="96" y="9"/>
                    <a:pt x="92"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8" name="Freeform 246"/>
            <p:cNvSpPr/>
            <p:nvPr/>
          </p:nvSpPr>
          <p:spPr>
            <a:xfrm>
              <a:off x="5180013" y="2490788"/>
              <a:ext cx="160338" cy="88900"/>
            </a:xfrm>
            <a:custGeom>
              <a:gdLst>
                <a:gd name="T0" fmla="*/ 91 w 95"/>
                <a:gd name="T1" fmla="*/ 10 h 53"/>
                <a:gd name="T2" fmla="*/ 88 w 95"/>
                <a:gd name="T3" fmla="*/ 8 h 53"/>
                <a:gd name="T4" fmla="*/ 78 w 95"/>
                <a:gd name="T5" fmla="*/ 4 h 53"/>
                <a:gd name="T6" fmla="*/ 65 w 95"/>
                <a:gd name="T7" fmla="*/ 0 h 53"/>
                <a:gd name="T8" fmla="*/ 52 w 95"/>
                <a:gd name="T9" fmla="*/ 9 h 53"/>
                <a:gd name="T10" fmla="*/ 36 w 95"/>
                <a:gd name="T11" fmla="*/ 14 h 53"/>
                <a:gd name="T12" fmla="*/ 16 w 95"/>
                <a:gd name="T13" fmla="*/ 14 h 53"/>
                <a:gd name="T14" fmla="*/ 14 w 95"/>
                <a:gd name="T15" fmla="*/ 11 h 53"/>
                <a:gd name="T16" fmla="*/ 13 w 95"/>
                <a:gd name="T17" fmla="*/ 15 h 53"/>
                <a:gd name="T18" fmla="*/ 6 w 95"/>
                <a:gd name="T19" fmla="*/ 19 h 53"/>
                <a:gd name="T20" fmla="*/ 4 w 95"/>
                <a:gd name="T21" fmla="*/ 24 h 53"/>
                <a:gd name="T22" fmla="*/ 2 w 95"/>
                <a:gd name="T23" fmla="*/ 31 h 53"/>
                <a:gd name="T24" fmla="*/ 0 w 95"/>
                <a:gd name="T25" fmla="*/ 34 h 53"/>
                <a:gd name="T26" fmla="*/ 3 w 95"/>
                <a:gd name="T27" fmla="*/ 40 h 53"/>
                <a:gd name="T28" fmla="*/ 3 w 95"/>
                <a:gd name="T29" fmla="*/ 40 h 53"/>
                <a:gd name="T30" fmla="*/ 15 w 95"/>
                <a:gd name="T31" fmla="*/ 49 h 53"/>
                <a:gd name="T32" fmla="*/ 30 w 95"/>
                <a:gd name="T33" fmla="*/ 52 h 53"/>
                <a:gd name="T34" fmla="*/ 50 w 95"/>
                <a:gd name="T35" fmla="*/ 46 h 53"/>
                <a:gd name="T36" fmla="*/ 56 w 95"/>
                <a:gd name="T37" fmla="*/ 48 h 53"/>
                <a:gd name="T38" fmla="*/ 60 w 95"/>
                <a:gd name="T39" fmla="*/ 49 h 53"/>
                <a:gd name="T40" fmla="*/ 69 w 95"/>
                <a:gd name="T41" fmla="*/ 43 h 53"/>
                <a:gd name="T42" fmla="*/ 82 w 95"/>
                <a:gd name="T43" fmla="*/ 21 h 53"/>
                <a:gd name="T44" fmla="*/ 92 w 95"/>
                <a:gd name="T45" fmla="*/ 15 h 53"/>
                <a:gd name="T46" fmla="*/ 91 w 95"/>
                <a:gd name="T47" fmla="*/ 10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53">
                  <a:moveTo>
                    <a:pt x="91" y="10"/>
                  </a:moveTo>
                  <a:cubicBezTo>
                    <a:pt x="90" y="9"/>
                    <a:pt x="89" y="9"/>
                    <a:pt x="88" y="8"/>
                  </a:cubicBezTo>
                  <a:cubicBezTo>
                    <a:pt x="84" y="7"/>
                    <a:pt x="80" y="6"/>
                    <a:pt x="78" y="4"/>
                  </a:cubicBezTo>
                  <a:cubicBezTo>
                    <a:pt x="76" y="2"/>
                    <a:pt x="66" y="1"/>
                    <a:pt x="65" y="0"/>
                  </a:cubicBezTo>
                  <a:cubicBezTo>
                    <a:pt x="64" y="0"/>
                    <a:pt x="54" y="9"/>
                    <a:pt x="52" y="9"/>
                  </a:cubicBezTo>
                  <a:cubicBezTo>
                    <a:pt x="49" y="9"/>
                    <a:pt x="36" y="10"/>
                    <a:pt x="36" y="14"/>
                  </a:cubicBezTo>
                  <a:cubicBezTo>
                    <a:pt x="36" y="17"/>
                    <a:pt x="21" y="17"/>
                    <a:pt x="16" y="14"/>
                  </a:cubicBezTo>
                  <a:cubicBezTo>
                    <a:pt x="16" y="13"/>
                    <a:pt x="15" y="12"/>
                    <a:pt x="14" y="11"/>
                  </a:cubicBezTo>
                  <a:cubicBezTo>
                    <a:pt x="13" y="12"/>
                    <a:pt x="13" y="14"/>
                    <a:pt x="13" y="15"/>
                  </a:cubicBezTo>
                  <a:cubicBezTo>
                    <a:pt x="13" y="19"/>
                    <a:pt x="9" y="19"/>
                    <a:pt x="6" y="19"/>
                  </a:cubicBezTo>
                  <a:cubicBezTo>
                    <a:pt x="3" y="18"/>
                    <a:pt x="6" y="22"/>
                    <a:pt x="4" y="24"/>
                  </a:cubicBezTo>
                  <a:cubicBezTo>
                    <a:pt x="3" y="27"/>
                    <a:pt x="4" y="31"/>
                    <a:pt x="2" y="31"/>
                  </a:cubicBezTo>
                  <a:cubicBezTo>
                    <a:pt x="1" y="31"/>
                    <a:pt x="0" y="33"/>
                    <a:pt x="0" y="34"/>
                  </a:cubicBezTo>
                  <a:cubicBezTo>
                    <a:pt x="1" y="35"/>
                    <a:pt x="3" y="40"/>
                    <a:pt x="3" y="40"/>
                  </a:cubicBezTo>
                  <a:cubicBezTo>
                    <a:pt x="3" y="40"/>
                    <a:pt x="3" y="40"/>
                    <a:pt x="3" y="40"/>
                  </a:cubicBezTo>
                  <a:cubicBezTo>
                    <a:pt x="6" y="42"/>
                    <a:pt x="13" y="46"/>
                    <a:pt x="15" y="49"/>
                  </a:cubicBezTo>
                  <a:cubicBezTo>
                    <a:pt x="18" y="53"/>
                    <a:pt x="26" y="53"/>
                    <a:pt x="30" y="52"/>
                  </a:cubicBezTo>
                  <a:cubicBezTo>
                    <a:pt x="34" y="51"/>
                    <a:pt x="50" y="46"/>
                    <a:pt x="50" y="46"/>
                  </a:cubicBezTo>
                  <a:cubicBezTo>
                    <a:pt x="50" y="46"/>
                    <a:pt x="54" y="48"/>
                    <a:pt x="56" y="48"/>
                  </a:cubicBezTo>
                  <a:cubicBezTo>
                    <a:pt x="57" y="48"/>
                    <a:pt x="58" y="48"/>
                    <a:pt x="60" y="49"/>
                  </a:cubicBezTo>
                  <a:cubicBezTo>
                    <a:pt x="62" y="48"/>
                    <a:pt x="65" y="47"/>
                    <a:pt x="69" y="43"/>
                  </a:cubicBezTo>
                  <a:cubicBezTo>
                    <a:pt x="74" y="38"/>
                    <a:pt x="80" y="22"/>
                    <a:pt x="82" y="21"/>
                  </a:cubicBezTo>
                  <a:cubicBezTo>
                    <a:pt x="84" y="19"/>
                    <a:pt x="89" y="17"/>
                    <a:pt x="92" y="15"/>
                  </a:cubicBezTo>
                  <a:cubicBezTo>
                    <a:pt x="95" y="13"/>
                    <a:pt x="94" y="11"/>
                    <a:pt x="91" y="1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19" name="Freeform 247"/>
            <p:cNvSpPr/>
            <p:nvPr/>
          </p:nvSpPr>
          <p:spPr>
            <a:xfrm>
              <a:off x="5084763" y="2414588"/>
              <a:ext cx="155575" cy="79375"/>
            </a:xfrm>
            <a:custGeom>
              <a:gdLst>
                <a:gd name="T0" fmla="*/ 87 w 92"/>
                <a:gd name="T1" fmla="*/ 22 h 47"/>
                <a:gd name="T2" fmla="*/ 78 w 92"/>
                <a:gd name="T3" fmla="*/ 19 h 47"/>
                <a:gd name="T4" fmla="*/ 74 w 92"/>
                <a:gd name="T5" fmla="*/ 14 h 47"/>
                <a:gd name="T6" fmla="*/ 66 w 92"/>
                <a:gd name="T7" fmla="*/ 15 h 47"/>
                <a:gd name="T8" fmla="*/ 58 w 92"/>
                <a:gd name="T9" fmla="*/ 12 h 47"/>
                <a:gd name="T10" fmla="*/ 48 w 92"/>
                <a:gd name="T11" fmla="*/ 5 h 47"/>
                <a:gd name="T12" fmla="*/ 40 w 92"/>
                <a:gd name="T13" fmla="*/ 0 h 47"/>
                <a:gd name="T14" fmla="*/ 39 w 92"/>
                <a:gd name="T15" fmla="*/ 2 h 47"/>
                <a:gd name="T16" fmla="*/ 31 w 92"/>
                <a:gd name="T17" fmla="*/ 2 h 47"/>
                <a:gd name="T18" fmla="*/ 20 w 92"/>
                <a:gd name="T19" fmla="*/ 8 h 47"/>
                <a:gd name="T20" fmla="*/ 4 w 92"/>
                <a:gd name="T21" fmla="*/ 13 h 47"/>
                <a:gd name="T22" fmla="*/ 5 w 92"/>
                <a:gd name="T23" fmla="*/ 21 h 47"/>
                <a:gd name="T24" fmla="*/ 10 w 92"/>
                <a:gd name="T25" fmla="*/ 33 h 47"/>
                <a:gd name="T26" fmla="*/ 25 w 92"/>
                <a:gd name="T27" fmla="*/ 45 h 47"/>
                <a:gd name="T28" fmla="*/ 25 w 92"/>
                <a:gd name="T29" fmla="*/ 46 h 47"/>
                <a:gd name="T30" fmla="*/ 38 w 92"/>
                <a:gd name="T31" fmla="*/ 45 h 47"/>
                <a:gd name="T32" fmla="*/ 40 w 92"/>
                <a:gd name="T33" fmla="*/ 38 h 47"/>
                <a:gd name="T34" fmla="*/ 54 w 92"/>
                <a:gd name="T35" fmla="*/ 43 h 47"/>
                <a:gd name="T36" fmla="*/ 65 w 92"/>
                <a:gd name="T37" fmla="*/ 44 h 47"/>
                <a:gd name="T38" fmla="*/ 66 w 92"/>
                <a:gd name="T39" fmla="*/ 47 h 47"/>
                <a:gd name="T40" fmla="*/ 70 w 92"/>
                <a:gd name="T41" fmla="*/ 42 h 47"/>
                <a:gd name="T42" fmla="*/ 84 w 92"/>
                <a:gd name="T43" fmla="*/ 35 h 47"/>
                <a:gd name="T44" fmla="*/ 92 w 92"/>
                <a:gd name="T45" fmla="*/ 28 h 47"/>
                <a:gd name="T46" fmla="*/ 87 w 92"/>
                <a:gd name="T47" fmla="*/ 22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47">
                  <a:moveTo>
                    <a:pt x="87" y="22"/>
                  </a:moveTo>
                  <a:cubicBezTo>
                    <a:pt x="85" y="20"/>
                    <a:pt x="78" y="21"/>
                    <a:pt x="78" y="19"/>
                  </a:cubicBezTo>
                  <a:cubicBezTo>
                    <a:pt x="77" y="17"/>
                    <a:pt x="77" y="14"/>
                    <a:pt x="74" y="14"/>
                  </a:cubicBezTo>
                  <a:cubicBezTo>
                    <a:pt x="71" y="14"/>
                    <a:pt x="67" y="12"/>
                    <a:pt x="66" y="15"/>
                  </a:cubicBezTo>
                  <a:cubicBezTo>
                    <a:pt x="64" y="19"/>
                    <a:pt x="59" y="14"/>
                    <a:pt x="58" y="12"/>
                  </a:cubicBezTo>
                  <a:cubicBezTo>
                    <a:pt x="58" y="9"/>
                    <a:pt x="55" y="8"/>
                    <a:pt x="48" y="5"/>
                  </a:cubicBezTo>
                  <a:cubicBezTo>
                    <a:pt x="46" y="4"/>
                    <a:pt x="43" y="2"/>
                    <a:pt x="40" y="0"/>
                  </a:cubicBezTo>
                  <a:cubicBezTo>
                    <a:pt x="40" y="1"/>
                    <a:pt x="40" y="1"/>
                    <a:pt x="39" y="2"/>
                  </a:cubicBezTo>
                  <a:cubicBezTo>
                    <a:pt x="38" y="4"/>
                    <a:pt x="33" y="0"/>
                    <a:pt x="31" y="2"/>
                  </a:cubicBezTo>
                  <a:cubicBezTo>
                    <a:pt x="30" y="4"/>
                    <a:pt x="23" y="4"/>
                    <a:pt x="20" y="8"/>
                  </a:cubicBezTo>
                  <a:cubicBezTo>
                    <a:pt x="16" y="11"/>
                    <a:pt x="9" y="12"/>
                    <a:pt x="4" y="13"/>
                  </a:cubicBezTo>
                  <a:cubicBezTo>
                    <a:pt x="0" y="14"/>
                    <a:pt x="4" y="18"/>
                    <a:pt x="5" y="21"/>
                  </a:cubicBezTo>
                  <a:cubicBezTo>
                    <a:pt x="7" y="24"/>
                    <a:pt x="7" y="31"/>
                    <a:pt x="10" y="33"/>
                  </a:cubicBezTo>
                  <a:cubicBezTo>
                    <a:pt x="13" y="36"/>
                    <a:pt x="24" y="42"/>
                    <a:pt x="25" y="45"/>
                  </a:cubicBezTo>
                  <a:cubicBezTo>
                    <a:pt x="26" y="45"/>
                    <a:pt x="25" y="45"/>
                    <a:pt x="25" y="46"/>
                  </a:cubicBezTo>
                  <a:cubicBezTo>
                    <a:pt x="30" y="47"/>
                    <a:pt x="37" y="47"/>
                    <a:pt x="38" y="45"/>
                  </a:cubicBezTo>
                  <a:cubicBezTo>
                    <a:pt x="39" y="43"/>
                    <a:pt x="40" y="38"/>
                    <a:pt x="40" y="38"/>
                  </a:cubicBezTo>
                  <a:cubicBezTo>
                    <a:pt x="40" y="38"/>
                    <a:pt x="50" y="38"/>
                    <a:pt x="54" y="43"/>
                  </a:cubicBezTo>
                  <a:cubicBezTo>
                    <a:pt x="58" y="47"/>
                    <a:pt x="65" y="44"/>
                    <a:pt x="65" y="44"/>
                  </a:cubicBezTo>
                  <a:cubicBezTo>
                    <a:pt x="65" y="44"/>
                    <a:pt x="65" y="45"/>
                    <a:pt x="66" y="47"/>
                  </a:cubicBezTo>
                  <a:cubicBezTo>
                    <a:pt x="67" y="45"/>
                    <a:pt x="68" y="43"/>
                    <a:pt x="70" y="42"/>
                  </a:cubicBezTo>
                  <a:cubicBezTo>
                    <a:pt x="74" y="42"/>
                    <a:pt x="80" y="41"/>
                    <a:pt x="84" y="35"/>
                  </a:cubicBezTo>
                  <a:cubicBezTo>
                    <a:pt x="86" y="32"/>
                    <a:pt x="89" y="30"/>
                    <a:pt x="92" y="28"/>
                  </a:cubicBezTo>
                  <a:cubicBezTo>
                    <a:pt x="90" y="26"/>
                    <a:pt x="89" y="23"/>
                    <a:pt x="87"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0" name="Freeform 248"/>
            <p:cNvSpPr/>
            <p:nvPr/>
          </p:nvSpPr>
          <p:spPr>
            <a:xfrm>
              <a:off x="5195888" y="2462213"/>
              <a:ext cx="138113" cy="57150"/>
            </a:xfrm>
            <a:custGeom>
              <a:gdLst>
                <a:gd name="T0" fmla="*/ 60 w 81"/>
                <a:gd name="T1" fmla="*/ 4 h 34"/>
                <a:gd name="T2" fmla="*/ 49 w 81"/>
                <a:gd name="T3" fmla="*/ 3 h 34"/>
                <a:gd name="T4" fmla="*/ 37 w 81"/>
                <a:gd name="T5" fmla="*/ 1 h 34"/>
                <a:gd name="T6" fmla="*/ 28 w 81"/>
                <a:gd name="T7" fmla="*/ 2 h 34"/>
                <a:gd name="T8" fmla="*/ 26 w 81"/>
                <a:gd name="T9" fmla="*/ 0 h 34"/>
                <a:gd name="T10" fmla="*/ 18 w 81"/>
                <a:gd name="T11" fmla="*/ 7 h 34"/>
                <a:gd name="T12" fmla="*/ 4 w 81"/>
                <a:gd name="T13" fmla="*/ 14 h 34"/>
                <a:gd name="T14" fmla="*/ 0 w 81"/>
                <a:gd name="T15" fmla="*/ 19 h 34"/>
                <a:gd name="T16" fmla="*/ 6 w 81"/>
                <a:gd name="T17" fmla="*/ 31 h 34"/>
                <a:gd name="T18" fmla="*/ 26 w 81"/>
                <a:gd name="T19" fmla="*/ 31 h 34"/>
                <a:gd name="T20" fmla="*/ 42 w 81"/>
                <a:gd name="T21" fmla="*/ 26 h 34"/>
                <a:gd name="T22" fmla="*/ 55 w 81"/>
                <a:gd name="T23" fmla="*/ 17 h 34"/>
                <a:gd name="T24" fmla="*/ 68 w 81"/>
                <a:gd name="T25" fmla="*/ 21 h 34"/>
                <a:gd name="T26" fmla="*/ 78 w 81"/>
                <a:gd name="T27" fmla="*/ 25 h 34"/>
                <a:gd name="T28" fmla="*/ 75 w 81"/>
                <a:gd name="T29" fmla="*/ 20 h 34"/>
                <a:gd name="T30" fmla="*/ 81 w 81"/>
                <a:gd name="T31" fmla="*/ 9 h 34"/>
                <a:gd name="T32" fmla="*/ 81 w 81"/>
                <a:gd name="T33" fmla="*/ 9 h 34"/>
                <a:gd name="T34" fmla="*/ 73 w 81"/>
                <a:gd name="T35" fmla="*/ 6 h 34"/>
                <a:gd name="T36" fmla="*/ 60 w 81"/>
                <a:gd name="T37" fmla="*/ 4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34">
                  <a:moveTo>
                    <a:pt x="60" y="4"/>
                  </a:moveTo>
                  <a:cubicBezTo>
                    <a:pt x="55" y="4"/>
                    <a:pt x="53" y="1"/>
                    <a:pt x="49" y="3"/>
                  </a:cubicBezTo>
                  <a:cubicBezTo>
                    <a:pt x="45" y="4"/>
                    <a:pt x="39" y="3"/>
                    <a:pt x="37" y="1"/>
                  </a:cubicBezTo>
                  <a:cubicBezTo>
                    <a:pt x="34" y="0"/>
                    <a:pt x="31" y="4"/>
                    <a:pt x="28" y="2"/>
                  </a:cubicBezTo>
                  <a:cubicBezTo>
                    <a:pt x="27" y="2"/>
                    <a:pt x="27" y="1"/>
                    <a:pt x="26" y="0"/>
                  </a:cubicBezTo>
                  <a:cubicBezTo>
                    <a:pt x="23" y="2"/>
                    <a:pt x="20" y="4"/>
                    <a:pt x="18" y="7"/>
                  </a:cubicBezTo>
                  <a:cubicBezTo>
                    <a:pt x="14" y="13"/>
                    <a:pt x="8" y="14"/>
                    <a:pt x="4" y="14"/>
                  </a:cubicBezTo>
                  <a:cubicBezTo>
                    <a:pt x="2" y="15"/>
                    <a:pt x="1" y="17"/>
                    <a:pt x="0" y="19"/>
                  </a:cubicBezTo>
                  <a:cubicBezTo>
                    <a:pt x="1" y="22"/>
                    <a:pt x="4" y="28"/>
                    <a:pt x="6" y="31"/>
                  </a:cubicBezTo>
                  <a:cubicBezTo>
                    <a:pt x="11" y="34"/>
                    <a:pt x="26" y="34"/>
                    <a:pt x="26" y="31"/>
                  </a:cubicBezTo>
                  <a:cubicBezTo>
                    <a:pt x="26" y="27"/>
                    <a:pt x="39" y="26"/>
                    <a:pt x="42" y="26"/>
                  </a:cubicBezTo>
                  <a:cubicBezTo>
                    <a:pt x="44" y="26"/>
                    <a:pt x="54" y="17"/>
                    <a:pt x="55" y="17"/>
                  </a:cubicBezTo>
                  <a:cubicBezTo>
                    <a:pt x="56" y="18"/>
                    <a:pt x="66" y="19"/>
                    <a:pt x="68" y="21"/>
                  </a:cubicBezTo>
                  <a:cubicBezTo>
                    <a:pt x="70" y="23"/>
                    <a:pt x="74" y="24"/>
                    <a:pt x="78" y="25"/>
                  </a:cubicBezTo>
                  <a:cubicBezTo>
                    <a:pt x="76" y="23"/>
                    <a:pt x="75" y="21"/>
                    <a:pt x="75" y="20"/>
                  </a:cubicBezTo>
                  <a:cubicBezTo>
                    <a:pt x="75" y="17"/>
                    <a:pt x="79" y="10"/>
                    <a:pt x="81" y="9"/>
                  </a:cubicBezTo>
                  <a:cubicBezTo>
                    <a:pt x="81" y="9"/>
                    <a:pt x="81" y="9"/>
                    <a:pt x="81" y="9"/>
                  </a:cubicBezTo>
                  <a:cubicBezTo>
                    <a:pt x="78" y="8"/>
                    <a:pt x="73" y="7"/>
                    <a:pt x="73" y="6"/>
                  </a:cubicBezTo>
                  <a:cubicBezTo>
                    <a:pt x="71" y="5"/>
                    <a:pt x="65" y="3"/>
                    <a:pt x="60"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1" name="Freeform 249"/>
            <p:cNvSpPr/>
            <p:nvPr/>
          </p:nvSpPr>
          <p:spPr>
            <a:xfrm>
              <a:off x="4540251" y="2692400"/>
              <a:ext cx="93663" cy="153988"/>
            </a:xfrm>
            <a:custGeom>
              <a:gdLst>
                <a:gd name="T0" fmla="*/ 40 w 55"/>
                <a:gd name="T1" fmla="*/ 74 h 91"/>
                <a:gd name="T2" fmla="*/ 37 w 55"/>
                <a:gd name="T3" fmla="*/ 67 h 91"/>
                <a:gd name="T4" fmla="*/ 41 w 55"/>
                <a:gd name="T5" fmla="*/ 59 h 91"/>
                <a:gd name="T6" fmla="*/ 36 w 55"/>
                <a:gd name="T7" fmla="*/ 51 h 91"/>
                <a:gd name="T8" fmla="*/ 40 w 55"/>
                <a:gd name="T9" fmla="*/ 45 h 91"/>
                <a:gd name="T10" fmla="*/ 43 w 55"/>
                <a:gd name="T11" fmla="*/ 35 h 91"/>
                <a:gd name="T12" fmla="*/ 42 w 55"/>
                <a:gd name="T13" fmla="*/ 22 h 91"/>
                <a:gd name="T14" fmla="*/ 51 w 55"/>
                <a:gd name="T15" fmla="*/ 13 h 91"/>
                <a:gd name="T16" fmla="*/ 47 w 55"/>
                <a:gd name="T17" fmla="*/ 7 h 91"/>
                <a:gd name="T18" fmla="*/ 38 w 55"/>
                <a:gd name="T19" fmla="*/ 6 h 91"/>
                <a:gd name="T20" fmla="*/ 33 w 55"/>
                <a:gd name="T21" fmla="*/ 6 h 91"/>
                <a:gd name="T22" fmla="*/ 24 w 55"/>
                <a:gd name="T23" fmla="*/ 4 h 91"/>
                <a:gd name="T24" fmla="*/ 19 w 55"/>
                <a:gd name="T25" fmla="*/ 3 h 91"/>
                <a:gd name="T26" fmla="*/ 15 w 55"/>
                <a:gd name="T27" fmla="*/ 5 h 91"/>
                <a:gd name="T28" fmla="*/ 15 w 55"/>
                <a:gd name="T29" fmla="*/ 15 h 91"/>
                <a:gd name="T30" fmla="*/ 6 w 55"/>
                <a:gd name="T31" fmla="*/ 50 h 91"/>
                <a:gd name="T32" fmla="*/ 12 w 55"/>
                <a:gd name="T33" fmla="*/ 62 h 91"/>
                <a:gd name="T34" fmla="*/ 14 w 55"/>
                <a:gd name="T35" fmla="*/ 87 h 91"/>
                <a:gd name="T36" fmla="*/ 25 w 55"/>
                <a:gd name="T37" fmla="*/ 90 h 91"/>
                <a:gd name="T38" fmla="*/ 36 w 55"/>
                <a:gd name="T39" fmla="*/ 88 h 91"/>
                <a:gd name="T40" fmla="*/ 34 w 55"/>
                <a:gd name="T41" fmla="*/ 83 h 91"/>
                <a:gd name="T42" fmla="*/ 40 w 55"/>
                <a:gd name="T43" fmla="*/ 74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91">
                  <a:moveTo>
                    <a:pt x="40" y="74"/>
                  </a:moveTo>
                  <a:cubicBezTo>
                    <a:pt x="46" y="73"/>
                    <a:pt x="38" y="68"/>
                    <a:pt x="37" y="67"/>
                  </a:cubicBezTo>
                  <a:cubicBezTo>
                    <a:pt x="35" y="65"/>
                    <a:pt x="37" y="59"/>
                    <a:pt x="41" y="59"/>
                  </a:cubicBezTo>
                  <a:cubicBezTo>
                    <a:pt x="44" y="59"/>
                    <a:pt x="41" y="55"/>
                    <a:pt x="36" y="51"/>
                  </a:cubicBezTo>
                  <a:cubicBezTo>
                    <a:pt x="32" y="47"/>
                    <a:pt x="36" y="45"/>
                    <a:pt x="40" y="45"/>
                  </a:cubicBezTo>
                  <a:cubicBezTo>
                    <a:pt x="44" y="45"/>
                    <a:pt x="39" y="39"/>
                    <a:pt x="43" y="35"/>
                  </a:cubicBezTo>
                  <a:cubicBezTo>
                    <a:pt x="46" y="31"/>
                    <a:pt x="42" y="25"/>
                    <a:pt x="42" y="22"/>
                  </a:cubicBezTo>
                  <a:cubicBezTo>
                    <a:pt x="42" y="18"/>
                    <a:pt x="47" y="17"/>
                    <a:pt x="51" y="13"/>
                  </a:cubicBezTo>
                  <a:cubicBezTo>
                    <a:pt x="55" y="9"/>
                    <a:pt x="47" y="11"/>
                    <a:pt x="47" y="7"/>
                  </a:cubicBezTo>
                  <a:cubicBezTo>
                    <a:pt x="47" y="4"/>
                    <a:pt x="42" y="3"/>
                    <a:pt x="38" y="6"/>
                  </a:cubicBezTo>
                  <a:cubicBezTo>
                    <a:pt x="35" y="8"/>
                    <a:pt x="36" y="6"/>
                    <a:pt x="33" y="6"/>
                  </a:cubicBezTo>
                  <a:cubicBezTo>
                    <a:pt x="30" y="6"/>
                    <a:pt x="24" y="7"/>
                    <a:pt x="24" y="4"/>
                  </a:cubicBezTo>
                  <a:cubicBezTo>
                    <a:pt x="24" y="1"/>
                    <a:pt x="21" y="0"/>
                    <a:pt x="19" y="3"/>
                  </a:cubicBezTo>
                  <a:cubicBezTo>
                    <a:pt x="18" y="4"/>
                    <a:pt x="16" y="5"/>
                    <a:pt x="15" y="5"/>
                  </a:cubicBezTo>
                  <a:cubicBezTo>
                    <a:pt x="14" y="9"/>
                    <a:pt x="14" y="13"/>
                    <a:pt x="15" y="15"/>
                  </a:cubicBezTo>
                  <a:cubicBezTo>
                    <a:pt x="18" y="19"/>
                    <a:pt x="12" y="43"/>
                    <a:pt x="6" y="50"/>
                  </a:cubicBezTo>
                  <a:cubicBezTo>
                    <a:pt x="0" y="56"/>
                    <a:pt x="6" y="58"/>
                    <a:pt x="12" y="62"/>
                  </a:cubicBezTo>
                  <a:cubicBezTo>
                    <a:pt x="17" y="67"/>
                    <a:pt x="14" y="83"/>
                    <a:pt x="14" y="87"/>
                  </a:cubicBezTo>
                  <a:cubicBezTo>
                    <a:pt x="14" y="91"/>
                    <a:pt x="19" y="90"/>
                    <a:pt x="25" y="90"/>
                  </a:cubicBezTo>
                  <a:cubicBezTo>
                    <a:pt x="28" y="90"/>
                    <a:pt x="32" y="88"/>
                    <a:pt x="36" y="88"/>
                  </a:cubicBezTo>
                  <a:cubicBezTo>
                    <a:pt x="35" y="86"/>
                    <a:pt x="34" y="84"/>
                    <a:pt x="34" y="83"/>
                  </a:cubicBezTo>
                  <a:cubicBezTo>
                    <a:pt x="34" y="80"/>
                    <a:pt x="34" y="75"/>
                    <a:pt x="40" y="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2" name="Freeform 250"/>
            <p:cNvSpPr/>
            <p:nvPr/>
          </p:nvSpPr>
          <p:spPr>
            <a:xfrm>
              <a:off x="4862513" y="2333625"/>
              <a:ext cx="101600" cy="87313"/>
            </a:xfrm>
            <a:custGeom>
              <a:gdLst>
                <a:gd name="T0" fmla="*/ 19 w 60"/>
                <a:gd name="T1" fmla="*/ 40 h 51"/>
                <a:gd name="T2" fmla="*/ 29 w 60"/>
                <a:gd name="T3" fmla="*/ 41 h 51"/>
                <a:gd name="T4" fmla="*/ 39 w 60"/>
                <a:gd name="T5" fmla="*/ 49 h 51"/>
                <a:gd name="T6" fmla="*/ 43 w 60"/>
                <a:gd name="T7" fmla="*/ 51 h 51"/>
                <a:gd name="T8" fmla="*/ 44 w 60"/>
                <a:gd name="T9" fmla="*/ 40 h 51"/>
                <a:gd name="T10" fmla="*/ 45 w 60"/>
                <a:gd name="T11" fmla="*/ 33 h 51"/>
                <a:gd name="T12" fmla="*/ 53 w 60"/>
                <a:gd name="T13" fmla="*/ 29 h 51"/>
                <a:gd name="T14" fmla="*/ 56 w 60"/>
                <a:gd name="T15" fmla="*/ 25 h 51"/>
                <a:gd name="T16" fmla="*/ 52 w 60"/>
                <a:gd name="T17" fmla="*/ 17 h 51"/>
                <a:gd name="T18" fmla="*/ 59 w 60"/>
                <a:gd name="T19" fmla="*/ 10 h 51"/>
                <a:gd name="T20" fmla="*/ 58 w 60"/>
                <a:gd name="T21" fmla="*/ 0 h 51"/>
                <a:gd name="T22" fmla="*/ 55 w 60"/>
                <a:gd name="T23" fmla="*/ 2 h 51"/>
                <a:gd name="T24" fmla="*/ 40 w 60"/>
                <a:gd name="T25" fmla="*/ 2 h 51"/>
                <a:gd name="T26" fmla="*/ 34 w 60"/>
                <a:gd name="T27" fmla="*/ 12 h 51"/>
                <a:gd name="T28" fmla="*/ 27 w 60"/>
                <a:gd name="T29" fmla="*/ 13 h 51"/>
                <a:gd name="T30" fmla="*/ 21 w 60"/>
                <a:gd name="T31" fmla="*/ 16 h 51"/>
                <a:gd name="T32" fmla="*/ 14 w 60"/>
                <a:gd name="T33" fmla="*/ 28 h 51"/>
                <a:gd name="T34" fmla="*/ 2 w 60"/>
                <a:gd name="T35" fmla="*/ 41 h 51"/>
                <a:gd name="T36" fmla="*/ 0 w 60"/>
                <a:gd name="T37" fmla="*/ 43 h 51"/>
                <a:gd name="T38" fmla="*/ 5 w 60"/>
                <a:gd name="T39" fmla="*/ 45 h 51"/>
                <a:gd name="T40" fmla="*/ 19 w 60"/>
                <a:gd name="T41" fmla="*/ 40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19" y="40"/>
                  </a:moveTo>
                  <a:cubicBezTo>
                    <a:pt x="22" y="37"/>
                    <a:pt x="26" y="39"/>
                    <a:pt x="29" y="41"/>
                  </a:cubicBezTo>
                  <a:cubicBezTo>
                    <a:pt x="31" y="44"/>
                    <a:pt x="35" y="45"/>
                    <a:pt x="39" y="49"/>
                  </a:cubicBezTo>
                  <a:cubicBezTo>
                    <a:pt x="40" y="50"/>
                    <a:pt x="41" y="50"/>
                    <a:pt x="43" y="51"/>
                  </a:cubicBezTo>
                  <a:cubicBezTo>
                    <a:pt x="43" y="49"/>
                    <a:pt x="43" y="43"/>
                    <a:pt x="44" y="40"/>
                  </a:cubicBezTo>
                  <a:cubicBezTo>
                    <a:pt x="45" y="37"/>
                    <a:pt x="43" y="33"/>
                    <a:pt x="45" y="33"/>
                  </a:cubicBezTo>
                  <a:cubicBezTo>
                    <a:pt x="47" y="33"/>
                    <a:pt x="53" y="33"/>
                    <a:pt x="53" y="29"/>
                  </a:cubicBezTo>
                  <a:cubicBezTo>
                    <a:pt x="53" y="26"/>
                    <a:pt x="55" y="27"/>
                    <a:pt x="56" y="25"/>
                  </a:cubicBezTo>
                  <a:cubicBezTo>
                    <a:pt x="58" y="22"/>
                    <a:pt x="52" y="18"/>
                    <a:pt x="52" y="17"/>
                  </a:cubicBezTo>
                  <a:cubicBezTo>
                    <a:pt x="51" y="16"/>
                    <a:pt x="55" y="15"/>
                    <a:pt x="59" y="10"/>
                  </a:cubicBezTo>
                  <a:cubicBezTo>
                    <a:pt x="60" y="8"/>
                    <a:pt x="60" y="4"/>
                    <a:pt x="58" y="0"/>
                  </a:cubicBezTo>
                  <a:cubicBezTo>
                    <a:pt x="58" y="2"/>
                    <a:pt x="57" y="3"/>
                    <a:pt x="55" y="2"/>
                  </a:cubicBezTo>
                  <a:cubicBezTo>
                    <a:pt x="52" y="0"/>
                    <a:pt x="47" y="1"/>
                    <a:pt x="40" y="2"/>
                  </a:cubicBezTo>
                  <a:cubicBezTo>
                    <a:pt x="34" y="3"/>
                    <a:pt x="32" y="10"/>
                    <a:pt x="34" y="12"/>
                  </a:cubicBezTo>
                  <a:cubicBezTo>
                    <a:pt x="36" y="15"/>
                    <a:pt x="28" y="16"/>
                    <a:pt x="27" y="13"/>
                  </a:cubicBezTo>
                  <a:cubicBezTo>
                    <a:pt x="27" y="9"/>
                    <a:pt x="20" y="12"/>
                    <a:pt x="21" y="16"/>
                  </a:cubicBezTo>
                  <a:cubicBezTo>
                    <a:pt x="21" y="21"/>
                    <a:pt x="13" y="22"/>
                    <a:pt x="14" y="28"/>
                  </a:cubicBezTo>
                  <a:cubicBezTo>
                    <a:pt x="14" y="33"/>
                    <a:pt x="7" y="39"/>
                    <a:pt x="2" y="41"/>
                  </a:cubicBezTo>
                  <a:cubicBezTo>
                    <a:pt x="2" y="42"/>
                    <a:pt x="1" y="42"/>
                    <a:pt x="0" y="43"/>
                  </a:cubicBezTo>
                  <a:cubicBezTo>
                    <a:pt x="2" y="44"/>
                    <a:pt x="4" y="45"/>
                    <a:pt x="5" y="45"/>
                  </a:cubicBezTo>
                  <a:cubicBezTo>
                    <a:pt x="9" y="45"/>
                    <a:pt x="16" y="43"/>
                    <a:pt x="19"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3" name="Freeform 251"/>
            <p:cNvSpPr/>
            <p:nvPr/>
          </p:nvSpPr>
          <p:spPr>
            <a:xfrm>
              <a:off x="4926013" y="2444750"/>
              <a:ext cx="17463" cy="22225"/>
            </a:xfrm>
            <a:custGeom>
              <a:gdLst>
                <a:gd name="T0" fmla="*/ 5 w 10"/>
                <a:gd name="T1" fmla="*/ 0 h 13"/>
                <a:gd name="T2" fmla="*/ 0 w 10"/>
                <a:gd name="T3" fmla="*/ 12 h 13"/>
                <a:gd name="T4" fmla="*/ 10 w 10"/>
                <a:gd name="T5" fmla="*/ 13 h 13"/>
                <a:gd name="T6" fmla="*/ 5 w 10"/>
                <a:gd name="T7" fmla="*/ 1 h 13"/>
                <a:gd name="T8" fmla="*/ 5 w 10"/>
                <a:gd name="T9" fmla="*/ 0 h 13"/>
              </a:gdLst>
              <a:cxnLst>
                <a:cxn ang="0">
                  <a:pos x="T0" y="T1"/>
                </a:cxn>
                <a:cxn ang="0">
                  <a:pos x="T2" y="T3"/>
                </a:cxn>
                <a:cxn ang="0">
                  <a:pos x="T4" y="T5"/>
                </a:cxn>
                <a:cxn ang="0">
                  <a:pos x="T6" y="T7"/>
                </a:cxn>
                <a:cxn ang="0">
                  <a:pos x="T8" y="T9"/>
                </a:cxn>
              </a:cxnLst>
              <a:rect l="0" t="0" r="r" b="b"/>
              <a:pathLst>
                <a:path w="10" h="13">
                  <a:moveTo>
                    <a:pt x="5" y="0"/>
                  </a:moveTo>
                  <a:cubicBezTo>
                    <a:pt x="3" y="2"/>
                    <a:pt x="0" y="5"/>
                    <a:pt x="0" y="12"/>
                  </a:cubicBezTo>
                  <a:cubicBezTo>
                    <a:pt x="3" y="12"/>
                    <a:pt x="7" y="13"/>
                    <a:pt x="10" y="13"/>
                  </a:cubicBezTo>
                  <a:cubicBezTo>
                    <a:pt x="9" y="5"/>
                    <a:pt x="6" y="3"/>
                    <a:pt x="5" y="1"/>
                  </a:cubicBezTo>
                  <a:cubicBezTo>
                    <a:pt x="5" y="0"/>
                    <a:pt x="5" y="0"/>
                    <a:pt x="5"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4" name="Freeform 252"/>
            <p:cNvSpPr/>
            <p:nvPr/>
          </p:nvSpPr>
          <p:spPr>
            <a:xfrm>
              <a:off x="4845051" y="2397125"/>
              <a:ext cx="96838" cy="69850"/>
            </a:xfrm>
            <a:custGeom>
              <a:gdLst>
                <a:gd name="T0" fmla="*/ 2 w 57"/>
                <a:gd name="T1" fmla="*/ 12 h 41"/>
                <a:gd name="T2" fmla="*/ 7 w 57"/>
                <a:gd name="T3" fmla="*/ 17 h 41"/>
                <a:gd name="T4" fmla="*/ 15 w 57"/>
                <a:gd name="T5" fmla="*/ 22 h 41"/>
                <a:gd name="T6" fmla="*/ 24 w 57"/>
                <a:gd name="T7" fmla="*/ 27 h 41"/>
                <a:gd name="T8" fmla="*/ 28 w 57"/>
                <a:gd name="T9" fmla="*/ 32 h 41"/>
                <a:gd name="T10" fmla="*/ 34 w 57"/>
                <a:gd name="T11" fmla="*/ 29 h 41"/>
                <a:gd name="T12" fmla="*/ 39 w 57"/>
                <a:gd name="T13" fmla="*/ 36 h 41"/>
                <a:gd name="T14" fmla="*/ 46 w 57"/>
                <a:gd name="T15" fmla="*/ 41 h 41"/>
                <a:gd name="T16" fmla="*/ 48 w 57"/>
                <a:gd name="T17" fmla="*/ 40 h 41"/>
                <a:gd name="T18" fmla="*/ 53 w 57"/>
                <a:gd name="T19" fmla="*/ 28 h 41"/>
                <a:gd name="T20" fmla="*/ 56 w 57"/>
                <a:gd name="T21" fmla="*/ 24 h 41"/>
                <a:gd name="T22" fmla="*/ 52 w 57"/>
                <a:gd name="T23" fmla="*/ 15 h 41"/>
                <a:gd name="T24" fmla="*/ 53 w 57"/>
                <a:gd name="T25" fmla="*/ 14 h 41"/>
                <a:gd name="T26" fmla="*/ 49 w 57"/>
                <a:gd name="T27" fmla="*/ 12 h 41"/>
                <a:gd name="T28" fmla="*/ 39 w 57"/>
                <a:gd name="T29" fmla="*/ 4 h 41"/>
                <a:gd name="T30" fmla="*/ 29 w 57"/>
                <a:gd name="T31" fmla="*/ 3 h 41"/>
                <a:gd name="T32" fmla="*/ 15 w 57"/>
                <a:gd name="T33" fmla="*/ 8 h 41"/>
                <a:gd name="T34" fmla="*/ 10 w 57"/>
                <a:gd name="T35" fmla="*/ 6 h 41"/>
                <a:gd name="T36" fmla="*/ 0 w 57"/>
                <a:gd name="T37" fmla="*/ 10 h 41"/>
                <a:gd name="T38" fmla="*/ 2 w 57"/>
                <a:gd name="T39" fmla="*/ 12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41">
                  <a:moveTo>
                    <a:pt x="2" y="12"/>
                  </a:moveTo>
                  <a:cubicBezTo>
                    <a:pt x="2" y="14"/>
                    <a:pt x="6" y="20"/>
                    <a:pt x="7" y="17"/>
                  </a:cubicBezTo>
                  <a:cubicBezTo>
                    <a:pt x="9" y="15"/>
                    <a:pt x="12" y="20"/>
                    <a:pt x="15" y="22"/>
                  </a:cubicBezTo>
                  <a:cubicBezTo>
                    <a:pt x="18" y="23"/>
                    <a:pt x="23" y="25"/>
                    <a:pt x="24" y="27"/>
                  </a:cubicBezTo>
                  <a:cubicBezTo>
                    <a:pt x="24" y="29"/>
                    <a:pt x="25" y="33"/>
                    <a:pt x="28" y="32"/>
                  </a:cubicBezTo>
                  <a:cubicBezTo>
                    <a:pt x="31" y="31"/>
                    <a:pt x="34" y="26"/>
                    <a:pt x="34" y="29"/>
                  </a:cubicBezTo>
                  <a:cubicBezTo>
                    <a:pt x="34" y="32"/>
                    <a:pt x="35" y="36"/>
                    <a:pt x="39" y="36"/>
                  </a:cubicBezTo>
                  <a:cubicBezTo>
                    <a:pt x="42" y="35"/>
                    <a:pt x="43" y="41"/>
                    <a:pt x="46" y="41"/>
                  </a:cubicBezTo>
                  <a:cubicBezTo>
                    <a:pt x="47" y="40"/>
                    <a:pt x="47" y="40"/>
                    <a:pt x="48" y="40"/>
                  </a:cubicBezTo>
                  <a:cubicBezTo>
                    <a:pt x="48" y="33"/>
                    <a:pt x="51" y="30"/>
                    <a:pt x="53" y="28"/>
                  </a:cubicBezTo>
                  <a:cubicBezTo>
                    <a:pt x="54" y="27"/>
                    <a:pt x="56" y="25"/>
                    <a:pt x="56" y="24"/>
                  </a:cubicBezTo>
                  <a:cubicBezTo>
                    <a:pt x="57" y="22"/>
                    <a:pt x="52" y="17"/>
                    <a:pt x="52" y="15"/>
                  </a:cubicBezTo>
                  <a:cubicBezTo>
                    <a:pt x="53" y="15"/>
                    <a:pt x="53" y="14"/>
                    <a:pt x="53" y="14"/>
                  </a:cubicBezTo>
                  <a:cubicBezTo>
                    <a:pt x="51" y="13"/>
                    <a:pt x="50" y="13"/>
                    <a:pt x="49" y="12"/>
                  </a:cubicBezTo>
                  <a:cubicBezTo>
                    <a:pt x="45" y="8"/>
                    <a:pt x="41" y="7"/>
                    <a:pt x="39" y="4"/>
                  </a:cubicBezTo>
                  <a:cubicBezTo>
                    <a:pt x="36" y="2"/>
                    <a:pt x="32" y="0"/>
                    <a:pt x="29" y="3"/>
                  </a:cubicBezTo>
                  <a:cubicBezTo>
                    <a:pt x="26" y="6"/>
                    <a:pt x="19" y="8"/>
                    <a:pt x="15" y="8"/>
                  </a:cubicBezTo>
                  <a:cubicBezTo>
                    <a:pt x="14" y="8"/>
                    <a:pt x="12" y="7"/>
                    <a:pt x="10" y="6"/>
                  </a:cubicBezTo>
                  <a:cubicBezTo>
                    <a:pt x="7" y="8"/>
                    <a:pt x="4" y="9"/>
                    <a:pt x="0" y="10"/>
                  </a:cubicBezTo>
                  <a:cubicBezTo>
                    <a:pt x="1" y="11"/>
                    <a:pt x="2" y="10"/>
                    <a:pt x="2"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5" name="Freeform 253"/>
            <p:cNvSpPr/>
            <p:nvPr/>
          </p:nvSpPr>
          <p:spPr>
            <a:xfrm>
              <a:off x="5281613" y="2500313"/>
              <a:ext cx="223838" cy="144463"/>
            </a:xfrm>
            <a:custGeom>
              <a:gdLst>
                <a:gd name="T0" fmla="*/ 118 w 132"/>
                <a:gd name="T1" fmla="*/ 57 h 85"/>
                <a:gd name="T2" fmla="*/ 112 w 132"/>
                <a:gd name="T3" fmla="*/ 54 h 85"/>
                <a:gd name="T4" fmla="*/ 112 w 132"/>
                <a:gd name="T5" fmla="*/ 53 h 85"/>
                <a:gd name="T6" fmla="*/ 110 w 132"/>
                <a:gd name="T7" fmla="*/ 37 h 85"/>
                <a:gd name="T8" fmla="*/ 101 w 132"/>
                <a:gd name="T9" fmla="*/ 16 h 85"/>
                <a:gd name="T10" fmla="*/ 91 w 132"/>
                <a:gd name="T11" fmla="*/ 0 h 85"/>
                <a:gd name="T12" fmla="*/ 84 w 132"/>
                <a:gd name="T13" fmla="*/ 3 h 85"/>
                <a:gd name="T14" fmla="*/ 76 w 132"/>
                <a:gd name="T15" fmla="*/ 8 h 85"/>
                <a:gd name="T16" fmla="*/ 69 w 132"/>
                <a:gd name="T17" fmla="*/ 8 h 85"/>
                <a:gd name="T18" fmla="*/ 62 w 132"/>
                <a:gd name="T19" fmla="*/ 10 h 85"/>
                <a:gd name="T20" fmla="*/ 54 w 132"/>
                <a:gd name="T21" fmla="*/ 8 h 85"/>
                <a:gd name="T22" fmla="*/ 39 w 132"/>
                <a:gd name="T23" fmla="*/ 5 h 85"/>
                <a:gd name="T24" fmla="*/ 33 w 132"/>
                <a:gd name="T25" fmla="*/ 5 h 85"/>
                <a:gd name="T26" fmla="*/ 32 w 132"/>
                <a:gd name="T27" fmla="*/ 9 h 85"/>
                <a:gd name="T28" fmla="*/ 22 w 132"/>
                <a:gd name="T29" fmla="*/ 15 h 85"/>
                <a:gd name="T30" fmla="*/ 9 w 132"/>
                <a:gd name="T31" fmla="*/ 37 h 85"/>
                <a:gd name="T32" fmla="*/ 0 w 132"/>
                <a:gd name="T33" fmla="*/ 43 h 85"/>
                <a:gd name="T34" fmla="*/ 5 w 132"/>
                <a:gd name="T35" fmla="*/ 52 h 85"/>
                <a:gd name="T36" fmla="*/ 10 w 132"/>
                <a:gd name="T37" fmla="*/ 57 h 85"/>
                <a:gd name="T38" fmla="*/ 12 w 132"/>
                <a:gd name="T39" fmla="*/ 66 h 85"/>
                <a:gd name="T40" fmla="*/ 28 w 132"/>
                <a:gd name="T41" fmla="*/ 71 h 85"/>
                <a:gd name="T42" fmla="*/ 29 w 132"/>
                <a:gd name="T43" fmla="*/ 77 h 85"/>
                <a:gd name="T44" fmla="*/ 37 w 132"/>
                <a:gd name="T45" fmla="*/ 83 h 85"/>
                <a:gd name="T46" fmla="*/ 53 w 132"/>
                <a:gd name="T47" fmla="*/ 85 h 85"/>
                <a:gd name="T48" fmla="*/ 68 w 132"/>
                <a:gd name="T49" fmla="*/ 85 h 85"/>
                <a:gd name="T50" fmla="*/ 79 w 132"/>
                <a:gd name="T51" fmla="*/ 81 h 85"/>
                <a:gd name="T52" fmla="*/ 96 w 132"/>
                <a:gd name="T53" fmla="*/ 78 h 85"/>
                <a:gd name="T54" fmla="*/ 107 w 132"/>
                <a:gd name="T55" fmla="*/ 81 h 85"/>
                <a:gd name="T56" fmla="*/ 116 w 132"/>
                <a:gd name="T57" fmla="*/ 85 h 85"/>
                <a:gd name="T58" fmla="*/ 116 w 132"/>
                <a:gd name="T59" fmla="*/ 78 h 85"/>
                <a:gd name="T60" fmla="*/ 123 w 132"/>
                <a:gd name="T61" fmla="*/ 66 h 85"/>
                <a:gd name="T62" fmla="*/ 131 w 132"/>
                <a:gd name="T63" fmla="*/ 58 h 85"/>
                <a:gd name="T64" fmla="*/ 131 w 132"/>
                <a:gd name="T65" fmla="*/ 57 h 85"/>
                <a:gd name="T66" fmla="*/ 126 w 132"/>
                <a:gd name="T67" fmla="*/ 54 h 85"/>
                <a:gd name="T68" fmla="*/ 118 w 132"/>
                <a:gd name="T69" fmla="*/ 57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 h="85">
                  <a:moveTo>
                    <a:pt x="118" y="57"/>
                  </a:moveTo>
                  <a:cubicBezTo>
                    <a:pt x="115" y="57"/>
                    <a:pt x="111" y="55"/>
                    <a:pt x="112" y="54"/>
                  </a:cubicBezTo>
                  <a:cubicBezTo>
                    <a:pt x="112" y="53"/>
                    <a:pt x="112" y="53"/>
                    <a:pt x="112" y="53"/>
                  </a:cubicBezTo>
                  <a:cubicBezTo>
                    <a:pt x="108" y="50"/>
                    <a:pt x="107" y="39"/>
                    <a:pt x="110" y="37"/>
                  </a:cubicBezTo>
                  <a:cubicBezTo>
                    <a:pt x="113" y="33"/>
                    <a:pt x="105" y="21"/>
                    <a:pt x="101" y="16"/>
                  </a:cubicBezTo>
                  <a:cubicBezTo>
                    <a:pt x="99" y="14"/>
                    <a:pt x="95" y="7"/>
                    <a:pt x="91" y="0"/>
                  </a:cubicBezTo>
                  <a:cubicBezTo>
                    <a:pt x="88" y="1"/>
                    <a:pt x="85" y="2"/>
                    <a:pt x="84" y="3"/>
                  </a:cubicBezTo>
                  <a:cubicBezTo>
                    <a:pt x="83" y="5"/>
                    <a:pt x="79" y="8"/>
                    <a:pt x="76" y="8"/>
                  </a:cubicBezTo>
                  <a:cubicBezTo>
                    <a:pt x="73" y="8"/>
                    <a:pt x="71" y="6"/>
                    <a:pt x="69" y="8"/>
                  </a:cubicBezTo>
                  <a:cubicBezTo>
                    <a:pt x="66" y="11"/>
                    <a:pt x="63" y="11"/>
                    <a:pt x="62" y="10"/>
                  </a:cubicBezTo>
                  <a:cubicBezTo>
                    <a:pt x="61" y="9"/>
                    <a:pt x="57" y="8"/>
                    <a:pt x="54" y="8"/>
                  </a:cubicBezTo>
                  <a:cubicBezTo>
                    <a:pt x="51" y="8"/>
                    <a:pt x="41" y="5"/>
                    <a:pt x="39" y="5"/>
                  </a:cubicBezTo>
                  <a:cubicBezTo>
                    <a:pt x="38" y="5"/>
                    <a:pt x="36" y="5"/>
                    <a:pt x="33" y="5"/>
                  </a:cubicBezTo>
                  <a:cubicBezTo>
                    <a:pt x="34" y="6"/>
                    <a:pt x="33" y="7"/>
                    <a:pt x="32" y="9"/>
                  </a:cubicBezTo>
                  <a:cubicBezTo>
                    <a:pt x="29" y="11"/>
                    <a:pt x="24" y="13"/>
                    <a:pt x="22" y="15"/>
                  </a:cubicBezTo>
                  <a:cubicBezTo>
                    <a:pt x="20" y="16"/>
                    <a:pt x="14" y="32"/>
                    <a:pt x="9" y="37"/>
                  </a:cubicBezTo>
                  <a:cubicBezTo>
                    <a:pt x="5" y="41"/>
                    <a:pt x="0" y="42"/>
                    <a:pt x="0" y="43"/>
                  </a:cubicBezTo>
                  <a:cubicBezTo>
                    <a:pt x="0" y="45"/>
                    <a:pt x="5" y="49"/>
                    <a:pt x="5" y="52"/>
                  </a:cubicBezTo>
                  <a:cubicBezTo>
                    <a:pt x="5" y="54"/>
                    <a:pt x="6" y="57"/>
                    <a:pt x="10" y="57"/>
                  </a:cubicBezTo>
                  <a:cubicBezTo>
                    <a:pt x="14" y="57"/>
                    <a:pt x="10" y="65"/>
                    <a:pt x="12" y="66"/>
                  </a:cubicBezTo>
                  <a:cubicBezTo>
                    <a:pt x="14" y="67"/>
                    <a:pt x="28" y="68"/>
                    <a:pt x="28" y="71"/>
                  </a:cubicBezTo>
                  <a:cubicBezTo>
                    <a:pt x="28" y="73"/>
                    <a:pt x="30" y="75"/>
                    <a:pt x="29" y="77"/>
                  </a:cubicBezTo>
                  <a:cubicBezTo>
                    <a:pt x="33" y="78"/>
                    <a:pt x="36" y="83"/>
                    <a:pt x="37" y="83"/>
                  </a:cubicBezTo>
                  <a:cubicBezTo>
                    <a:pt x="39" y="82"/>
                    <a:pt x="51" y="85"/>
                    <a:pt x="53" y="85"/>
                  </a:cubicBezTo>
                  <a:cubicBezTo>
                    <a:pt x="55" y="84"/>
                    <a:pt x="65" y="85"/>
                    <a:pt x="68" y="85"/>
                  </a:cubicBezTo>
                  <a:cubicBezTo>
                    <a:pt x="72" y="85"/>
                    <a:pt x="75" y="84"/>
                    <a:pt x="79" y="81"/>
                  </a:cubicBezTo>
                  <a:cubicBezTo>
                    <a:pt x="82" y="78"/>
                    <a:pt x="92" y="77"/>
                    <a:pt x="96" y="78"/>
                  </a:cubicBezTo>
                  <a:cubicBezTo>
                    <a:pt x="99" y="78"/>
                    <a:pt x="106" y="79"/>
                    <a:pt x="107" y="81"/>
                  </a:cubicBezTo>
                  <a:cubicBezTo>
                    <a:pt x="108" y="82"/>
                    <a:pt x="112" y="84"/>
                    <a:pt x="116" y="85"/>
                  </a:cubicBezTo>
                  <a:cubicBezTo>
                    <a:pt x="117" y="83"/>
                    <a:pt x="116" y="80"/>
                    <a:pt x="116" y="78"/>
                  </a:cubicBezTo>
                  <a:cubicBezTo>
                    <a:pt x="116" y="73"/>
                    <a:pt x="119" y="66"/>
                    <a:pt x="123" y="66"/>
                  </a:cubicBezTo>
                  <a:cubicBezTo>
                    <a:pt x="128" y="65"/>
                    <a:pt x="132" y="65"/>
                    <a:pt x="131" y="58"/>
                  </a:cubicBezTo>
                  <a:cubicBezTo>
                    <a:pt x="131" y="57"/>
                    <a:pt x="131" y="57"/>
                    <a:pt x="131" y="57"/>
                  </a:cubicBezTo>
                  <a:cubicBezTo>
                    <a:pt x="129" y="55"/>
                    <a:pt x="127" y="54"/>
                    <a:pt x="126" y="54"/>
                  </a:cubicBezTo>
                  <a:cubicBezTo>
                    <a:pt x="124" y="54"/>
                    <a:pt x="119" y="57"/>
                    <a:pt x="118" y="5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6" name="Freeform 254"/>
            <p:cNvSpPr/>
            <p:nvPr/>
          </p:nvSpPr>
          <p:spPr>
            <a:xfrm>
              <a:off x="5435601" y="2495550"/>
              <a:ext cx="76200" cy="95250"/>
            </a:xfrm>
            <a:custGeom>
              <a:gdLst>
                <a:gd name="T0" fmla="*/ 33 w 45"/>
                <a:gd name="T1" fmla="*/ 14 h 56"/>
                <a:gd name="T2" fmla="*/ 22 w 45"/>
                <a:gd name="T3" fmla="*/ 7 h 56"/>
                <a:gd name="T4" fmla="*/ 11 w 45"/>
                <a:gd name="T5" fmla="*/ 0 h 56"/>
                <a:gd name="T6" fmla="*/ 0 w 45"/>
                <a:gd name="T7" fmla="*/ 3 h 56"/>
                <a:gd name="T8" fmla="*/ 10 w 45"/>
                <a:gd name="T9" fmla="*/ 19 h 56"/>
                <a:gd name="T10" fmla="*/ 19 w 45"/>
                <a:gd name="T11" fmla="*/ 40 h 56"/>
                <a:gd name="T12" fmla="*/ 21 w 45"/>
                <a:gd name="T13" fmla="*/ 56 h 56"/>
                <a:gd name="T14" fmla="*/ 30 w 45"/>
                <a:gd name="T15" fmla="*/ 43 h 56"/>
                <a:gd name="T16" fmla="*/ 35 w 45"/>
                <a:gd name="T17" fmla="*/ 37 h 56"/>
                <a:gd name="T18" fmla="*/ 45 w 45"/>
                <a:gd name="T19" fmla="*/ 38 h 56"/>
                <a:gd name="T20" fmla="*/ 42 w 45"/>
                <a:gd name="T21" fmla="*/ 29 h 56"/>
                <a:gd name="T22" fmla="*/ 33 w 45"/>
                <a:gd name="T23" fmla="*/ 14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6">
                  <a:moveTo>
                    <a:pt x="33" y="14"/>
                  </a:moveTo>
                  <a:cubicBezTo>
                    <a:pt x="31" y="9"/>
                    <a:pt x="25" y="7"/>
                    <a:pt x="22" y="7"/>
                  </a:cubicBezTo>
                  <a:cubicBezTo>
                    <a:pt x="19" y="7"/>
                    <a:pt x="14" y="0"/>
                    <a:pt x="11" y="0"/>
                  </a:cubicBezTo>
                  <a:cubicBezTo>
                    <a:pt x="9" y="0"/>
                    <a:pt x="4" y="2"/>
                    <a:pt x="0" y="3"/>
                  </a:cubicBezTo>
                  <a:cubicBezTo>
                    <a:pt x="4" y="10"/>
                    <a:pt x="8" y="17"/>
                    <a:pt x="10" y="19"/>
                  </a:cubicBezTo>
                  <a:cubicBezTo>
                    <a:pt x="14" y="24"/>
                    <a:pt x="22" y="36"/>
                    <a:pt x="19" y="40"/>
                  </a:cubicBezTo>
                  <a:cubicBezTo>
                    <a:pt x="16" y="42"/>
                    <a:pt x="17" y="53"/>
                    <a:pt x="21" y="56"/>
                  </a:cubicBezTo>
                  <a:cubicBezTo>
                    <a:pt x="23" y="54"/>
                    <a:pt x="30" y="46"/>
                    <a:pt x="30" y="43"/>
                  </a:cubicBezTo>
                  <a:cubicBezTo>
                    <a:pt x="30" y="41"/>
                    <a:pt x="30" y="35"/>
                    <a:pt x="35" y="37"/>
                  </a:cubicBezTo>
                  <a:cubicBezTo>
                    <a:pt x="40" y="38"/>
                    <a:pt x="45" y="40"/>
                    <a:pt x="45" y="38"/>
                  </a:cubicBezTo>
                  <a:cubicBezTo>
                    <a:pt x="45" y="37"/>
                    <a:pt x="44" y="31"/>
                    <a:pt x="42" y="29"/>
                  </a:cubicBezTo>
                  <a:cubicBezTo>
                    <a:pt x="40" y="27"/>
                    <a:pt x="34" y="20"/>
                    <a:pt x="33" y="1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7" name="Freeform 255"/>
            <p:cNvSpPr/>
            <p:nvPr/>
          </p:nvSpPr>
          <p:spPr>
            <a:xfrm>
              <a:off x="5322888" y="2630488"/>
              <a:ext cx="155575" cy="85725"/>
            </a:xfrm>
            <a:custGeom>
              <a:gdLst>
                <a:gd name="T0" fmla="*/ 71 w 91"/>
                <a:gd name="T1" fmla="*/ 1 h 50"/>
                <a:gd name="T2" fmla="*/ 54 w 91"/>
                <a:gd name="T3" fmla="*/ 4 h 50"/>
                <a:gd name="T4" fmla="*/ 43 w 91"/>
                <a:gd name="T5" fmla="*/ 8 h 50"/>
                <a:gd name="T6" fmla="*/ 28 w 91"/>
                <a:gd name="T7" fmla="*/ 8 h 50"/>
                <a:gd name="T8" fmla="*/ 12 w 91"/>
                <a:gd name="T9" fmla="*/ 6 h 50"/>
                <a:gd name="T10" fmla="*/ 4 w 91"/>
                <a:gd name="T11" fmla="*/ 0 h 50"/>
                <a:gd name="T12" fmla="*/ 3 w 91"/>
                <a:gd name="T13" fmla="*/ 2 h 50"/>
                <a:gd name="T14" fmla="*/ 3 w 91"/>
                <a:gd name="T15" fmla="*/ 12 h 50"/>
                <a:gd name="T16" fmla="*/ 7 w 91"/>
                <a:gd name="T17" fmla="*/ 21 h 50"/>
                <a:gd name="T18" fmla="*/ 2 w 91"/>
                <a:gd name="T19" fmla="*/ 27 h 50"/>
                <a:gd name="T20" fmla="*/ 2 w 91"/>
                <a:gd name="T21" fmla="*/ 34 h 50"/>
                <a:gd name="T22" fmla="*/ 10 w 91"/>
                <a:gd name="T23" fmla="*/ 43 h 50"/>
                <a:gd name="T24" fmla="*/ 13 w 91"/>
                <a:gd name="T25" fmla="*/ 47 h 50"/>
                <a:gd name="T26" fmla="*/ 33 w 91"/>
                <a:gd name="T27" fmla="*/ 48 h 50"/>
                <a:gd name="T28" fmla="*/ 48 w 91"/>
                <a:gd name="T29" fmla="*/ 50 h 50"/>
                <a:gd name="T30" fmla="*/ 54 w 91"/>
                <a:gd name="T31" fmla="*/ 47 h 50"/>
                <a:gd name="T32" fmla="*/ 61 w 91"/>
                <a:gd name="T33" fmla="*/ 43 h 50"/>
                <a:gd name="T34" fmla="*/ 61 w 91"/>
                <a:gd name="T35" fmla="*/ 39 h 50"/>
                <a:gd name="T36" fmla="*/ 76 w 91"/>
                <a:gd name="T37" fmla="*/ 39 h 50"/>
                <a:gd name="T38" fmla="*/ 82 w 91"/>
                <a:gd name="T39" fmla="*/ 38 h 50"/>
                <a:gd name="T40" fmla="*/ 80 w 91"/>
                <a:gd name="T41" fmla="*/ 35 h 50"/>
                <a:gd name="T42" fmla="*/ 77 w 91"/>
                <a:gd name="T43" fmla="*/ 24 h 50"/>
                <a:gd name="T44" fmla="*/ 88 w 91"/>
                <a:gd name="T45" fmla="*/ 11 h 50"/>
                <a:gd name="T46" fmla="*/ 91 w 91"/>
                <a:gd name="T47" fmla="*/ 8 h 50"/>
                <a:gd name="T48" fmla="*/ 82 w 91"/>
                <a:gd name="T49" fmla="*/ 4 h 50"/>
                <a:gd name="T50" fmla="*/ 71 w 91"/>
                <a:gd name="T51" fmla="*/ 1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0">
                  <a:moveTo>
                    <a:pt x="71" y="1"/>
                  </a:moveTo>
                  <a:cubicBezTo>
                    <a:pt x="67" y="0"/>
                    <a:pt x="57" y="1"/>
                    <a:pt x="54" y="4"/>
                  </a:cubicBezTo>
                  <a:cubicBezTo>
                    <a:pt x="50" y="7"/>
                    <a:pt x="47" y="8"/>
                    <a:pt x="43" y="8"/>
                  </a:cubicBezTo>
                  <a:cubicBezTo>
                    <a:pt x="40" y="8"/>
                    <a:pt x="30" y="7"/>
                    <a:pt x="28" y="8"/>
                  </a:cubicBezTo>
                  <a:cubicBezTo>
                    <a:pt x="26" y="8"/>
                    <a:pt x="14" y="5"/>
                    <a:pt x="12" y="6"/>
                  </a:cubicBezTo>
                  <a:cubicBezTo>
                    <a:pt x="11" y="6"/>
                    <a:pt x="8" y="1"/>
                    <a:pt x="4" y="0"/>
                  </a:cubicBezTo>
                  <a:cubicBezTo>
                    <a:pt x="4" y="1"/>
                    <a:pt x="3" y="1"/>
                    <a:pt x="3" y="2"/>
                  </a:cubicBezTo>
                  <a:cubicBezTo>
                    <a:pt x="0" y="4"/>
                    <a:pt x="0" y="9"/>
                    <a:pt x="3" y="12"/>
                  </a:cubicBezTo>
                  <a:cubicBezTo>
                    <a:pt x="6" y="14"/>
                    <a:pt x="10" y="21"/>
                    <a:pt x="7" y="21"/>
                  </a:cubicBezTo>
                  <a:cubicBezTo>
                    <a:pt x="4" y="21"/>
                    <a:pt x="2" y="25"/>
                    <a:pt x="2" y="27"/>
                  </a:cubicBezTo>
                  <a:cubicBezTo>
                    <a:pt x="3" y="29"/>
                    <a:pt x="1" y="33"/>
                    <a:pt x="2" y="34"/>
                  </a:cubicBezTo>
                  <a:cubicBezTo>
                    <a:pt x="3" y="35"/>
                    <a:pt x="10" y="41"/>
                    <a:pt x="10" y="43"/>
                  </a:cubicBezTo>
                  <a:cubicBezTo>
                    <a:pt x="11" y="45"/>
                    <a:pt x="14" y="46"/>
                    <a:pt x="13" y="47"/>
                  </a:cubicBezTo>
                  <a:cubicBezTo>
                    <a:pt x="19" y="47"/>
                    <a:pt x="30" y="46"/>
                    <a:pt x="33" y="48"/>
                  </a:cubicBezTo>
                  <a:cubicBezTo>
                    <a:pt x="36" y="49"/>
                    <a:pt x="48" y="50"/>
                    <a:pt x="48" y="50"/>
                  </a:cubicBezTo>
                  <a:cubicBezTo>
                    <a:pt x="52" y="50"/>
                    <a:pt x="55" y="49"/>
                    <a:pt x="54" y="47"/>
                  </a:cubicBezTo>
                  <a:cubicBezTo>
                    <a:pt x="53" y="45"/>
                    <a:pt x="58" y="44"/>
                    <a:pt x="61" y="43"/>
                  </a:cubicBezTo>
                  <a:cubicBezTo>
                    <a:pt x="60" y="41"/>
                    <a:pt x="60" y="40"/>
                    <a:pt x="61" y="39"/>
                  </a:cubicBezTo>
                  <a:cubicBezTo>
                    <a:pt x="62" y="39"/>
                    <a:pt x="72" y="37"/>
                    <a:pt x="76" y="39"/>
                  </a:cubicBezTo>
                  <a:cubicBezTo>
                    <a:pt x="78" y="40"/>
                    <a:pt x="80" y="39"/>
                    <a:pt x="82" y="38"/>
                  </a:cubicBezTo>
                  <a:cubicBezTo>
                    <a:pt x="81" y="36"/>
                    <a:pt x="81" y="35"/>
                    <a:pt x="80" y="35"/>
                  </a:cubicBezTo>
                  <a:cubicBezTo>
                    <a:pt x="77" y="34"/>
                    <a:pt x="74" y="24"/>
                    <a:pt x="77" y="24"/>
                  </a:cubicBezTo>
                  <a:cubicBezTo>
                    <a:pt x="80" y="23"/>
                    <a:pt x="83" y="13"/>
                    <a:pt x="88" y="11"/>
                  </a:cubicBezTo>
                  <a:cubicBezTo>
                    <a:pt x="90" y="11"/>
                    <a:pt x="91" y="10"/>
                    <a:pt x="91" y="8"/>
                  </a:cubicBezTo>
                  <a:cubicBezTo>
                    <a:pt x="87" y="7"/>
                    <a:pt x="83" y="5"/>
                    <a:pt x="82" y="4"/>
                  </a:cubicBezTo>
                  <a:cubicBezTo>
                    <a:pt x="81" y="2"/>
                    <a:pt x="74" y="1"/>
                    <a:pt x="7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8" name="Freeform 256"/>
            <p:cNvSpPr/>
            <p:nvPr/>
          </p:nvSpPr>
          <p:spPr>
            <a:xfrm>
              <a:off x="5280026" y="2684463"/>
              <a:ext cx="66675" cy="47625"/>
            </a:xfrm>
            <a:custGeom>
              <a:gdLst>
                <a:gd name="T0" fmla="*/ 9 w 40"/>
                <a:gd name="T1" fmla="*/ 28 h 28"/>
                <a:gd name="T2" fmla="*/ 9 w 40"/>
                <a:gd name="T3" fmla="*/ 28 h 28"/>
                <a:gd name="T4" fmla="*/ 10 w 40"/>
                <a:gd name="T5" fmla="*/ 28 h 28"/>
                <a:gd name="T6" fmla="*/ 10 w 40"/>
                <a:gd name="T7" fmla="*/ 28 h 28"/>
                <a:gd name="T8" fmla="*/ 11 w 40"/>
                <a:gd name="T9" fmla="*/ 28 h 28"/>
                <a:gd name="T10" fmla="*/ 11 w 40"/>
                <a:gd name="T11" fmla="*/ 28 h 28"/>
                <a:gd name="T12" fmla="*/ 15 w 40"/>
                <a:gd name="T13" fmla="*/ 28 h 28"/>
                <a:gd name="T14" fmla="*/ 16 w 40"/>
                <a:gd name="T15" fmla="*/ 28 h 28"/>
                <a:gd name="T16" fmla="*/ 17 w 40"/>
                <a:gd name="T17" fmla="*/ 28 h 28"/>
                <a:gd name="T18" fmla="*/ 17 w 40"/>
                <a:gd name="T19" fmla="*/ 28 h 28"/>
                <a:gd name="T20" fmla="*/ 19 w 40"/>
                <a:gd name="T21" fmla="*/ 27 h 28"/>
                <a:gd name="T22" fmla="*/ 26 w 40"/>
                <a:gd name="T23" fmla="*/ 23 h 28"/>
                <a:gd name="T24" fmla="*/ 39 w 40"/>
                <a:gd name="T25" fmla="*/ 17 h 28"/>
                <a:gd name="T26" fmla="*/ 39 w 40"/>
                <a:gd name="T27" fmla="*/ 16 h 28"/>
                <a:gd name="T28" fmla="*/ 36 w 40"/>
                <a:gd name="T29" fmla="*/ 12 h 28"/>
                <a:gd name="T30" fmla="*/ 28 w 40"/>
                <a:gd name="T31" fmla="*/ 3 h 28"/>
                <a:gd name="T32" fmla="*/ 28 w 40"/>
                <a:gd name="T33" fmla="*/ 2 h 28"/>
                <a:gd name="T34" fmla="*/ 28 w 40"/>
                <a:gd name="T35" fmla="*/ 2 h 28"/>
                <a:gd name="T36" fmla="*/ 28 w 40"/>
                <a:gd name="T37" fmla="*/ 0 h 28"/>
                <a:gd name="T38" fmla="*/ 3 w 40"/>
                <a:gd name="T39" fmla="*/ 5 h 28"/>
                <a:gd name="T40" fmla="*/ 2 w 40"/>
                <a:gd name="T41" fmla="*/ 4 h 28"/>
                <a:gd name="T42" fmla="*/ 1 w 40"/>
                <a:gd name="T43" fmla="*/ 19 h 28"/>
                <a:gd name="T44" fmla="*/ 9 w 40"/>
                <a:gd name="T45" fmla="*/ 28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28">
                  <a:moveTo>
                    <a:pt x="9" y="28"/>
                  </a:moveTo>
                  <a:cubicBezTo>
                    <a:pt x="9" y="28"/>
                    <a:pt x="9" y="28"/>
                    <a:pt x="9" y="28"/>
                  </a:cubicBezTo>
                  <a:cubicBezTo>
                    <a:pt x="9" y="28"/>
                    <a:pt x="9" y="28"/>
                    <a:pt x="10" y="28"/>
                  </a:cubicBezTo>
                  <a:cubicBezTo>
                    <a:pt x="10" y="28"/>
                    <a:pt x="10" y="28"/>
                    <a:pt x="10" y="28"/>
                  </a:cubicBezTo>
                  <a:cubicBezTo>
                    <a:pt x="10" y="28"/>
                    <a:pt x="10" y="28"/>
                    <a:pt x="11" y="28"/>
                  </a:cubicBezTo>
                  <a:cubicBezTo>
                    <a:pt x="11" y="28"/>
                    <a:pt x="11" y="28"/>
                    <a:pt x="11" y="28"/>
                  </a:cubicBezTo>
                  <a:cubicBezTo>
                    <a:pt x="12" y="28"/>
                    <a:pt x="14" y="28"/>
                    <a:pt x="15" y="28"/>
                  </a:cubicBezTo>
                  <a:cubicBezTo>
                    <a:pt x="16" y="28"/>
                    <a:pt x="16" y="28"/>
                    <a:pt x="16" y="28"/>
                  </a:cubicBezTo>
                  <a:cubicBezTo>
                    <a:pt x="16" y="28"/>
                    <a:pt x="16" y="28"/>
                    <a:pt x="17" y="28"/>
                  </a:cubicBezTo>
                  <a:cubicBezTo>
                    <a:pt x="17" y="28"/>
                    <a:pt x="17" y="28"/>
                    <a:pt x="17" y="28"/>
                  </a:cubicBezTo>
                  <a:cubicBezTo>
                    <a:pt x="18" y="28"/>
                    <a:pt x="18" y="27"/>
                    <a:pt x="19" y="27"/>
                  </a:cubicBezTo>
                  <a:cubicBezTo>
                    <a:pt x="23" y="26"/>
                    <a:pt x="24" y="22"/>
                    <a:pt x="26" y="23"/>
                  </a:cubicBezTo>
                  <a:cubicBezTo>
                    <a:pt x="27" y="24"/>
                    <a:pt x="38" y="19"/>
                    <a:pt x="39" y="17"/>
                  </a:cubicBezTo>
                  <a:cubicBezTo>
                    <a:pt x="39" y="16"/>
                    <a:pt x="39" y="16"/>
                    <a:pt x="39" y="16"/>
                  </a:cubicBezTo>
                  <a:cubicBezTo>
                    <a:pt x="40" y="15"/>
                    <a:pt x="37" y="14"/>
                    <a:pt x="36" y="12"/>
                  </a:cubicBezTo>
                  <a:cubicBezTo>
                    <a:pt x="36" y="10"/>
                    <a:pt x="29" y="4"/>
                    <a:pt x="28" y="3"/>
                  </a:cubicBezTo>
                  <a:cubicBezTo>
                    <a:pt x="28" y="2"/>
                    <a:pt x="28" y="2"/>
                    <a:pt x="28" y="2"/>
                  </a:cubicBezTo>
                  <a:cubicBezTo>
                    <a:pt x="28" y="2"/>
                    <a:pt x="28" y="2"/>
                    <a:pt x="28" y="2"/>
                  </a:cubicBezTo>
                  <a:cubicBezTo>
                    <a:pt x="28" y="1"/>
                    <a:pt x="28" y="1"/>
                    <a:pt x="28" y="0"/>
                  </a:cubicBezTo>
                  <a:cubicBezTo>
                    <a:pt x="18" y="2"/>
                    <a:pt x="3" y="5"/>
                    <a:pt x="3" y="5"/>
                  </a:cubicBezTo>
                  <a:cubicBezTo>
                    <a:pt x="3" y="5"/>
                    <a:pt x="3" y="4"/>
                    <a:pt x="2" y="4"/>
                  </a:cubicBezTo>
                  <a:cubicBezTo>
                    <a:pt x="1" y="9"/>
                    <a:pt x="0" y="16"/>
                    <a:pt x="1" y="19"/>
                  </a:cubicBezTo>
                  <a:cubicBezTo>
                    <a:pt x="2" y="23"/>
                    <a:pt x="5" y="25"/>
                    <a:pt x="9" y="2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29" name="Freeform 257"/>
            <p:cNvSpPr/>
            <p:nvPr/>
          </p:nvSpPr>
          <p:spPr>
            <a:xfrm>
              <a:off x="5322888" y="2368550"/>
              <a:ext cx="439738" cy="255588"/>
            </a:xfrm>
            <a:custGeom>
              <a:gdLst>
                <a:gd name="T0" fmla="*/ 241 w 259"/>
                <a:gd name="T1" fmla="*/ 86 h 151"/>
                <a:gd name="T2" fmla="*/ 256 w 259"/>
                <a:gd name="T3" fmla="*/ 78 h 151"/>
                <a:gd name="T4" fmla="*/ 258 w 259"/>
                <a:gd name="T5" fmla="*/ 69 h 151"/>
                <a:gd name="T6" fmla="*/ 259 w 259"/>
                <a:gd name="T7" fmla="*/ 59 h 151"/>
                <a:gd name="T8" fmla="*/ 238 w 259"/>
                <a:gd name="T9" fmla="*/ 50 h 151"/>
                <a:gd name="T10" fmla="*/ 220 w 259"/>
                <a:gd name="T11" fmla="*/ 40 h 151"/>
                <a:gd name="T12" fmla="*/ 204 w 259"/>
                <a:gd name="T13" fmla="*/ 42 h 151"/>
                <a:gd name="T14" fmla="*/ 191 w 259"/>
                <a:gd name="T15" fmla="*/ 36 h 151"/>
                <a:gd name="T16" fmla="*/ 174 w 259"/>
                <a:gd name="T17" fmla="*/ 22 h 151"/>
                <a:gd name="T18" fmla="*/ 169 w 259"/>
                <a:gd name="T19" fmla="*/ 3 h 151"/>
                <a:gd name="T20" fmla="*/ 148 w 259"/>
                <a:gd name="T21" fmla="*/ 2 h 151"/>
                <a:gd name="T22" fmla="*/ 137 w 259"/>
                <a:gd name="T23" fmla="*/ 4 h 151"/>
                <a:gd name="T24" fmla="*/ 119 w 259"/>
                <a:gd name="T25" fmla="*/ 15 h 151"/>
                <a:gd name="T26" fmla="*/ 103 w 259"/>
                <a:gd name="T27" fmla="*/ 19 h 151"/>
                <a:gd name="T28" fmla="*/ 84 w 259"/>
                <a:gd name="T29" fmla="*/ 15 h 151"/>
                <a:gd name="T30" fmla="*/ 61 w 259"/>
                <a:gd name="T31" fmla="*/ 12 h 151"/>
                <a:gd name="T32" fmla="*/ 26 w 259"/>
                <a:gd name="T33" fmla="*/ 14 h 151"/>
                <a:gd name="T34" fmla="*/ 20 w 259"/>
                <a:gd name="T35" fmla="*/ 21 h 151"/>
                <a:gd name="T36" fmla="*/ 19 w 259"/>
                <a:gd name="T37" fmla="*/ 40 h 151"/>
                <a:gd name="T38" fmla="*/ 6 w 259"/>
                <a:gd name="T39" fmla="*/ 64 h 151"/>
                <a:gd name="T40" fmla="*/ 6 w 259"/>
                <a:gd name="T41" fmla="*/ 82 h 151"/>
                <a:gd name="T42" fmla="*/ 14 w 259"/>
                <a:gd name="T43" fmla="*/ 83 h 151"/>
                <a:gd name="T44" fmla="*/ 37 w 259"/>
                <a:gd name="T45" fmla="*/ 88 h 151"/>
                <a:gd name="T46" fmla="*/ 51 w 259"/>
                <a:gd name="T47" fmla="*/ 86 h 151"/>
                <a:gd name="T48" fmla="*/ 77 w 259"/>
                <a:gd name="T49" fmla="*/ 75 h 151"/>
                <a:gd name="T50" fmla="*/ 99 w 259"/>
                <a:gd name="T51" fmla="*/ 89 h 151"/>
                <a:gd name="T52" fmla="*/ 111 w 259"/>
                <a:gd name="T53" fmla="*/ 113 h 151"/>
                <a:gd name="T54" fmla="*/ 96 w 259"/>
                <a:gd name="T55" fmla="*/ 118 h 151"/>
                <a:gd name="T56" fmla="*/ 93 w 259"/>
                <a:gd name="T57" fmla="*/ 135 h 151"/>
                <a:gd name="T58" fmla="*/ 106 w 259"/>
                <a:gd name="T59" fmla="*/ 135 h 151"/>
                <a:gd name="T60" fmla="*/ 125 w 259"/>
                <a:gd name="T61" fmla="*/ 110 h 151"/>
                <a:gd name="T62" fmla="*/ 143 w 259"/>
                <a:gd name="T63" fmla="*/ 117 h 151"/>
                <a:gd name="T64" fmla="*/ 147 w 259"/>
                <a:gd name="T65" fmla="*/ 131 h 151"/>
                <a:gd name="T66" fmla="*/ 163 w 259"/>
                <a:gd name="T67" fmla="*/ 149 h 151"/>
                <a:gd name="T68" fmla="*/ 188 w 259"/>
                <a:gd name="T69" fmla="*/ 140 h 151"/>
                <a:gd name="T70" fmla="*/ 193 w 259"/>
                <a:gd name="T71" fmla="*/ 133 h 151"/>
                <a:gd name="T72" fmla="*/ 200 w 259"/>
                <a:gd name="T73" fmla="*/ 110 h 151"/>
                <a:gd name="T74" fmla="*/ 230 w 259"/>
                <a:gd name="T75" fmla="*/ 101 h 1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9" h="151">
                  <a:moveTo>
                    <a:pt x="230" y="94"/>
                  </a:moveTo>
                  <a:cubicBezTo>
                    <a:pt x="232" y="94"/>
                    <a:pt x="239" y="86"/>
                    <a:pt x="241" y="86"/>
                  </a:cubicBezTo>
                  <a:cubicBezTo>
                    <a:pt x="244" y="86"/>
                    <a:pt x="253" y="88"/>
                    <a:pt x="253" y="87"/>
                  </a:cubicBezTo>
                  <a:cubicBezTo>
                    <a:pt x="253" y="85"/>
                    <a:pt x="257" y="79"/>
                    <a:pt x="256" y="78"/>
                  </a:cubicBezTo>
                  <a:cubicBezTo>
                    <a:pt x="255" y="76"/>
                    <a:pt x="252" y="74"/>
                    <a:pt x="253" y="72"/>
                  </a:cubicBezTo>
                  <a:cubicBezTo>
                    <a:pt x="253" y="71"/>
                    <a:pt x="258" y="71"/>
                    <a:pt x="258" y="69"/>
                  </a:cubicBezTo>
                  <a:cubicBezTo>
                    <a:pt x="258" y="67"/>
                    <a:pt x="254" y="66"/>
                    <a:pt x="254" y="65"/>
                  </a:cubicBezTo>
                  <a:cubicBezTo>
                    <a:pt x="254" y="63"/>
                    <a:pt x="259" y="61"/>
                    <a:pt x="259" y="59"/>
                  </a:cubicBezTo>
                  <a:cubicBezTo>
                    <a:pt x="258" y="56"/>
                    <a:pt x="254" y="56"/>
                    <a:pt x="250" y="53"/>
                  </a:cubicBezTo>
                  <a:cubicBezTo>
                    <a:pt x="246" y="51"/>
                    <a:pt x="242" y="52"/>
                    <a:pt x="238" y="50"/>
                  </a:cubicBezTo>
                  <a:cubicBezTo>
                    <a:pt x="234" y="48"/>
                    <a:pt x="226" y="49"/>
                    <a:pt x="226" y="48"/>
                  </a:cubicBezTo>
                  <a:cubicBezTo>
                    <a:pt x="226" y="47"/>
                    <a:pt x="221" y="43"/>
                    <a:pt x="220" y="40"/>
                  </a:cubicBezTo>
                  <a:cubicBezTo>
                    <a:pt x="218" y="38"/>
                    <a:pt x="214" y="39"/>
                    <a:pt x="211" y="41"/>
                  </a:cubicBezTo>
                  <a:cubicBezTo>
                    <a:pt x="209" y="43"/>
                    <a:pt x="207" y="43"/>
                    <a:pt x="204" y="42"/>
                  </a:cubicBezTo>
                  <a:cubicBezTo>
                    <a:pt x="201" y="40"/>
                    <a:pt x="199" y="38"/>
                    <a:pt x="197" y="39"/>
                  </a:cubicBezTo>
                  <a:cubicBezTo>
                    <a:pt x="195" y="39"/>
                    <a:pt x="190" y="39"/>
                    <a:pt x="191" y="36"/>
                  </a:cubicBezTo>
                  <a:cubicBezTo>
                    <a:pt x="192" y="32"/>
                    <a:pt x="187" y="25"/>
                    <a:pt x="185" y="24"/>
                  </a:cubicBezTo>
                  <a:cubicBezTo>
                    <a:pt x="183" y="23"/>
                    <a:pt x="176" y="25"/>
                    <a:pt x="174" y="22"/>
                  </a:cubicBezTo>
                  <a:cubicBezTo>
                    <a:pt x="173" y="19"/>
                    <a:pt x="170" y="16"/>
                    <a:pt x="171" y="14"/>
                  </a:cubicBezTo>
                  <a:cubicBezTo>
                    <a:pt x="172" y="11"/>
                    <a:pt x="171" y="5"/>
                    <a:pt x="169" y="3"/>
                  </a:cubicBezTo>
                  <a:cubicBezTo>
                    <a:pt x="168" y="0"/>
                    <a:pt x="160" y="0"/>
                    <a:pt x="157" y="1"/>
                  </a:cubicBezTo>
                  <a:cubicBezTo>
                    <a:pt x="155" y="2"/>
                    <a:pt x="150" y="0"/>
                    <a:pt x="148" y="2"/>
                  </a:cubicBezTo>
                  <a:cubicBezTo>
                    <a:pt x="145" y="3"/>
                    <a:pt x="144" y="5"/>
                    <a:pt x="141" y="5"/>
                  </a:cubicBezTo>
                  <a:cubicBezTo>
                    <a:pt x="139" y="5"/>
                    <a:pt x="138" y="5"/>
                    <a:pt x="137" y="4"/>
                  </a:cubicBezTo>
                  <a:cubicBezTo>
                    <a:pt x="133" y="5"/>
                    <a:pt x="127" y="6"/>
                    <a:pt x="127" y="6"/>
                  </a:cubicBezTo>
                  <a:cubicBezTo>
                    <a:pt x="127" y="6"/>
                    <a:pt x="119" y="12"/>
                    <a:pt x="119" y="15"/>
                  </a:cubicBezTo>
                  <a:cubicBezTo>
                    <a:pt x="119" y="18"/>
                    <a:pt x="118" y="22"/>
                    <a:pt x="116" y="20"/>
                  </a:cubicBezTo>
                  <a:cubicBezTo>
                    <a:pt x="114" y="18"/>
                    <a:pt x="105" y="18"/>
                    <a:pt x="103" y="19"/>
                  </a:cubicBezTo>
                  <a:cubicBezTo>
                    <a:pt x="101" y="20"/>
                    <a:pt x="97" y="14"/>
                    <a:pt x="94" y="16"/>
                  </a:cubicBezTo>
                  <a:cubicBezTo>
                    <a:pt x="90" y="18"/>
                    <a:pt x="84" y="13"/>
                    <a:pt x="84" y="15"/>
                  </a:cubicBezTo>
                  <a:cubicBezTo>
                    <a:pt x="84" y="17"/>
                    <a:pt x="78" y="15"/>
                    <a:pt x="74" y="14"/>
                  </a:cubicBezTo>
                  <a:cubicBezTo>
                    <a:pt x="70" y="12"/>
                    <a:pt x="63" y="15"/>
                    <a:pt x="61" y="12"/>
                  </a:cubicBezTo>
                  <a:cubicBezTo>
                    <a:pt x="58" y="9"/>
                    <a:pt x="41" y="9"/>
                    <a:pt x="36" y="9"/>
                  </a:cubicBezTo>
                  <a:cubicBezTo>
                    <a:pt x="30" y="9"/>
                    <a:pt x="29" y="12"/>
                    <a:pt x="26" y="14"/>
                  </a:cubicBezTo>
                  <a:cubicBezTo>
                    <a:pt x="24" y="16"/>
                    <a:pt x="21" y="16"/>
                    <a:pt x="19" y="16"/>
                  </a:cubicBezTo>
                  <a:cubicBezTo>
                    <a:pt x="19" y="18"/>
                    <a:pt x="19" y="20"/>
                    <a:pt x="20" y="21"/>
                  </a:cubicBezTo>
                  <a:cubicBezTo>
                    <a:pt x="21" y="23"/>
                    <a:pt x="27" y="32"/>
                    <a:pt x="26" y="35"/>
                  </a:cubicBezTo>
                  <a:cubicBezTo>
                    <a:pt x="24" y="38"/>
                    <a:pt x="21" y="38"/>
                    <a:pt x="19" y="40"/>
                  </a:cubicBezTo>
                  <a:cubicBezTo>
                    <a:pt x="17" y="42"/>
                    <a:pt x="6" y="52"/>
                    <a:pt x="6" y="54"/>
                  </a:cubicBezTo>
                  <a:cubicBezTo>
                    <a:pt x="5" y="56"/>
                    <a:pt x="8" y="63"/>
                    <a:pt x="6" y="64"/>
                  </a:cubicBezTo>
                  <a:cubicBezTo>
                    <a:pt x="4" y="65"/>
                    <a:pt x="0" y="72"/>
                    <a:pt x="0" y="75"/>
                  </a:cubicBezTo>
                  <a:cubicBezTo>
                    <a:pt x="0" y="77"/>
                    <a:pt x="3" y="81"/>
                    <a:pt x="6" y="82"/>
                  </a:cubicBezTo>
                  <a:cubicBezTo>
                    <a:pt x="7" y="82"/>
                    <a:pt x="8" y="83"/>
                    <a:pt x="8" y="83"/>
                  </a:cubicBezTo>
                  <a:cubicBezTo>
                    <a:pt x="11" y="83"/>
                    <a:pt x="13" y="83"/>
                    <a:pt x="14" y="83"/>
                  </a:cubicBezTo>
                  <a:cubicBezTo>
                    <a:pt x="16" y="83"/>
                    <a:pt x="26" y="86"/>
                    <a:pt x="29" y="86"/>
                  </a:cubicBezTo>
                  <a:cubicBezTo>
                    <a:pt x="32" y="86"/>
                    <a:pt x="36" y="87"/>
                    <a:pt x="37" y="88"/>
                  </a:cubicBezTo>
                  <a:cubicBezTo>
                    <a:pt x="38" y="89"/>
                    <a:pt x="41" y="89"/>
                    <a:pt x="44" y="86"/>
                  </a:cubicBezTo>
                  <a:cubicBezTo>
                    <a:pt x="46" y="84"/>
                    <a:pt x="48" y="86"/>
                    <a:pt x="51" y="86"/>
                  </a:cubicBezTo>
                  <a:cubicBezTo>
                    <a:pt x="54" y="86"/>
                    <a:pt x="58" y="83"/>
                    <a:pt x="59" y="81"/>
                  </a:cubicBezTo>
                  <a:cubicBezTo>
                    <a:pt x="60" y="79"/>
                    <a:pt x="73" y="76"/>
                    <a:pt x="77" y="75"/>
                  </a:cubicBezTo>
                  <a:cubicBezTo>
                    <a:pt x="80" y="75"/>
                    <a:pt x="85" y="82"/>
                    <a:pt x="88" y="82"/>
                  </a:cubicBezTo>
                  <a:cubicBezTo>
                    <a:pt x="91" y="82"/>
                    <a:pt x="97" y="84"/>
                    <a:pt x="99" y="89"/>
                  </a:cubicBezTo>
                  <a:cubicBezTo>
                    <a:pt x="100" y="95"/>
                    <a:pt x="106" y="102"/>
                    <a:pt x="108" y="104"/>
                  </a:cubicBezTo>
                  <a:cubicBezTo>
                    <a:pt x="110" y="106"/>
                    <a:pt x="111" y="112"/>
                    <a:pt x="111" y="113"/>
                  </a:cubicBezTo>
                  <a:cubicBezTo>
                    <a:pt x="111" y="115"/>
                    <a:pt x="106" y="113"/>
                    <a:pt x="101" y="112"/>
                  </a:cubicBezTo>
                  <a:cubicBezTo>
                    <a:pt x="96" y="110"/>
                    <a:pt x="96" y="116"/>
                    <a:pt x="96" y="118"/>
                  </a:cubicBezTo>
                  <a:cubicBezTo>
                    <a:pt x="96" y="121"/>
                    <a:pt x="88" y="130"/>
                    <a:pt x="87" y="132"/>
                  </a:cubicBezTo>
                  <a:cubicBezTo>
                    <a:pt x="86" y="133"/>
                    <a:pt x="90" y="135"/>
                    <a:pt x="93" y="135"/>
                  </a:cubicBezTo>
                  <a:cubicBezTo>
                    <a:pt x="94" y="135"/>
                    <a:pt x="99" y="132"/>
                    <a:pt x="101" y="132"/>
                  </a:cubicBezTo>
                  <a:cubicBezTo>
                    <a:pt x="102" y="132"/>
                    <a:pt x="104" y="133"/>
                    <a:pt x="106" y="135"/>
                  </a:cubicBezTo>
                  <a:cubicBezTo>
                    <a:pt x="105" y="128"/>
                    <a:pt x="107" y="129"/>
                    <a:pt x="113" y="124"/>
                  </a:cubicBezTo>
                  <a:cubicBezTo>
                    <a:pt x="119" y="120"/>
                    <a:pt x="120" y="111"/>
                    <a:pt x="125" y="110"/>
                  </a:cubicBezTo>
                  <a:cubicBezTo>
                    <a:pt x="131" y="109"/>
                    <a:pt x="133" y="106"/>
                    <a:pt x="141" y="107"/>
                  </a:cubicBezTo>
                  <a:cubicBezTo>
                    <a:pt x="150" y="109"/>
                    <a:pt x="137" y="114"/>
                    <a:pt x="143" y="117"/>
                  </a:cubicBezTo>
                  <a:cubicBezTo>
                    <a:pt x="149" y="120"/>
                    <a:pt x="166" y="116"/>
                    <a:pt x="167" y="120"/>
                  </a:cubicBezTo>
                  <a:cubicBezTo>
                    <a:pt x="167" y="124"/>
                    <a:pt x="147" y="129"/>
                    <a:pt x="147" y="131"/>
                  </a:cubicBezTo>
                  <a:cubicBezTo>
                    <a:pt x="148" y="133"/>
                    <a:pt x="158" y="135"/>
                    <a:pt x="162" y="138"/>
                  </a:cubicBezTo>
                  <a:cubicBezTo>
                    <a:pt x="166" y="140"/>
                    <a:pt x="161" y="147"/>
                    <a:pt x="163" y="149"/>
                  </a:cubicBezTo>
                  <a:cubicBezTo>
                    <a:pt x="164" y="151"/>
                    <a:pt x="170" y="149"/>
                    <a:pt x="174" y="146"/>
                  </a:cubicBezTo>
                  <a:cubicBezTo>
                    <a:pt x="179" y="143"/>
                    <a:pt x="183" y="144"/>
                    <a:pt x="188" y="140"/>
                  </a:cubicBezTo>
                  <a:cubicBezTo>
                    <a:pt x="194" y="136"/>
                    <a:pt x="206" y="139"/>
                    <a:pt x="208" y="137"/>
                  </a:cubicBezTo>
                  <a:cubicBezTo>
                    <a:pt x="209" y="135"/>
                    <a:pt x="204" y="132"/>
                    <a:pt x="193" y="133"/>
                  </a:cubicBezTo>
                  <a:cubicBezTo>
                    <a:pt x="182" y="134"/>
                    <a:pt x="181" y="124"/>
                    <a:pt x="181" y="121"/>
                  </a:cubicBezTo>
                  <a:cubicBezTo>
                    <a:pt x="181" y="119"/>
                    <a:pt x="193" y="110"/>
                    <a:pt x="200" y="110"/>
                  </a:cubicBezTo>
                  <a:cubicBezTo>
                    <a:pt x="206" y="109"/>
                    <a:pt x="212" y="107"/>
                    <a:pt x="218" y="104"/>
                  </a:cubicBezTo>
                  <a:cubicBezTo>
                    <a:pt x="221" y="103"/>
                    <a:pt x="225" y="102"/>
                    <a:pt x="230" y="101"/>
                  </a:cubicBezTo>
                  <a:cubicBezTo>
                    <a:pt x="229" y="98"/>
                    <a:pt x="228" y="94"/>
                    <a:pt x="230" y="9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0" name="Freeform 258"/>
            <p:cNvSpPr/>
            <p:nvPr/>
          </p:nvSpPr>
          <p:spPr>
            <a:xfrm>
              <a:off x="5346701" y="2236788"/>
              <a:ext cx="233363" cy="168275"/>
            </a:xfrm>
            <a:custGeom>
              <a:gdLst>
                <a:gd name="T0" fmla="*/ 128 w 137"/>
                <a:gd name="T1" fmla="*/ 48 h 99"/>
                <a:gd name="T2" fmla="*/ 120 w 137"/>
                <a:gd name="T3" fmla="*/ 40 h 99"/>
                <a:gd name="T4" fmla="*/ 113 w 137"/>
                <a:gd name="T5" fmla="*/ 31 h 99"/>
                <a:gd name="T6" fmla="*/ 111 w 137"/>
                <a:gd name="T7" fmla="*/ 21 h 99"/>
                <a:gd name="T8" fmla="*/ 110 w 137"/>
                <a:gd name="T9" fmla="*/ 11 h 99"/>
                <a:gd name="T10" fmla="*/ 97 w 137"/>
                <a:gd name="T11" fmla="*/ 7 h 99"/>
                <a:gd name="T12" fmla="*/ 89 w 137"/>
                <a:gd name="T13" fmla="*/ 7 h 99"/>
                <a:gd name="T14" fmla="*/ 81 w 137"/>
                <a:gd name="T15" fmla="*/ 4 h 99"/>
                <a:gd name="T16" fmla="*/ 74 w 137"/>
                <a:gd name="T17" fmla="*/ 1 h 99"/>
                <a:gd name="T18" fmla="*/ 73 w 137"/>
                <a:gd name="T19" fmla="*/ 0 h 99"/>
                <a:gd name="T20" fmla="*/ 68 w 137"/>
                <a:gd name="T21" fmla="*/ 2 h 99"/>
                <a:gd name="T22" fmla="*/ 63 w 137"/>
                <a:gd name="T23" fmla="*/ 7 h 99"/>
                <a:gd name="T24" fmla="*/ 53 w 137"/>
                <a:gd name="T25" fmla="*/ 9 h 99"/>
                <a:gd name="T26" fmla="*/ 49 w 137"/>
                <a:gd name="T27" fmla="*/ 16 h 99"/>
                <a:gd name="T28" fmla="*/ 47 w 137"/>
                <a:gd name="T29" fmla="*/ 22 h 99"/>
                <a:gd name="T30" fmla="*/ 43 w 137"/>
                <a:gd name="T31" fmla="*/ 26 h 99"/>
                <a:gd name="T32" fmla="*/ 35 w 137"/>
                <a:gd name="T33" fmla="*/ 33 h 99"/>
                <a:gd name="T34" fmla="*/ 33 w 137"/>
                <a:gd name="T35" fmla="*/ 39 h 99"/>
                <a:gd name="T36" fmla="*/ 24 w 137"/>
                <a:gd name="T37" fmla="*/ 43 h 99"/>
                <a:gd name="T38" fmla="*/ 16 w 137"/>
                <a:gd name="T39" fmla="*/ 46 h 99"/>
                <a:gd name="T40" fmla="*/ 6 w 137"/>
                <a:gd name="T41" fmla="*/ 45 h 99"/>
                <a:gd name="T42" fmla="*/ 6 w 137"/>
                <a:gd name="T43" fmla="*/ 46 h 99"/>
                <a:gd name="T44" fmla="*/ 8 w 137"/>
                <a:gd name="T45" fmla="*/ 57 h 99"/>
                <a:gd name="T46" fmla="*/ 8 w 137"/>
                <a:gd name="T47" fmla="*/ 70 h 99"/>
                <a:gd name="T48" fmla="*/ 0 w 137"/>
                <a:gd name="T49" fmla="*/ 77 h 99"/>
                <a:gd name="T50" fmla="*/ 5 w 137"/>
                <a:gd name="T51" fmla="*/ 85 h 99"/>
                <a:gd name="T52" fmla="*/ 5 w 137"/>
                <a:gd name="T53" fmla="*/ 93 h 99"/>
                <a:gd name="T54" fmla="*/ 12 w 137"/>
                <a:gd name="T55" fmla="*/ 91 h 99"/>
                <a:gd name="T56" fmla="*/ 22 w 137"/>
                <a:gd name="T57" fmla="*/ 86 h 99"/>
                <a:gd name="T58" fmla="*/ 47 w 137"/>
                <a:gd name="T59" fmla="*/ 89 h 99"/>
                <a:gd name="T60" fmla="*/ 60 w 137"/>
                <a:gd name="T61" fmla="*/ 91 h 99"/>
                <a:gd name="T62" fmla="*/ 70 w 137"/>
                <a:gd name="T63" fmla="*/ 92 h 99"/>
                <a:gd name="T64" fmla="*/ 80 w 137"/>
                <a:gd name="T65" fmla="*/ 93 h 99"/>
                <a:gd name="T66" fmla="*/ 89 w 137"/>
                <a:gd name="T67" fmla="*/ 96 h 99"/>
                <a:gd name="T68" fmla="*/ 102 w 137"/>
                <a:gd name="T69" fmla="*/ 97 h 99"/>
                <a:gd name="T70" fmla="*/ 105 w 137"/>
                <a:gd name="T71" fmla="*/ 92 h 99"/>
                <a:gd name="T72" fmla="*/ 113 w 137"/>
                <a:gd name="T73" fmla="*/ 83 h 99"/>
                <a:gd name="T74" fmla="*/ 123 w 137"/>
                <a:gd name="T75" fmla="*/ 81 h 99"/>
                <a:gd name="T76" fmla="*/ 121 w 137"/>
                <a:gd name="T77" fmla="*/ 75 h 99"/>
                <a:gd name="T78" fmla="*/ 118 w 137"/>
                <a:gd name="T79" fmla="*/ 61 h 99"/>
                <a:gd name="T80" fmla="*/ 129 w 137"/>
                <a:gd name="T81" fmla="*/ 63 h 99"/>
                <a:gd name="T82" fmla="*/ 136 w 137"/>
                <a:gd name="T83" fmla="*/ 56 h 99"/>
                <a:gd name="T84" fmla="*/ 128 w 137"/>
                <a:gd name="T85" fmla="*/ 48 h 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 h="99">
                  <a:moveTo>
                    <a:pt x="128" y="48"/>
                  </a:moveTo>
                  <a:cubicBezTo>
                    <a:pt x="126" y="48"/>
                    <a:pt x="124" y="42"/>
                    <a:pt x="120" y="40"/>
                  </a:cubicBezTo>
                  <a:cubicBezTo>
                    <a:pt x="116" y="39"/>
                    <a:pt x="116" y="34"/>
                    <a:pt x="113" y="31"/>
                  </a:cubicBezTo>
                  <a:cubicBezTo>
                    <a:pt x="109" y="29"/>
                    <a:pt x="112" y="25"/>
                    <a:pt x="111" y="21"/>
                  </a:cubicBezTo>
                  <a:cubicBezTo>
                    <a:pt x="111" y="17"/>
                    <a:pt x="112" y="12"/>
                    <a:pt x="110" y="11"/>
                  </a:cubicBezTo>
                  <a:cubicBezTo>
                    <a:pt x="108" y="10"/>
                    <a:pt x="100" y="6"/>
                    <a:pt x="97" y="7"/>
                  </a:cubicBezTo>
                  <a:cubicBezTo>
                    <a:pt x="93" y="9"/>
                    <a:pt x="90" y="10"/>
                    <a:pt x="89" y="7"/>
                  </a:cubicBezTo>
                  <a:cubicBezTo>
                    <a:pt x="87" y="4"/>
                    <a:pt x="85" y="3"/>
                    <a:pt x="81" y="4"/>
                  </a:cubicBezTo>
                  <a:cubicBezTo>
                    <a:pt x="78" y="5"/>
                    <a:pt x="76" y="3"/>
                    <a:pt x="74" y="1"/>
                  </a:cubicBezTo>
                  <a:cubicBezTo>
                    <a:pt x="73" y="1"/>
                    <a:pt x="73" y="1"/>
                    <a:pt x="73" y="0"/>
                  </a:cubicBezTo>
                  <a:cubicBezTo>
                    <a:pt x="71" y="1"/>
                    <a:pt x="70" y="1"/>
                    <a:pt x="68" y="2"/>
                  </a:cubicBezTo>
                  <a:cubicBezTo>
                    <a:pt x="66" y="4"/>
                    <a:pt x="66" y="7"/>
                    <a:pt x="63" y="7"/>
                  </a:cubicBezTo>
                  <a:cubicBezTo>
                    <a:pt x="60" y="7"/>
                    <a:pt x="56" y="6"/>
                    <a:pt x="53" y="9"/>
                  </a:cubicBezTo>
                  <a:cubicBezTo>
                    <a:pt x="49" y="11"/>
                    <a:pt x="49" y="14"/>
                    <a:pt x="49" y="16"/>
                  </a:cubicBezTo>
                  <a:cubicBezTo>
                    <a:pt x="49" y="18"/>
                    <a:pt x="50" y="22"/>
                    <a:pt x="47" y="22"/>
                  </a:cubicBezTo>
                  <a:cubicBezTo>
                    <a:pt x="45" y="22"/>
                    <a:pt x="45" y="25"/>
                    <a:pt x="43" y="26"/>
                  </a:cubicBezTo>
                  <a:cubicBezTo>
                    <a:pt x="40" y="27"/>
                    <a:pt x="36" y="30"/>
                    <a:pt x="35" y="33"/>
                  </a:cubicBezTo>
                  <a:cubicBezTo>
                    <a:pt x="35" y="35"/>
                    <a:pt x="35" y="39"/>
                    <a:pt x="33" y="39"/>
                  </a:cubicBezTo>
                  <a:cubicBezTo>
                    <a:pt x="31" y="39"/>
                    <a:pt x="25" y="40"/>
                    <a:pt x="24" y="43"/>
                  </a:cubicBezTo>
                  <a:cubicBezTo>
                    <a:pt x="22" y="45"/>
                    <a:pt x="20" y="47"/>
                    <a:pt x="16" y="46"/>
                  </a:cubicBezTo>
                  <a:cubicBezTo>
                    <a:pt x="15" y="46"/>
                    <a:pt x="10" y="45"/>
                    <a:pt x="6" y="45"/>
                  </a:cubicBezTo>
                  <a:cubicBezTo>
                    <a:pt x="6" y="46"/>
                    <a:pt x="6" y="46"/>
                    <a:pt x="6" y="46"/>
                  </a:cubicBezTo>
                  <a:cubicBezTo>
                    <a:pt x="4" y="51"/>
                    <a:pt x="5" y="55"/>
                    <a:pt x="8" y="57"/>
                  </a:cubicBezTo>
                  <a:cubicBezTo>
                    <a:pt x="10" y="60"/>
                    <a:pt x="11" y="69"/>
                    <a:pt x="8" y="70"/>
                  </a:cubicBezTo>
                  <a:cubicBezTo>
                    <a:pt x="6" y="71"/>
                    <a:pt x="0" y="75"/>
                    <a:pt x="0" y="77"/>
                  </a:cubicBezTo>
                  <a:cubicBezTo>
                    <a:pt x="0" y="80"/>
                    <a:pt x="6" y="82"/>
                    <a:pt x="5" y="85"/>
                  </a:cubicBezTo>
                  <a:cubicBezTo>
                    <a:pt x="4" y="87"/>
                    <a:pt x="4" y="90"/>
                    <a:pt x="5" y="93"/>
                  </a:cubicBezTo>
                  <a:cubicBezTo>
                    <a:pt x="7" y="93"/>
                    <a:pt x="10" y="93"/>
                    <a:pt x="12" y="91"/>
                  </a:cubicBezTo>
                  <a:cubicBezTo>
                    <a:pt x="15" y="89"/>
                    <a:pt x="16" y="86"/>
                    <a:pt x="22" y="86"/>
                  </a:cubicBezTo>
                  <a:cubicBezTo>
                    <a:pt x="27" y="86"/>
                    <a:pt x="44" y="86"/>
                    <a:pt x="47" y="89"/>
                  </a:cubicBezTo>
                  <a:cubicBezTo>
                    <a:pt x="49" y="92"/>
                    <a:pt x="56" y="89"/>
                    <a:pt x="60" y="91"/>
                  </a:cubicBezTo>
                  <a:cubicBezTo>
                    <a:pt x="64" y="92"/>
                    <a:pt x="70" y="94"/>
                    <a:pt x="70" y="92"/>
                  </a:cubicBezTo>
                  <a:cubicBezTo>
                    <a:pt x="70" y="90"/>
                    <a:pt x="76" y="95"/>
                    <a:pt x="80" y="93"/>
                  </a:cubicBezTo>
                  <a:cubicBezTo>
                    <a:pt x="83" y="91"/>
                    <a:pt x="87" y="97"/>
                    <a:pt x="89" y="96"/>
                  </a:cubicBezTo>
                  <a:cubicBezTo>
                    <a:pt x="91" y="95"/>
                    <a:pt x="100" y="95"/>
                    <a:pt x="102" y="97"/>
                  </a:cubicBezTo>
                  <a:cubicBezTo>
                    <a:pt x="104" y="99"/>
                    <a:pt x="105" y="95"/>
                    <a:pt x="105" y="92"/>
                  </a:cubicBezTo>
                  <a:cubicBezTo>
                    <a:pt x="105" y="89"/>
                    <a:pt x="113" y="83"/>
                    <a:pt x="113" y="83"/>
                  </a:cubicBezTo>
                  <a:cubicBezTo>
                    <a:pt x="113" y="83"/>
                    <a:pt x="119" y="82"/>
                    <a:pt x="123" y="81"/>
                  </a:cubicBezTo>
                  <a:cubicBezTo>
                    <a:pt x="122" y="80"/>
                    <a:pt x="121" y="78"/>
                    <a:pt x="121" y="75"/>
                  </a:cubicBezTo>
                  <a:cubicBezTo>
                    <a:pt x="119" y="67"/>
                    <a:pt x="116" y="63"/>
                    <a:pt x="118" y="61"/>
                  </a:cubicBezTo>
                  <a:cubicBezTo>
                    <a:pt x="120" y="59"/>
                    <a:pt x="126" y="64"/>
                    <a:pt x="129" y="63"/>
                  </a:cubicBezTo>
                  <a:cubicBezTo>
                    <a:pt x="132" y="61"/>
                    <a:pt x="137" y="59"/>
                    <a:pt x="136" y="56"/>
                  </a:cubicBezTo>
                  <a:cubicBezTo>
                    <a:pt x="136" y="53"/>
                    <a:pt x="131" y="49"/>
                    <a:pt x="128" y="4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1" name="Freeform 259"/>
            <p:cNvSpPr/>
            <p:nvPr/>
          </p:nvSpPr>
          <p:spPr>
            <a:xfrm>
              <a:off x="5289551" y="2171700"/>
              <a:ext cx="180975" cy="85725"/>
            </a:xfrm>
            <a:custGeom>
              <a:gdLst>
                <a:gd name="T0" fmla="*/ 36 w 107"/>
                <a:gd name="T1" fmla="*/ 35 h 51"/>
                <a:gd name="T2" fmla="*/ 54 w 107"/>
                <a:gd name="T3" fmla="*/ 35 h 51"/>
                <a:gd name="T4" fmla="*/ 63 w 107"/>
                <a:gd name="T5" fmla="*/ 39 h 51"/>
                <a:gd name="T6" fmla="*/ 77 w 107"/>
                <a:gd name="T7" fmla="*/ 46 h 51"/>
                <a:gd name="T8" fmla="*/ 84 w 107"/>
                <a:gd name="T9" fmla="*/ 51 h 51"/>
                <a:gd name="T10" fmla="*/ 87 w 107"/>
                <a:gd name="T11" fmla="*/ 48 h 51"/>
                <a:gd name="T12" fmla="*/ 97 w 107"/>
                <a:gd name="T13" fmla="*/ 46 h 51"/>
                <a:gd name="T14" fmla="*/ 102 w 107"/>
                <a:gd name="T15" fmla="*/ 41 h 51"/>
                <a:gd name="T16" fmla="*/ 107 w 107"/>
                <a:gd name="T17" fmla="*/ 39 h 51"/>
                <a:gd name="T18" fmla="*/ 104 w 107"/>
                <a:gd name="T19" fmla="*/ 30 h 51"/>
                <a:gd name="T20" fmla="*/ 99 w 107"/>
                <a:gd name="T21" fmla="*/ 22 h 51"/>
                <a:gd name="T22" fmla="*/ 98 w 107"/>
                <a:gd name="T23" fmla="*/ 14 h 51"/>
                <a:gd name="T24" fmla="*/ 95 w 107"/>
                <a:gd name="T25" fmla="*/ 10 h 51"/>
                <a:gd name="T26" fmla="*/ 81 w 107"/>
                <a:gd name="T27" fmla="*/ 9 h 51"/>
                <a:gd name="T28" fmla="*/ 67 w 107"/>
                <a:gd name="T29" fmla="*/ 1 h 51"/>
                <a:gd name="T30" fmla="*/ 51 w 107"/>
                <a:gd name="T31" fmla="*/ 1 h 51"/>
                <a:gd name="T32" fmla="*/ 50 w 107"/>
                <a:gd name="T33" fmla="*/ 15 h 51"/>
                <a:gd name="T34" fmla="*/ 38 w 107"/>
                <a:gd name="T35" fmla="*/ 21 h 51"/>
                <a:gd name="T36" fmla="*/ 25 w 107"/>
                <a:gd name="T37" fmla="*/ 6 h 51"/>
                <a:gd name="T38" fmla="*/ 11 w 107"/>
                <a:gd name="T39" fmla="*/ 12 h 51"/>
                <a:gd name="T40" fmla="*/ 5 w 107"/>
                <a:gd name="T41" fmla="*/ 24 h 51"/>
                <a:gd name="T42" fmla="*/ 3 w 107"/>
                <a:gd name="T43" fmla="*/ 38 h 51"/>
                <a:gd name="T44" fmla="*/ 3 w 107"/>
                <a:gd name="T45" fmla="*/ 38 h 51"/>
                <a:gd name="T46" fmla="*/ 15 w 107"/>
                <a:gd name="T47" fmla="*/ 35 h 51"/>
                <a:gd name="T48" fmla="*/ 36 w 107"/>
                <a:gd name="T49" fmla="*/ 35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51">
                  <a:moveTo>
                    <a:pt x="36" y="35"/>
                  </a:moveTo>
                  <a:cubicBezTo>
                    <a:pt x="40" y="35"/>
                    <a:pt x="49" y="37"/>
                    <a:pt x="54" y="35"/>
                  </a:cubicBezTo>
                  <a:cubicBezTo>
                    <a:pt x="60" y="33"/>
                    <a:pt x="60" y="39"/>
                    <a:pt x="63" y="39"/>
                  </a:cubicBezTo>
                  <a:cubicBezTo>
                    <a:pt x="66" y="38"/>
                    <a:pt x="73" y="43"/>
                    <a:pt x="77" y="46"/>
                  </a:cubicBezTo>
                  <a:cubicBezTo>
                    <a:pt x="79" y="48"/>
                    <a:pt x="81" y="49"/>
                    <a:pt x="84" y="51"/>
                  </a:cubicBezTo>
                  <a:cubicBezTo>
                    <a:pt x="85" y="50"/>
                    <a:pt x="85" y="49"/>
                    <a:pt x="87" y="48"/>
                  </a:cubicBezTo>
                  <a:cubicBezTo>
                    <a:pt x="90" y="45"/>
                    <a:pt x="94" y="46"/>
                    <a:pt x="97" y="46"/>
                  </a:cubicBezTo>
                  <a:cubicBezTo>
                    <a:pt x="100" y="46"/>
                    <a:pt x="100" y="43"/>
                    <a:pt x="102" y="41"/>
                  </a:cubicBezTo>
                  <a:cubicBezTo>
                    <a:pt x="104" y="40"/>
                    <a:pt x="105" y="40"/>
                    <a:pt x="107" y="39"/>
                  </a:cubicBezTo>
                  <a:cubicBezTo>
                    <a:pt x="106" y="37"/>
                    <a:pt x="106" y="32"/>
                    <a:pt x="104" y="30"/>
                  </a:cubicBezTo>
                  <a:cubicBezTo>
                    <a:pt x="101" y="28"/>
                    <a:pt x="98" y="24"/>
                    <a:pt x="99" y="22"/>
                  </a:cubicBezTo>
                  <a:cubicBezTo>
                    <a:pt x="100" y="20"/>
                    <a:pt x="100" y="16"/>
                    <a:pt x="98" y="14"/>
                  </a:cubicBezTo>
                  <a:cubicBezTo>
                    <a:pt x="96" y="13"/>
                    <a:pt x="96" y="11"/>
                    <a:pt x="95" y="10"/>
                  </a:cubicBezTo>
                  <a:cubicBezTo>
                    <a:pt x="90" y="9"/>
                    <a:pt x="83" y="9"/>
                    <a:pt x="81" y="9"/>
                  </a:cubicBezTo>
                  <a:cubicBezTo>
                    <a:pt x="79" y="10"/>
                    <a:pt x="68" y="2"/>
                    <a:pt x="67" y="1"/>
                  </a:cubicBezTo>
                  <a:cubicBezTo>
                    <a:pt x="65" y="0"/>
                    <a:pt x="58" y="0"/>
                    <a:pt x="51" y="1"/>
                  </a:cubicBezTo>
                  <a:cubicBezTo>
                    <a:pt x="47" y="5"/>
                    <a:pt x="50" y="9"/>
                    <a:pt x="50" y="15"/>
                  </a:cubicBezTo>
                  <a:cubicBezTo>
                    <a:pt x="49" y="22"/>
                    <a:pt x="42" y="21"/>
                    <a:pt x="38" y="21"/>
                  </a:cubicBezTo>
                  <a:cubicBezTo>
                    <a:pt x="34" y="21"/>
                    <a:pt x="27" y="9"/>
                    <a:pt x="25" y="6"/>
                  </a:cubicBezTo>
                  <a:cubicBezTo>
                    <a:pt x="23" y="3"/>
                    <a:pt x="16" y="9"/>
                    <a:pt x="11" y="12"/>
                  </a:cubicBezTo>
                  <a:cubicBezTo>
                    <a:pt x="6" y="15"/>
                    <a:pt x="9" y="21"/>
                    <a:pt x="5" y="24"/>
                  </a:cubicBezTo>
                  <a:cubicBezTo>
                    <a:pt x="2" y="27"/>
                    <a:pt x="0" y="31"/>
                    <a:pt x="3" y="38"/>
                  </a:cubicBezTo>
                  <a:cubicBezTo>
                    <a:pt x="3" y="38"/>
                    <a:pt x="3" y="38"/>
                    <a:pt x="3" y="38"/>
                  </a:cubicBezTo>
                  <a:cubicBezTo>
                    <a:pt x="8" y="38"/>
                    <a:pt x="12" y="37"/>
                    <a:pt x="15" y="35"/>
                  </a:cubicBezTo>
                  <a:cubicBezTo>
                    <a:pt x="19" y="32"/>
                    <a:pt x="32" y="35"/>
                    <a:pt x="36" y="3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2" name="Freeform 260"/>
            <p:cNvSpPr/>
            <p:nvPr/>
          </p:nvSpPr>
          <p:spPr>
            <a:xfrm>
              <a:off x="5289551" y="2225675"/>
              <a:ext cx="142875" cy="92075"/>
            </a:xfrm>
            <a:custGeom>
              <a:gdLst>
                <a:gd name="T0" fmla="*/ 11 w 84"/>
                <a:gd name="T1" fmla="*/ 27 h 54"/>
                <a:gd name="T2" fmla="*/ 20 w 84"/>
                <a:gd name="T3" fmla="*/ 30 h 54"/>
                <a:gd name="T4" fmla="*/ 28 w 84"/>
                <a:gd name="T5" fmla="*/ 35 h 54"/>
                <a:gd name="T6" fmla="*/ 28 w 84"/>
                <a:gd name="T7" fmla="*/ 45 h 54"/>
                <a:gd name="T8" fmla="*/ 40 w 84"/>
                <a:gd name="T9" fmla="*/ 52 h 54"/>
                <a:gd name="T10" fmla="*/ 50 w 84"/>
                <a:gd name="T11" fmla="*/ 53 h 54"/>
                <a:gd name="T12" fmla="*/ 58 w 84"/>
                <a:gd name="T13" fmla="*/ 50 h 54"/>
                <a:gd name="T14" fmla="*/ 67 w 84"/>
                <a:gd name="T15" fmla="*/ 46 h 54"/>
                <a:gd name="T16" fmla="*/ 69 w 84"/>
                <a:gd name="T17" fmla="*/ 40 h 54"/>
                <a:gd name="T18" fmla="*/ 77 w 84"/>
                <a:gd name="T19" fmla="*/ 33 h 54"/>
                <a:gd name="T20" fmla="*/ 81 w 84"/>
                <a:gd name="T21" fmla="*/ 29 h 54"/>
                <a:gd name="T22" fmla="*/ 83 w 84"/>
                <a:gd name="T23" fmla="*/ 23 h 54"/>
                <a:gd name="T24" fmla="*/ 84 w 84"/>
                <a:gd name="T25" fmla="*/ 19 h 54"/>
                <a:gd name="T26" fmla="*/ 77 w 84"/>
                <a:gd name="T27" fmla="*/ 14 h 54"/>
                <a:gd name="T28" fmla="*/ 63 w 84"/>
                <a:gd name="T29" fmla="*/ 7 h 54"/>
                <a:gd name="T30" fmla="*/ 54 w 84"/>
                <a:gd name="T31" fmla="*/ 3 h 54"/>
                <a:gd name="T32" fmla="*/ 36 w 84"/>
                <a:gd name="T33" fmla="*/ 3 h 54"/>
                <a:gd name="T34" fmla="*/ 15 w 84"/>
                <a:gd name="T35" fmla="*/ 3 h 54"/>
                <a:gd name="T36" fmla="*/ 3 w 84"/>
                <a:gd name="T37" fmla="*/ 6 h 54"/>
                <a:gd name="T38" fmla="*/ 2 w 84"/>
                <a:gd name="T39" fmla="*/ 22 h 54"/>
                <a:gd name="T40" fmla="*/ 3 w 84"/>
                <a:gd name="T41" fmla="*/ 26 h 54"/>
                <a:gd name="T42" fmla="*/ 11 w 84"/>
                <a:gd name="T43" fmla="*/ 27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54">
                  <a:moveTo>
                    <a:pt x="11" y="27"/>
                  </a:moveTo>
                  <a:cubicBezTo>
                    <a:pt x="13" y="29"/>
                    <a:pt x="18" y="31"/>
                    <a:pt x="20" y="30"/>
                  </a:cubicBezTo>
                  <a:cubicBezTo>
                    <a:pt x="22" y="29"/>
                    <a:pt x="28" y="33"/>
                    <a:pt x="28" y="35"/>
                  </a:cubicBezTo>
                  <a:cubicBezTo>
                    <a:pt x="28" y="38"/>
                    <a:pt x="27" y="45"/>
                    <a:pt x="28" y="45"/>
                  </a:cubicBezTo>
                  <a:cubicBezTo>
                    <a:pt x="30" y="45"/>
                    <a:pt x="39" y="48"/>
                    <a:pt x="40" y="52"/>
                  </a:cubicBezTo>
                  <a:cubicBezTo>
                    <a:pt x="44" y="52"/>
                    <a:pt x="49" y="53"/>
                    <a:pt x="50" y="53"/>
                  </a:cubicBezTo>
                  <a:cubicBezTo>
                    <a:pt x="54" y="54"/>
                    <a:pt x="56" y="52"/>
                    <a:pt x="58" y="50"/>
                  </a:cubicBezTo>
                  <a:cubicBezTo>
                    <a:pt x="59" y="47"/>
                    <a:pt x="65" y="46"/>
                    <a:pt x="67" y="46"/>
                  </a:cubicBezTo>
                  <a:cubicBezTo>
                    <a:pt x="69" y="46"/>
                    <a:pt x="69" y="42"/>
                    <a:pt x="69" y="40"/>
                  </a:cubicBezTo>
                  <a:cubicBezTo>
                    <a:pt x="70" y="37"/>
                    <a:pt x="74" y="34"/>
                    <a:pt x="77" y="33"/>
                  </a:cubicBezTo>
                  <a:cubicBezTo>
                    <a:pt x="79" y="32"/>
                    <a:pt x="79" y="29"/>
                    <a:pt x="81" y="29"/>
                  </a:cubicBezTo>
                  <a:cubicBezTo>
                    <a:pt x="84" y="29"/>
                    <a:pt x="83" y="25"/>
                    <a:pt x="83" y="23"/>
                  </a:cubicBezTo>
                  <a:cubicBezTo>
                    <a:pt x="83" y="22"/>
                    <a:pt x="83" y="20"/>
                    <a:pt x="84" y="19"/>
                  </a:cubicBezTo>
                  <a:cubicBezTo>
                    <a:pt x="81" y="17"/>
                    <a:pt x="79" y="16"/>
                    <a:pt x="77" y="14"/>
                  </a:cubicBezTo>
                  <a:cubicBezTo>
                    <a:pt x="73" y="11"/>
                    <a:pt x="66" y="6"/>
                    <a:pt x="63" y="7"/>
                  </a:cubicBezTo>
                  <a:cubicBezTo>
                    <a:pt x="60" y="7"/>
                    <a:pt x="60" y="1"/>
                    <a:pt x="54" y="3"/>
                  </a:cubicBezTo>
                  <a:cubicBezTo>
                    <a:pt x="49" y="5"/>
                    <a:pt x="40" y="3"/>
                    <a:pt x="36" y="3"/>
                  </a:cubicBezTo>
                  <a:cubicBezTo>
                    <a:pt x="32" y="3"/>
                    <a:pt x="19" y="0"/>
                    <a:pt x="15" y="3"/>
                  </a:cubicBezTo>
                  <a:cubicBezTo>
                    <a:pt x="12" y="5"/>
                    <a:pt x="8" y="6"/>
                    <a:pt x="3" y="6"/>
                  </a:cubicBezTo>
                  <a:cubicBezTo>
                    <a:pt x="6" y="12"/>
                    <a:pt x="5" y="18"/>
                    <a:pt x="2" y="22"/>
                  </a:cubicBezTo>
                  <a:cubicBezTo>
                    <a:pt x="0" y="25"/>
                    <a:pt x="1" y="25"/>
                    <a:pt x="3" y="26"/>
                  </a:cubicBezTo>
                  <a:cubicBezTo>
                    <a:pt x="6" y="26"/>
                    <a:pt x="10" y="25"/>
                    <a:pt x="11" y="2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3" name="Freeform 261"/>
            <p:cNvSpPr/>
            <p:nvPr/>
          </p:nvSpPr>
          <p:spPr>
            <a:xfrm>
              <a:off x="4935538" y="2522538"/>
              <a:ext cx="111125" cy="61913"/>
            </a:xfrm>
            <a:custGeom>
              <a:gdLst>
                <a:gd name="T0" fmla="*/ 59 w 66"/>
                <a:gd name="T1" fmla="*/ 15 h 36"/>
                <a:gd name="T2" fmla="*/ 52 w 66"/>
                <a:gd name="T3" fmla="*/ 11 h 36"/>
                <a:gd name="T4" fmla="*/ 52 w 66"/>
                <a:gd name="T5" fmla="*/ 5 h 36"/>
                <a:gd name="T6" fmla="*/ 43 w 66"/>
                <a:gd name="T7" fmla="*/ 1 h 36"/>
                <a:gd name="T8" fmla="*/ 33 w 66"/>
                <a:gd name="T9" fmla="*/ 1 h 36"/>
                <a:gd name="T10" fmla="*/ 21 w 66"/>
                <a:gd name="T11" fmla="*/ 2 h 36"/>
                <a:gd name="T12" fmla="*/ 19 w 66"/>
                <a:gd name="T13" fmla="*/ 4 h 36"/>
                <a:gd name="T14" fmla="*/ 12 w 66"/>
                <a:gd name="T15" fmla="*/ 10 h 36"/>
                <a:gd name="T16" fmla="*/ 2 w 66"/>
                <a:gd name="T17" fmla="*/ 22 h 36"/>
                <a:gd name="T18" fmla="*/ 4 w 66"/>
                <a:gd name="T19" fmla="*/ 27 h 36"/>
                <a:gd name="T20" fmla="*/ 11 w 66"/>
                <a:gd name="T21" fmla="*/ 27 h 36"/>
                <a:gd name="T22" fmla="*/ 13 w 66"/>
                <a:gd name="T23" fmla="*/ 34 h 36"/>
                <a:gd name="T24" fmla="*/ 13 w 66"/>
                <a:gd name="T25" fmla="*/ 35 h 36"/>
                <a:gd name="T26" fmla="*/ 26 w 66"/>
                <a:gd name="T27" fmla="*/ 34 h 36"/>
                <a:gd name="T28" fmla="*/ 33 w 66"/>
                <a:gd name="T29" fmla="*/ 23 h 36"/>
                <a:gd name="T30" fmla="*/ 41 w 66"/>
                <a:gd name="T31" fmla="*/ 33 h 36"/>
                <a:gd name="T32" fmla="*/ 45 w 66"/>
                <a:gd name="T33" fmla="*/ 28 h 36"/>
                <a:gd name="T34" fmla="*/ 50 w 66"/>
                <a:gd name="T35" fmla="*/ 25 h 36"/>
                <a:gd name="T36" fmla="*/ 57 w 66"/>
                <a:gd name="T37" fmla="*/ 23 h 36"/>
                <a:gd name="T38" fmla="*/ 61 w 66"/>
                <a:gd name="T39" fmla="*/ 22 h 36"/>
                <a:gd name="T40" fmla="*/ 64 w 66"/>
                <a:gd name="T41" fmla="*/ 18 h 36"/>
                <a:gd name="T42" fmla="*/ 66 w 66"/>
                <a:gd name="T43" fmla="*/ 16 h 36"/>
                <a:gd name="T44" fmla="*/ 59 w 66"/>
                <a:gd name="T45" fmla="*/ 15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36">
                  <a:moveTo>
                    <a:pt x="59" y="15"/>
                  </a:moveTo>
                  <a:cubicBezTo>
                    <a:pt x="56" y="16"/>
                    <a:pt x="52" y="12"/>
                    <a:pt x="52" y="11"/>
                  </a:cubicBezTo>
                  <a:cubicBezTo>
                    <a:pt x="52" y="10"/>
                    <a:pt x="51" y="7"/>
                    <a:pt x="52" y="5"/>
                  </a:cubicBezTo>
                  <a:cubicBezTo>
                    <a:pt x="49" y="3"/>
                    <a:pt x="46" y="2"/>
                    <a:pt x="43" y="1"/>
                  </a:cubicBezTo>
                  <a:cubicBezTo>
                    <a:pt x="39" y="0"/>
                    <a:pt x="37" y="0"/>
                    <a:pt x="33" y="1"/>
                  </a:cubicBezTo>
                  <a:cubicBezTo>
                    <a:pt x="31" y="2"/>
                    <a:pt x="25" y="2"/>
                    <a:pt x="21" y="2"/>
                  </a:cubicBezTo>
                  <a:cubicBezTo>
                    <a:pt x="21" y="3"/>
                    <a:pt x="20" y="4"/>
                    <a:pt x="19" y="4"/>
                  </a:cubicBezTo>
                  <a:cubicBezTo>
                    <a:pt x="16" y="4"/>
                    <a:pt x="12" y="7"/>
                    <a:pt x="12" y="10"/>
                  </a:cubicBezTo>
                  <a:cubicBezTo>
                    <a:pt x="11" y="13"/>
                    <a:pt x="4" y="16"/>
                    <a:pt x="2" y="22"/>
                  </a:cubicBezTo>
                  <a:cubicBezTo>
                    <a:pt x="0" y="28"/>
                    <a:pt x="1" y="30"/>
                    <a:pt x="4" y="27"/>
                  </a:cubicBezTo>
                  <a:cubicBezTo>
                    <a:pt x="7" y="23"/>
                    <a:pt x="11" y="24"/>
                    <a:pt x="11" y="27"/>
                  </a:cubicBezTo>
                  <a:cubicBezTo>
                    <a:pt x="11" y="30"/>
                    <a:pt x="15" y="30"/>
                    <a:pt x="13" y="34"/>
                  </a:cubicBezTo>
                  <a:cubicBezTo>
                    <a:pt x="13" y="34"/>
                    <a:pt x="13" y="34"/>
                    <a:pt x="13" y="35"/>
                  </a:cubicBezTo>
                  <a:cubicBezTo>
                    <a:pt x="18" y="34"/>
                    <a:pt x="24" y="34"/>
                    <a:pt x="26" y="34"/>
                  </a:cubicBezTo>
                  <a:cubicBezTo>
                    <a:pt x="29" y="34"/>
                    <a:pt x="32" y="24"/>
                    <a:pt x="33" y="23"/>
                  </a:cubicBezTo>
                  <a:cubicBezTo>
                    <a:pt x="34" y="22"/>
                    <a:pt x="38" y="30"/>
                    <a:pt x="41" y="33"/>
                  </a:cubicBezTo>
                  <a:cubicBezTo>
                    <a:pt x="45" y="36"/>
                    <a:pt x="45" y="31"/>
                    <a:pt x="45" y="28"/>
                  </a:cubicBezTo>
                  <a:cubicBezTo>
                    <a:pt x="45" y="25"/>
                    <a:pt x="48" y="25"/>
                    <a:pt x="50" y="25"/>
                  </a:cubicBezTo>
                  <a:cubicBezTo>
                    <a:pt x="52" y="25"/>
                    <a:pt x="57" y="26"/>
                    <a:pt x="57" y="23"/>
                  </a:cubicBezTo>
                  <a:cubicBezTo>
                    <a:pt x="57" y="20"/>
                    <a:pt x="60" y="22"/>
                    <a:pt x="61" y="22"/>
                  </a:cubicBezTo>
                  <a:cubicBezTo>
                    <a:pt x="63" y="22"/>
                    <a:pt x="64" y="18"/>
                    <a:pt x="64" y="18"/>
                  </a:cubicBezTo>
                  <a:cubicBezTo>
                    <a:pt x="66" y="16"/>
                    <a:pt x="66" y="16"/>
                    <a:pt x="66" y="16"/>
                  </a:cubicBezTo>
                  <a:cubicBezTo>
                    <a:pt x="64" y="14"/>
                    <a:pt x="61" y="14"/>
                    <a:pt x="59"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4" name="Freeform 262"/>
            <p:cNvSpPr/>
            <p:nvPr/>
          </p:nvSpPr>
          <p:spPr>
            <a:xfrm>
              <a:off x="4933951" y="2286000"/>
              <a:ext cx="220663" cy="250825"/>
            </a:xfrm>
            <a:custGeom>
              <a:gdLst>
                <a:gd name="T0" fmla="*/ 17 w 130"/>
                <a:gd name="T1" fmla="*/ 38 h 147"/>
                <a:gd name="T2" fmla="*/ 10 w 130"/>
                <a:gd name="T3" fmla="*/ 45 h 147"/>
                <a:gd name="T4" fmla="*/ 14 w 130"/>
                <a:gd name="T5" fmla="*/ 53 h 147"/>
                <a:gd name="T6" fmla="*/ 11 w 130"/>
                <a:gd name="T7" fmla="*/ 57 h 147"/>
                <a:gd name="T8" fmla="*/ 3 w 130"/>
                <a:gd name="T9" fmla="*/ 61 h 147"/>
                <a:gd name="T10" fmla="*/ 2 w 130"/>
                <a:gd name="T11" fmla="*/ 68 h 147"/>
                <a:gd name="T12" fmla="*/ 0 w 130"/>
                <a:gd name="T13" fmla="*/ 80 h 147"/>
                <a:gd name="T14" fmla="*/ 4 w 130"/>
                <a:gd name="T15" fmla="*/ 89 h 147"/>
                <a:gd name="T16" fmla="*/ 1 w 130"/>
                <a:gd name="T17" fmla="*/ 94 h 147"/>
                <a:gd name="T18" fmla="*/ 6 w 130"/>
                <a:gd name="T19" fmla="*/ 106 h 147"/>
                <a:gd name="T20" fmla="*/ 9 w 130"/>
                <a:gd name="T21" fmla="*/ 108 h 147"/>
                <a:gd name="T22" fmla="*/ 19 w 130"/>
                <a:gd name="T23" fmla="*/ 113 h 147"/>
                <a:gd name="T24" fmla="*/ 26 w 130"/>
                <a:gd name="T25" fmla="*/ 115 h 147"/>
                <a:gd name="T26" fmla="*/ 29 w 130"/>
                <a:gd name="T27" fmla="*/ 120 h 147"/>
                <a:gd name="T28" fmla="*/ 23 w 130"/>
                <a:gd name="T29" fmla="*/ 132 h 147"/>
                <a:gd name="T30" fmla="*/ 22 w 130"/>
                <a:gd name="T31" fmla="*/ 141 h 147"/>
                <a:gd name="T32" fmla="*/ 34 w 130"/>
                <a:gd name="T33" fmla="*/ 140 h 147"/>
                <a:gd name="T34" fmla="*/ 44 w 130"/>
                <a:gd name="T35" fmla="*/ 140 h 147"/>
                <a:gd name="T36" fmla="*/ 53 w 130"/>
                <a:gd name="T37" fmla="*/ 144 h 147"/>
                <a:gd name="T38" fmla="*/ 54 w 130"/>
                <a:gd name="T39" fmla="*/ 142 h 147"/>
                <a:gd name="T40" fmla="*/ 63 w 130"/>
                <a:gd name="T41" fmla="*/ 144 h 147"/>
                <a:gd name="T42" fmla="*/ 71 w 130"/>
                <a:gd name="T43" fmla="*/ 143 h 147"/>
                <a:gd name="T44" fmla="*/ 80 w 130"/>
                <a:gd name="T45" fmla="*/ 142 h 147"/>
                <a:gd name="T46" fmla="*/ 95 w 130"/>
                <a:gd name="T47" fmla="*/ 139 h 147"/>
                <a:gd name="T48" fmla="*/ 100 w 130"/>
                <a:gd name="T49" fmla="*/ 135 h 147"/>
                <a:gd name="T50" fmla="*/ 106 w 130"/>
                <a:gd name="T51" fmla="*/ 126 h 147"/>
                <a:gd name="T52" fmla="*/ 114 w 130"/>
                <a:gd name="T53" fmla="*/ 120 h 147"/>
                <a:gd name="T54" fmla="*/ 99 w 130"/>
                <a:gd name="T55" fmla="*/ 108 h 147"/>
                <a:gd name="T56" fmla="*/ 94 w 130"/>
                <a:gd name="T57" fmla="*/ 96 h 147"/>
                <a:gd name="T58" fmla="*/ 93 w 130"/>
                <a:gd name="T59" fmla="*/ 88 h 147"/>
                <a:gd name="T60" fmla="*/ 109 w 130"/>
                <a:gd name="T61" fmla="*/ 83 h 147"/>
                <a:gd name="T62" fmla="*/ 120 w 130"/>
                <a:gd name="T63" fmla="*/ 77 h 147"/>
                <a:gd name="T64" fmla="*/ 128 w 130"/>
                <a:gd name="T65" fmla="*/ 77 h 147"/>
                <a:gd name="T66" fmla="*/ 129 w 130"/>
                <a:gd name="T67" fmla="*/ 69 h 147"/>
                <a:gd name="T68" fmla="*/ 125 w 130"/>
                <a:gd name="T69" fmla="*/ 57 h 147"/>
                <a:gd name="T70" fmla="*/ 123 w 130"/>
                <a:gd name="T71" fmla="*/ 49 h 147"/>
                <a:gd name="T72" fmla="*/ 120 w 130"/>
                <a:gd name="T73" fmla="*/ 42 h 147"/>
                <a:gd name="T74" fmla="*/ 119 w 130"/>
                <a:gd name="T75" fmla="*/ 37 h 147"/>
                <a:gd name="T76" fmla="*/ 119 w 130"/>
                <a:gd name="T77" fmla="*/ 21 h 147"/>
                <a:gd name="T78" fmla="*/ 119 w 130"/>
                <a:gd name="T79" fmla="*/ 20 h 147"/>
                <a:gd name="T80" fmla="*/ 118 w 130"/>
                <a:gd name="T81" fmla="*/ 18 h 147"/>
                <a:gd name="T82" fmla="*/ 109 w 130"/>
                <a:gd name="T83" fmla="*/ 13 h 147"/>
                <a:gd name="T84" fmla="*/ 111 w 130"/>
                <a:gd name="T85" fmla="*/ 5 h 147"/>
                <a:gd name="T86" fmla="*/ 98 w 130"/>
                <a:gd name="T87" fmla="*/ 8 h 147"/>
                <a:gd name="T88" fmla="*/ 81 w 130"/>
                <a:gd name="T89" fmla="*/ 18 h 147"/>
                <a:gd name="T90" fmla="*/ 74 w 130"/>
                <a:gd name="T91" fmla="*/ 12 h 147"/>
                <a:gd name="T92" fmla="*/ 69 w 130"/>
                <a:gd name="T93" fmla="*/ 9 h 147"/>
                <a:gd name="T94" fmla="*/ 58 w 130"/>
                <a:gd name="T95" fmla="*/ 4 h 147"/>
                <a:gd name="T96" fmla="*/ 57 w 130"/>
                <a:gd name="T97" fmla="*/ 1 h 147"/>
                <a:gd name="T98" fmla="*/ 52 w 130"/>
                <a:gd name="T99" fmla="*/ 1 h 147"/>
                <a:gd name="T100" fmla="*/ 38 w 130"/>
                <a:gd name="T101" fmla="*/ 0 h 147"/>
                <a:gd name="T102" fmla="*/ 41 w 130"/>
                <a:gd name="T103" fmla="*/ 7 h 147"/>
                <a:gd name="T104" fmla="*/ 45 w 130"/>
                <a:gd name="T105" fmla="*/ 19 h 147"/>
                <a:gd name="T106" fmla="*/ 39 w 130"/>
                <a:gd name="T107" fmla="*/ 25 h 147"/>
                <a:gd name="T108" fmla="*/ 28 w 130"/>
                <a:gd name="T109" fmla="*/ 23 h 147"/>
                <a:gd name="T110" fmla="*/ 17 w 130"/>
                <a:gd name="T111" fmla="*/ 25 h 147"/>
                <a:gd name="T112" fmla="*/ 16 w 130"/>
                <a:gd name="T113" fmla="*/ 28 h 147"/>
                <a:gd name="T114" fmla="*/ 17 w 130"/>
                <a:gd name="T115" fmla="*/ 38 h 1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47">
                  <a:moveTo>
                    <a:pt x="17" y="38"/>
                  </a:moveTo>
                  <a:cubicBezTo>
                    <a:pt x="13" y="43"/>
                    <a:pt x="9" y="44"/>
                    <a:pt x="10" y="45"/>
                  </a:cubicBezTo>
                  <a:cubicBezTo>
                    <a:pt x="10" y="46"/>
                    <a:pt x="16" y="50"/>
                    <a:pt x="14" y="53"/>
                  </a:cubicBezTo>
                  <a:cubicBezTo>
                    <a:pt x="13" y="55"/>
                    <a:pt x="11" y="54"/>
                    <a:pt x="11" y="57"/>
                  </a:cubicBezTo>
                  <a:cubicBezTo>
                    <a:pt x="11" y="61"/>
                    <a:pt x="5" y="61"/>
                    <a:pt x="3" y="61"/>
                  </a:cubicBezTo>
                  <a:cubicBezTo>
                    <a:pt x="1" y="61"/>
                    <a:pt x="3" y="65"/>
                    <a:pt x="2" y="68"/>
                  </a:cubicBezTo>
                  <a:cubicBezTo>
                    <a:pt x="1" y="71"/>
                    <a:pt x="1" y="77"/>
                    <a:pt x="0" y="80"/>
                  </a:cubicBezTo>
                  <a:cubicBezTo>
                    <a:pt x="0" y="82"/>
                    <a:pt x="5" y="87"/>
                    <a:pt x="4" y="89"/>
                  </a:cubicBezTo>
                  <a:cubicBezTo>
                    <a:pt x="4" y="91"/>
                    <a:pt x="0" y="93"/>
                    <a:pt x="1" y="94"/>
                  </a:cubicBezTo>
                  <a:cubicBezTo>
                    <a:pt x="2" y="96"/>
                    <a:pt x="5" y="98"/>
                    <a:pt x="6" y="106"/>
                  </a:cubicBezTo>
                  <a:cubicBezTo>
                    <a:pt x="7" y="107"/>
                    <a:pt x="9" y="107"/>
                    <a:pt x="9" y="108"/>
                  </a:cubicBezTo>
                  <a:cubicBezTo>
                    <a:pt x="11" y="111"/>
                    <a:pt x="14" y="113"/>
                    <a:pt x="19" y="113"/>
                  </a:cubicBezTo>
                  <a:cubicBezTo>
                    <a:pt x="23" y="113"/>
                    <a:pt x="24" y="116"/>
                    <a:pt x="26" y="115"/>
                  </a:cubicBezTo>
                  <a:cubicBezTo>
                    <a:pt x="28" y="115"/>
                    <a:pt x="33" y="117"/>
                    <a:pt x="29" y="120"/>
                  </a:cubicBezTo>
                  <a:cubicBezTo>
                    <a:pt x="25" y="124"/>
                    <a:pt x="24" y="128"/>
                    <a:pt x="23" y="132"/>
                  </a:cubicBezTo>
                  <a:cubicBezTo>
                    <a:pt x="23" y="135"/>
                    <a:pt x="23" y="138"/>
                    <a:pt x="22" y="141"/>
                  </a:cubicBezTo>
                  <a:cubicBezTo>
                    <a:pt x="26" y="141"/>
                    <a:pt x="32" y="141"/>
                    <a:pt x="34" y="140"/>
                  </a:cubicBezTo>
                  <a:cubicBezTo>
                    <a:pt x="38" y="139"/>
                    <a:pt x="40" y="139"/>
                    <a:pt x="44" y="140"/>
                  </a:cubicBezTo>
                  <a:cubicBezTo>
                    <a:pt x="47" y="141"/>
                    <a:pt x="50" y="142"/>
                    <a:pt x="53" y="144"/>
                  </a:cubicBezTo>
                  <a:cubicBezTo>
                    <a:pt x="53" y="143"/>
                    <a:pt x="53" y="142"/>
                    <a:pt x="54" y="142"/>
                  </a:cubicBezTo>
                  <a:cubicBezTo>
                    <a:pt x="57" y="142"/>
                    <a:pt x="61" y="147"/>
                    <a:pt x="63" y="144"/>
                  </a:cubicBezTo>
                  <a:cubicBezTo>
                    <a:pt x="65" y="141"/>
                    <a:pt x="69" y="142"/>
                    <a:pt x="71" y="143"/>
                  </a:cubicBezTo>
                  <a:cubicBezTo>
                    <a:pt x="74" y="144"/>
                    <a:pt x="77" y="145"/>
                    <a:pt x="80" y="142"/>
                  </a:cubicBezTo>
                  <a:cubicBezTo>
                    <a:pt x="82" y="140"/>
                    <a:pt x="92" y="138"/>
                    <a:pt x="95" y="139"/>
                  </a:cubicBezTo>
                  <a:cubicBezTo>
                    <a:pt x="97" y="140"/>
                    <a:pt x="103" y="143"/>
                    <a:pt x="100" y="135"/>
                  </a:cubicBezTo>
                  <a:cubicBezTo>
                    <a:pt x="98" y="127"/>
                    <a:pt x="105" y="129"/>
                    <a:pt x="106" y="126"/>
                  </a:cubicBezTo>
                  <a:cubicBezTo>
                    <a:pt x="107" y="123"/>
                    <a:pt x="116" y="122"/>
                    <a:pt x="114" y="120"/>
                  </a:cubicBezTo>
                  <a:cubicBezTo>
                    <a:pt x="113" y="117"/>
                    <a:pt x="102" y="111"/>
                    <a:pt x="99" y="108"/>
                  </a:cubicBezTo>
                  <a:cubicBezTo>
                    <a:pt x="96" y="106"/>
                    <a:pt x="96" y="99"/>
                    <a:pt x="94" y="96"/>
                  </a:cubicBezTo>
                  <a:cubicBezTo>
                    <a:pt x="93" y="93"/>
                    <a:pt x="89" y="89"/>
                    <a:pt x="93" y="88"/>
                  </a:cubicBezTo>
                  <a:cubicBezTo>
                    <a:pt x="98" y="87"/>
                    <a:pt x="105" y="86"/>
                    <a:pt x="109" y="83"/>
                  </a:cubicBezTo>
                  <a:cubicBezTo>
                    <a:pt x="112" y="79"/>
                    <a:pt x="119" y="79"/>
                    <a:pt x="120" y="77"/>
                  </a:cubicBezTo>
                  <a:cubicBezTo>
                    <a:pt x="122" y="75"/>
                    <a:pt x="127" y="79"/>
                    <a:pt x="128" y="77"/>
                  </a:cubicBezTo>
                  <a:cubicBezTo>
                    <a:pt x="130" y="75"/>
                    <a:pt x="130" y="71"/>
                    <a:pt x="129" y="69"/>
                  </a:cubicBezTo>
                  <a:cubicBezTo>
                    <a:pt x="127" y="67"/>
                    <a:pt x="125" y="63"/>
                    <a:pt x="125" y="57"/>
                  </a:cubicBezTo>
                  <a:cubicBezTo>
                    <a:pt x="125" y="52"/>
                    <a:pt x="123" y="52"/>
                    <a:pt x="123" y="49"/>
                  </a:cubicBezTo>
                  <a:cubicBezTo>
                    <a:pt x="123" y="47"/>
                    <a:pt x="122" y="44"/>
                    <a:pt x="120" y="42"/>
                  </a:cubicBezTo>
                  <a:cubicBezTo>
                    <a:pt x="118" y="41"/>
                    <a:pt x="117" y="40"/>
                    <a:pt x="119" y="37"/>
                  </a:cubicBezTo>
                  <a:cubicBezTo>
                    <a:pt x="121" y="33"/>
                    <a:pt x="120" y="24"/>
                    <a:pt x="119" y="21"/>
                  </a:cubicBezTo>
                  <a:cubicBezTo>
                    <a:pt x="119" y="20"/>
                    <a:pt x="119" y="20"/>
                    <a:pt x="119" y="20"/>
                  </a:cubicBezTo>
                  <a:cubicBezTo>
                    <a:pt x="119" y="19"/>
                    <a:pt x="118" y="19"/>
                    <a:pt x="118" y="18"/>
                  </a:cubicBezTo>
                  <a:cubicBezTo>
                    <a:pt x="117" y="14"/>
                    <a:pt x="115" y="13"/>
                    <a:pt x="109" y="13"/>
                  </a:cubicBezTo>
                  <a:cubicBezTo>
                    <a:pt x="104" y="13"/>
                    <a:pt x="113" y="7"/>
                    <a:pt x="111" y="5"/>
                  </a:cubicBezTo>
                  <a:cubicBezTo>
                    <a:pt x="108" y="2"/>
                    <a:pt x="103" y="10"/>
                    <a:pt x="98" y="8"/>
                  </a:cubicBezTo>
                  <a:cubicBezTo>
                    <a:pt x="93" y="6"/>
                    <a:pt x="86" y="14"/>
                    <a:pt x="81" y="18"/>
                  </a:cubicBezTo>
                  <a:cubicBezTo>
                    <a:pt x="77" y="21"/>
                    <a:pt x="70" y="17"/>
                    <a:pt x="74" y="12"/>
                  </a:cubicBezTo>
                  <a:cubicBezTo>
                    <a:pt x="77" y="7"/>
                    <a:pt x="74" y="7"/>
                    <a:pt x="69" y="9"/>
                  </a:cubicBezTo>
                  <a:cubicBezTo>
                    <a:pt x="63" y="11"/>
                    <a:pt x="57" y="9"/>
                    <a:pt x="58" y="4"/>
                  </a:cubicBezTo>
                  <a:cubicBezTo>
                    <a:pt x="58" y="3"/>
                    <a:pt x="58" y="2"/>
                    <a:pt x="57" y="1"/>
                  </a:cubicBezTo>
                  <a:cubicBezTo>
                    <a:pt x="55" y="1"/>
                    <a:pt x="53" y="1"/>
                    <a:pt x="52" y="1"/>
                  </a:cubicBezTo>
                  <a:cubicBezTo>
                    <a:pt x="49" y="0"/>
                    <a:pt x="44" y="0"/>
                    <a:pt x="38" y="0"/>
                  </a:cubicBezTo>
                  <a:cubicBezTo>
                    <a:pt x="40" y="2"/>
                    <a:pt x="42" y="5"/>
                    <a:pt x="41" y="7"/>
                  </a:cubicBezTo>
                  <a:cubicBezTo>
                    <a:pt x="39" y="10"/>
                    <a:pt x="42" y="14"/>
                    <a:pt x="45" y="19"/>
                  </a:cubicBezTo>
                  <a:cubicBezTo>
                    <a:pt x="48" y="24"/>
                    <a:pt x="39" y="21"/>
                    <a:pt x="39" y="25"/>
                  </a:cubicBezTo>
                  <a:cubicBezTo>
                    <a:pt x="38" y="28"/>
                    <a:pt x="30" y="25"/>
                    <a:pt x="28" y="23"/>
                  </a:cubicBezTo>
                  <a:cubicBezTo>
                    <a:pt x="25" y="22"/>
                    <a:pt x="17" y="23"/>
                    <a:pt x="17" y="25"/>
                  </a:cubicBezTo>
                  <a:cubicBezTo>
                    <a:pt x="17" y="26"/>
                    <a:pt x="17" y="27"/>
                    <a:pt x="16" y="28"/>
                  </a:cubicBezTo>
                  <a:cubicBezTo>
                    <a:pt x="18" y="32"/>
                    <a:pt x="18" y="36"/>
                    <a:pt x="17"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5" name="Freeform 263"/>
            <p:cNvSpPr/>
            <p:nvPr/>
          </p:nvSpPr>
          <p:spPr>
            <a:xfrm>
              <a:off x="5294313" y="1685925"/>
              <a:ext cx="260350" cy="414338"/>
            </a:xfrm>
            <a:custGeom>
              <a:gdLst>
                <a:gd name="T0" fmla="*/ 129 w 153"/>
                <a:gd name="T1" fmla="*/ 205 h 244"/>
                <a:gd name="T2" fmla="*/ 151 w 153"/>
                <a:gd name="T3" fmla="*/ 184 h 244"/>
                <a:gd name="T4" fmla="*/ 147 w 153"/>
                <a:gd name="T5" fmla="*/ 173 h 244"/>
                <a:gd name="T6" fmla="*/ 129 w 153"/>
                <a:gd name="T7" fmla="*/ 158 h 244"/>
                <a:gd name="T8" fmla="*/ 138 w 153"/>
                <a:gd name="T9" fmla="*/ 150 h 244"/>
                <a:gd name="T10" fmla="*/ 130 w 153"/>
                <a:gd name="T11" fmla="*/ 143 h 244"/>
                <a:gd name="T12" fmla="*/ 132 w 153"/>
                <a:gd name="T13" fmla="*/ 135 h 244"/>
                <a:gd name="T14" fmla="*/ 125 w 153"/>
                <a:gd name="T15" fmla="*/ 131 h 244"/>
                <a:gd name="T16" fmla="*/ 128 w 153"/>
                <a:gd name="T17" fmla="*/ 126 h 244"/>
                <a:gd name="T18" fmla="*/ 126 w 153"/>
                <a:gd name="T19" fmla="*/ 115 h 244"/>
                <a:gd name="T20" fmla="*/ 131 w 153"/>
                <a:gd name="T21" fmla="*/ 106 h 244"/>
                <a:gd name="T22" fmla="*/ 117 w 153"/>
                <a:gd name="T23" fmla="*/ 84 h 244"/>
                <a:gd name="T24" fmla="*/ 121 w 153"/>
                <a:gd name="T25" fmla="*/ 76 h 244"/>
                <a:gd name="T26" fmla="*/ 130 w 153"/>
                <a:gd name="T27" fmla="*/ 65 h 244"/>
                <a:gd name="T28" fmla="*/ 120 w 153"/>
                <a:gd name="T29" fmla="*/ 54 h 244"/>
                <a:gd name="T30" fmla="*/ 111 w 153"/>
                <a:gd name="T31" fmla="*/ 49 h 244"/>
                <a:gd name="T32" fmla="*/ 109 w 153"/>
                <a:gd name="T33" fmla="*/ 41 h 244"/>
                <a:gd name="T34" fmla="*/ 111 w 153"/>
                <a:gd name="T35" fmla="*/ 33 h 244"/>
                <a:gd name="T36" fmla="*/ 117 w 153"/>
                <a:gd name="T37" fmla="*/ 29 h 244"/>
                <a:gd name="T38" fmla="*/ 120 w 153"/>
                <a:gd name="T39" fmla="*/ 24 h 244"/>
                <a:gd name="T40" fmla="*/ 120 w 153"/>
                <a:gd name="T41" fmla="*/ 16 h 244"/>
                <a:gd name="T42" fmla="*/ 105 w 153"/>
                <a:gd name="T43" fmla="*/ 5 h 244"/>
                <a:gd name="T44" fmla="*/ 93 w 153"/>
                <a:gd name="T45" fmla="*/ 5 h 244"/>
                <a:gd name="T46" fmla="*/ 78 w 153"/>
                <a:gd name="T47" fmla="*/ 9 h 244"/>
                <a:gd name="T48" fmla="*/ 69 w 153"/>
                <a:gd name="T49" fmla="*/ 18 h 244"/>
                <a:gd name="T50" fmla="*/ 67 w 153"/>
                <a:gd name="T51" fmla="*/ 31 h 244"/>
                <a:gd name="T52" fmla="*/ 60 w 153"/>
                <a:gd name="T53" fmla="*/ 39 h 244"/>
                <a:gd name="T54" fmla="*/ 52 w 153"/>
                <a:gd name="T55" fmla="*/ 37 h 244"/>
                <a:gd name="T56" fmla="*/ 41 w 153"/>
                <a:gd name="T57" fmla="*/ 36 h 244"/>
                <a:gd name="T58" fmla="*/ 25 w 153"/>
                <a:gd name="T59" fmla="*/ 36 h 244"/>
                <a:gd name="T60" fmla="*/ 9 w 153"/>
                <a:gd name="T61" fmla="*/ 24 h 244"/>
                <a:gd name="T62" fmla="*/ 0 w 153"/>
                <a:gd name="T63" fmla="*/ 31 h 244"/>
                <a:gd name="T64" fmla="*/ 15 w 153"/>
                <a:gd name="T65" fmla="*/ 43 h 244"/>
                <a:gd name="T66" fmla="*/ 36 w 153"/>
                <a:gd name="T67" fmla="*/ 55 h 244"/>
                <a:gd name="T68" fmla="*/ 37 w 153"/>
                <a:gd name="T69" fmla="*/ 69 h 244"/>
                <a:gd name="T70" fmla="*/ 40 w 153"/>
                <a:gd name="T71" fmla="*/ 82 h 244"/>
                <a:gd name="T72" fmla="*/ 40 w 153"/>
                <a:gd name="T73" fmla="*/ 94 h 244"/>
                <a:gd name="T74" fmla="*/ 42 w 153"/>
                <a:gd name="T75" fmla="*/ 102 h 244"/>
                <a:gd name="T76" fmla="*/ 44 w 153"/>
                <a:gd name="T77" fmla="*/ 109 h 244"/>
                <a:gd name="T78" fmla="*/ 56 w 153"/>
                <a:gd name="T79" fmla="*/ 114 h 244"/>
                <a:gd name="T80" fmla="*/ 61 w 153"/>
                <a:gd name="T81" fmla="*/ 125 h 244"/>
                <a:gd name="T82" fmla="*/ 59 w 153"/>
                <a:gd name="T83" fmla="*/ 130 h 244"/>
                <a:gd name="T84" fmla="*/ 51 w 153"/>
                <a:gd name="T85" fmla="*/ 137 h 244"/>
                <a:gd name="T86" fmla="*/ 36 w 153"/>
                <a:gd name="T87" fmla="*/ 151 h 244"/>
                <a:gd name="T88" fmla="*/ 27 w 153"/>
                <a:gd name="T89" fmla="*/ 158 h 244"/>
                <a:gd name="T90" fmla="*/ 20 w 153"/>
                <a:gd name="T91" fmla="*/ 166 h 244"/>
                <a:gd name="T92" fmla="*/ 9 w 153"/>
                <a:gd name="T93" fmla="*/ 171 h 244"/>
                <a:gd name="T94" fmla="*/ 3 w 153"/>
                <a:gd name="T95" fmla="*/ 180 h 244"/>
                <a:gd name="T96" fmla="*/ 3 w 153"/>
                <a:gd name="T97" fmla="*/ 189 h 244"/>
                <a:gd name="T98" fmla="*/ 5 w 153"/>
                <a:gd name="T99" fmla="*/ 199 h 244"/>
                <a:gd name="T100" fmla="*/ 7 w 153"/>
                <a:gd name="T101" fmla="*/ 215 h 244"/>
                <a:gd name="T102" fmla="*/ 4 w 153"/>
                <a:gd name="T103" fmla="*/ 230 h 244"/>
                <a:gd name="T104" fmla="*/ 17 w 153"/>
                <a:gd name="T105" fmla="*/ 235 h 244"/>
                <a:gd name="T106" fmla="*/ 26 w 153"/>
                <a:gd name="T107" fmla="*/ 240 h 244"/>
                <a:gd name="T108" fmla="*/ 42 w 153"/>
                <a:gd name="T109" fmla="*/ 244 h 244"/>
                <a:gd name="T110" fmla="*/ 87 w 153"/>
                <a:gd name="T111" fmla="*/ 233 h 244"/>
                <a:gd name="T112" fmla="*/ 100 w 153"/>
                <a:gd name="T113" fmla="*/ 232 h 244"/>
                <a:gd name="T114" fmla="*/ 107 w 153"/>
                <a:gd name="T115" fmla="*/ 223 h 244"/>
                <a:gd name="T116" fmla="*/ 129 w 153"/>
                <a:gd name="T117" fmla="*/ 205 h 2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244">
                  <a:moveTo>
                    <a:pt x="129" y="205"/>
                  </a:moveTo>
                  <a:cubicBezTo>
                    <a:pt x="133" y="197"/>
                    <a:pt x="148" y="191"/>
                    <a:pt x="151" y="184"/>
                  </a:cubicBezTo>
                  <a:cubicBezTo>
                    <a:pt x="152" y="181"/>
                    <a:pt x="153" y="179"/>
                    <a:pt x="147" y="173"/>
                  </a:cubicBezTo>
                  <a:cubicBezTo>
                    <a:pt x="141" y="166"/>
                    <a:pt x="129" y="162"/>
                    <a:pt x="129" y="158"/>
                  </a:cubicBezTo>
                  <a:cubicBezTo>
                    <a:pt x="128" y="155"/>
                    <a:pt x="138" y="155"/>
                    <a:pt x="138" y="150"/>
                  </a:cubicBezTo>
                  <a:cubicBezTo>
                    <a:pt x="137" y="146"/>
                    <a:pt x="132" y="146"/>
                    <a:pt x="130" y="143"/>
                  </a:cubicBezTo>
                  <a:cubicBezTo>
                    <a:pt x="128" y="139"/>
                    <a:pt x="132" y="137"/>
                    <a:pt x="132" y="135"/>
                  </a:cubicBezTo>
                  <a:cubicBezTo>
                    <a:pt x="132" y="134"/>
                    <a:pt x="125" y="133"/>
                    <a:pt x="125" y="131"/>
                  </a:cubicBezTo>
                  <a:cubicBezTo>
                    <a:pt x="124" y="128"/>
                    <a:pt x="129" y="129"/>
                    <a:pt x="128" y="126"/>
                  </a:cubicBezTo>
                  <a:cubicBezTo>
                    <a:pt x="127" y="124"/>
                    <a:pt x="123" y="119"/>
                    <a:pt x="126" y="115"/>
                  </a:cubicBezTo>
                  <a:cubicBezTo>
                    <a:pt x="129" y="111"/>
                    <a:pt x="135" y="115"/>
                    <a:pt x="131" y="106"/>
                  </a:cubicBezTo>
                  <a:cubicBezTo>
                    <a:pt x="126" y="98"/>
                    <a:pt x="119" y="87"/>
                    <a:pt x="117" y="84"/>
                  </a:cubicBezTo>
                  <a:cubicBezTo>
                    <a:pt x="115" y="82"/>
                    <a:pt x="119" y="78"/>
                    <a:pt x="121" y="76"/>
                  </a:cubicBezTo>
                  <a:cubicBezTo>
                    <a:pt x="124" y="74"/>
                    <a:pt x="130" y="68"/>
                    <a:pt x="130" y="65"/>
                  </a:cubicBezTo>
                  <a:cubicBezTo>
                    <a:pt x="130" y="63"/>
                    <a:pt x="122" y="56"/>
                    <a:pt x="120" y="54"/>
                  </a:cubicBezTo>
                  <a:cubicBezTo>
                    <a:pt x="118" y="53"/>
                    <a:pt x="113" y="54"/>
                    <a:pt x="111" y="49"/>
                  </a:cubicBezTo>
                  <a:cubicBezTo>
                    <a:pt x="109" y="45"/>
                    <a:pt x="107" y="44"/>
                    <a:pt x="109" y="41"/>
                  </a:cubicBezTo>
                  <a:cubicBezTo>
                    <a:pt x="111" y="38"/>
                    <a:pt x="111" y="36"/>
                    <a:pt x="111" y="33"/>
                  </a:cubicBezTo>
                  <a:cubicBezTo>
                    <a:pt x="111" y="31"/>
                    <a:pt x="116" y="33"/>
                    <a:pt x="117" y="29"/>
                  </a:cubicBezTo>
                  <a:cubicBezTo>
                    <a:pt x="117" y="27"/>
                    <a:pt x="118" y="25"/>
                    <a:pt x="120" y="24"/>
                  </a:cubicBezTo>
                  <a:cubicBezTo>
                    <a:pt x="120" y="21"/>
                    <a:pt x="120" y="18"/>
                    <a:pt x="120" y="16"/>
                  </a:cubicBezTo>
                  <a:cubicBezTo>
                    <a:pt x="119" y="11"/>
                    <a:pt x="107" y="10"/>
                    <a:pt x="105" y="5"/>
                  </a:cubicBezTo>
                  <a:cubicBezTo>
                    <a:pt x="102" y="0"/>
                    <a:pt x="95" y="2"/>
                    <a:pt x="93" y="5"/>
                  </a:cubicBezTo>
                  <a:cubicBezTo>
                    <a:pt x="91" y="8"/>
                    <a:pt x="78" y="5"/>
                    <a:pt x="78" y="9"/>
                  </a:cubicBezTo>
                  <a:cubicBezTo>
                    <a:pt x="78" y="13"/>
                    <a:pt x="69" y="14"/>
                    <a:pt x="69" y="18"/>
                  </a:cubicBezTo>
                  <a:cubicBezTo>
                    <a:pt x="69" y="23"/>
                    <a:pt x="73" y="31"/>
                    <a:pt x="67" y="31"/>
                  </a:cubicBezTo>
                  <a:cubicBezTo>
                    <a:pt x="60" y="30"/>
                    <a:pt x="64" y="34"/>
                    <a:pt x="60" y="39"/>
                  </a:cubicBezTo>
                  <a:cubicBezTo>
                    <a:pt x="56" y="45"/>
                    <a:pt x="56" y="36"/>
                    <a:pt x="52" y="37"/>
                  </a:cubicBezTo>
                  <a:cubicBezTo>
                    <a:pt x="48" y="38"/>
                    <a:pt x="43" y="33"/>
                    <a:pt x="41" y="36"/>
                  </a:cubicBezTo>
                  <a:cubicBezTo>
                    <a:pt x="39" y="40"/>
                    <a:pt x="32" y="37"/>
                    <a:pt x="25" y="36"/>
                  </a:cubicBezTo>
                  <a:cubicBezTo>
                    <a:pt x="18" y="34"/>
                    <a:pt x="15" y="25"/>
                    <a:pt x="9" y="24"/>
                  </a:cubicBezTo>
                  <a:cubicBezTo>
                    <a:pt x="6" y="23"/>
                    <a:pt x="2" y="26"/>
                    <a:pt x="0" y="31"/>
                  </a:cubicBezTo>
                  <a:cubicBezTo>
                    <a:pt x="5" y="34"/>
                    <a:pt x="8" y="39"/>
                    <a:pt x="15" y="43"/>
                  </a:cubicBezTo>
                  <a:cubicBezTo>
                    <a:pt x="23" y="46"/>
                    <a:pt x="37" y="50"/>
                    <a:pt x="36" y="55"/>
                  </a:cubicBezTo>
                  <a:cubicBezTo>
                    <a:pt x="35" y="60"/>
                    <a:pt x="33" y="67"/>
                    <a:pt x="37" y="69"/>
                  </a:cubicBezTo>
                  <a:cubicBezTo>
                    <a:pt x="40" y="71"/>
                    <a:pt x="36" y="80"/>
                    <a:pt x="40" y="82"/>
                  </a:cubicBezTo>
                  <a:cubicBezTo>
                    <a:pt x="44" y="84"/>
                    <a:pt x="43" y="94"/>
                    <a:pt x="40" y="94"/>
                  </a:cubicBezTo>
                  <a:cubicBezTo>
                    <a:pt x="36" y="94"/>
                    <a:pt x="40" y="100"/>
                    <a:pt x="42" y="102"/>
                  </a:cubicBezTo>
                  <a:cubicBezTo>
                    <a:pt x="43" y="103"/>
                    <a:pt x="44" y="106"/>
                    <a:pt x="44" y="109"/>
                  </a:cubicBezTo>
                  <a:cubicBezTo>
                    <a:pt x="49" y="110"/>
                    <a:pt x="52" y="112"/>
                    <a:pt x="56" y="114"/>
                  </a:cubicBezTo>
                  <a:cubicBezTo>
                    <a:pt x="62" y="117"/>
                    <a:pt x="61" y="121"/>
                    <a:pt x="61" y="125"/>
                  </a:cubicBezTo>
                  <a:cubicBezTo>
                    <a:pt x="61" y="130"/>
                    <a:pt x="62" y="132"/>
                    <a:pt x="59" y="130"/>
                  </a:cubicBezTo>
                  <a:cubicBezTo>
                    <a:pt x="56" y="128"/>
                    <a:pt x="52" y="130"/>
                    <a:pt x="51" y="137"/>
                  </a:cubicBezTo>
                  <a:cubicBezTo>
                    <a:pt x="49" y="143"/>
                    <a:pt x="41" y="151"/>
                    <a:pt x="36" y="151"/>
                  </a:cubicBezTo>
                  <a:cubicBezTo>
                    <a:pt x="31" y="152"/>
                    <a:pt x="31" y="157"/>
                    <a:pt x="27" y="158"/>
                  </a:cubicBezTo>
                  <a:cubicBezTo>
                    <a:pt x="23" y="159"/>
                    <a:pt x="19" y="161"/>
                    <a:pt x="20" y="166"/>
                  </a:cubicBezTo>
                  <a:cubicBezTo>
                    <a:pt x="20" y="171"/>
                    <a:pt x="14" y="171"/>
                    <a:pt x="9" y="171"/>
                  </a:cubicBezTo>
                  <a:cubicBezTo>
                    <a:pt x="5" y="171"/>
                    <a:pt x="6" y="178"/>
                    <a:pt x="3" y="180"/>
                  </a:cubicBezTo>
                  <a:cubicBezTo>
                    <a:pt x="0" y="182"/>
                    <a:pt x="0" y="185"/>
                    <a:pt x="3" y="189"/>
                  </a:cubicBezTo>
                  <a:cubicBezTo>
                    <a:pt x="6" y="192"/>
                    <a:pt x="4" y="196"/>
                    <a:pt x="5" y="199"/>
                  </a:cubicBezTo>
                  <a:cubicBezTo>
                    <a:pt x="6" y="201"/>
                    <a:pt x="11" y="208"/>
                    <a:pt x="7" y="215"/>
                  </a:cubicBezTo>
                  <a:cubicBezTo>
                    <a:pt x="4" y="222"/>
                    <a:pt x="1" y="231"/>
                    <a:pt x="4" y="230"/>
                  </a:cubicBezTo>
                  <a:cubicBezTo>
                    <a:pt x="6" y="229"/>
                    <a:pt x="13" y="236"/>
                    <a:pt x="17" y="235"/>
                  </a:cubicBezTo>
                  <a:cubicBezTo>
                    <a:pt x="21" y="235"/>
                    <a:pt x="22" y="241"/>
                    <a:pt x="26" y="240"/>
                  </a:cubicBezTo>
                  <a:cubicBezTo>
                    <a:pt x="30" y="239"/>
                    <a:pt x="30" y="244"/>
                    <a:pt x="42" y="244"/>
                  </a:cubicBezTo>
                  <a:cubicBezTo>
                    <a:pt x="54" y="243"/>
                    <a:pt x="78" y="233"/>
                    <a:pt x="87" y="233"/>
                  </a:cubicBezTo>
                  <a:cubicBezTo>
                    <a:pt x="92" y="233"/>
                    <a:pt x="97" y="233"/>
                    <a:pt x="100" y="232"/>
                  </a:cubicBezTo>
                  <a:cubicBezTo>
                    <a:pt x="102" y="229"/>
                    <a:pt x="105" y="225"/>
                    <a:pt x="107" y="223"/>
                  </a:cubicBezTo>
                  <a:cubicBezTo>
                    <a:pt x="113" y="217"/>
                    <a:pt x="126" y="213"/>
                    <a:pt x="129" y="20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6" name="Freeform 264"/>
            <p:cNvSpPr/>
            <p:nvPr/>
          </p:nvSpPr>
          <p:spPr>
            <a:xfrm>
              <a:off x="5626101" y="2981325"/>
              <a:ext cx="519113" cy="417513"/>
            </a:xfrm>
            <a:custGeom>
              <a:gdLst>
                <a:gd name="T0" fmla="*/ 183 w 306"/>
                <a:gd name="T1" fmla="*/ 52 h 246"/>
                <a:gd name="T2" fmla="*/ 157 w 306"/>
                <a:gd name="T3" fmla="*/ 49 h 246"/>
                <a:gd name="T4" fmla="*/ 140 w 306"/>
                <a:gd name="T5" fmla="*/ 43 h 246"/>
                <a:gd name="T6" fmla="*/ 105 w 306"/>
                <a:gd name="T7" fmla="*/ 17 h 246"/>
                <a:gd name="T8" fmla="*/ 76 w 306"/>
                <a:gd name="T9" fmla="*/ 1 h 246"/>
                <a:gd name="T10" fmla="*/ 64 w 306"/>
                <a:gd name="T11" fmla="*/ 1 h 246"/>
                <a:gd name="T12" fmla="*/ 49 w 306"/>
                <a:gd name="T13" fmla="*/ 5 h 246"/>
                <a:gd name="T14" fmla="*/ 35 w 306"/>
                <a:gd name="T15" fmla="*/ 15 h 246"/>
                <a:gd name="T16" fmla="*/ 46 w 306"/>
                <a:gd name="T17" fmla="*/ 27 h 246"/>
                <a:gd name="T18" fmla="*/ 37 w 306"/>
                <a:gd name="T19" fmla="*/ 34 h 246"/>
                <a:gd name="T20" fmla="*/ 28 w 306"/>
                <a:gd name="T21" fmla="*/ 38 h 246"/>
                <a:gd name="T22" fmla="*/ 17 w 306"/>
                <a:gd name="T23" fmla="*/ 47 h 246"/>
                <a:gd name="T24" fmla="*/ 2 w 306"/>
                <a:gd name="T25" fmla="*/ 40 h 246"/>
                <a:gd name="T26" fmla="*/ 1 w 306"/>
                <a:gd name="T27" fmla="*/ 44 h 246"/>
                <a:gd name="T28" fmla="*/ 0 w 306"/>
                <a:gd name="T29" fmla="*/ 48 h 246"/>
                <a:gd name="T30" fmla="*/ 3 w 306"/>
                <a:gd name="T31" fmla="*/ 65 h 246"/>
                <a:gd name="T32" fmla="*/ 14 w 306"/>
                <a:gd name="T33" fmla="*/ 79 h 246"/>
                <a:gd name="T34" fmla="*/ 36 w 306"/>
                <a:gd name="T35" fmla="*/ 112 h 246"/>
                <a:gd name="T36" fmla="*/ 47 w 306"/>
                <a:gd name="T37" fmla="*/ 128 h 246"/>
                <a:gd name="T38" fmla="*/ 60 w 306"/>
                <a:gd name="T39" fmla="*/ 145 h 246"/>
                <a:gd name="T40" fmla="*/ 63 w 306"/>
                <a:gd name="T41" fmla="*/ 161 h 246"/>
                <a:gd name="T42" fmla="*/ 75 w 306"/>
                <a:gd name="T43" fmla="*/ 185 h 246"/>
                <a:gd name="T44" fmla="*/ 92 w 306"/>
                <a:gd name="T45" fmla="*/ 204 h 246"/>
                <a:gd name="T46" fmla="*/ 105 w 306"/>
                <a:gd name="T47" fmla="*/ 226 h 246"/>
                <a:gd name="T48" fmla="*/ 110 w 306"/>
                <a:gd name="T49" fmla="*/ 238 h 246"/>
                <a:gd name="T50" fmla="*/ 115 w 306"/>
                <a:gd name="T51" fmla="*/ 246 h 246"/>
                <a:gd name="T52" fmla="*/ 122 w 306"/>
                <a:gd name="T53" fmla="*/ 242 h 246"/>
                <a:gd name="T54" fmla="*/ 121 w 306"/>
                <a:gd name="T55" fmla="*/ 235 h 246"/>
                <a:gd name="T56" fmla="*/ 128 w 306"/>
                <a:gd name="T57" fmla="*/ 229 h 246"/>
                <a:gd name="T58" fmla="*/ 138 w 306"/>
                <a:gd name="T59" fmla="*/ 231 h 246"/>
                <a:gd name="T60" fmla="*/ 156 w 306"/>
                <a:gd name="T61" fmla="*/ 232 h 246"/>
                <a:gd name="T62" fmla="*/ 177 w 306"/>
                <a:gd name="T63" fmla="*/ 236 h 246"/>
                <a:gd name="T64" fmla="*/ 187 w 306"/>
                <a:gd name="T65" fmla="*/ 232 h 246"/>
                <a:gd name="T66" fmla="*/ 209 w 306"/>
                <a:gd name="T67" fmla="*/ 213 h 246"/>
                <a:gd name="T68" fmla="*/ 238 w 306"/>
                <a:gd name="T69" fmla="*/ 211 h 246"/>
                <a:gd name="T70" fmla="*/ 296 w 306"/>
                <a:gd name="T71" fmla="*/ 192 h 246"/>
                <a:gd name="T72" fmla="*/ 306 w 306"/>
                <a:gd name="T73" fmla="*/ 161 h 246"/>
                <a:gd name="T74" fmla="*/ 299 w 306"/>
                <a:gd name="T75" fmla="*/ 151 h 246"/>
                <a:gd name="T76" fmla="*/ 262 w 306"/>
                <a:gd name="T77" fmla="*/ 147 h 246"/>
                <a:gd name="T78" fmla="*/ 251 w 306"/>
                <a:gd name="T79" fmla="*/ 131 h 246"/>
                <a:gd name="T80" fmla="*/ 245 w 306"/>
                <a:gd name="T81" fmla="*/ 122 h 246"/>
                <a:gd name="T82" fmla="*/ 233 w 306"/>
                <a:gd name="T83" fmla="*/ 114 h 246"/>
                <a:gd name="T84" fmla="*/ 225 w 306"/>
                <a:gd name="T85" fmla="*/ 98 h 246"/>
                <a:gd name="T86" fmla="*/ 219 w 306"/>
                <a:gd name="T87" fmla="*/ 82 h 246"/>
                <a:gd name="T88" fmla="*/ 204 w 306"/>
                <a:gd name="T89" fmla="*/ 65 h 246"/>
                <a:gd name="T90" fmla="*/ 202 w 306"/>
                <a:gd name="T91" fmla="*/ 59 h 246"/>
                <a:gd name="T92" fmla="*/ 191 w 306"/>
                <a:gd name="T93" fmla="*/ 58 h 246"/>
                <a:gd name="T94" fmla="*/ 183 w 306"/>
                <a:gd name="T95" fmla="*/ 52 h 2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6" h="246">
                  <a:moveTo>
                    <a:pt x="183" y="52"/>
                  </a:moveTo>
                  <a:cubicBezTo>
                    <a:pt x="183" y="52"/>
                    <a:pt x="161" y="49"/>
                    <a:pt x="157" y="49"/>
                  </a:cubicBezTo>
                  <a:cubicBezTo>
                    <a:pt x="154" y="49"/>
                    <a:pt x="145" y="48"/>
                    <a:pt x="140" y="43"/>
                  </a:cubicBezTo>
                  <a:cubicBezTo>
                    <a:pt x="135" y="39"/>
                    <a:pt x="110" y="20"/>
                    <a:pt x="105" y="17"/>
                  </a:cubicBezTo>
                  <a:cubicBezTo>
                    <a:pt x="101" y="15"/>
                    <a:pt x="82" y="1"/>
                    <a:pt x="76" y="1"/>
                  </a:cubicBezTo>
                  <a:cubicBezTo>
                    <a:pt x="71" y="0"/>
                    <a:pt x="71" y="1"/>
                    <a:pt x="64" y="1"/>
                  </a:cubicBezTo>
                  <a:cubicBezTo>
                    <a:pt x="58" y="1"/>
                    <a:pt x="61" y="5"/>
                    <a:pt x="49" y="5"/>
                  </a:cubicBezTo>
                  <a:cubicBezTo>
                    <a:pt x="38" y="6"/>
                    <a:pt x="32" y="13"/>
                    <a:pt x="35" y="15"/>
                  </a:cubicBezTo>
                  <a:cubicBezTo>
                    <a:pt x="39" y="16"/>
                    <a:pt x="49" y="25"/>
                    <a:pt x="46" y="27"/>
                  </a:cubicBezTo>
                  <a:cubicBezTo>
                    <a:pt x="43" y="29"/>
                    <a:pt x="42" y="34"/>
                    <a:pt x="37" y="34"/>
                  </a:cubicBezTo>
                  <a:cubicBezTo>
                    <a:pt x="33" y="34"/>
                    <a:pt x="28" y="35"/>
                    <a:pt x="28" y="38"/>
                  </a:cubicBezTo>
                  <a:cubicBezTo>
                    <a:pt x="28" y="42"/>
                    <a:pt x="22" y="47"/>
                    <a:pt x="17" y="47"/>
                  </a:cubicBezTo>
                  <a:cubicBezTo>
                    <a:pt x="14" y="46"/>
                    <a:pt x="7" y="43"/>
                    <a:pt x="2" y="40"/>
                  </a:cubicBezTo>
                  <a:cubicBezTo>
                    <a:pt x="1" y="44"/>
                    <a:pt x="1" y="44"/>
                    <a:pt x="1" y="44"/>
                  </a:cubicBezTo>
                  <a:cubicBezTo>
                    <a:pt x="0" y="48"/>
                    <a:pt x="0" y="48"/>
                    <a:pt x="0" y="48"/>
                  </a:cubicBezTo>
                  <a:cubicBezTo>
                    <a:pt x="1" y="51"/>
                    <a:pt x="0" y="64"/>
                    <a:pt x="3" y="65"/>
                  </a:cubicBezTo>
                  <a:cubicBezTo>
                    <a:pt x="6" y="66"/>
                    <a:pt x="8" y="72"/>
                    <a:pt x="14" y="79"/>
                  </a:cubicBezTo>
                  <a:cubicBezTo>
                    <a:pt x="21" y="87"/>
                    <a:pt x="35" y="107"/>
                    <a:pt x="36" y="112"/>
                  </a:cubicBezTo>
                  <a:cubicBezTo>
                    <a:pt x="36" y="117"/>
                    <a:pt x="38" y="122"/>
                    <a:pt x="47" y="128"/>
                  </a:cubicBezTo>
                  <a:cubicBezTo>
                    <a:pt x="55" y="134"/>
                    <a:pt x="55" y="141"/>
                    <a:pt x="60" y="145"/>
                  </a:cubicBezTo>
                  <a:cubicBezTo>
                    <a:pt x="64" y="148"/>
                    <a:pt x="63" y="152"/>
                    <a:pt x="63" y="161"/>
                  </a:cubicBezTo>
                  <a:cubicBezTo>
                    <a:pt x="64" y="169"/>
                    <a:pt x="68" y="180"/>
                    <a:pt x="75" y="185"/>
                  </a:cubicBezTo>
                  <a:cubicBezTo>
                    <a:pt x="83" y="190"/>
                    <a:pt x="88" y="195"/>
                    <a:pt x="92" y="204"/>
                  </a:cubicBezTo>
                  <a:cubicBezTo>
                    <a:pt x="96" y="214"/>
                    <a:pt x="100" y="222"/>
                    <a:pt x="105" y="226"/>
                  </a:cubicBezTo>
                  <a:cubicBezTo>
                    <a:pt x="110" y="231"/>
                    <a:pt x="108" y="234"/>
                    <a:pt x="110" y="238"/>
                  </a:cubicBezTo>
                  <a:cubicBezTo>
                    <a:pt x="112" y="240"/>
                    <a:pt x="114" y="243"/>
                    <a:pt x="115" y="246"/>
                  </a:cubicBezTo>
                  <a:cubicBezTo>
                    <a:pt x="119" y="244"/>
                    <a:pt x="122" y="243"/>
                    <a:pt x="122" y="242"/>
                  </a:cubicBezTo>
                  <a:cubicBezTo>
                    <a:pt x="123" y="241"/>
                    <a:pt x="120" y="236"/>
                    <a:pt x="121" y="235"/>
                  </a:cubicBezTo>
                  <a:cubicBezTo>
                    <a:pt x="123" y="233"/>
                    <a:pt x="125" y="230"/>
                    <a:pt x="128" y="229"/>
                  </a:cubicBezTo>
                  <a:cubicBezTo>
                    <a:pt x="130" y="228"/>
                    <a:pt x="133" y="232"/>
                    <a:pt x="138" y="231"/>
                  </a:cubicBezTo>
                  <a:cubicBezTo>
                    <a:pt x="144" y="230"/>
                    <a:pt x="155" y="231"/>
                    <a:pt x="156" y="232"/>
                  </a:cubicBezTo>
                  <a:cubicBezTo>
                    <a:pt x="158" y="234"/>
                    <a:pt x="173" y="233"/>
                    <a:pt x="177" y="236"/>
                  </a:cubicBezTo>
                  <a:cubicBezTo>
                    <a:pt x="180" y="239"/>
                    <a:pt x="184" y="238"/>
                    <a:pt x="187" y="232"/>
                  </a:cubicBezTo>
                  <a:cubicBezTo>
                    <a:pt x="189" y="226"/>
                    <a:pt x="207" y="214"/>
                    <a:pt x="209" y="213"/>
                  </a:cubicBezTo>
                  <a:cubicBezTo>
                    <a:pt x="212" y="211"/>
                    <a:pt x="230" y="213"/>
                    <a:pt x="238" y="211"/>
                  </a:cubicBezTo>
                  <a:cubicBezTo>
                    <a:pt x="245" y="209"/>
                    <a:pt x="294" y="193"/>
                    <a:pt x="296" y="192"/>
                  </a:cubicBezTo>
                  <a:cubicBezTo>
                    <a:pt x="299" y="190"/>
                    <a:pt x="306" y="164"/>
                    <a:pt x="306" y="161"/>
                  </a:cubicBezTo>
                  <a:cubicBezTo>
                    <a:pt x="306" y="158"/>
                    <a:pt x="303" y="151"/>
                    <a:pt x="299" y="151"/>
                  </a:cubicBezTo>
                  <a:cubicBezTo>
                    <a:pt x="295" y="151"/>
                    <a:pt x="264" y="148"/>
                    <a:pt x="262" y="147"/>
                  </a:cubicBezTo>
                  <a:cubicBezTo>
                    <a:pt x="261" y="146"/>
                    <a:pt x="253" y="140"/>
                    <a:pt x="251" y="131"/>
                  </a:cubicBezTo>
                  <a:cubicBezTo>
                    <a:pt x="249" y="129"/>
                    <a:pt x="246" y="125"/>
                    <a:pt x="245" y="122"/>
                  </a:cubicBezTo>
                  <a:cubicBezTo>
                    <a:pt x="242" y="122"/>
                    <a:pt x="236" y="122"/>
                    <a:pt x="233" y="114"/>
                  </a:cubicBezTo>
                  <a:cubicBezTo>
                    <a:pt x="230" y="112"/>
                    <a:pt x="223" y="101"/>
                    <a:pt x="225" y="98"/>
                  </a:cubicBezTo>
                  <a:cubicBezTo>
                    <a:pt x="229" y="94"/>
                    <a:pt x="224" y="86"/>
                    <a:pt x="219" y="82"/>
                  </a:cubicBezTo>
                  <a:cubicBezTo>
                    <a:pt x="214" y="78"/>
                    <a:pt x="205" y="70"/>
                    <a:pt x="204" y="65"/>
                  </a:cubicBezTo>
                  <a:cubicBezTo>
                    <a:pt x="204" y="64"/>
                    <a:pt x="203" y="61"/>
                    <a:pt x="202" y="59"/>
                  </a:cubicBezTo>
                  <a:cubicBezTo>
                    <a:pt x="191" y="58"/>
                    <a:pt x="191" y="58"/>
                    <a:pt x="191" y="58"/>
                  </a:cubicBezTo>
                  <a:lnTo>
                    <a:pt x="183" y="52"/>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7" name="Freeform 265"/>
            <p:cNvSpPr/>
            <p:nvPr/>
          </p:nvSpPr>
          <p:spPr>
            <a:xfrm>
              <a:off x="6053138" y="3173413"/>
              <a:ext cx="198438" cy="222250"/>
            </a:xfrm>
            <a:custGeom>
              <a:gdLst>
                <a:gd name="T0" fmla="*/ 58 w 117"/>
                <a:gd name="T1" fmla="*/ 3 h 131"/>
                <a:gd name="T2" fmla="*/ 58 w 117"/>
                <a:gd name="T3" fmla="*/ 14 h 131"/>
                <a:gd name="T4" fmla="*/ 49 w 117"/>
                <a:gd name="T5" fmla="*/ 26 h 131"/>
                <a:gd name="T6" fmla="*/ 44 w 117"/>
                <a:gd name="T7" fmla="*/ 38 h 131"/>
                <a:gd name="T8" fmla="*/ 47 w 117"/>
                <a:gd name="T9" fmla="*/ 38 h 131"/>
                <a:gd name="T10" fmla="*/ 54 w 117"/>
                <a:gd name="T11" fmla="*/ 48 h 131"/>
                <a:gd name="T12" fmla="*/ 44 w 117"/>
                <a:gd name="T13" fmla="*/ 79 h 131"/>
                <a:gd name="T14" fmla="*/ 0 w 117"/>
                <a:gd name="T15" fmla="*/ 94 h 131"/>
                <a:gd name="T16" fmla="*/ 18 w 117"/>
                <a:gd name="T17" fmla="*/ 131 h 131"/>
                <a:gd name="T18" fmla="*/ 21 w 117"/>
                <a:gd name="T19" fmla="*/ 129 h 131"/>
                <a:gd name="T20" fmla="*/ 45 w 117"/>
                <a:gd name="T21" fmla="*/ 125 h 131"/>
                <a:gd name="T22" fmla="*/ 51 w 117"/>
                <a:gd name="T23" fmla="*/ 113 h 131"/>
                <a:gd name="T24" fmla="*/ 67 w 117"/>
                <a:gd name="T25" fmla="*/ 111 h 131"/>
                <a:gd name="T26" fmla="*/ 76 w 117"/>
                <a:gd name="T27" fmla="*/ 97 h 131"/>
                <a:gd name="T28" fmla="*/ 85 w 117"/>
                <a:gd name="T29" fmla="*/ 93 h 131"/>
                <a:gd name="T30" fmla="*/ 90 w 117"/>
                <a:gd name="T31" fmla="*/ 73 h 131"/>
                <a:gd name="T32" fmla="*/ 102 w 117"/>
                <a:gd name="T33" fmla="*/ 65 h 131"/>
                <a:gd name="T34" fmla="*/ 114 w 117"/>
                <a:gd name="T35" fmla="*/ 48 h 131"/>
                <a:gd name="T36" fmla="*/ 113 w 117"/>
                <a:gd name="T37" fmla="*/ 40 h 131"/>
                <a:gd name="T38" fmla="*/ 101 w 117"/>
                <a:gd name="T39" fmla="*/ 25 h 131"/>
                <a:gd name="T40" fmla="*/ 76 w 117"/>
                <a:gd name="T41" fmla="*/ 16 h 131"/>
                <a:gd name="T42" fmla="*/ 69 w 117"/>
                <a:gd name="T43" fmla="*/ 0 h 131"/>
                <a:gd name="T44" fmla="*/ 64 w 117"/>
                <a:gd name="T45" fmla="*/ 3 h 131"/>
                <a:gd name="T46" fmla="*/ 58 w 117"/>
                <a:gd name="T47" fmla="*/ 3 h 1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31">
                  <a:moveTo>
                    <a:pt x="58" y="3"/>
                  </a:moveTo>
                  <a:cubicBezTo>
                    <a:pt x="58" y="14"/>
                    <a:pt x="58" y="14"/>
                    <a:pt x="58" y="14"/>
                  </a:cubicBezTo>
                  <a:cubicBezTo>
                    <a:pt x="49" y="26"/>
                    <a:pt x="49" y="26"/>
                    <a:pt x="49" y="26"/>
                  </a:cubicBezTo>
                  <a:cubicBezTo>
                    <a:pt x="44" y="38"/>
                    <a:pt x="44" y="38"/>
                    <a:pt x="44" y="38"/>
                  </a:cubicBezTo>
                  <a:cubicBezTo>
                    <a:pt x="45" y="38"/>
                    <a:pt x="46" y="38"/>
                    <a:pt x="47" y="38"/>
                  </a:cubicBezTo>
                  <a:cubicBezTo>
                    <a:pt x="51" y="38"/>
                    <a:pt x="54" y="45"/>
                    <a:pt x="54" y="48"/>
                  </a:cubicBezTo>
                  <a:cubicBezTo>
                    <a:pt x="54" y="51"/>
                    <a:pt x="47" y="77"/>
                    <a:pt x="44" y="79"/>
                  </a:cubicBezTo>
                  <a:cubicBezTo>
                    <a:pt x="43" y="80"/>
                    <a:pt x="17" y="88"/>
                    <a:pt x="0" y="94"/>
                  </a:cubicBezTo>
                  <a:cubicBezTo>
                    <a:pt x="4" y="101"/>
                    <a:pt x="11" y="117"/>
                    <a:pt x="18" y="131"/>
                  </a:cubicBezTo>
                  <a:cubicBezTo>
                    <a:pt x="19" y="130"/>
                    <a:pt x="20" y="130"/>
                    <a:pt x="21" y="129"/>
                  </a:cubicBezTo>
                  <a:cubicBezTo>
                    <a:pt x="30" y="124"/>
                    <a:pt x="39" y="126"/>
                    <a:pt x="45" y="125"/>
                  </a:cubicBezTo>
                  <a:cubicBezTo>
                    <a:pt x="51" y="123"/>
                    <a:pt x="45" y="118"/>
                    <a:pt x="51" y="113"/>
                  </a:cubicBezTo>
                  <a:cubicBezTo>
                    <a:pt x="56" y="109"/>
                    <a:pt x="64" y="112"/>
                    <a:pt x="67" y="111"/>
                  </a:cubicBezTo>
                  <a:cubicBezTo>
                    <a:pt x="69" y="109"/>
                    <a:pt x="71" y="99"/>
                    <a:pt x="76" y="97"/>
                  </a:cubicBezTo>
                  <a:cubicBezTo>
                    <a:pt x="81" y="95"/>
                    <a:pt x="86" y="97"/>
                    <a:pt x="85" y="93"/>
                  </a:cubicBezTo>
                  <a:cubicBezTo>
                    <a:pt x="85" y="89"/>
                    <a:pt x="86" y="74"/>
                    <a:pt x="90" y="73"/>
                  </a:cubicBezTo>
                  <a:cubicBezTo>
                    <a:pt x="95" y="72"/>
                    <a:pt x="102" y="67"/>
                    <a:pt x="102" y="65"/>
                  </a:cubicBezTo>
                  <a:cubicBezTo>
                    <a:pt x="102" y="62"/>
                    <a:pt x="111" y="53"/>
                    <a:pt x="114" y="48"/>
                  </a:cubicBezTo>
                  <a:cubicBezTo>
                    <a:pt x="117" y="43"/>
                    <a:pt x="117" y="41"/>
                    <a:pt x="113" y="40"/>
                  </a:cubicBezTo>
                  <a:cubicBezTo>
                    <a:pt x="109" y="39"/>
                    <a:pt x="102" y="28"/>
                    <a:pt x="101" y="25"/>
                  </a:cubicBezTo>
                  <a:cubicBezTo>
                    <a:pt x="99" y="21"/>
                    <a:pt x="87" y="24"/>
                    <a:pt x="76" y="16"/>
                  </a:cubicBezTo>
                  <a:cubicBezTo>
                    <a:pt x="72" y="12"/>
                    <a:pt x="70" y="6"/>
                    <a:pt x="69" y="0"/>
                  </a:cubicBezTo>
                  <a:cubicBezTo>
                    <a:pt x="64" y="3"/>
                    <a:pt x="64" y="3"/>
                    <a:pt x="64" y="3"/>
                  </a:cubicBezTo>
                  <a:lnTo>
                    <a:pt x="58" y="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8" name="Freeform 266"/>
            <p:cNvSpPr/>
            <p:nvPr/>
          </p:nvSpPr>
          <p:spPr>
            <a:xfrm>
              <a:off x="6021388" y="3144838"/>
              <a:ext cx="28575" cy="42863"/>
            </a:xfrm>
            <a:custGeom>
              <a:gdLst>
                <a:gd name="T0" fmla="*/ 12 w 17"/>
                <a:gd name="T1" fmla="*/ 25 h 25"/>
                <a:gd name="T2" fmla="*/ 13 w 17"/>
                <a:gd name="T3" fmla="*/ 21 h 25"/>
                <a:gd name="T4" fmla="*/ 11 w 17"/>
                <a:gd name="T5" fmla="*/ 2 h 25"/>
                <a:gd name="T6" fmla="*/ 1 w 17"/>
                <a:gd name="T7" fmla="*/ 16 h 25"/>
                <a:gd name="T8" fmla="*/ 0 w 17"/>
                <a:gd name="T9" fmla="*/ 17 h 25"/>
                <a:gd name="T10" fmla="*/ 12 w 17"/>
                <a:gd name="T11" fmla="*/ 25 h 25"/>
              </a:gdLst>
              <a:cxnLst>
                <a:cxn ang="0">
                  <a:pos x="T0" y="T1"/>
                </a:cxn>
                <a:cxn ang="0">
                  <a:pos x="T2" y="T3"/>
                </a:cxn>
                <a:cxn ang="0">
                  <a:pos x="T4" y="T5"/>
                </a:cxn>
                <a:cxn ang="0">
                  <a:pos x="T6" y="T7"/>
                </a:cxn>
                <a:cxn ang="0">
                  <a:pos x="T8" y="T9"/>
                </a:cxn>
                <a:cxn ang="0">
                  <a:pos x="T10" y="T11"/>
                </a:cxn>
              </a:cxnLst>
              <a:rect l="0" t="0" r="r" b="b"/>
              <a:pathLst>
                <a:path w="17" h="25">
                  <a:moveTo>
                    <a:pt x="12" y="25"/>
                  </a:moveTo>
                  <a:cubicBezTo>
                    <a:pt x="12" y="23"/>
                    <a:pt x="12" y="22"/>
                    <a:pt x="13" y="21"/>
                  </a:cubicBezTo>
                  <a:cubicBezTo>
                    <a:pt x="15" y="16"/>
                    <a:pt x="17" y="4"/>
                    <a:pt x="11" y="2"/>
                  </a:cubicBezTo>
                  <a:cubicBezTo>
                    <a:pt x="5" y="0"/>
                    <a:pt x="1" y="13"/>
                    <a:pt x="1" y="16"/>
                  </a:cubicBezTo>
                  <a:cubicBezTo>
                    <a:pt x="1" y="17"/>
                    <a:pt x="1" y="17"/>
                    <a:pt x="0" y="17"/>
                  </a:cubicBezTo>
                  <a:cubicBezTo>
                    <a:pt x="3" y="25"/>
                    <a:pt x="9" y="25"/>
                    <a:pt x="12"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39" name="Freeform 267"/>
            <p:cNvSpPr/>
            <p:nvPr/>
          </p:nvSpPr>
          <p:spPr>
            <a:xfrm>
              <a:off x="6051551" y="3141663"/>
              <a:ext cx="119063" cy="95250"/>
            </a:xfrm>
            <a:custGeom>
              <a:gdLst>
                <a:gd name="T0" fmla="*/ 11 w 70"/>
                <a:gd name="T1" fmla="*/ 52 h 56"/>
                <a:gd name="T2" fmla="*/ 45 w 70"/>
                <a:gd name="T3" fmla="*/ 56 h 56"/>
                <a:gd name="T4" fmla="*/ 50 w 70"/>
                <a:gd name="T5" fmla="*/ 44 h 56"/>
                <a:gd name="T6" fmla="*/ 59 w 70"/>
                <a:gd name="T7" fmla="*/ 32 h 56"/>
                <a:gd name="T8" fmla="*/ 59 w 70"/>
                <a:gd name="T9" fmla="*/ 21 h 56"/>
                <a:gd name="T10" fmla="*/ 65 w 70"/>
                <a:gd name="T11" fmla="*/ 21 h 56"/>
                <a:gd name="T12" fmla="*/ 70 w 70"/>
                <a:gd name="T13" fmla="*/ 18 h 56"/>
                <a:gd name="T14" fmla="*/ 66 w 70"/>
                <a:gd name="T15" fmla="*/ 0 h 56"/>
                <a:gd name="T16" fmla="*/ 48 w 70"/>
                <a:gd name="T17" fmla="*/ 20 h 56"/>
                <a:gd name="T18" fmla="*/ 21 w 70"/>
                <a:gd name="T19" fmla="*/ 33 h 56"/>
                <a:gd name="T20" fmla="*/ 3 w 70"/>
                <a:gd name="T21" fmla="*/ 37 h 56"/>
                <a:gd name="T22" fmla="*/ 0 w 70"/>
                <a:gd name="T23" fmla="*/ 36 h 56"/>
                <a:gd name="T24" fmla="*/ 11 w 70"/>
                <a:gd name="T25" fmla="*/ 52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6">
                  <a:moveTo>
                    <a:pt x="11" y="52"/>
                  </a:moveTo>
                  <a:cubicBezTo>
                    <a:pt x="13" y="53"/>
                    <a:pt x="36" y="56"/>
                    <a:pt x="45" y="56"/>
                  </a:cubicBezTo>
                  <a:cubicBezTo>
                    <a:pt x="50" y="44"/>
                    <a:pt x="50" y="44"/>
                    <a:pt x="50" y="44"/>
                  </a:cubicBezTo>
                  <a:cubicBezTo>
                    <a:pt x="59" y="32"/>
                    <a:pt x="59" y="32"/>
                    <a:pt x="59" y="32"/>
                  </a:cubicBezTo>
                  <a:cubicBezTo>
                    <a:pt x="59" y="21"/>
                    <a:pt x="59" y="21"/>
                    <a:pt x="59" y="21"/>
                  </a:cubicBezTo>
                  <a:cubicBezTo>
                    <a:pt x="65" y="21"/>
                    <a:pt x="65" y="21"/>
                    <a:pt x="65" y="21"/>
                  </a:cubicBezTo>
                  <a:cubicBezTo>
                    <a:pt x="70" y="18"/>
                    <a:pt x="70" y="18"/>
                    <a:pt x="70" y="18"/>
                  </a:cubicBezTo>
                  <a:cubicBezTo>
                    <a:pt x="67" y="9"/>
                    <a:pt x="67" y="0"/>
                    <a:pt x="66" y="0"/>
                  </a:cubicBezTo>
                  <a:cubicBezTo>
                    <a:pt x="63" y="0"/>
                    <a:pt x="52" y="11"/>
                    <a:pt x="48" y="20"/>
                  </a:cubicBezTo>
                  <a:cubicBezTo>
                    <a:pt x="44" y="28"/>
                    <a:pt x="31" y="34"/>
                    <a:pt x="21" y="33"/>
                  </a:cubicBezTo>
                  <a:cubicBezTo>
                    <a:pt x="10" y="31"/>
                    <a:pt x="6" y="35"/>
                    <a:pt x="3" y="37"/>
                  </a:cubicBezTo>
                  <a:cubicBezTo>
                    <a:pt x="3" y="38"/>
                    <a:pt x="2" y="37"/>
                    <a:pt x="0" y="36"/>
                  </a:cubicBezTo>
                  <a:cubicBezTo>
                    <a:pt x="2" y="45"/>
                    <a:pt x="10" y="51"/>
                    <a:pt x="11" y="5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0" name="Freeform 268"/>
            <p:cNvSpPr>
              <a:spLocks noEditPoints="1"/>
            </p:cNvSpPr>
            <p:nvPr/>
          </p:nvSpPr>
          <p:spPr>
            <a:xfrm>
              <a:off x="7218363" y="3648075"/>
              <a:ext cx="477838" cy="147638"/>
            </a:xfrm>
            <a:custGeom>
              <a:gdLst>
                <a:gd name="T0" fmla="*/ 51 w 282"/>
                <a:gd name="T1" fmla="*/ 31 h 87"/>
                <a:gd name="T2" fmla="*/ 40 w 282"/>
                <a:gd name="T3" fmla="*/ 15 h 87"/>
                <a:gd name="T4" fmla="*/ 32 w 282"/>
                <a:gd name="T5" fmla="*/ 8 h 87"/>
                <a:gd name="T6" fmla="*/ 31 w 282"/>
                <a:gd name="T7" fmla="*/ 6 h 87"/>
                <a:gd name="T8" fmla="*/ 27 w 282"/>
                <a:gd name="T9" fmla="*/ 12 h 87"/>
                <a:gd name="T10" fmla="*/ 15 w 282"/>
                <a:gd name="T11" fmla="*/ 11 h 87"/>
                <a:gd name="T12" fmla="*/ 8 w 282"/>
                <a:gd name="T13" fmla="*/ 2 h 87"/>
                <a:gd name="T14" fmla="*/ 0 w 282"/>
                <a:gd name="T15" fmla="*/ 2 h 87"/>
                <a:gd name="T16" fmla="*/ 4 w 282"/>
                <a:gd name="T17" fmla="*/ 24 h 87"/>
                <a:gd name="T18" fmla="*/ 19 w 282"/>
                <a:gd name="T19" fmla="*/ 52 h 87"/>
                <a:gd name="T20" fmla="*/ 33 w 282"/>
                <a:gd name="T21" fmla="*/ 65 h 87"/>
                <a:gd name="T22" fmla="*/ 61 w 282"/>
                <a:gd name="T23" fmla="*/ 79 h 87"/>
                <a:gd name="T24" fmla="*/ 51 w 282"/>
                <a:gd name="T25" fmla="*/ 59 h 87"/>
                <a:gd name="T26" fmla="*/ 51 w 282"/>
                <a:gd name="T27" fmla="*/ 31 h 87"/>
                <a:gd name="T28" fmla="*/ 271 w 282"/>
                <a:gd name="T29" fmla="*/ 14 h 87"/>
                <a:gd name="T30" fmla="*/ 258 w 282"/>
                <a:gd name="T31" fmla="*/ 11 h 87"/>
                <a:gd name="T32" fmla="*/ 245 w 282"/>
                <a:gd name="T33" fmla="*/ 0 h 87"/>
                <a:gd name="T34" fmla="*/ 233 w 282"/>
                <a:gd name="T35" fmla="*/ 14 h 87"/>
                <a:gd name="T36" fmla="*/ 225 w 282"/>
                <a:gd name="T37" fmla="*/ 24 h 87"/>
                <a:gd name="T38" fmla="*/ 222 w 282"/>
                <a:gd name="T39" fmla="*/ 28 h 87"/>
                <a:gd name="T40" fmla="*/ 222 w 282"/>
                <a:gd name="T41" fmla="*/ 36 h 87"/>
                <a:gd name="T42" fmla="*/ 213 w 282"/>
                <a:gd name="T43" fmla="*/ 40 h 87"/>
                <a:gd name="T44" fmla="*/ 205 w 282"/>
                <a:gd name="T45" fmla="*/ 30 h 87"/>
                <a:gd name="T46" fmla="*/ 205 w 282"/>
                <a:gd name="T47" fmla="*/ 30 h 87"/>
                <a:gd name="T48" fmla="*/ 192 w 282"/>
                <a:gd name="T49" fmla="*/ 50 h 87"/>
                <a:gd name="T50" fmla="*/ 171 w 282"/>
                <a:gd name="T51" fmla="*/ 56 h 87"/>
                <a:gd name="T52" fmla="*/ 161 w 282"/>
                <a:gd name="T53" fmla="*/ 75 h 87"/>
                <a:gd name="T54" fmla="*/ 140 w 282"/>
                <a:gd name="T55" fmla="*/ 69 h 87"/>
                <a:gd name="T56" fmla="*/ 144 w 282"/>
                <a:gd name="T57" fmla="*/ 79 h 87"/>
                <a:gd name="T58" fmla="*/ 156 w 282"/>
                <a:gd name="T59" fmla="*/ 85 h 87"/>
                <a:gd name="T60" fmla="*/ 175 w 282"/>
                <a:gd name="T61" fmla="*/ 83 h 87"/>
                <a:gd name="T62" fmla="*/ 189 w 282"/>
                <a:gd name="T63" fmla="*/ 77 h 87"/>
                <a:gd name="T64" fmla="*/ 203 w 282"/>
                <a:gd name="T65" fmla="*/ 80 h 87"/>
                <a:gd name="T66" fmla="*/ 216 w 282"/>
                <a:gd name="T67" fmla="*/ 71 h 87"/>
                <a:gd name="T68" fmla="*/ 220 w 282"/>
                <a:gd name="T69" fmla="*/ 57 h 87"/>
                <a:gd name="T70" fmla="*/ 229 w 282"/>
                <a:gd name="T71" fmla="*/ 44 h 87"/>
                <a:gd name="T72" fmla="*/ 251 w 282"/>
                <a:gd name="T73" fmla="*/ 35 h 87"/>
                <a:gd name="T74" fmla="*/ 258 w 282"/>
                <a:gd name="T75" fmla="*/ 37 h 87"/>
                <a:gd name="T76" fmla="*/ 267 w 282"/>
                <a:gd name="T77" fmla="*/ 28 h 87"/>
                <a:gd name="T78" fmla="*/ 281 w 282"/>
                <a:gd name="T79" fmla="*/ 23 h 87"/>
                <a:gd name="T80" fmla="*/ 271 w 282"/>
                <a:gd name="T81" fmla="*/ 14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87">
                  <a:moveTo>
                    <a:pt x="51" y="31"/>
                  </a:moveTo>
                  <a:cubicBezTo>
                    <a:pt x="51" y="21"/>
                    <a:pt x="42" y="22"/>
                    <a:pt x="40" y="15"/>
                  </a:cubicBezTo>
                  <a:cubicBezTo>
                    <a:pt x="37" y="9"/>
                    <a:pt x="34" y="13"/>
                    <a:pt x="32" y="8"/>
                  </a:cubicBezTo>
                  <a:cubicBezTo>
                    <a:pt x="32" y="8"/>
                    <a:pt x="32" y="7"/>
                    <a:pt x="31" y="6"/>
                  </a:cubicBezTo>
                  <a:cubicBezTo>
                    <a:pt x="26" y="8"/>
                    <a:pt x="28" y="12"/>
                    <a:pt x="27" y="12"/>
                  </a:cubicBezTo>
                  <a:cubicBezTo>
                    <a:pt x="25" y="12"/>
                    <a:pt x="15" y="14"/>
                    <a:pt x="15" y="11"/>
                  </a:cubicBezTo>
                  <a:cubicBezTo>
                    <a:pt x="15" y="8"/>
                    <a:pt x="14" y="3"/>
                    <a:pt x="8" y="2"/>
                  </a:cubicBezTo>
                  <a:cubicBezTo>
                    <a:pt x="5" y="2"/>
                    <a:pt x="2" y="1"/>
                    <a:pt x="0" y="2"/>
                  </a:cubicBezTo>
                  <a:cubicBezTo>
                    <a:pt x="3" y="9"/>
                    <a:pt x="4" y="17"/>
                    <a:pt x="4" y="24"/>
                  </a:cubicBezTo>
                  <a:cubicBezTo>
                    <a:pt x="4" y="32"/>
                    <a:pt x="17" y="46"/>
                    <a:pt x="19" y="52"/>
                  </a:cubicBezTo>
                  <a:cubicBezTo>
                    <a:pt x="21" y="57"/>
                    <a:pt x="24" y="59"/>
                    <a:pt x="33" y="65"/>
                  </a:cubicBezTo>
                  <a:cubicBezTo>
                    <a:pt x="41" y="71"/>
                    <a:pt x="57" y="81"/>
                    <a:pt x="61" y="79"/>
                  </a:cubicBezTo>
                  <a:cubicBezTo>
                    <a:pt x="64" y="78"/>
                    <a:pt x="56" y="64"/>
                    <a:pt x="51" y="59"/>
                  </a:cubicBezTo>
                  <a:cubicBezTo>
                    <a:pt x="46" y="54"/>
                    <a:pt x="51" y="40"/>
                    <a:pt x="51" y="31"/>
                  </a:cubicBezTo>
                  <a:close/>
                  <a:moveTo>
                    <a:pt x="271" y="14"/>
                  </a:moveTo>
                  <a:cubicBezTo>
                    <a:pt x="267" y="15"/>
                    <a:pt x="258" y="15"/>
                    <a:pt x="258" y="11"/>
                  </a:cubicBezTo>
                  <a:cubicBezTo>
                    <a:pt x="258" y="7"/>
                    <a:pt x="250" y="0"/>
                    <a:pt x="245" y="0"/>
                  </a:cubicBezTo>
                  <a:cubicBezTo>
                    <a:pt x="239" y="0"/>
                    <a:pt x="233" y="10"/>
                    <a:pt x="233" y="14"/>
                  </a:cubicBezTo>
                  <a:cubicBezTo>
                    <a:pt x="232" y="18"/>
                    <a:pt x="224" y="18"/>
                    <a:pt x="225" y="24"/>
                  </a:cubicBezTo>
                  <a:cubicBezTo>
                    <a:pt x="226" y="26"/>
                    <a:pt x="224" y="27"/>
                    <a:pt x="222" y="28"/>
                  </a:cubicBezTo>
                  <a:cubicBezTo>
                    <a:pt x="223" y="33"/>
                    <a:pt x="224" y="37"/>
                    <a:pt x="222" y="36"/>
                  </a:cubicBezTo>
                  <a:cubicBezTo>
                    <a:pt x="219" y="36"/>
                    <a:pt x="218" y="40"/>
                    <a:pt x="213" y="40"/>
                  </a:cubicBezTo>
                  <a:cubicBezTo>
                    <a:pt x="211" y="40"/>
                    <a:pt x="208" y="35"/>
                    <a:pt x="205" y="30"/>
                  </a:cubicBezTo>
                  <a:cubicBezTo>
                    <a:pt x="205" y="30"/>
                    <a:pt x="205" y="30"/>
                    <a:pt x="205" y="30"/>
                  </a:cubicBezTo>
                  <a:cubicBezTo>
                    <a:pt x="201" y="30"/>
                    <a:pt x="193" y="42"/>
                    <a:pt x="192" y="50"/>
                  </a:cubicBezTo>
                  <a:cubicBezTo>
                    <a:pt x="190" y="58"/>
                    <a:pt x="182" y="55"/>
                    <a:pt x="171" y="56"/>
                  </a:cubicBezTo>
                  <a:cubicBezTo>
                    <a:pt x="159" y="57"/>
                    <a:pt x="164" y="69"/>
                    <a:pt x="161" y="75"/>
                  </a:cubicBezTo>
                  <a:cubicBezTo>
                    <a:pt x="159" y="80"/>
                    <a:pt x="146" y="71"/>
                    <a:pt x="140" y="69"/>
                  </a:cubicBezTo>
                  <a:cubicBezTo>
                    <a:pt x="141" y="74"/>
                    <a:pt x="142" y="79"/>
                    <a:pt x="144" y="79"/>
                  </a:cubicBezTo>
                  <a:cubicBezTo>
                    <a:pt x="147" y="79"/>
                    <a:pt x="152" y="87"/>
                    <a:pt x="156" y="85"/>
                  </a:cubicBezTo>
                  <a:cubicBezTo>
                    <a:pt x="159" y="82"/>
                    <a:pt x="170" y="85"/>
                    <a:pt x="175" y="83"/>
                  </a:cubicBezTo>
                  <a:cubicBezTo>
                    <a:pt x="180" y="81"/>
                    <a:pt x="181" y="77"/>
                    <a:pt x="189" y="77"/>
                  </a:cubicBezTo>
                  <a:cubicBezTo>
                    <a:pt x="198" y="77"/>
                    <a:pt x="195" y="84"/>
                    <a:pt x="203" y="80"/>
                  </a:cubicBezTo>
                  <a:cubicBezTo>
                    <a:pt x="212" y="75"/>
                    <a:pt x="217" y="79"/>
                    <a:pt x="216" y="71"/>
                  </a:cubicBezTo>
                  <a:cubicBezTo>
                    <a:pt x="215" y="63"/>
                    <a:pt x="221" y="63"/>
                    <a:pt x="220" y="57"/>
                  </a:cubicBezTo>
                  <a:cubicBezTo>
                    <a:pt x="220" y="51"/>
                    <a:pt x="230" y="55"/>
                    <a:pt x="229" y="44"/>
                  </a:cubicBezTo>
                  <a:cubicBezTo>
                    <a:pt x="228" y="33"/>
                    <a:pt x="245" y="35"/>
                    <a:pt x="251" y="35"/>
                  </a:cubicBezTo>
                  <a:cubicBezTo>
                    <a:pt x="253" y="35"/>
                    <a:pt x="255" y="36"/>
                    <a:pt x="258" y="37"/>
                  </a:cubicBezTo>
                  <a:cubicBezTo>
                    <a:pt x="263" y="35"/>
                    <a:pt x="271" y="31"/>
                    <a:pt x="267" y="28"/>
                  </a:cubicBezTo>
                  <a:cubicBezTo>
                    <a:pt x="263" y="25"/>
                    <a:pt x="279" y="28"/>
                    <a:pt x="281" y="23"/>
                  </a:cubicBezTo>
                  <a:cubicBezTo>
                    <a:pt x="282" y="18"/>
                    <a:pt x="275" y="13"/>
                    <a:pt x="271" y="1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1" name="Freeform 269"/>
            <p:cNvSpPr/>
            <p:nvPr/>
          </p:nvSpPr>
          <p:spPr>
            <a:xfrm>
              <a:off x="7566026" y="3695700"/>
              <a:ext cx="31750" cy="20638"/>
            </a:xfrm>
            <a:custGeom>
              <a:gdLst>
                <a:gd name="T0" fmla="*/ 8 w 19"/>
                <a:gd name="T1" fmla="*/ 12 h 12"/>
                <a:gd name="T2" fmla="*/ 17 w 19"/>
                <a:gd name="T3" fmla="*/ 8 h 12"/>
                <a:gd name="T4" fmla="*/ 17 w 19"/>
                <a:gd name="T5" fmla="*/ 0 h 12"/>
                <a:gd name="T6" fmla="*/ 10 w 19"/>
                <a:gd name="T7" fmla="*/ 3 h 12"/>
                <a:gd name="T8" fmla="*/ 0 w 19"/>
                <a:gd name="T9" fmla="*/ 2 h 12"/>
                <a:gd name="T10" fmla="*/ 8 w 19"/>
                <a:gd name="T11" fmla="*/ 12 h 12"/>
              </a:gdLst>
              <a:cxnLst>
                <a:cxn ang="0">
                  <a:pos x="T0" y="T1"/>
                </a:cxn>
                <a:cxn ang="0">
                  <a:pos x="T2" y="T3"/>
                </a:cxn>
                <a:cxn ang="0">
                  <a:pos x="T4" y="T5"/>
                </a:cxn>
                <a:cxn ang="0">
                  <a:pos x="T6" y="T7"/>
                </a:cxn>
                <a:cxn ang="0">
                  <a:pos x="T8" y="T9"/>
                </a:cxn>
                <a:cxn ang="0">
                  <a:pos x="T10" y="T11"/>
                </a:cxn>
              </a:cxnLst>
              <a:rect l="0" t="0" r="r" b="b"/>
              <a:pathLst>
                <a:path w="19" h="12">
                  <a:moveTo>
                    <a:pt x="8" y="12"/>
                  </a:moveTo>
                  <a:cubicBezTo>
                    <a:pt x="13" y="12"/>
                    <a:pt x="14" y="8"/>
                    <a:pt x="17" y="8"/>
                  </a:cubicBezTo>
                  <a:cubicBezTo>
                    <a:pt x="19" y="9"/>
                    <a:pt x="18" y="5"/>
                    <a:pt x="17" y="0"/>
                  </a:cubicBezTo>
                  <a:cubicBezTo>
                    <a:pt x="14" y="1"/>
                    <a:pt x="10" y="1"/>
                    <a:pt x="10" y="3"/>
                  </a:cubicBezTo>
                  <a:cubicBezTo>
                    <a:pt x="10" y="7"/>
                    <a:pt x="3" y="2"/>
                    <a:pt x="0" y="2"/>
                  </a:cubicBezTo>
                  <a:cubicBezTo>
                    <a:pt x="3" y="7"/>
                    <a:pt x="6" y="12"/>
                    <a:pt x="8"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2" name="Freeform 270"/>
            <p:cNvSpPr/>
            <p:nvPr/>
          </p:nvSpPr>
          <p:spPr>
            <a:xfrm>
              <a:off x="5729288" y="2832100"/>
              <a:ext cx="241300" cy="234950"/>
            </a:xfrm>
            <a:custGeom>
              <a:gdLst>
                <a:gd name="T0" fmla="*/ 119 w 142"/>
                <a:gd name="T1" fmla="*/ 126 h 139"/>
                <a:gd name="T2" fmla="*/ 126 w 142"/>
                <a:gd name="T3" fmla="*/ 121 h 139"/>
                <a:gd name="T4" fmla="*/ 136 w 142"/>
                <a:gd name="T5" fmla="*/ 126 h 139"/>
                <a:gd name="T6" fmla="*/ 142 w 142"/>
                <a:gd name="T7" fmla="*/ 123 h 139"/>
                <a:gd name="T8" fmla="*/ 134 w 142"/>
                <a:gd name="T9" fmla="*/ 111 h 139"/>
                <a:gd name="T10" fmla="*/ 129 w 142"/>
                <a:gd name="T11" fmla="*/ 101 h 139"/>
                <a:gd name="T12" fmla="*/ 130 w 142"/>
                <a:gd name="T13" fmla="*/ 92 h 139"/>
                <a:gd name="T14" fmla="*/ 123 w 142"/>
                <a:gd name="T15" fmla="*/ 83 h 139"/>
                <a:gd name="T16" fmla="*/ 107 w 142"/>
                <a:gd name="T17" fmla="*/ 72 h 139"/>
                <a:gd name="T18" fmla="*/ 100 w 142"/>
                <a:gd name="T19" fmla="*/ 64 h 139"/>
                <a:gd name="T20" fmla="*/ 98 w 142"/>
                <a:gd name="T21" fmla="*/ 51 h 139"/>
                <a:gd name="T22" fmla="*/ 104 w 142"/>
                <a:gd name="T23" fmla="*/ 39 h 139"/>
                <a:gd name="T24" fmla="*/ 106 w 142"/>
                <a:gd name="T25" fmla="*/ 31 h 139"/>
                <a:gd name="T26" fmla="*/ 100 w 142"/>
                <a:gd name="T27" fmla="*/ 26 h 139"/>
                <a:gd name="T28" fmla="*/ 92 w 142"/>
                <a:gd name="T29" fmla="*/ 17 h 139"/>
                <a:gd name="T30" fmla="*/ 87 w 142"/>
                <a:gd name="T31" fmla="*/ 5 h 139"/>
                <a:gd name="T32" fmla="*/ 71 w 142"/>
                <a:gd name="T33" fmla="*/ 3 h 139"/>
                <a:gd name="T34" fmla="*/ 58 w 142"/>
                <a:gd name="T35" fmla="*/ 0 h 139"/>
                <a:gd name="T36" fmla="*/ 52 w 142"/>
                <a:gd name="T37" fmla="*/ 5 h 139"/>
                <a:gd name="T38" fmla="*/ 52 w 142"/>
                <a:gd name="T39" fmla="*/ 5 h 139"/>
                <a:gd name="T40" fmla="*/ 44 w 142"/>
                <a:gd name="T41" fmla="*/ 12 h 139"/>
                <a:gd name="T42" fmla="*/ 34 w 142"/>
                <a:gd name="T43" fmla="*/ 19 h 139"/>
                <a:gd name="T44" fmla="*/ 36 w 142"/>
                <a:gd name="T45" fmla="*/ 31 h 139"/>
                <a:gd name="T46" fmla="*/ 34 w 142"/>
                <a:gd name="T47" fmla="*/ 42 h 139"/>
                <a:gd name="T48" fmla="*/ 31 w 142"/>
                <a:gd name="T49" fmla="*/ 51 h 139"/>
                <a:gd name="T50" fmla="*/ 0 w 142"/>
                <a:gd name="T51" fmla="*/ 67 h 139"/>
                <a:gd name="T52" fmla="*/ 1 w 142"/>
                <a:gd name="T53" fmla="*/ 74 h 139"/>
                <a:gd name="T54" fmla="*/ 4 w 142"/>
                <a:gd name="T55" fmla="*/ 89 h 139"/>
                <a:gd name="T56" fmla="*/ 15 w 142"/>
                <a:gd name="T57" fmla="*/ 89 h 139"/>
                <a:gd name="T58" fmla="*/ 44 w 142"/>
                <a:gd name="T59" fmla="*/ 105 h 139"/>
                <a:gd name="T60" fmla="*/ 79 w 142"/>
                <a:gd name="T61" fmla="*/ 131 h 139"/>
                <a:gd name="T62" fmla="*/ 96 w 142"/>
                <a:gd name="T63" fmla="*/ 137 h 139"/>
                <a:gd name="T64" fmla="*/ 113 w 142"/>
                <a:gd name="T65" fmla="*/ 139 h 139"/>
                <a:gd name="T66" fmla="*/ 119 w 142"/>
                <a:gd name="T67" fmla="*/ 126 h 1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39">
                  <a:moveTo>
                    <a:pt x="119" y="126"/>
                  </a:moveTo>
                  <a:cubicBezTo>
                    <a:pt x="121" y="124"/>
                    <a:pt x="122" y="121"/>
                    <a:pt x="126" y="121"/>
                  </a:cubicBezTo>
                  <a:cubicBezTo>
                    <a:pt x="130" y="120"/>
                    <a:pt x="132" y="122"/>
                    <a:pt x="136" y="126"/>
                  </a:cubicBezTo>
                  <a:cubicBezTo>
                    <a:pt x="137" y="125"/>
                    <a:pt x="140" y="123"/>
                    <a:pt x="142" y="123"/>
                  </a:cubicBezTo>
                  <a:cubicBezTo>
                    <a:pt x="138" y="119"/>
                    <a:pt x="133" y="114"/>
                    <a:pt x="134" y="111"/>
                  </a:cubicBezTo>
                  <a:cubicBezTo>
                    <a:pt x="134" y="107"/>
                    <a:pt x="129" y="104"/>
                    <a:pt x="129" y="101"/>
                  </a:cubicBezTo>
                  <a:cubicBezTo>
                    <a:pt x="128" y="99"/>
                    <a:pt x="132" y="94"/>
                    <a:pt x="130" y="92"/>
                  </a:cubicBezTo>
                  <a:cubicBezTo>
                    <a:pt x="127" y="89"/>
                    <a:pt x="127" y="84"/>
                    <a:pt x="123" y="83"/>
                  </a:cubicBezTo>
                  <a:cubicBezTo>
                    <a:pt x="119" y="82"/>
                    <a:pt x="106" y="76"/>
                    <a:pt x="107" y="72"/>
                  </a:cubicBezTo>
                  <a:cubicBezTo>
                    <a:pt x="107" y="68"/>
                    <a:pt x="102" y="65"/>
                    <a:pt x="100" y="64"/>
                  </a:cubicBezTo>
                  <a:cubicBezTo>
                    <a:pt x="98" y="63"/>
                    <a:pt x="95" y="53"/>
                    <a:pt x="98" y="51"/>
                  </a:cubicBezTo>
                  <a:cubicBezTo>
                    <a:pt x="101" y="49"/>
                    <a:pt x="100" y="39"/>
                    <a:pt x="104" y="39"/>
                  </a:cubicBezTo>
                  <a:cubicBezTo>
                    <a:pt x="107" y="39"/>
                    <a:pt x="104" y="34"/>
                    <a:pt x="106" y="31"/>
                  </a:cubicBezTo>
                  <a:cubicBezTo>
                    <a:pt x="107" y="27"/>
                    <a:pt x="103" y="26"/>
                    <a:pt x="100" y="26"/>
                  </a:cubicBezTo>
                  <a:cubicBezTo>
                    <a:pt x="97" y="26"/>
                    <a:pt x="92" y="21"/>
                    <a:pt x="92" y="17"/>
                  </a:cubicBezTo>
                  <a:cubicBezTo>
                    <a:pt x="92" y="13"/>
                    <a:pt x="86" y="7"/>
                    <a:pt x="87" y="5"/>
                  </a:cubicBezTo>
                  <a:cubicBezTo>
                    <a:pt x="86" y="13"/>
                    <a:pt x="75" y="1"/>
                    <a:pt x="71" y="3"/>
                  </a:cubicBezTo>
                  <a:cubicBezTo>
                    <a:pt x="68" y="5"/>
                    <a:pt x="65" y="0"/>
                    <a:pt x="58" y="0"/>
                  </a:cubicBezTo>
                  <a:cubicBezTo>
                    <a:pt x="54" y="1"/>
                    <a:pt x="54" y="3"/>
                    <a:pt x="52" y="5"/>
                  </a:cubicBezTo>
                  <a:cubicBezTo>
                    <a:pt x="52" y="5"/>
                    <a:pt x="52" y="5"/>
                    <a:pt x="52" y="5"/>
                  </a:cubicBezTo>
                  <a:cubicBezTo>
                    <a:pt x="44" y="12"/>
                    <a:pt x="44" y="12"/>
                    <a:pt x="44" y="12"/>
                  </a:cubicBezTo>
                  <a:cubicBezTo>
                    <a:pt x="44" y="12"/>
                    <a:pt x="36" y="14"/>
                    <a:pt x="34" y="19"/>
                  </a:cubicBezTo>
                  <a:cubicBezTo>
                    <a:pt x="33" y="23"/>
                    <a:pt x="38" y="28"/>
                    <a:pt x="36" y="31"/>
                  </a:cubicBezTo>
                  <a:cubicBezTo>
                    <a:pt x="33" y="34"/>
                    <a:pt x="34" y="40"/>
                    <a:pt x="34" y="42"/>
                  </a:cubicBezTo>
                  <a:cubicBezTo>
                    <a:pt x="35" y="45"/>
                    <a:pt x="31" y="51"/>
                    <a:pt x="31" y="51"/>
                  </a:cubicBezTo>
                  <a:cubicBezTo>
                    <a:pt x="31" y="51"/>
                    <a:pt x="14" y="60"/>
                    <a:pt x="0" y="67"/>
                  </a:cubicBezTo>
                  <a:cubicBezTo>
                    <a:pt x="0" y="70"/>
                    <a:pt x="0" y="73"/>
                    <a:pt x="1" y="74"/>
                  </a:cubicBezTo>
                  <a:cubicBezTo>
                    <a:pt x="2" y="78"/>
                    <a:pt x="3" y="84"/>
                    <a:pt x="4" y="89"/>
                  </a:cubicBezTo>
                  <a:cubicBezTo>
                    <a:pt x="10" y="89"/>
                    <a:pt x="11" y="88"/>
                    <a:pt x="15" y="89"/>
                  </a:cubicBezTo>
                  <a:cubicBezTo>
                    <a:pt x="21" y="89"/>
                    <a:pt x="40" y="103"/>
                    <a:pt x="44" y="105"/>
                  </a:cubicBezTo>
                  <a:cubicBezTo>
                    <a:pt x="49" y="108"/>
                    <a:pt x="74" y="127"/>
                    <a:pt x="79" y="131"/>
                  </a:cubicBezTo>
                  <a:cubicBezTo>
                    <a:pt x="84" y="136"/>
                    <a:pt x="93" y="137"/>
                    <a:pt x="96" y="137"/>
                  </a:cubicBezTo>
                  <a:cubicBezTo>
                    <a:pt x="98" y="137"/>
                    <a:pt x="107" y="138"/>
                    <a:pt x="113" y="139"/>
                  </a:cubicBezTo>
                  <a:cubicBezTo>
                    <a:pt x="115" y="134"/>
                    <a:pt x="118" y="127"/>
                    <a:pt x="119" y="12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3" name="Freeform 271"/>
            <p:cNvSpPr/>
            <p:nvPr/>
          </p:nvSpPr>
          <p:spPr>
            <a:xfrm>
              <a:off x="5921376" y="3035300"/>
              <a:ext cx="46038" cy="46038"/>
            </a:xfrm>
            <a:custGeom>
              <a:gdLst>
                <a:gd name="T0" fmla="*/ 9 w 28"/>
                <a:gd name="T1" fmla="*/ 20 h 27"/>
                <a:gd name="T2" fmla="*/ 17 w 28"/>
                <a:gd name="T3" fmla="*/ 26 h 27"/>
                <a:gd name="T4" fmla="*/ 28 w 28"/>
                <a:gd name="T5" fmla="*/ 27 h 27"/>
                <a:gd name="T6" fmla="*/ 21 w 28"/>
                <a:gd name="T7" fmla="*/ 8 h 27"/>
                <a:gd name="T8" fmla="*/ 23 w 28"/>
                <a:gd name="T9" fmla="*/ 6 h 27"/>
                <a:gd name="T10" fmla="*/ 13 w 28"/>
                <a:gd name="T11" fmla="*/ 1 h 27"/>
                <a:gd name="T12" fmla="*/ 6 w 28"/>
                <a:gd name="T13" fmla="*/ 6 h 27"/>
                <a:gd name="T14" fmla="*/ 0 w 28"/>
                <a:gd name="T15" fmla="*/ 19 h 27"/>
                <a:gd name="T16" fmla="*/ 9 w 28"/>
                <a:gd name="T17" fmla="*/ 20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9" y="20"/>
                  </a:moveTo>
                  <a:cubicBezTo>
                    <a:pt x="17" y="26"/>
                    <a:pt x="17" y="26"/>
                    <a:pt x="17" y="26"/>
                  </a:cubicBezTo>
                  <a:cubicBezTo>
                    <a:pt x="28" y="27"/>
                    <a:pt x="28" y="27"/>
                    <a:pt x="28" y="27"/>
                  </a:cubicBezTo>
                  <a:cubicBezTo>
                    <a:pt x="26" y="20"/>
                    <a:pt x="21" y="11"/>
                    <a:pt x="21" y="8"/>
                  </a:cubicBezTo>
                  <a:cubicBezTo>
                    <a:pt x="21" y="8"/>
                    <a:pt x="22" y="7"/>
                    <a:pt x="23" y="6"/>
                  </a:cubicBezTo>
                  <a:cubicBezTo>
                    <a:pt x="19" y="2"/>
                    <a:pt x="17" y="0"/>
                    <a:pt x="13" y="1"/>
                  </a:cubicBezTo>
                  <a:cubicBezTo>
                    <a:pt x="9" y="1"/>
                    <a:pt x="8" y="4"/>
                    <a:pt x="6" y="6"/>
                  </a:cubicBezTo>
                  <a:cubicBezTo>
                    <a:pt x="5" y="7"/>
                    <a:pt x="2" y="14"/>
                    <a:pt x="0" y="19"/>
                  </a:cubicBezTo>
                  <a:cubicBezTo>
                    <a:pt x="5" y="19"/>
                    <a:pt x="9" y="20"/>
                    <a:pt x="9" y="2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4" name="Freeform 272"/>
            <p:cNvSpPr>
              <a:spLocks noEditPoints="1"/>
            </p:cNvSpPr>
            <p:nvPr/>
          </p:nvSpPr>
          <p:spPr>
            <a:xfrm>
              <a:off x="4660901" y="2414588"/>
              <a:ext cx="361950" cy="301625"/>
            </a:xfrm>
            <a:custGeom>
              <a:gdLst>
                <a:gd name="T0" fmla="*/ 187 w 214"/>
                <a:gd name="T1" fmla="*/ 40 h 178"/>
                <a:gd name="T2" fmla="*/ 180 w 214"/>
                <a:gd name="T3" fmla="*/ 38 h 178"/>
                <a:gd name="T4" fmla="*/ 170 w 214"/>
                <a:gd name="T5" fmla="*/ 33 h 178"/>
                <a:gd name="T6" fmla="*/ 155 w 214"/>
                <a:gd name="T7" fmla="*/ 31 h 178"/>
                <a:gd name="T8" fmla="*/ 148 w 214"/>
                <a:gd name="T9" fmla="*/ 26 h 178"/>
                <a:gd name="T10" fmla="*/ 143 w 214"/>
                <a:gd name="T11" fmla="*/ 19 h 178"/>
                <a:gd name="T12" fmla="*/ 137 w 214"/>
                <a:gd name="T13" fmla="*/ 22 h 178"/>
                <a:gd name="T14" fmla="*/ 133 w 214"/>
                <a:gd name="T15" fmla="*/ 17 h 178"/>
                <a:gd name="T16" fmla="*/ 124 w 214"/>
                <a:gd name="T17" fmla="*/ 12 h 178"/>
                <a:gd name="T18" fmla="*/ 116 w 214"/>
                <a:gd name="T19" fmla="*/ 7 h 178"/>
                <a:gd name="T20" fmla="*/ 111 w 214"/>
                <a:gd name="T21" fmla="*/ 2 h 178"/>
                <a:gd name="T22" fmla="*/ 109 w 214"/>
                <a:gd name="T23" fmla="*/ 0 h 178"/>
                <a:gd name="T24" fmla="*/ 106 w 214"/>
                <a:gd name="T25" fmla="*/ 0 h 178"/>
                <a:gd name="T26" fmla="*/ 97 w 214"/>
                <a:gd name="T27" fmla="*/ 13 h 178"/>
                <a:gd name="T28" fmla="*/ 82 w 214"/>
                <a:gd name="T29" fmla="*/ 23 h 178"/>
                <a:gd name="T30" fmla="*/ 73 w 214"/>
                <a:gd name="T31" fmla="*/ 33 h 178"/>
                <a:gd name="T32" fmla="*/ 54 w 214"/>
                <a:gd name="T33" fmla="*/ 27 h 178"/>
                <a:gd name="T34" fmla="*/ 46 w 214"/>
                <a:gd name="T35" fmla="*/ 32 h 178"/>
                <a:gd name="T36" fmla="*/ 48 w 214"/>
                <a:gd name="T37" fmla="*/ 48 h 178"/>
                <a:gd name="T38" fmla="*/ 35 w 214"/>
                <a:gd name="T39" fmla="*/ 47 h 178"/>
                <a:gd name="T40" fmla="*/ 26 w 214"/>
                <a:gd name="T41" fmla="*/ 43 h 178"/>
                <a:gd name="T42" fmla="*/ 12 w 214"/>
                <a:gd name="T43" fmla="*/ 45 h 178"/>
                <a:gd name="T44" fmla="*/ 3 w 214"/>
                <a:gd name="T45" fmla="*/ 51 h 178"/>
                <a:gd name="T46" fmla="*/ 5 w 214"/>
                <a:gd name="T47" fmla="*/ 60 h 178"/>
                <a:gd name="T48" fmla="*/ 24 w 214"/>
                <a:gd name="T49" fmla="*/ 67 h 178"/>
                <a:gd name="T50" fmla="*/ 37 w 214"/>
                <a:gd name="T51" fmla="*/ 70 h 178"/>
                <a:gd name="T52" fmla="*/ 42 w 214"/>
                <a:gd name="T53" fmla="*/ 77 h 178"/>
                <a:gd name="T54" fmla="*/ 53 w 214"/>
                <a:gd name="T55" fmla="*/ 89 h 178"/>
                <a:gd name="T56" fmla="*/ 57 w 214"/>
                <a:gd name="T57" fmla="*/ 100 h 178"/>
                <a:gd name="T58" fmla="*/ 55 w 214"/>
                <a:gd name="T59" fmla="*/ 118 h 178"/>
                <a:gd name="T60" fmla="*/ 48 w 214"/>
                <a:gd name="T61" fmla="*/ 144 h 178"/>
                <a:gd name="T62" fmla="*/ 47 w 214"/>
                <a:gd name="T63" fmla="*/ 144 h 178"/>
                <a:gd name="T64" fmla="*/ 55 w 214"/>
                <a:gd name="T65" fmla="*/ 148 h 178"/>
                <a:gd name="T66" fmla="*/ 69 w 214"/>
                <a:gd name="T67" fmla="*/ 155 h 178"/>
                <a:gd name="T68" fmla="*/ 81 w 214"/>
                <a:gd name="T69" fmla="*/ 154 h 178"/>
                <a:gd name="T70" fmla="*/ 88 w 214"/>
                <a:gd name="T71" fmla="*/ 156 h 178"/>
                <a:gd name="T72" fmla="*/ 105 w 214"/>
                <a:gd name="T73" fmla="*/ 160 h 178"/>
                <a:gd name="T74" fmla="*/ 120 w 214"/>
                <a:gd name="T75" fmla="*/ 160 h 178"/>
                <a:gd name="T76" fmla="*/ 119 w 214"/>
                <a:gd name="T77" fmla="*/ 157 h 178"/>
                <a:gd name="T78" fmla="*/ 131 w 214"/>
                <a:gd name="T79" fmla="*/ 142 h 178"/>
                <a:gd name="T80" fmla="*/ 158 w 214"/>
                <a:gd name="T81" fmla="*/ 148 h 178"/>
                <a:gd name="T82" fmla="*/ 175 w 214"/>
                <a:gd name="T83" fmla="*/ 142 h 178"/>
                <a:gd name="T84" fmla="*/ 184 w 214"/>
                <a:gd name="T85" fmla="*/ 136 h 178"/>
                <a:gd name="T86" fmla="*/ 185 w 214"/>
                <a:gd name="T87" fmla="*/ 132 h 178"/>
                <a:gd name="T88" fmla="*/ 179 w 214"/>
                <a:gd name="T89" fmla="*/ 129 h 178"/>
                <a:gd name="T90" fmla="*/ 175 w 214"/>
                <a:gd name="T91" fmla="*/ 122 h 178"/>
                <a:gd name="T92" fmla="*/ 171 w 214"/>
                <a:gd name="T93" fmla="*/ 115 h 178"/>
                <a:gd name="T94" fmla="*/ 174 w 214"/>
                <a:gd name="T95" fmla="*/ 111 h 178"/>
                <a:gd name="T96" fmla="*/ 177 w 214"/>
                <a:gd name="T97" fmla="*/ 105 h 178"/>
                <a:gd name="T98" fmla="*/ 175 w 214"/>
                <a:gd name="T99" fmla="*/ 98 h 178"/>
                <a:gd name="T100" fmla="*/ 173 w 214"/>
                <a:gd name="T101" fmla="*/ 91 h 178"/>
                <a:gd name="T102" fmla="*/ 166 w 214"/>
                <a:gd name="T103" fmla="*/ 91 h 178"/>
                <a:gd name="T104" fmla="*/ 164 w 214"/>
                <a:gd name="T105" fmla="*/ 86 h 178"/>
                <a:gd name="T106" fmla="*/ 174 w 214"/>
                <a:gd name="T107" fmla="*/ 74 h 178"/>
                <a:gd name="T108" fmla="*/ 181 w 214"/>
                <a:gd name="T109" fmla="*/ 68 h 178"/>
                <a:gd name="T110" fmla="*/ 184 w 214"/>
                <a:gd name="T111" fmla="*/ 57 h 178"/>
                <a:gd name="T112" fmla="*/ 190 w 214"/>
                <a:gd name="T113" fmla="*/ 45 h 178"/>
                <a:gd name="T114" fmla="*/ 187 w 214"/>
                <a:gd name="T115" fmla="*/ 40 h 178"/>
                <a:gd name="T116" fmla="*/ 210 w 214"/>
                <a:gd name="T117" fmla="*/ 150 h 178"/>
                <a:gd name="T118" fmla="*/ 201 w 214"/>
                <a:gd name="T119" fmla="*/ 157 h 178"/>
                <a:gd name="T120" fmla="*/ 207 w 214"/>
                <a:gd name="T121" fmla="*/ 177 h 178"/>
                <a:gd name="T122" fmla="*/ 210 w 214"/>
                <a:gd name="T123" fmla="*/ 150 h 1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 h="178">
                  <a:moveTo>
                    <a:pt x="187" y="40"/>
                  </a:moveTo>
                  <a:cubicBezTo>
                    <a:pt x="185" y="41"/>
                    <a:pt x="184" y="38"/>
                    <a:pt x="180" y="38"/>
                  </a:cubicBezTo>
                  <a:cubicBezTo>
                    <a:pt x="175" y="38"/>
                    <a:pt x="172" y="36"/>
                    <a:pt x="170" y="33"/>
                  </a:cubicBezTo>
                  <a:cubicBezTo>
                    <a:pt x="168" y="31"/>
                    <a:pt x="158" y="30"/>
                    <a:pt x="155" y="31"/>
                  </a:cubicBezTo>
                  <a:cubicBezTo>
                    <a:pt x="152" y="31"/>
                    <a:pt x="151" y="25"/>
                    <a:pt x="148" y="26"/>
                  </a:cubicBezTo>
                  <a:cubicBezTo>
                    <a:pt x="144" y="26"/>
                    <a:pt x="143" y="22"/>
                    <a:pt x="143" y="19"/>
                  </a:cubicBezTo>
                  <a:cubicBezTo>
                    <a:pt x="143" y="16"/>
                    <a:pt x="140" y="21"/>
                    <a:pt x="137" y="22"/>
                  </a:cubicBezTo>
                  <a:cubicBezTo>
                    <a:pt x="134" y="23"/>
                    <a:pt x="133" y="19"/>
                    <a:pt x="133" y="17"/>
                  </a:cubicBezTo>
                  <a:cubicBezTo>
                    <a:pt x="132" y="15"/>
                    <a:pt x="127" y="13"/>
                    <a:pt x="124" y="12"/>
                  </a:cubicBezTo>
                  <a:cubicBezTo>
                    <a:pt x="121" y="10"/>
                    <a:pt x="118" y="5"/>
                    <a:pt x="116" y="7"/>
                  </a:cubicBezTo>
                  <a:cubicBezTo>
                    <a:pt x="115" y="10"/>
                    <a:pt x="111" y="4"/>
                    <a:pt x="111" y="2"/>
                  </a:cubicBezTo>
                  <a:cubicBezTo>
                    <a:pt x="111" y="0"/>
                    <a:pt x="110" y="1"/>
                    <a:pt x="109" y="0"/>
                  </a:cubicBezTo>
                  <a:cubicBezTo>
                    <a:pt x="108" y="0"/>
                    <a:pt x="107" y="0"/>
                    <a:pt x="106" y="0"/>
                  </a:cubicBezTo>
                  <a:cubicBezTo>
                    <a:pt x="101" y="0"/>
                    <a:pt x="96" y="4"/>
                    <a:pt x="97" y="13"/>
                  </a:cubicBezTo>
                  <a:cubicBezTo>
                    <a:pt x="98" y="21"/>
                    <a:pt x="91" y="22"/>
                    <a:pt x="82" y="23"/>
                  </a:cubicBezTo>
                  <a:cubicBezTo>
                    <a:pt x="73" y="23"/>
                    <a:pt x="76" y="30"/>
                    <a:pt x="73" y="33"/>
                  </a:cubicBezTo>
                  <a:cubicBezTo>
                    <a:pt x="69" y="36"/>
                    <a:pt x="56" y="32"/>
                    <a:pt x="54" y="27"/>
                  </a:cubicBezTo>
                  <a:cubicBezTo>
                    <a:pt x="53" y="22"/>
                    <a:pt x="41" y="27"/>
                    <a:pt x="46" y="32"/>
                  </a:cubicBezTo>
                  <a:cubicBezTo>
                    <a:pt x="51" y="38"/>
                    <a:pt x="51" y="46"/>
                    <a:pt x="48" y="48"/>
                  </a:cubicBezTo>
                  <a:cubicBezTo>
                    <a:pt x="45" y="50"/>
                    <a:pt x="39" y="45"/>
                    <a:pt x="35" y="47"/>
                  </a:cubicBezTo>
                  <a:cubicBezTo>
                    <a:pt x="31" y="50"/>
                    <a:pt x="31" y="45"/>
                    <a:pt x="26" y="43"/>
                  </a:cubicBezTo>
                  <a:cubicBezTo>
                    <a:pt x="22" y="41"/>
                    <a:pt x="20" y="45"/>
                    <a:pt x="12" y="45"/>
                  </a:cubicBezTo>
                  <a:cubicBezTo>
                    <a:pt x="5" y="44"/>
                    <a:pt x="0" y="48"/>
                    <a:pt x="3" y="51"/>
                  </a:cubicBezTo>
                  <a:cubicBezTo>
                    <a:pt x="6" y="55"/>
                    <a:pt x="3" y="58"/>
                    <a:pt x="5" y="60"/>
                  </a:cubicBezTo>
                  <a:cubicBezTo>
                    <a:pt x="7" y="63"/>
                    <a:pt x="17" y="63"/>
                    <a:pt x="24" y="67"/>
                  </a:cubicBezTo>
                  <a:cubicBezTo>
                    <a:pt x="32" y="71"/>
                    <a:pt x="33" y="67"/>
                    <a:pt x="37" y="70"/>
                  </a:cubicBezTo>
                  <a:cubicBezTo>
                    <a:pt x="41" y="73"/>
                    <a:pt x="41" y="71"/>
                    <a:pt x="42" y="77"/>
                  </a:cubicBezTo>
                  <a:cubicBezTo>
                    <a:pt x="42" y="82"/>
                    <a:pt x="46" y="87"/>
                    <a:pt x="53" y="89"/>
                  </a:cubicBezTo>
                  <a:cubicBezTo>
                    <a:pt x="60" y="91"/>
                    <a:pt x="55" y="96"/>
                    <a:pt x="57" y="100"/>
                  </a:cubicBezTo>
                  <a:cubicBezTo>
                    <a:pt x="59" y="105"/>
                    <a:pt x="54" y="112"/>
                    <a:pt x="55" y="118"/>
                  </a:cubicBezTo>
                  <a:cubicBezTo>
                    <a:pt x="56" y="124"/>
                    <a:pt x="51" y="142"/>
                    <a:pt x="48" y="144"/>
                  </a:cubicBezTo>
                  <a:cubicBezTo>
                    <a:pt x="47" y="144"/>
                    <a:pt x="47" y="144"/>
                    <a:pt x="47" y="144"/>
                  </a:cubicBezTo>
                  <a:cubicBezTo>
                    <a:pt x="50" y="146"/>
                    <a:pt x="54" y="147"/>
                    <a:pt x="55" y="148"/>
                  </a:cubicBezTo>
                  <a:cubicBezTo>
                    <a:pt x="58" y="150"/>
                    <a:pt x="65" y="153"/>
                    <a:pt x="69" y="155"/>
                  </a:cubicBezTo>
                  <a:cubicBezTo>
                    <a:pt x="74" y="158"/>
                    <a:pt x="81" y="157"/>
                    <a:pt x="81" y="154"/>
                  </a:cubicBezTo>
                  <a:cubicBezTo>
                    <a:pt x="81" y="151"/>
                    <a:pt x="85" y="153"/>
                    <a:pt x="88" y="156"/>
                  </a:cubicBezTo>
                  <a:cubicBezTo>
                    <a:pt x="90" y="158"/>
                    <a:pt x="100" y="159"/>
                    <a:pt x="105" y="160"/>
                  </a:cubicBezTo>
                  <a:cubicBezTo>
                    <a:pt x="109" y="161"/>
                    <a:pt x="115" y="160"/>
                    <a:pt x="120" y="160"/>
                  </a:cubicBezTo>
                  <a:cubicBezTo>
                    <a:pt x="120" y="159"/>
                    <a:pt x="120" y="158"/>
                    <a:pt x="119" y="157"/>
                  </a:cubicBezTo>
                  <a:cubicBezTo>
                    <a:pt x="117" y="148"/>
                    <a:pt x="124" y="143"/>
                    <a:pt x="131" y="142"/>
                  </a:cubicBezTo>
                  <a:cubicBezTo>
                    <a:pt x="138" y="141"/>
                    <a:pt x="154" y="145"/>
                    <a:pt x="158" y="148"/>
                  </a:cubicBezTo>
                  <a:cubicBezTo>
                    <a:pt x="162" y="151"/>
                    <a:pt x="168" y="150"/>
                    <a:pt x="175" y="142"/>
                  </a:cubicBezTo>
                  <a:cubicBezTo>
                    <a:pt x="178" y="139"/>
                    <a:pt x="181" y="137"/>
                    <a:pt x="184" y="136"/>
                  </a:cubicBezTo>
                  <a:cubicBezTo>
                    <a:pt x="184" y="135"/>
                    <a:pt x="185" y="133"/>
                    <a:pt x="185" y="132"/>
                  </a:cubicBezTo>
                  <a:cubicBezTo>
                    <a:pt x="186" y="129"/>
                    <a:pt x="182" y="130"/>
                    <a:pt x="179" y="129"/>
                  </a:cubicBezTo>
                  <a:cubicBezTo>
                    <a:pt x="175" y="129"/>
                    <a:pt x="173" y="126"/>
                    <a:pt x="175" y="122"/>
                  </a:cubicBezTo>
                  <a:cubicBezTo>
                    <a:pt x="178" y="119"/>
                    <a:pt x="173" y="118"/>
                    <a:pt x="171" y="115"/>
                  </a:cubicBezTo>
                  <a:cubicBezTo>
                    <a:pt x="169" y="111"/>
                    <a:pt x="172" y="112"/>
                    <a:pt x="174" y="111"/>
                  </a:cubicBezTo>
                  <a:cubicBezTo>
                    <a:pt x="176" y="110"/>
                    <a:pt x="179" y="106"/>
                    <a:pt x="177" y="105"/>
                  </a:cubicBezTo>
                  <a:cubicBezTo>
                    <a:pt x="175" y="104"/>
                    <a:pt x="174" y="102"/>
                    <a:pt x="175" y="98"/>
                  </a:cubicBezTo>
                  <a:cubicBezTo>
                    <a:pt x="177" y="94"/>
                    <a:pt x="173" y="94"/>
                    <a:pt x="173" y="91"/>
                  </a:cubicBezTo>
                  <a:cubicBezTo>
                    <a:pt x="173" y="88"/>
                    <a:pt x="169" y="87"/>
                    <a:pt x="166" y="91"/>
                  </a:cubicBezTo>
                  <a:cubicBezTo>
                    <a:pt x="163" y="94"/>
                    <a:pt x="162" y="92"/>
                    <a:pt x="164" y="86"/>
                  </a:cubicBezTo>
                  <a:cubicBezTo>
                    <a:pt x="166" y="80"/>
                    <a:pt x="173" y="77"/>
                    <a:pt x="174" y="74"/>
                  </a:cubicBezTo>
                  <a:cubicBezTo>
                    <a:pt x="174" y="71"/>
                    <a:pt x="178" y="68"/>
                    <a:pt x="181" y="68"/>
                  </a:cubicBezTo>
                  <a:cubicBezTo>
                    <a:pt x="184" y="68"/>
                    <a:pt x="183" y="61"/>
                    <a:pt x="184" y="57"/>
                  </a:cubicBezTo>
                  <a:cubicBezTo>
                    <a:pt x="185" y="53"/>
                    <a:pt x="186" y="49"/>
                    <a:pt x="190" y="45"/>
                  </a:cubicBezTo>
                  <a:cubicBezTo>
                    <a:pt x="194" y="42"/>
                    <a:pt x="189" y="40"/>
                    <a:pt x="187" y="40"/>
                  </a:cubicBezTo>
                  <a:close/>
                  <a:moveTo>
                    <a:pt x="210" y="150"/>
                  </a:moveTo>
                  <a:cubicBezTo>
                    <a:pt x="208" y="149"/>
                    <a:pt x="207" y="154"/>
                    <a:pt x="201" y="157"/>
                  </a:cubicBezTo>
                  <a:cubicBezTo>
                    <a:pt x="195" y="161"/>
                    <a:pt x="201" y="178"/>
                    <a:pt x="207" y="177"/>
                  </a:cubicBezTo>
                  <a:cubicBezTo>
                    <a:pt x="214" y="176"/>
                    <a:pt x="213" y="150"/>
                    <a:pt x="210" y="15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5" name="Freeform 273"/>
            <p:cNvSpPr/>
            <p:nvPr/>
          </p:nvSpPr>
          <p:spPr>
            <a:xfrm>
              <a:off x="2541588" y="3449638"/>
              <a:ext cx="57150" cy="31750"/>
            </a:xfrm>
            <a:custGeom>
              <a:gdLst>
                <a:gd name="T0" fmla="*/ 33 w 34"/>
                <a:gd name="T1" fmla="*/ 8 h 19"/>
                <a:gd name="T2" fmla="*/ 17 w 34"/>
                <a:gd name="T3" fmla="*/ 4 h 19"/>
                <a:gd name="T4" fmla="*/ 11 w 34"/>
                <a:gd name="T5" fmla="*/ 0 h 19"/>
                <a:gd name="T6" fmla="*/ 10 w 34"/>
                <a:gd name="T7" fmla="*/ 1 h 19"/>
                <a:gd name="T8" fmla="*/ 0 w 34"/>
                <a:gd name="T9" fmla="*/ 9 h 19"/>
                <a:gd name="T10" fmla="*/ 28 w 34"/>
                <a:gd name="T11" fmla="*/ 19 h 19"/>
                <a:gd name="T12" fmla="*/ 33 w 34"/>
                <a:gd name="T13" fmla="*/ 17 h 19"/>
                <a:gd name="T14" fmla="*/ 33 w 34"/>
                <a:gd name="T15" fmla="*/ 8 h 1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9">
                  <a:moveTo>
                    <a:pt x="33" y="8"/>
                  </a:moveTo>
                  <a:cubicBezTo>
                    <a:pt x="30" y="4"/>
                    <a:pt x="24" y="8"/>
                    <a:pt x="17" y="4"/>
                  </a:cubicBezTo>
                  <a:cubicBezTo>
                    <a:pt x="15" y="2"/>
                    <a:pt x="13" y="1"/>
                    <a:pt x="11" y="0"/>
                  </a:cubicBezTo>
                  <a:cubicBezTo>
                    <a:pt x="11" y="1"/>
                    <a:pt x="10" y="1"/>
                    <a:pt x="10" y="1"/>
                  </a:cubicBezTo>
                  <a:cubicBezTo>
                    <a:pt x="9" y="1"/>
                    <a:pt x="4" y="5"/>
                    <a:pt x="0" y="9"/>
                  </a:cubicBezTo>
                  <a:cubicBezTo>
                    <a:pt x="5" y="13"/>
                    <a:pt x="23" y="19"/>
                    <a:pt x="28" y="19"/>
                  </a:cubicBezTo>
                  <a:cubicBezTo>
                    <a:pt x="31" y="19"/>
                    <a:pt x="32" y="18"/>
                    <a:pt x="33" y="17"/>
                  </a:cubicBezTo>
                  <a:cubicBezTo>
                    <a:pt x="34" y="13"/>
                    <a:pt x="34" y="9"/>
                    <a:pt x="33"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6" name="Freeform 274"/>
            <p:cNvSpPr/>
            <p:nvPr/>
          </p:nvSpPr>
          <p:spPr>
            <a:xfrm>
              <a:off x="2560638" y="3403600"/>
              <a:ext cx="150813" cy="84138"/>
            </a:xfrm>
            <a:custGeom>
              <a:gdLst>
                <a:gd name="T0" fmla="*/ 37 w 89"/>
                <a:gd name="T1" fmla="*/ 44 h 50"/>
                <a:gd name="T2" fmla="*/ 42 w 89"/>
                <a:gd name="T3" fmla="*/ 35 h 50"/>
                <a:gd name="T4" fmla="*/ 58 w 89"/>
                <a:gd name="T5" fmla="*/ 28 h 50"/>
                <a:gd name="T6" fmla="*/ 72 w 89"/>
                <a:gd name="T7" fmla="*/ 25 h 50"/>
                <a:gd name="T8" fmla="*/ 89 w 89"/>
                <a:gd name="T9" fmla="*/ 18 h 50"/>
                <a:gd name="T10" fmla="*/ 73 w 89"/>
                <a:gd name="T11" fmla="*/ 7 h 50"/>
                <a:gd name="T12" fmla="*/ 42 w 89"/>
                <a:gd name="T13" fmla="*/ 6 h 50"/>
                <a:gd name="T14" fmla="*/ 15 w 89"/>
                <a:gd name="T15" fmla="*/ 8 h 50"/>
                <a:gd name="T16" fmla="*/ 14 w 89"/>
                <a:gd name="T17" fmla="*/ 8 h 50"/>
                <a:gd name="T18" fmla="*/ 6 w 89"/>
                <a:gd name="T19" fmla="*/ 16 h 50"/>
                <a:gd name="T20" fmla="*/ 0 w 89"/>
                <a:gd name="T21" fmla="*/ 27 h 50"/>
                <a:gd name="T22" fmla="*/ 6 w 89"/>
                <a:gd name="T23" fmla="*/ 31 h 50"/>
                <a:gd name="T24" fmla="*/ 22 w 89"/>
                <a:gd name="T25" fmla="*/ 35 h 50"/>
                <a:gd name="T26" fmla="*/ 22 w 89"/>
                <a:gd name="T27" fmla="*/ 44 h 50"/>
                <a:gd name="T28" fmla="*/ 26 w 89"/>
                <a:gd name="T29" fmla="*/ 44 h 50"/>
                <a:gd name="T30" fmla="*/ 27 w 89"/>
                <a:gd name="T31" fmla="*/ 50 h 50"/>
                <a:gd name="T32" fmla="*/ 33 w 89"/>
                <a:gd name="T33" fmla="*/ 48 h 50"/>
                <a:gd name="T34" fmla="*/ 37 w 89"/>
                <a:gd name="T35" fmla="*/ 44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50">
                  <a:moveTo>
                    <a:pt x="37" y="44"/>
                  </a:moveTo>
                  <a:cubicBezTo>
                    <a:pt x="38" y="43"/>
                    <a:pt x="34" y="36"/>
                    <a:pt x="42" y="35"/>
                  </a:cubicBezTo>
                  <a:cubicBezTo>
                    <a:pt x="50" y="35"/>
                    <a:pt x="57" y="34"/>
                    <a:pt x="58" y="28"/>
                  </a:cubicBezTo>
                  <a:cubicBezTo>
                    <a:pt x="59" y="23"/>
                    <a:pt x="69" y="26"/>
                    <a:pt x="72" y="25"/>
                  </a:cubicBezTo>
                  <a:cubicBezTo>
                    <a:pt x="74" y="25"/>
                    <a:pt x="82" y="18"/>
                    <a:pt x="89" y="18"/>
                  </a:cubicBezTo>
                  <a:cubicBezTo>
                    <a:pt x="89" y="11"/>
                    <a:pt x="79" y="14"/>
                    <a:pt x="73" y="7"/>
                  </a:cubicBezTo>
                  <a:cubicBezTo>
                    <a:pt x="66" y="0"/>
                    <a:pt x="50" y="3"/>
                    <a:pt x="42" y="6"/>
                  </a:cubicBezTo>
                  <a:cubicBezTo>
                    <a:pt x="33" y="10"/>
                    <a:pt x="24" y="3"/>
                    <a:pt x="15" y="8"/>
                  </a:cubicBezTo>
                  <a:cubicBezTo>
                    <a:pt x="14" y="8"/>
                    <a:pt x="14" y="8"/>
                    <a:pt x="14" y="8"/>
                  </a:cubicBezTo>
                  <a:cubicBezTo>
                    <a:pt x="12" y="11"/>
                    <a:pt x="10" y="14"/>
                    <a:pt x="6" y="16"/>
                  </a:cubicBezTo>
                  <a:cubicBezTo>
                    <a:pt x="0" y="21"/>
                    <a:pt x="2" y="26"/>
                    <a:pt x="0" y="27"/>
                  </a:cubicBezTo>
                  <a:cubicBezTo>
                    <a:pt x="2" y="28"/>
                    <a:pt x="4" y="29"/>
                    <a:pt x="6" y="31"/>
                  </a:cubicBezTo>
                  <a:cubicBezTo>
                    <a:pt x="13" y="35"/>
                    <a:pt x="19" y="31"/>
                    <a:pt x="22" y="35"/>
                  </a:cubicBezTo>
                  <a:cubicBezTo>
                    <a:pt x="23" y="36"/>
                    <a:pt x="23" y="40"/>
                    <a:pt x="22" y="44"/>
                  </a:cubicBezTo>
                  <a:cubicBezTo>
                    <a:pt x="23" y="43"/>
                    <a:pt x="24" y="42"/>
                    <a:pt x="26" y="44"/>
                  </a:cubicBezTo>
                  <a:cubicBezTo>
                    <a:pt x="28" y="46"/>
                    <a:pt x="28" y="48"/>
                    <a:pt x="27" y="50"/>
                  </a:cubicBezTo>
                  <a:cubicBezTo>
                    <a:pt x="33" y="48"/>
                    <a:pt x="33" y="48"/>
                    <a:pt x="33" y="48"/>
                  </a:cubicBezTo>
                  <a:cubicBezTo>
                    <a:pt x="33" y="48"/>
                    <a:pt x="37" y="45"/>
                    <a:pt x="37" y="4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7" name="Freeform 275"/>
            <p:cNvSpPr/>
            <p:nvPr/>
          </p:nvSpPr>
          <p:spPr>
            <a:xfrm>
              <a:off x="1873251" y="2967038"/>
              <a:ext cx="750888" cy="468313"/>
            </a:xfrm>
            <a:custGeom>
              <a:gdLst>
                <a:gd name="T0" fmla="*/ 388 w 443"/>
                <a:gd name="T1" fmla="*/ 258 h 276"/>
                <a:gd name="T2" fmla="*/ 382 w 443"/>
                <a:gd name="T3" fmla="*/ 233 h 276"/>
                <a:gd name="T4" fmla="*/ 418 w 443"/>
                <a:gd name="T5" fmla="*/ 224 h 276"/>
                <a:gd name="T6" fmla="*/ 432 w 443"/>
                <a:gd name="T7" fmla="*/ 208 h 276"/>
                <a:gd name="T8" fmla="*/ 442 w 443"/>
                <a:gd name="T9" fmla="*/ 180 h 276"/>
                <a:gd name="T10" fmla="*/ 407 w 443"/>
                <a:gd name="T11" fmla="*/ 178 h 276"/>
                <a:gd name="T12" fmla="*/ 384 w 443"/>
                <a:gd name="T13" fmla="*/ 208 h 276"/>
                <a:gd name="T14" fmla="*/ 363 w 443"/>
                <a:gd name="T15" fmla="*/ 219 h 276"/>
                <a:gd name="T16" fmla="*/ 312 w 443"/>
                <a:gd name="T17" fmla="*/ 219 h 276"/>
                <a:gd name="T18" fmla="*/ 289 w 443"/>
                <a:gd name="T19" fmla="*/ 185 h 276"/>
                <a:gd name="T20" fmla="*/ 288 w 443"/>
                <a:gd name="T21" fmla="*/ 116 h 276"/>
                <a:gd name="T22" fmla="*/ 283 w 443"/>
                <a:gd name="T23" fmla="*/ 108 h 276"/>
                <a:gd name="T24" fmla="*/ 259 w 443"/>
                <a:gd name="T25" fmla="*/ 92 h 276"/>
                <a:gd name="T26" fmla="*/ 242 w 443"/>
                <a:gd name="T27" fmla="*/ 61 h 276"/>
                <a:gd name="T28" fmla="*/ 204 w 443"/>
                <a:gd name="T29" fmla="*/ 60 h 276"/>
                <a:gd name="T30" fmla="*/ 182 w 443"/>
                <a:gd name="T31" fmla="*/ 42 h 276"/>
                <a:gd name="T32" fmla="*/ 156 w 443"/>
                <a:gd name="T33" fmla="*/ 15 h 276"/>
                <a:gd name="T34" fmla="*/ 129 w 443"/>
                <a:gd name="T35" fmla="*/ 22 h 276"/>
                <a:gd name="T36" fmla="*/ 50 w 443"/>
                <a:gd name="T37" fmla="*/ 9 h 276"/>
                <a:gd name="T38" fmla="*/ 0 w 443"/>
                <a:gd name="T39" fmla="*/ 5 h 276"/>
                <a:gd name="T40" fmla="*/ 20 w 443"/>
                <a:gd name="T41" fmla="*/ 45 h 276"/>
                <a:gd name="T42" fmla="*/ 45 w 443"/>
                <a:gd name="T43" fmla="*/ 79 h 276"/>
                <a:gd name="T44" fmla="*/ 52 w 443"/>
                <a:gd name="T45" fmla="*/ 94 h 276"/>
                <a:gd name="T46" fmla="*/ 72 w 443"/>
                <a:gd name="T47" fmla="*/ 121 h 276"/>
                <a:gd name="T48" fmla="*/ 104 w 443"/>
                <a:gd name="T49" fmla="*/ 155 h 276"/>
                <a:gd name="T50" fmla="*/ 108 w 443"/>
                <a:gd name="T51" fmla="*/ 139 h 276"/>
                <a:gd name="T52" fmla="*/ 92 w 443"/>
                <a:gd name="T53" fmla="*/ 121 h 276"/>
                <a:gd name="T54" fmla="*/ 67 w 443"/>
                <a:gd name="T55" fmla="*/ 78 h 276"/>
                <a:gd name="T56" fmla="*/ 57 w 443"/>
                <a:gd name="T57" fmla="*/ 55 h 276"/>
                <a:gd name="T58" fmla="*/ 37 w 443"/>
                <a:gd name="T59" fmla="*/ 38 h 276"/>
                <a:gd name="T60" fmla="*/ 38 w 443"/>
                <a:gd name="T61" fmla="*/ 15 h 276"/>
                <a:gd name="T62" fmla="*/ 51 w 443"/>
                <a:gd name="T63" fmla="*/ 21 h 276"/>
                <a:gd name="T64" fmla="*/ 63 w 443"/>
                <a:gd name="T65" fmla="*/ 41 h 276"/>
                <a:gd name="T66" fmla="*/ 72 w 443"/>
                <a:gd name="T67" fmla="*/ 62 h 276"/>
                <a:gd name="T68" fmla="*/ 95 w 443"/>
                <a:gd name="T69" fmla="*/ 78 h 276"/>
                <a:gd name="T70" fmla="*/ 112 w 443"/>
                <a:gd name="T71" fmla="*/ 96 h 276"/>
                <a:gd name="T72" fmla="*/ 123 w 443"/>
                <a:gd name="T73" fmla="*/ 116 h 276"/>
                <a:gd name="T74" fmla="*/ 166 w 443"/>
                <a:gd name="T75" fmla="*/ 162 h 276"/>
                <a:gd name="T76" fmla="*/ 173 w 443"/>
                <a:gd name="T77" fmla="*/ 188 h 276"/>
                <a:gd name="T78" fmla="*/ 180 w 443"/>
                <a:gd name="T79" fmla="*/ 211 h 276"/>
                <a:gd name="T80" fmla="*/ 224 w 443"/>
                <a:gd name="T81" fmla="*/ 233 h 276"/>
                <a:gd name="T82" fmla="*/ 286 w 443"/>
                <a:gd name="T83" fmla="*/ 261 h 276"/>
                <a:gd name="T84" fmla="*/ 342 w 443"/>
                <a:gd name="T85" fmla="*/ 264 h 276"/>
                <a:gd name="T86" fmla="*/ 369 w 443"/>
                <a:gd name="T87" fmla="*/ 260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3" h="276">
                  <a:moveTo>
                    <a:pt x="369" y="260"/>
                  </a:moveTo>
                  <a:cubicBezTo>
                    <a:pt x="371" y="260"/>
                    <a:pt x="387" y="262"/>
                    <a:pt x="388" y="258"/>
                  </a:cubicBezTo>
                  <a:cubicBezTo>
                    <a:pt x="390" y="254"/>
                    <a:pt x="376" y="245"/>
                    <a:pt x="378" y="244"/>
                  </a:cubicBezTo>
                  <a:cubicBezTo>
                    <a:pt x="379" y="243"/>
                    <a:pt x="380" y="233"/>
                    <a:pt x="382" y="233"/>
                  </a:cubicBezTo>
                  <a:cubicBezTo>
                    <a:pt x="385" y="233"/>
                    <a:pt x="408" y="234"/>
                    <a:pt x="409" y="233"/>
                  </a:cubicBezTo>
                  <a:cubicBezTo>
                    <a:pt x="410" y="232"/>
                    <a:pt x="415" y="224"/>
                    <a:pt x="418" y="224"/>
                  </a:cubicBezTo>
                  <a:cubicBezTo>
                    <a:pt x="420" y="224"/>
                    <a:pt x="423" y="226"/>
                    <a:pt x="425" y="228"/>
                  </a:cubicBezTo>
                  <a:cubicBezTo>
                    <a:pt x="429" y="224"/>
                    <a:pt x="431" y="216"/>
                    <a:pt x="432" y="208"/>
                  </a:cubicBezTo>
                  <a:cubicBezTo>
                    <a:pt x="432" y="200"/>
                    <a:pt x="430" y="197"/>
                    <a:pt x="434" y="192"/>
                  </a:cubicBezTo>
                  <a:cubicBezTo>
                    <a:pt x="439" y="187"/>
                    <a:pt x="443" y="187"/>
                    <a:pt x="442" y="180"/>
                  </a:cubicBezTo>
                  <a:cubicBezTo>
                    <a:pt x="441" y="173"/>
                    <a:pt x="435" y="180"/>
                    <a:pt x="430" y="177"/>
                  </a:cubicBezTo>
                  <a:cubicBezTo>
                    <a:pt x="424" y="174"/>
                    <a:pt x="420" y="176"/>
                    <a:pt x="407" y="178"/>
                  </a:cubicBezTo>
                  <a:cubicBezTo>
                    <a:pt x="393" y="180"/>
                    <a:pt x="387" y="185"/>
                    <a:pt x="388" y="195"/>
                  </a:cubicBezTo>
                  <a:cubicBezTo>
                    <a:pt x="389" y="204"/>
                    <a:pt x="383" y="200"/>
                    <a:pt x="384" y="208"/>
                  </a:cubicBezTo>
                  <a:cubicBezTo>
                    <a:pt x="384" y="216"/>
                    <a:pt x="373" y="216"/>
                    <a:pt x="374" y="221"/>
                  </a:cubicBezTo>
                  <a:cubicBezTo>
                    <a:pt x="375" y="226"/>
                    <a:pt x="366" y="221"/>
                    <a:pt x="363" y="219"/>
                  </a:cubicBezTo>
                  <a:cubicBezTo>
                    <a:pt x="361" y="218"/>
                    <a:pt x="333" y="226"/>
                    <a:pt x="329" y="227"/>
                  </a:cubicBezTo>
                  <a:cubicBezTo>
                    <a:pt x="325" y="227"/>
                    <a:pt x="318" y="219"/>
                    <a:pt x="312" y="219"/>
                  </a:cubicBezTo>
                  <a:cubicBezTo>
                    <a:pt x="307" y="219"/>
                    <a:pt x="305" y="211"/>
                    <a:pt x="304" y="204"/>
                  </a:cubicBezTo>
                  <a:cubicBezTo>
                    <a:pt x="303" y="197"/>
                    <a:pt x="293" y="191"/>
                    <a:pt x="289" y="185"/>
                  </a:cubicBezTo>
                  <a:cubicBezTo>
                    <a:pt x="284" y="179"/>
                    <a:pt x="283" y="166"/>
                    <a:pt x="283" y="157"/>
                  </a:cubicBezTo>
                  <a:cubicBezTo>
                    <a:pt x="283" y="148"/>
                    <a:pt x="282" y="133"/>
                    <a:pt x="288" y="116"/>
                  </a:cubicBezTo>
                  <a:cubicBezTo>
                    <a:pt x="289" y="114"/>
                    <a:pt x="289" y="112"/>
                    <a:pt x="289" y="110"/>
                  </a:cubicBezTo>
                  <a:cubicBezTo>
                    <a:pt x="287" y="109"/>
                    <a:pt x="285" y="108"/>
                    <a:pt x="283" y="108"/>
                  </a:cubicBezTo>
                  <a:cubicBezTo>
                    <a:pt x="278" y="108"/>
                    <a:pt x="265" y="101"/>
                    <a:pt x="263" y="101"/>
                  </a:cubicBezTo>
                  <a:cubicBezTo>
                    <a:pt x="260" y="101"/>
                    <a:pt x="261" y="95"/>
                    <a:pt x="259" y="92"/>
                  </a:cubicBezTo>
                  <a:cubicBezTo>
                    <a:pt x="257" y="89"/>
                    <a:pt x="258" y="83"/>
                    <a:pt x="255" y="81"/>
                  </a:cubicBezTo>
                  <a:cubicBezTo>
                    <a:pt x="253" y="79"/>
                    <a:pt x="244" y="71"/>
                    <a:pt x="242" y="61"/>
                  </a:cubicBezTo>
                  <a:cubicBezTo>
                    <a:pt x="239" y="51"/>
                    <a:pt x="222" y="47"/>
                    <a:pt x="216" y="46"/>
                  </a:cubicBezTo>
                  <a:cubicBezTo>
                    <a:pt x="209" y="46"/>
                    <a:pt x="206" y="59"/>
                    <a:pt x="204" y="60"/>
                  </a:cubicBezTo>
                  <a:cubicBezTo>
                    <a:pt x="203" y="60"/>
                    <a:pt x="191" y="53"/>
                    <a:pt x="187" y="51"/>
                  </a:cubicBezTo>
                  <a:cubicBezTo>
                    <a:pt x="184" y="49"/>
                    <a:pt x="182" y="46"/>
                    <a:pt x="182" y="42"/>
                  </a:cubicBezTo>
                  <a:cubicBezTo>
                    <a:pt x="182" y="38"/>
                    <a:pt x="175" y="31"/>
                    <a:pt x="173" y="30"/>
                  </a:cubicBezTo>
                  <a:cubicBezTo>
                    <a:pt x="171" y="30"/>
                    <a:pt x="156" y="15"/>
                    <a:pt x="156" y="15"/>
                  </a:cubicBezTo>
                  <a:cubicBezTo>
                    <a:pt x="134" y="15"/>
                    <a:pt x="134" y="15"/>
                    <a:pt x="134" y="15"/>
                  </a:cubicBezTo>
                  <a:cubicBezTo>
                    <a:pt x="129" y="22"/>
                    <a:pt x="129" y="22"/>
                    <a:pt x="129" y="22"/>
                  </a:cubicBezTo>
                  <a:cubicBezTo>
                    <a:pt x="87" y="22"/>
                    <a:pt x="87" y="22"/>
                    <a:pt x="87" y="22"/>
                  </a:cubicBezTo>
                  <a:cubicBezTo>
                    <a:pt x="87" y="22"/>
                    <a:pt x="56" y="10"/>
                    <a:pt x="50" y="9"/>
                  </a:cubicBezTo>
                  <a:cubicBezTo>
                    <a:pt x="44" y="8"/>
                    <a:pt x="34" y="0"/>
                    <a:pt x="34" y="0"/>
                  </a:cubicBezTo>
                  <a:cubicBezTo>
                    <a:pt x="0" y="5"/>
                    <a:pt x="0" y="5"/>
                    <a:pt x="0" y="5"/>
                  </a:cubicBezTo>
                  <a:cubicBezTo>
                    <a:pt x="2" y="8"/>
                    <a:pt x="4" y="12"/>
                    <a:pt x="8" y="17"/>
                  </a:cubicBezTo>
                  <a:cubicBezTo>
                    <a:pt x="15" y="25"/>
                    <a:pt x="20" y="40"/>
                    <a:pt x="20" y="45"/>
                  </a:cubicBezTo>
                  <a:cubicBezTo>
                    <a:pt x="21" y="50"/>
                    <a:pt x="30" y="55"/>
                    <a:pt x="38" y="60"/>
                  </a:cubicBezTo>
                  <a:cubicBezTo>
                    <a:pt x="46" y="65"/>
                    <a:pt x="46" y="76"/>
                    <a:pt x="45" y="79"/>
                  </a:cubicBezTo>
                  <a:cubicBezTo>
                    <a:pt x="44" y="82"/>
                    <a:pt x="34" y="77"/>
                    <a:pt x="34" y="80"/>
                  </a:cubicBezTo>
                  <a:cubicBezTo>
                    <a:pt x="33" y="83"/>
                    <a:pt x="47" y="94"/>
                    <a:pt x="52" y="94"/>
                  </a:cubicBezTo>
                  <a:cubicBezTo>
                    <a:pt x="57" y="93"/>
                    <a:pt x="60" y="96"/>
                    <a:pt x="68" y="103"/>
                  </a:cubicBezTo>
                  <a:cubicBezTo>
                    <a:pt x="76" y="110"/>
                    <a:pt x="75" y="119"/>
                    <a:pt x="72" y="121"/>
                  </a:cubicBezTo>
                  <a:cubicBezTo>
                    <a:pt x="69" y="124"/>
                    <a:pt x="78" y="129"/>
                    <a:pt x="89" y="136"/>
                  </a:cubicBezTo>
                  <a:cubicBezTo>
                    <a:pt x="99" y="143"/>
                    <a:pt x="103" y="151"/>
                    <a:pt x="104" y="155"/>
                  </a:cubicBezTo>
                  <a:cubicBezTo>
                    <a:pt x="105" y="158"/>
                    <a:pt x="110" y="155"/>
                    <a:pt x="111" y="150"/>
                  </a:cubicBezTo>
                  <a:cubicBezTo>
                    <a:pt x="113" y="146"/>
                    <a:pt x="108" y="144"/>
                    <a:pt x="108" y="139"/>
                  </a:cubicBezTo>
                  <a:cubicBezTo>
                    <a:pt x="108" y="133"/>
                    <a:pt x="100" y="134"/>
                    <a:pt x="96" y="134"/>
                  </a:cubicBezTo>
                  <a:cubicBezTo>
                    <a:pt x="92" y="133"/>
                    <a:pt x="96" y="125"/>
                    <a:pt x="92" y="121"/>
                  </a:cubicBezTo>
                  <a:cubicBezTo>
                    <a:pt x="88" y="117"/>
                    <a:pt x="85" y="107"/>
                    <a:pt x="83" y="100"/>
                  </a:cubicBezTo>
                  <a:cubicBezTo>
                    <a:pt x="81" y="93"/>
                    <a:pt x="71" y="86"/>
                    <a:pt x="67" y="78"/>
                  </a:cubicBezTo>
                  <a:cubicBezTo>
                    <a:pt x="62" y="70"/>
                    <a:pt x="58" y="64"/>
                    <a:pt x="55" y="62"/>
                  </a:cubicBezTo>
                  <a:cubicBezTo>
                    <a:pt x="52" y="60"/>
                    <a:pt x="59" y="57"/>
                    <a:pt x="57" y="55"/>
                  </a:cubicBezTo>
                  <a:cubicBezTo>
                    <a:pt x="54" y="52"/>
                    <a:pt x="50" y="52"/>
                    <a:pt x="45" y="50"/>
                  </a:cubicBezTo>
                  <a:cubicBezTo>
                    <a:pt x="41" y="47"/>
                    <a:pt x="37" y="44"/>
                    <a:pt x="37" y="38"/>
                  </a:cubicBezTo>
                  <a:cubicBezTo>
                    <a:pt x="37" y="33"/>
                    <a:pt x="34" y="21"/>
                    <a:pt x="32" y="17"/>
                  </a:cubicBezTo>
                  <a:cubicBezTo>
                    <a:pt x="31" y="13"/>
                    <a:pt x="36" y="13"/>
                    <a:pt x="38" y="15"/>
                  </a:cubicBezTo>
                  <a:cubicBezTo>
                    <a:pt x="39" y="17"/>
                    <a:pt x="41" y="19"/>
                    <a:pt x="43" y="18"/>
                  </a:cubicBezTo>
                  <a:cubicBezTo>
                    <a:pt x="45" y="17"/>
                    <a:pt x="49" y="17"/>
                    <a:pt x="51" y="21"/>
                  </a:cubicBezTo>
                  <a:cubicBezTo>
                    <a:pt x="52" y="25"/>
                    <a:pt x="58" y="21"/>
                    <a:pt x="60" y="23"/>
                  </a:cubicBezTo>
                  <a:cubicBezTo>
                    <a:pt x="63" y="25"/>
                    <a:pt x="54" y="27"/>
                    <a:pt x="63" y="41"/>
                  </a:cubicBezTo>
                  <a:cubicBezTo>
                    <a:pt x="71" y="56"/>
                    <a:pt x="65" y="48"/>
                    <a:pt x="65" y="58"/>
                  </a:cubicBezTo>
                  <a:cubicBezTo>
                    <a:pt x="65" y="68"/>
                    <a:pt x="71" y="63"/>
                    <a:pt x="72" y="62"/>
                  </a:cubicBezTo>
                  <a:cubicBezTo>
                    <a:pt x="74" y="60"/>
                    <a:pt x="78" y="65"/>
                    <a:pt x="82" y="70"/>
                  </a:cubicBezTo>
                  <a:cubicBezTo>
                    <a:pt x="87" y="75"/>
                    <a:pt x="95" y="76"/>
                    <a:pt x="95" y="78"/>
                  </a:cubicBezTo>
                  <a:cubicBezTo>
                    <a:pt x="95" y="81"/>
                    <a:pt x="96" y="87"/>
                    <a:pt x="102" y="88"/>
                  </a:cubicBezTo>
                  <a:cubicBezTo>
                    <a:pt x="107" y="89"/>
                    <a:pt x="108" y="95"/>
                    <a:pt x="112" y="96"/>
                  </a:cubicBezTo>
                  <a:cubicBezTo>
                    <a:pt x="115" y="97"/>
                    <a:pt x="116" y="100"/>
                    <a:pt x="114" y="105"/>
                  </a:cubicBezTo>
                  <a:cubicBezTo>
                    <a:pt x="112" y="109"/>
                    <a:pt x="114" y="112"/>
                    <a:pt x="123" y="116"/>
                  </a:cubicBezTo>
                  <a:cubicBezTo>
                    <a:pt x="132" y="119"/>
                    <a:pt x="128" y="120"/>
                    <a:pt x="135" y="127"/>
                  </a:cubicBezTo>
                  <a:cubicBezTo>
                    <a:pt x="142" y="134"/>
                    <a:pt x="162" y="156"/>
                    <a:pt x="166" y="162"/>
                  </a:cubicBezTo>
                  <a:cubicBezTo>
                    <a:pt x="171" y="168"/>
                    <a:pt x="172" y="173"/>
                    <a:pt x="173" y="177"/>
                  </a:cubicBezTo>
                  <a:cubicBezTo>
                    <a:pt x="175" y="182"/>
                    <a:pt x="170" y="184"/>
                    <a:pt x="173" y="188"/>
                  </a:cubicBezTo>
                  <a:cubicBezTo>
                    <a:pt x="175" y="192"/>
                    <a:pt x="168" y="190"/>
                    <a:pt x="168" y="193"/>
                  </a:cubicBezTo>
                  <a:cubicBezTo>
                    <a:pt x="169" y="196"/>
                    <a:pt x="173" y="211"/>
                    <a:pt x="180" y="211"/>
                  </a:cubicBezTo>
                  <a:cubicBezTo>
                    <a:pt x="187" y="212"/>
                    <a:pt x="195" y="221"/>
                    <a:pt x="201" y="226"/>
                  </a:cubicBezTo>
                  <a:cubicBezTo>
                    <a:pt x="207" y="230"/>
                    <a:pt x="215" y="229"/>
                    <a:pt x="224" y="233"/>
                  </a:cubicBezTo>
                  <a:cubicBezTo>
                    <a:pt x="233" y="236"/>
                    <a:pt x="240" y="244"/>
                    <a:pt x="253" y="247"/>
                  </a:cubicBezTo>
                  <a:cubicBezTo>
                    <a:pt x="265" y="251"/>
                    <a:pt x="278" y="256"/>
                    <a:pt x="286" y="261"/>
                  </a:cubicBezTo>
                  <a:cubicBezTo>
                    <a:pt x="294" y="267"/>
                    <a:pt x="304" y="264"/>
                    <a:pt x="315" y="260"/>
                  </a:cubicBezTo>
                  <a:cubicBezTo>
                    <a:pt x="326" y="255"/>
                    <a:pt x="335" y="261"/>
                    <a:pt x="342" y="264"/>
                  </a:cubicBezTo>
                  <a:cubicBezTo>
                    <a:pt x="345" y="265"/>
                    <a:pt x="351" y="270"/>
                    <a:pt x="357" y="276"/>
                  </a:cubicBezTo>
                  <a:cubicBezTo>
                    <a:pt x="363" y="268"/>
                    <a:pt x="368" y="260"/>
                    <a:pt x="369" y="2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8" name="Freeform 276"/>
            <p:cNvSpPr/>
            <p:nvPr/>
          </p:nvSpPr>
          <p:spPr>
            <a:xfrm>
              <a:off x="2479676" y="3362325"/>
              <a:ext cx="104775" cy="101600"/>
            </a:xfrm>
            <a:custGeom>
              <a:gdLst>
                <a:gd name="T0" fmla="*/ 54 w 62"/>
                <a:gd name="T1" fmla="*/ 40 h 60"/>
                <a:gd name="T2" fmla="*/ 62 w 62"/>
                <a:gd name="T3" fmla="*/ 32 h 60"/>
                <a:gd name="T4" fmla="*/ 56 w 62"/>
                <a:gd name="T5" fmla="*/ 29 h 60"/>
                <a:gd name="T6" fmla="*/ 49 w 62"/>
                <a:gd name="T7" fmla="*/ 30 h 60"/>
                <a:gd name="T8" fmla="*/ 50 w 62"/>
                <a:gd name="T9" fmla="*/ 0 h 60"/>
                <a:gd name="T10" fmla="*/ 25 w 62"/>
                <a:gd name="T11" fmla="*/ 0 h 60"/>
                <a:gd name="T12" fmla="*/ 21 w 62"/>
                <a:gd name="T13" fmla="*/ 11 h 60"/>
                <a:gd name="T14" fmla="*/ 31 w 62"/>
                <a:gd name="T15" fmla="*/ 25 h 60"/>
                <a:gd name="T16" fmla="*/ 12 w 62"/>
                <a:gd name="T17" fmla="*/ 27 h 60"/>
                <a:gd name="T18" fmla="*/ 0 w 62"/>
                <a:gd name="T19" fmla="*/ 43 h 60"/>
                <a:gd name="T20" fmla="*/ 16 w 62"/>
                <a:gd name="T21" fmla="*/ 56 h 60"/>
                <a:gd name="T22" fmla="*/ 36 w 62"/>
                <a:gd name="T23" fmla="*/ 60 h 60"/>
                <a:gd name="T24" fmla="*/ 37 w 62"/>
                <a:gd name="T25" fmla="*/ 60 h 60"/>
                <a:gd name="T26" fmla="*/ 47 w 62"/>
                <a:gd name="T27" fmla="*/ 52 h 60"/>
                <a:gd name="T28" fmla="*/ 54 w 62"/>
                <a:gd name="T29" fmla="*/ 4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60">
                  <a:moveTo>
                    <a:pt x="54" y="40"/>
                  </a:moveTo>
                  <a:cubicBezTo>
                    <a:pt x="58" y="38"/>
                    <a:pt x="60" y="35"/>
                    <a:pt x="62" y="32"/>
                  </a:cubicBezTo>
                  <a:cubicBezTo>
                    <a:pt x="57" y="35"/>
                    <a:pt x="56" y="32"/>
                    <a:pt x="56" y="29"/>
                  </a:cubicBezTo>
                  <a:cubicBezTo>
                    <a:pt x="49" y="30"/>
                    <a:pt x="49" y="30"/>
                    <a:pt x="49" y="30"/>
                  </a:cubicBezTo>
                  <a:cubicBezTo>
                    <a:pt x="50" y="0"/>
                    <a:pt x="50" y="0"/>
                    <a:pt x="50" y="0"/>
                  </a:cubicBezTo>
                  <a:cubicBezTo>
                    <a:pt x="44" y="0"/>
                    <a:pt x="28" y="0"/>
                    <a:pt x="25" y="0"/>
                  </a:cubicBezTo>
                  <a:cubicBezTo>
                    <a:pt x="23" y="0"/>
                    <a:pt x="22" y="10"/>
                    <a:pt x="21" y="11"/>
                  </a:cubicBezTo>
                  <a:cubicBezTo>
                    <a:pt x="19" y="12"/>
                    <a:pt x="33" y="21"/>
                    <a:pt x="31" y="25"/>
                  </a:cubicBezTo>
                  <a:cubicBezTo>
                    <a:pt x="30" y="29"/>
                    <a:pt x="14" y="27"/>
                    <a:pt x="12" y="27"/>
                  </a:cubicBezTo>
                  <a:cubicBezTo>
                    <a:pt x="11" y="27"/>
                    <a:pt x="6" y="35"/>
                    <a:pt x="0" y="43"/>
                  </a:cubicBezTo>
                  <a:cubicBezTo>
                    <a:pt x="7" y="49"/>
                    <a:pt x="13" y="54"/>
                    <a:pt x="16" y="56"/>
                  </a:cubicBezTo>
                  <a:cubicBezTo>
                    <a:pt x="22" y="60"/>
                    <a:pt x="32" y="56"/>
                    <a:pt x="36" y="60"/>
                  </a:cubicBezTo>
                  <a:cubicBezTo>
                    <a:pt x="37" y="60"/>
                    <a:pt x="37" y="60"/>
                    <a:pt x="37" y="60"/>
                  </a:cubicBezTo>
                  <a:cubicBezTo>
                    <a:pt x="41" y="56"/>
                    <a:pt x="46" y="52"/>
                    <a:pt x="47" y="52"/>
                  </a:cubicBezTo>
                  <a:cubicBezTo>
                    <a:pt x="50" y="51"/>
                    <a:pt x="48" y="45"/>
                    <a:pt x="54" y="4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49" name="Freeform 277"/>
            <p:cNvSpPr/>
            <p:nvPr/>
          </p:nvSpPr>
          <p:spPr>
            <a:xfrm>
              <a:off x="2562226" y="3348038"/>
              <a:ext cx="31750" cy="65088"/>
            </a:xfrm>
            <a:custGeom>
              <a:gdLst>
                <a:gd name="T0" fmla="*/ 3 w 19"/>
                <a:gd name="T1" fmla="*/ 9 h 39"/>
                <a:gd name="T2" fmla="*/ 1 w 19"/>
                <a:gd name="T3" fmla="*/ 9 h 39"/>
                <a:gd name="T4" fmla="*/ 0 w 19"/>
                <a:gd name="T5" fmla="*/ 39 h 39"/>
                <a:gd name="T6" fmla="*/ 7 w 19"/>
                <a:gd name="T7" fmla="*/ 38 h 39"/>
                <a:gd name="T8" fmla="*/ 12 w 19"/>
                <a:gd name="T9" fmla="*/ 30 h 39"/>
                <a:gd name="T10" fmla="*/ 16 w 19"/>
                <a:gd name="T11" fmla="*/ 6 h 39"/>
                <a:gd name="T12" fmla="*/ 19 w 19"/>
                <a:gd name="T13" fmla="*/ 4 h 39"/>
                <a:gd name="T14" fmla="*/ 12 w 19"/>
                <a:gd name="T15" fmla="*/ 0 h 39"/>
                <a:gd name="T16" fmla="*/ 3 w 19"/>
                <a:gd name="T17" fmla="*/ 9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9">
                  <a:moveTo>
                    <a:pt x="3" y="9"/>
                  </a:moveTo>
                  <a:cubicBezTo>
                    <a:pt x="3" y="9"/>
                    <a:pt x="2" y="9"/>
                    <a:pt x="1" y="9"/>
                  </a:cubicBezTo>
                  <a:cubicBezTo>
                    <a:pt x="0" y="39"/>
                    <a:pt x="0" y="39"/>
                    <a:pt x="0" y="39"/>
                  </a:cubicBezTo>
                  <a:cubicBezTo>
                    <a:pt x="7" y="38"/>
                    <a:pt x="7" y="38"/>
                    <a:pt x="7" y="38"/>
                  </a:cubicBezTo>
                  <a:cubicBezTo>
                    <a:pt x="8" y="35"/>
                    <a:pt x="10" y="32"/>
                    <a:pt x="12" y="30"/>
                  </a:cubicBezTo>
                  <a:cubicBezTo>
                    <a:pt x="18" y="26"/>
                    <a:pt x="9" y="8"/>
                    <a:pt x="16" y="6"/>
                  </a:cubicBezTo>
                  <a:cubicBezTo>
                    <a:pt x="17" y="6"/>
                    <a:pt x="18" y="5"/>
                    <a:pt x="19" y="4"/>
                  </a:cubicBezTo>
                  <a:cubicBezTo>
                    <a:pt x="17" y="2"/>
                    <a:pt x="14" y="0"/>
                    <a:pt x="12" y="0"/>
                  </a:cubicBezTo>
                  <a:cubicBezTo>
                    <a:pt x="9" y="0"/>
                    <a:pt x="4" y="8"/>
                    <a:pt x="3"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0" name="Freeform 278"/>
            <p:cNvSpPr/>
            <p:nvPr/>
          </p:nvSpPr>
          <p:spPr>
            <a:xfrm>
              <a:off x="2925763" y="3300413"/>
              <a:ext cx="73025" cy="60325"/>
            </a:xfrm>
            <a:custGeom>
              <a:gdLst>
                <a:gd name="T0" fmla="*/ 20 w 43"/>
                <a:gd name="T1" fmla="*/ 3 h 36"/>
                <a:gd name="T2" fmla="*/ 30 w 43"/>
                <a:gd name="T3" fmla="*/ 23 h 36"/>
                <a:gd name="T4" fmla="*/ 1 w 43"/>
                <a:gd name="T5" fmla="*/ 29 h 36"/>
                <a:gd name="T6" fmla="*/ 20 w 43"/>
                <a:gd name="T7" fmla="*/ 33 h 36"/>
                <a:gd name="T8" fmla="*/ 40 w 43"/>
                <a:gd name="T9" fmla="*/ 36 h 36"/>
                <a:gd name="T10" fmla="*/ 43 w 43"/>
                <a:gd name="T11" fmla="*/ 7 h 36"/>
                <a:gd name="T12" fmla="*/ 20 w 43"/>
                <a:gd name="T13" fmla="*/ 3 h 36"/>
              </a:gdLst>
              <a:cxnLst>
                <a:cxn ang="0">
                  <a:pos x="T0" y="T1"/>
                </a:cxn>
                <a:cxn ang="0">
                  <a:pos x="T2" y="T3"/>
                </a:cxn>
                <a:cxn ang="0">
                  <a:pos x="T4" y="T5"/>
                </a:cxn>
                <a:cxn ang="0">
                  <a:pos x="T6" y="T7"/>
                </a:cxn>
                <a:cxn ang="0">
                  <a:pos x="T8" y="T9"/>
                </a:cxn>
                <a:cxn ang="0">
                  <a:pos x="T10" y="T11"/>
                </a:cxn>
                <a:cxn ang="0">
                  <a:pos x="T12" y="T13"/>
                </a:cxn>
              </a:cxnLst>
              <a:rect l="0" t="0" r="r" b="b"/>
              <a:pathLst>
                <a:path w="43" h="36">
                  <a:moveTo>
                    <a:pt x="20" y="3"/>
                  </a:moveTo>
                  <a:cubicBezTo>
                    <a:pt x="13" y="8"/>
                    <a:pt x="30" y="18"/>
                    <a:pt x="30" y="23"/>
                  </a:cubicBezTo>
                  <a:cubicBezTo>
                    <a:pt x="30" y="29"/>
                    <a:pt x="4" y="22"/>
                    <a:pt x="1" y="29"/>
                  </a:cubicBezTo>
                  <a:cubicBezTo>
                    <a:pt x="0" y="32"/>
                    <a:pt x="10" y="36"/>
                    <a:pt x="20" y="33"/>
                  </a:cubicBezTo>
                  <a:cubicBezTo>
                    <a:pt x="29" y="30"/>
                    <a:pt x="35" y="33"/>
                    <a:pt x="40" y="36"/>
                  </a:cubicBezTo>
                  <a:cubicBezTo>
                    <a:pt x="41" y="26"/>
                    <a:pt x="42" y="15"/>
                    <a:pt x="43" y="7"/>
                  </a:cubicBezTo>
                  <a:cubicBezTo>
                    <a:pt x="35" y="5"/>
                    <a:pt x="25" y="0"/>
                    <a:pt x="20" y="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1" name="Freeform 279"/>
            <p:cNvSpPr/>
            <p:nvPr/>
          </p:nvSpPr>
          <p:spPr>
            <a:xfrm>
              <a:off x="2992438" y="3308350"/>
              <a:ext cx="85725" cy="57150"/>
            </a:xfrm>
            <a:custGeom>
              <a:gdLst>
                <a:gd name="T0" fmla="*/ 19 w 50"/>
                <a:gd name="T1" fmla="*/ 25 h 34"/>
                <a:gd name="T2" fmla="*/ 50 w 50"/>
                <a:gd name="T3" fmla="*/ 19 h 34"/>
                <a:gd name="T4" fmla="*/ 11 w 50"/>
                <a:gd name="T5" fmla="*/ 3 h 34"/>
                <a:gd name="T6" fmla="*/ 3 w 50"/>
                <a:gd name="T7" fmla="*/ 2 h 34"/>
                <a:gd name="T8" fmla="*/ 0 w 50"/>
                <a:gd name="T9" fmla="*/ 31 h 34"/>
                <a:gd name="T10" fmla="*/ 1 w 50"/>
                <a:gd name="T11" fmla="*/ 31 h 34"/>
                <a:gd name="T12" fmla="*/ 19 w 50"/>
                <a:gd name="T13" fmla="*/ 25 h 34"/>
              </a:gdLst>
              <a:cxnLst>
                <a:cxn ang="0">
                  <a:pos x="T0" y="T1"/>
                </a:cxn>
                <a:cxn ang="0">
                  <a:pos x="T2" y="T3"/>
                </a:cxn>
                <a:cxn ang="0">
                  <a:pos x="T4" y="T5"/>
                </a:cxn>
                <a:cxn ang="0">
                  <a:pos x="T6" y="T7"/>
                </a:cxn>
                <a:cxn ang="0">
                  <a:pos x="T8" y="T9"/>
                </a:cxn>
                <a:cxn ang="0">
                  <a:pos x="T10" y="T11"/>
                </a:cxn>
                <a:cxn ang="0">
                  <a:pos x="T12" y="T13"/>
                </a:cxn>
              </a:cxnLst>
              <a:rect l="0" t="0" r="r" b="b"/>
              <a:pathLst>
                <a:path w="50" h="34">
                  <a:moveTo>
                    <a:pt x="19" y="25"/>
                  </a:moveTo>
                  <a:cubicBezTo>
                    <a:pt x="31" y="21"/>
                    <a:pt x="50" y="28"/>
                    <a:pt x="50" y="19"/>
                  </a:cubicBezTo>
                  <a:cubicBezTo>
                    <a:pt x="50" y="10"/>
                    <a:pt x="19" y="0"/>
                    <a:pt x="11" y="3"/>
                  </a:cubicBezTo>
                  <a:cubicBezTo>
                    <a:pt x="9" y="4"/>
                    <a:pt x="6" y="3"/>
                    <a:pt x="3" y="2"/>
                  </a:cubicBezTo>
                  <a:cubicBezTo>
                    <a:pt x="2" y="10"/>
                    <a:pt x="1" y="21"/>
                    <a:pt x="0" y="31"/>
                  </a:cubicBezTo>
                  <a:cubicBezTo>
                    <a:pt x="1" y="31"/>
                    <a:pt x="1" y="31"/>
                    <a:pt x="1" y="31"/>
                  </a:cubicBezTo>
                  <a:cubicBezTo>
                    <a:pt x="6" y="34"/>
                    <a:pt x="8" y="29"/>
                    <a:pt x="19"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2" name="Freeform 280"/>
            <p:cNvSpPr/>
            <p:nvPr/>
          </p:nvSpPr>
          <p:spPr>
            <a:xfrm>
              <a:off x="2606676" y="3433763"/>
              <a:ext cx="104775" cy="109538"/>
            </a:xfrm>
            <a:custGeom>
              <a:gdLst>
                <a:gd name="T0" fmla="*/ 33 w 62"/>
                <a:gd name="T1" fmla="*/ 60 h 64"/>
                <a:gd name="T2" fmla="*/ 48 w 62"/>
                <a:gd name="T3" fmla="*/ 63 h 64"/>
                <a:gd name="T4" fmla="*/ 55 w 62"/>
                <a:gd name="T5" fmla="*/ 64 h 64"/>
                <a:gd name="T6" fmla="*/ 53 w 62"/>
                <a:gd name="T7" fmla="*/ 61 h 64"/>
                <a:gd name="T8" fmla="*/ 57 w 62"/>
                <a:gd name="T9" fmla="*/ 42 h 64"/>
                <a:gd name="T10" fmla="*/ 59 w 62"/>
                <a:gd name="T11" fmla="*/ 17 h 64"/>
                <a:gd name="T12" fmla="*/ 62 w 62"/>
                <a:gd name="T13" fmla="*/ 2 h 64"/>
                <a:gd name="T14" fmla="*/ 62 w 62"/>
                <a:gd name="T15" fmla="*/ 0 h 64"/>
                <a:gd name="T16" fmla="*/ 45 w 62"/>
                <a:gd name="T17" fmla="*/ 7 h 64"/>
                <a:gd name="T18" fmla="*/ 31 w 62"/>
                <a:gd name="T19" fmla="*/ 10 h 64"/>
                <a:gd name="T20" fmla="*/ 15 w 62"/>
                <a:gd name="T21" fmla="*/ 17 h 64"/>
                <a:gd name="T22" fmla="*/ 10 w 62"/>
                <a:gd name="T23" fmla="*/ 26 h 64"/>
                <a:gd name="T24" fmla="*/ 6 w 62"/>
                <a:gd name="T25" fmla="*/ 30 h 64"/>
                <a:gd name="T26" fmla="*/ 0 w 62"/>
                <a:gd name="T27" fmla="*/ 32 h 64"/>
                <a:gd name="T28" fmla="*/ 3 w 62"/>
                <a:gd name="T29" fmla="*/ 37 h 64"/>
                <a:gd name="T30" fmla="*/ 20 w 62"/>
                <a:gd name="T31" fmla="*/ 54 h 64"/>
                <a:gd name="T32" fmla="*/ 25 w 62"/>
                <a:gd name="T33" fmla="*/ 60 h 64"/>
                <a:gd name="T34" fmla="*/ 33 w 62"/>
                <a:gd name="T35" fmla="*/ 60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33" y="60"/>
                  </a:moveTo>
                  <a:cubicBezTo>
                    <a:pt x="37" y="62"/>
                    <a:pt x="45" y="60"/>
                    <a:pt x="48" y="63"/>
                  </a:cubicBezTo>
                  <a:cubicBezTo>
                    <a:pt x="49" y="64"/>
                    <a:pt x="52" y="64"/>
                    <a:pt x="55" y="64"/>
                  </a:cubicBezTo>
                  <a:cubicBezTo>
                    <a:pt x="54" y="62"/>
                    <a:pt x="53" y="61"/>
                    <a:pt x="53" y="61"/>
                  </a:cubicBezTo>
                  <a:cubicBezTo>
                    <a:pt x="51" y="56"/>
                    <a:pt x="55" y="48"/>
                    <a:pt x="57" y="42"/>
                  </a:cubicBezTo>
                  <a:cubicBezTo>
                    <a:pt x="59" y="36"/>
                    <a:pt x="55" y="21"/>
                    <a:pt x="59" y="17"/>
                  </a:cubicBezTo>
                  <a:cubicBezTo>
                    <a:pt x="62" y="13"/>
                    <a:pt x="60" y="11"/>
                    <a:pt x="62" y="2"/>
                  </a:cubicBezTo>
                  <a:cubicBezTo>
                    <a:pt x="62" y="1"/>
                    <a:pt x="62" y="1"/>
                    <a:pt x="62" y="0"/>
                  </a:cubicBezTo>
                  <a:cubicBezTo>
                    <a:pt x="55" y="0"/>
                    <a:pt x="47" y="7"/>
                    <a:pt x="45" y="7"/>
                  </a:cubicBezTo>
                  <a:cubicBezTo>
                    <a:pt x="42" y="8"/>
                    <a:pt x="32" y="5"/>
                    <a:pt x="31" y="10"/>
                  </a:cubicBezTo>
                  <a:cubicBezTo>
                    <a:pt x="30" y="16"/>
                    <a:pt x="23" y="17"/>
                    <a:pt x="15" y="17"/>
                  </a:cubicBezTo>
                  <a:cubicBezTo>
                    <a:pt x="7" y="18"/>
                    <a:pt x="11" y="25"/>
                    <a:pt x="10" y="26"/>
                  </a:cubicBezTo>
                  <a:cubicBezTo>
                    <a:pt x="10" y="27"/>
                    <a:pt x="6" y="30"/>
                    <a:pt x="6" y="30"/>
                  </a:cubicBezTo>
                  <a:cubicBezTo>
                    <a:pt x="0" y="32"/>
                    <a:pt x="0" y="32"/>
                    <a:pt x="0" y="32"/>
                  </a:cubicBezTo>
                  <a:cubicBezTo>
                    <a:pt x="0" y="34"/>
                    <a:pt x="0" y="36"/>
                    <a:pt x="3" y="37"/>
                  </a:cubicBezTo>
                  <a:cubicBezTo>
                    <a:pt x="8" y="40"/>
                    <a:pt x="15" y="51"/>
                    <a:pt x="20" y="54"/>
                  </a:cubicBezTo>
                  <a:cubicBezTo>
                    <a:pt x="23" y="56"/>
                    <a:pt x="25" y="58"/>
                    <a:pt x="25" y="60"/>
                  </a:cubicBezTo>
                  <a:cubicBezTo>
                    <a:pt x="29" y="60"/>
                    <a:pt x="32" y="60"/>
                    <a:pt x="33" y="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3" name="Freeform 281"/>
            <p:cNvSpPr/>
            <p:nvPr/>
          </p:nvSpPr>
          <p:spPr>
            <a:xfrm>
              <a:off x="2940051" y="3681413"/>
              <a:ext cx="984250" cy="1004888"/>
            </a:xfrm>
            <a:custGeom>
              <a:gdLst>
                <a:gd name="T0" fmla="*/ 326 w 580"/>
                <a:gd name="T1" fmla="*/ 550 h 592"/>
                <a:gd name="T2" fmla="*/ 335 w 580"/>
                <a:gd name="T3" fmla="*/ 552 h 592"/>
                <a:gd name="T4" fmla="*/ 372 w 580"/>
                <a:gd name="T5" fmla="*/ 488 h 592"/>
                <a:gd name="T6" fmla="*/ 395 w 580"/>
                <a:gd name="T7" fmla="*/ 441 h 592"/>
                <a:gd name="T8" fmla="*/ 434 w 580"/>
                <a:gd name="T9" fmla="*/ 420 h 592"/>
                <a:gd name="T10" fmla="*/ 479 w 580"/>
                <a:gd name="T11" fmla="*/ 407 h 592"/>
                <a:gd name="T12" fmla="*/ 497 w 580"/>
                <a:gd name="T13" fmla="*/ 373 h 592"/>
                <a:gd name="T14" fmla="*/ 512 w 580"/>
                <a:gd name="T15" fmla="*/ 339 h 592"/>
                <a:gd name="T16" fmla="*/ 517 w 580"/>
                <a:gd name="T17" fmla="*/ 272 h 592"/>
                <a:gd name="T18" fmla="*/ 528 w 580"/>
                <a:gd name="T19" fmla="*/ 265 h 592"/>
                <a:gd name="T20" fmla="*/ 574 w 580"/>
                <a:gd name="T21" fmla="*/ 203 h 592"/>
                <a:gd name="T22" fmla="*/ 523 w 580"/>
                <a:gd name="T23" fmla="*/ 133 h 592"/>
                <a:gd name="T24" fmla="*/ 433 w 580"/>
                <a:gd name="T25" fmla="*/ 123 h 592"/>
                <a:gd name="T26" fmla="*/ 380 w 580"/>
                <a:gd name="T27" fmla="*/ 95 h 592"/>
                <a:gd name="T28" fmla="*/ 375 w 580"/>
                <a:gd name="T29" fmla="*/ 85 h 592"/>
                <a:gd name="T30" fmla="*/ 340 w 580"/>
                <a:gd name="T31" fmla="*/ 77 h 592"/>
                <a:gd name="T32" fmla="*/ 332 w 580"/>
                <a:gd name="T33" fmla="*/ 15 h 592"/>
                <a:gd name="T34" fmla="*/ 286 w 580"/>
                <a:gd name="T35" fmla="*/ 41 h 592"/>
                <a:gd name="T36" fmla="*/ 246 w 580"/>
                <a:gd name="T37" fmla="*/ 49 h 592"/>
                <a:gd name="T38" fmla="*/ 213 w 580"/>
                <a:gd name="T39" fmla="*/ 51 h 592"/>
                <a:gd name="T40" fmla="*/ 203 w 580"/>
                <a:gd name="T41" fmla="*/ 1 h 592"/>
                <a:gd name="T42" fmla="*/ 165 w 580"/>
                <a:gd name="T43" fmla="*/ 21 h 592"/>
                <a:gd name="T44" fmla="*/ 137 w 580"/>
                <a:gd name="T45" fmla="*/ 18 h 592"/>
                <a:gd name="T46" fmla="*/ 155 w 580"/>
                <a:gd name="T47" fmla="*/ 40 h 592"/>
                <a:gd name="T48" fmla="*/ 135 w 580"/>
                <a:gd name="T49" fmla="*/ 59 h 592"/>
                <a:gd name="T50" fmla="*/ 108 w 580"/>
                <a:gd name="T51" fmla="*/ 62 h 592"/>
                <a:gd name="T52" fmla="*/ 61 w 580"/>
                <a:gd name="T53" fmla="*/ 53 h 592"/>
                <a:gd name="T54" fmla="*/ 58 w 580"/>
                <a:gd name="T55" fmla="*/ 75 h 592"/>
                <a:gd name="T56" fmla="*/ 58 w 580"/>
                <a:gd name="T57" fmla="*/ 138 h 592"/>
                <a:gd name="T58" fmla="*/ 15 w 580"/>
                <a:gd name="T59" fmla="*/ 154 h 592"/>
                <a:gd name="T60" fmla="*/ 2 w 580"/>
                <a:gd name="T61" fmla="*/ 185 h 592"/>
                <a:gd name="T62" fmla="*/ 19 w 580"/>
                <a:gd name="T63" fmla="*/ 216 h 592"/>
                <a:gd name="T64" fmla="*/ 49 w 580"/>
                <a:gd name="T65" fmla="*/ 220 h 592"/>
                <a:gd name="T66" fmla="*/ 84 w 580"/>
                <a:gd name="T67" fmla="*/ 237 h 592"/>
                <a:gd name="T68" fmla="*/ 127 w 580"/>
                <a:gd name="T69" fmla="*/ 223 h 592"/>
                <a:gd name="T70" fmla="*/ 160 w 580"/>
                <a:gd name="T71" fmla="*/ 264 h 592"/>
                <a:gd name="T72" fmla="*/ 193 w 580"/>
                <a:gd name="T73" fmla="*/ 278 h 592"/>
                <a:gd name="T74" fmla="*/ 203 w 580"/>
                <a:gd name="T75" fmla="*/ 312 h 592"/>
                <a:gd name="T76" fmla="*/ 240 w 580"/>
                <a:gd name="T77" fmla="*/ 340 h 592"/>
                <a:gd name="T78" fmla="*/ 234 w 580"/>
                <a:gd name="T79" fmla="*/ 377 h 592"/>
                <a:gd name="T80" fmla="*/ 257 w 580"/>
                <a:gd name="T81" fmla="*/ 408 h 592"/>
                <a:gd name="T82" fmla="*/ 286 w 580"/>
                <a:gd name="T83" fmla="*/ 434 h 592"/>
                <a:gd name="T84" fmla="*/ 297 w 580"/>
                <a:gd name="T85" fmla="*/ 483 h 592"/>
                <a:gd name="T86" fmla="*/ 241 w 580"/>
                <a:gd name="T87" fmla="*/ 534 h 592"/>
                <a:gd name="T88" fmla="*/ 264 w 580"/>
                <a:gd name="T89" fmla="*/ 549 h 592"/>
                <a:gd name="T90" fmla="*/ 299 w 580"/>
                <a:gd name="T91" fmla="*/ 570 h 5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0" h="592">
                  <a:moveTo>
                    <a:pt x="307" y="586"/>
                  </a:moveTo>
                  <a:cubicBezTo>
                    <a:pt x="316" y="579"/>
                    <a:pt x="314" y="575"/>
                    <a:pt x="318" y="568"/>
                  </a:cubicBezTo>
                  <a:cubicBezTo>
                    <a:pt x="322" y="560"/>
                    <a:pt x="319" y="557"/>
                    <a:pt x="326" y="550"/>
                  </a:cubicBezTo>
                  <a:cubicBezTo>
                    <a:pt x="333" y="543"/>
                    <a:pt x="324" y="538"/>
                    <a:pt x="334" y="534"/>
                  </a:cubicBezTo>
                  <a:cubicBezTo>
                    <a:pt x="343" y="530"/>
                    <a:pt x="341" y="538"/>
                    <a:pt x="334" y="547"/>
                  </a:cubicBezTo>
                  <a:cubicBezTo>
                    <a:pt x="326" y="557"/>
                    <a:pt x="325" y="559"/>
                    <a:pt x="335" y="552"/>
                  </a:cubicBezTo>
                  <a:cubicBezTo>
                    <a:pt x="344" y="545"/>
                    <a:pt x="348" y="535"/>
                    <a:pt x="354" y="524"/>
                  </a:cubicBezTo>
                  <a:cubicBezTo>
                    <a:pt x="359" y="513"/>
                    <a:pt x="363" y="509"/>
                    <a:pt x="368" y="508"/>
                  </a:cubicBezTo>
                  <a:cubicBezTo>
                    <a:pt x="373" y="508"/>
                    <a:pt x="373" y="496"/>
                    <a:pt x="372" y="488"/>
                  </a:cubicBezTo>
                  <a:cubicBezTo>
                    <a:pt x="372" y="479"/>
                    <a:pt x="369" y="471"/>
                    <a:pt x="373" y="466"/>
                  </a:cubicBezTo>
                  <a:cubicBezTo>
                    <a:pt x="376" y="460"/>
                    <a:pt x="373" y="455"/>
                    <a:pt x="377" y="455"/>
                  </a:cubicBezTo>
                  <a:cubicBezTo>
                    <a:pt x="382" y="455"/>
                    <a:pt x="388" y="448"/>
                    <a:pt x="395" y="441"/>
                  </a:cubicBezTo>
                  <a:cubicBezTo>
                    <a:pt x="403" y="434"/>
                    <a:pt x="407" y="434"/>
                    <a:pt x="414" y="433"/>
                  </a:cubicBezTo>
                  <a:cubicBezTo>
                    <a:pt x="422" y="432"/>
                    <a:pt x="418" y="430"/>
                    <a:pt x="423" y="428"/>
                  </a:cubicBezTo>
                  <a:cubicBezTo>
                    <a:pt x="427" y="427"/>
                    <a:pt x="431" y="423"/>
                    <a:pt x="434" y="420"/>
                  </a:cubicBezTo>
                  <a:cubicBezTo>
                    <a:pt x="437" y="417"/>
                    <a:pt x="450" y="420"/>
                    <a:pt x="458" y="420"/>
                  </a:cubicBezTo>
                  <a:cubicBezTo>
                    <a:pt x="466" y="420"/>
                    <a:pt x="471" y="421"/>
                    <a:pt x="471" y="416"/>
                  </a:cubicBezTo>
                  <a:cubicBezTo>
                    <a:pt x="471" y="411"/>
                    <a:pt x="474" y="407"/>
                    <a:pt x="479" y="407"/>
                  </a:cubicBezTo>
                  <a:cubicBezTo>
                    <a:pt x="484" y="407"/>
                    <a:pt x="485" y="406"/>
                    <a:pt x="485" y="399"/>
                  </a:cubicBezTo>
                  <a:cubicBezTo>
                    <a:pt x="485" y="393"/>
                    <a:pt x="487" y="389"/>
                    <a:pt x="491" y="386"/>
                  </a:cubicBezTo>
                  <a:cubicBezTo>
                    <a:pt x="495" y="383"/>
                    <a:pt x="496" y="377"/>
                    <a:pt x="497" y="373"/>
                  </a:cubicBezTo>
                  <a:cubicBezTo>
                    <a:pt x="498" y="368"/>
                    <a:pt x="503" y="371"/>
                    <a:pt x="503" y="365"/>
                  </a:cubicBezTo>
                  <a:cubicBezTo>
                    <a:pt x="503" y="359"/>
                    <a:pt x="505" y="352"/>
                    <a:pt x="505" y="347"/>
                  </a:cubicBezTo>
                  <a:cubicBezTo>
                    <a:pt x="505" y="342"/>
                    <a:pt x="510" y="343"/>
                    <a:pt x="512" y="339"/>
                  </a:cubicBezTo>
                  <a:cubicBezTo>
                    <a:pt x="514" y="336"/>
                    <a:pt x="510" y="331"/>
                    <a:pt x="514" y="321"/>
                  </a:cubicBezTo>
                  <a:cubicBezTo>
                    <a:pt x="517" y="311"/>
                    <a:pt x="514" y="302"/>
                    <a:pt x="514" y="293"/>
                  </a:cubicBezTo>
                  <a:cubicBezTo>
                    <a:pt x="514" y="284"/>
                    <a:pt x="514" y="275"/>
                    <a:pt x="517" y="272"/>
                  </a:cubicBezTo>
                  <a:cubicBezTo>
                    <a:pt x="520" y="269"/>
                    <a:pt x="519" y="267"/>
                    <a:pt x="516" y="266"/>
                  </a:cubicBezTo>
                  <a:cubicBezTo>
                    <a:pt x="514" y="265"/>
                    <a:pt x="516" y="261"/>
                    <a:pt x="519" y="262"/>
                  </a:cubicBezTo>
                  <a:cubicBezTo>
                    <a:pt x="521" y="262"/>
                    <a:pt x="524" y="267"/>
                    <a:pt x="528" y="265"/>
                  </a:cubicBezTo>
                  <a:cubicBezTo>
                    <a:pt x="532" y="262"/>
                    <a:pt x="536" y="251"/>
                    <a:pt x="539" y="242"/>
                  </a:cubicBezTo>
                  <a:cubicBezTo>
                    <a:pt x="543" y="233"/>
                    <a:pt x="549" y="233"/>
                    <a:pt x="553" y="231"/>
                  </a:cubicBezTo>
                  <a:cubicBezTo>
                    <a:pt x="558" y="229"/>
                    <a:pt x="567" y="218"/>
                    <a:pt x="574" y="203"/>
                  </a:cubicBezTo>
                  <a:cubicBezTo>
                    <a:pt x="580" y="187"/>
                    <a:pt x="573" y="171"/>
                    <a:pt x="571" y="160"/>
                  </a:cubicBezTo>
                  <a:cubicBezTo>
                    <a:pt x="568" y="149"/>
                    <a:pt x="564" y="152"/>
                    <a:pt x="558" y="152"/>
                  </a:cubicBezTo>
                  <a:cubicBezTo>
                    <a:pt x="552" y="152"/>
                    <a:pt x="539" y="151"/>
                    <a:pt x="523" y="133"/>
                  </a:cubicBezTo>
                  <a:cubicBezTo>
                    <a:pt x="507" y="116"/>
                    <a:pt x="491" y="117"/>
                    <a:pt x="481" y="120"/>
                  </a:cubicBezTo>
                  <a:cubicBezTo>
                    <a:pt x="470" y="123"/>
                    <a:pt x="459" y="115"/>
                    <a:pt x="452" y="113"/>
                  </a:cubicBezTo>
                  <a:cubicBezTo>
                    <a:pt x="445" y="112"/>
                    <a:pt x="438" y="121"/>
                    <a:pt x="433" y="123"/>
                  </a:cubicBezTo>
                  <a:cubicBezTo>
                    <a:pt x="428" y="125"/>
                    <a:pt x="435" y="115"/>
                    <a:pt x="436" y="109"/>
                  </a:cubicBezTo>
                  <a:cubicBezTo>
                    <a:pt x="436" y="103"/>
                    <a:pt x="416" y="94"/>
                    <a:pt x="402" y="88"/>
                  </a:cubicBezTo>
                  <a:cubicBezTo>
                    <a:pt x="387" y="82"/>
                    <a:pt x="380" y="85"/>
                    <a:pt x="380" y="95"/>
                  </a:cubicBezTo>
                  <a:cubicBezTo>
                    <a:pt x="380" y="104"/>
                    <a:pt x="374" y="92"/>
                    <a:pt x="370" y="102"/>
                  </a:cubicBezTo>
                  <a:cubicBezTo>
                    <a:pt x="365" y="112"/>
                    <a:pt x="357" y="105"/>
                    <a:pt x="363" y="102"/>
                  </a:cubicBezTo>
                  <a:cubicBezTo>
                    <a:pt x="368" y="99"/>
                    <a:pt x="373" y="91"/>
                    <a:pt x="375" y="85"/>
                  </a:cubicBezTo>
                  <a:cubicBezTo>
                    <a:pt x="377" y="79"/>
                    <a:pt x="354" y="74"/>
                    <a:pt x="346" y="77"/>
                  </a:cubicBezTo>
                  <a:cubicBezTo>
                    <a:pt x="338" y="81"/>
                    <a:pt x="343" y="92"/>
                    <a:pt x="336" y="89"/>
                  </a:cubicBezTo>
                  <a:cubicBezTo>
                    <a:pt x="330" y="85"/>
                    <a:pt x="335" y="77"/>
                    <a:pt x="340" y="77"/>
                  </a:cubicBezTo>
                  <a:cubicBezTo>
                    <a:pt x="345" y="77"/>
                    <a:pt x="351" y="67"/>
                    <a:pt x="355" y="59"/>
                  </a:cubicBezTo>
                  <a:cubicBezTo>
                    <a:pt x="358" y="51"/>
                    <a:pt x="349" y="50"/>
                    <a:pt x="343" y="43"/>
                  </a:cubicBezTo>
                  <a:cubicBezTo>
                    <a:pt x="337" y="37"/>
                    <a:pt x="338" y="18"/>
                    <a:pt x="332" y="15"/>
                  </a:cubicBezTo>
                  <a:cubicBezTo>
                    <a:pt x="326" y="22"/>
                    <a:pt x="318" y="31"/>
                    <a:pt x="315" y="39"/>
                  </a:cubicBezTo>
                  <a:cubicBezTo>
                    <a:pt x="312" y="48"/>
                    <a:pt x="308" y="42"/>
                    <a:pt x="300" y="45"/>
                  </a:cubicBezTo>
                  <a:cubicBezTo>
                    <a:pt x="292" y="48"/>
                    <a:pt x="288" y="44"/>
                    <a:pt x="286" y="41"/>
                  </a:cubicBezTo>
                  <a:cubicBezTo>
                    <a:pt x="283" y="37"/>
                    <a:pt x="275" y="41"/>
                    <a:pt x="269" y="40"/>
                  </a:cubicBezTo>
                  <a:cubicBezTo>
                    <a:pt x="264" y="40"/>
                    <a:pt x="267" y="47"/>
                    <a:pt x="263" y="49"/>
                  </a:cubicBezTo>
                  <a:cubicBezTo>
                    <a:pt x="259" y="52"/>
                    <a:pt x="249" y="45"/>
                    <a:pt x="246" y="49"/>
                  </a:cubicBezTo>
                  <a:cubicBezTo>
                    <a:pt x="242" y="53"/>
                    <a:pt x="240" y="49"/>
                    <a:pt x="238" y="53"/>
                  </a:cubicBezTo>
                  <a:cubicBezTo>
                    <a:pt x="237" y="56"/>
                    <a:pt x="231" y="54"/>
                    <a:pt x="229" y="56"/>
                  </a:cubicBezTo>
                  <a:cubicBezTo>
                    <a:pt x="227" y="58"/>
                    <a:pt x="221" y="59"/>
                    <a:pt x="213" y="51"/>
                  </a:cubicBezTo>
                  <a:cubicBezTo>
                    <a:pt x="205" y="42"/>
                    <a:pt x="206" y="28"/>
                    <a:pt x="210" y="25"/>
                  </a:cubicBezTo>
                  <a:cubicBezTo>
                    <a:pt x="213" y="22"/>
                    <a:pt x="213" y="15"/>
                    <a:pt x="209" y="13"/>
                  </a:cubicBezTo>
                  <a:cubicBezTo>
                    <a:pt x="204" y="11"/>
                    <a:pt x="209" y="1"/>
                    <a:pt x="203" y="1"/>
                  </a:cubicBezTo>
                  <a:cubicBezTo>
                    <a:pt x="196" y="0"/>
                    <a:pt x="197" y="8"/>
                    <a:pt x="193" y="9"/>
                  </a:cubicBezTo>
                  <a:cubicBezTo>
                    <a:pt x="189" y="10"/>
                    <a:pt x="180" y="17"/>
                    <a:pt x="175" y="16"/>
                  </a:cubicBezTo>
                  <a:cubicBezTo>
                    <a:pt x="171" y="15"/>
                    <a:pt x="165" y="17"/>
                    <a:pt x="165" y="21"/>
                  </a:cubicBezTo>
                  <a:cubicBezTo>
                    <a:pt x="165" y="26"/>
                    <a:pt x="161" y="25"/>
                    <a:pt x="160" y="21"/>
                  </a:cubicBezTo>
                  <a:cubicBezTo>
                    <a:pt x="159" y="17"/>
                    <a:pt x="150" y="19"/>
                    <a:pt x="147" y="17"/>
                  </a:cubicBezTo>
                  <a:cubicBezTo>
                    <a:pt x="144" y="14"/>
                    <a:pt x="132" y="15"/>
                    <a:pt x="137" y="18"/>
                  </a:cubicBezTo>
                  <a:cubicBezTo>
                    <a:pt x="143" y="21"/>
                    <a:pt x="143" y="25"/>
                    <a:pt x="143" y="29"/>
                  </a:cubicBezTo>
                  <a:cubicBezTo>
                    <a:pt x="143" y="34"/>
                    <a:pt x="147" y="33"/>
                    <a:pt x="147" y="39"/>
                  </a:cubicBezTo>
                  <a:cubicBezTo>
                    <a:pt x="147" y="44"/>
                    <a:pt x="151" y="40"/>
                    <a:pt x="155" y="40"/>
                  </a:cubicBezTo>
                  <a:cubicBezTo>
                    <a:pt x="158" y="40"/>
                    <a:pt x="158" y="46"/>
                    <a:pt x="153" y="46"/>
                  </a:cubicBezTo>
                  <a:cubicBezTo>
                    <a:pt x="148" y="47"/>
                    <a:pt x="146" y="50"/>
                    <a:pt x="144" y="54"/>
                  </a:cubicBezTo>
                  <a:cubicBezTo>
                    <a:pt x="143" y="59"/>
                    <a:pt x="139" y="56"/>
                    <a:pt x="135" y="59"/>
                  </a:cubicBezTo>
                  <a:cubicBezTo>
                    <a:pt x="131" y="63"/>
                    <a:pt x="127" y="66"/>
                    <a:pt x="125" y="64"/>
                  </a:cubicBezTo>
                  <a:cubicBezTo>
                    <a:pt x="122" y="63"/>
                    <a:pt x="120" y="64"/>
                    <a:pt x="117" y="66"/>
                  </a:cubicBezTo>
                  <a:cubicBezTo>
                    <a:pt x="114" y="67"/>
                    <a:pt x="113" y="66"/>
                    <a:pt x="108" y="62"/>
                  </a:cubicBezTo>
                  <a:cubicBezTo>
                    <a:pt x="105" y="60"/>
                    <a:pt x="103" y="53"/>
                    <a:pt x="97" y="47"/>
                  </a:cubicBezTo>
                  <a:cubicBezTo>
                    <a:pt x="94" y="49"/>
                    <a:pt x="87" y="52"/>
                    <a:pt x="83" y="52"/>
                  </a:cubicBezTo>
                  <a:cubicBezTo>
                    <a:pt x="78" y="52"/>
                    <a:pt x="62" y="50"/>
                    <a:pt x="61" y="53"/>
                  </a:cubicBezTo>
                  <a:cubicBezTo>
                    <a:pt x="60" y="56"/>
                    <a:pt x="62" y="61"/>
                    <a:pt x="65" y="61"/>
                  </a:cubicBezTo>
                  <a:cubicBezTo>
                    <a:pt x="67" y="62"/>
                    <a:pt x="73" y="63"/>
                    <a:pt x="68" y="67"/>
                  </a:cubicBezTo>
                  <a:cubicBezTo>
                    <a:pt x="62" y="71"/>
                    <a:pt x="58" y="66"/>
                    <a:pt x="58" y="75"/>
                  </a:cubicBezTo>
                  <a:cubicBezTo>
                    <a:pt x="58" y="84"/>
                    <a:pt x="69" y="90"/>
                    <a:pt x="67" y="99"/>
                  </a:cubicBezTo>
                  <a:cubicBezTo>
                    <a:pt x="66" y="103"/>
                    <a:pt x="64" y="114"/>
                    <a:pt x="64" y="118"/>
                  </a:cubicBezTo>
                  <a:cubicBezTo>
                    <a:pt x="64" y="123"/>
                    <a:pt x="62" y="137"/>
                    <a:pt x="58" y="138"/>
                  </a:cubicBezTo>
                  <a:cubicBezTo>
                    <a:pt x="55" y="139"/>
                    <a:pt x="51" y="135"/>
                    <a:pt x="46" y="139"/>
                  </a:cubicBezTo>
                  <a:cubicBezTo>
                    <a:pt x="41" y="143"/>
                    <a:pt x="34" y="141"/>
                    <a:pt x="28" y="146"/>
                  </a:cubicBezTo>
                  <a:cubicBezTo>
                    <a:pt x="22" y="150"/>
                    <a:pt x="16" y="149"/>
                    <a:pt x="15" y="154"/>
                  </a:cubicBezTo>
                  <a:cubicBezTo>
                    <a:pt x="15" y="160"/>
                    <a:pt x="9" y="163"/>
                    <a:pt x="11" y="168"/>
                  </a:cubicBezTo>
                  <a:cubicBezTo>
                    <a:pt x="12" y="173"/>
                    <a:pt x="8" y="172"/>
                    <a:pt x="4" y="176"/>
                  </a:cubicBezTo>
                  <a:cubicBezTo>
                    <a:pt x="0" y="180"/>
                    <a:pt x="5" y="182"/>
                    <a:pt x="2" y="185"/>
                  </a:cubicBezTo>
                  <a:cubicBezTo>
                    <a:pt x="0" y="188"/>
                    <a:pt x="3" y="193"/>
                    <a:pt x="6" y="198"/>
                  </a:cubicBezTo>
                  <a:cubicBezTo>
                    <a:pt x="9" y="202"/>
                    <a:pt x="12" y="206"/>
                    <a:pt x="12" y="210"/>
                  </a:cubicBezTo>
                  <a:cubicBezTo>
                    <a:pt x="12" y="214"/>
                    <a:pt x="15" y="216"/>
                    <a:pt x="19" y="216"/>
                  </a:cubicBezTo>
                  <a:cubicBezTo>
                    <a:pt x="24" y="215"/>
                    <a:pt x="20" y="224"/>
                    <a:pt x="27" y="224"/>
                  </a:cubicBezTo>
                  <a:cubicBezTo>
                    <a:pt x="34" y="224"/>
                    <a:pt x="41" y="226"/>
                    <a:pt x="43" y="222"/>
                  </a:cubicBezTo>
                  <a:cubicBezTo>
                    <a:pt x="44" y="218"/>
                    <a:pt x="49" y="215"/>
                    <a:pt x="49" y="220"/>
                  </a:cubicBezTo>
                  <a:cubicBezTo>
                    <a:pt x="49" y="226"/>
                    <a:pt x="48" y="241"/>
                    <a:pt x="52" y="239"/>
                  </a:cubicBezTo>
                  <a:cubicBezTo>
                    <a:pt x="57" y="238"/>
                    <a:pt x="67" y="238"/>
                    <a:pt x="71" y="240"/>
                  </a:cubicBezTo>
                  <a:cubicBezTo>
                    <a:pt x="76" y="241"/>
                    <a:pt x="81" y="240"/>
                    <a:pt x="84" y="237"/>
                  </a:cubicBezTo>
                  <a:cubicBezTo>
                    <a:pt x="87" y="234"/>
                    <a:pt x="90" y="234"/>
                    <a:pt x="96" y="230"/>
                  </a:cubicBezTo>
                  <a:cubicBezTo>
                    <a:pt x="102" y="227"/>
                    <a:pt x="108" y="223"/>
                    <a:pt x="113" y="223"/>
                  </a:cubicBezTo>
                  <a:cubicBezTo>
                    <a:pt x="119" y="223"/>
                    <a:pt x="129" y="219"/>
                    <a:pt x="127" y="223"/>
                  </a:cubicBezTo>
                  <a:cubicBezTo>
                    <a:pt x="126" y="228"/>
                    <a:pt x="125" y="244"/>
                    <a:pt x="132" y="252"/>
                  </a:cubicBezTo>
                  <a:cubicBezTo>
                    <a:pt x="139" y="260"/>
                    <a:pt x="143" y="263"/>
                    <a:pt x="149" y="262"/>
                  </a:cubicBezTo>
                  <a:cubicBezTo>
                    <a:pt x="156" y="261"/>
                    <a:pt x="155" y="265"/>
                    <a:pt x="160" y="264"/>
                  </a:cubicBezTo>
                  <a:cubicBezTo>
                    <a:pt x="164" y="264"/>
                    <a:pt x="161" y="269"/>
                    <a:pt x="166" y="269"/>
                  </a:cubicBezTo>
                  <a:cubicBezTo>
                    <a:pt x="170" y="269"/>
                    <a:pt x="178" y="270"/>
                    <a:pt x="178" y="275"/>
                  </a:cubicBezTo>
                  <a:cubicBezTo>
                    <a:pt x="178" y="280"/>
                    <a:pt x="190" y="276"/>
                    <a:pt x="193" y="278"/>
                  </a:cubicBezTo>
                  <a:cubicBezTo>
                    <a:pt x="197" y="281"/>
                    <a:pt x="200" y="283"/>
                    <a:pt x="199" y="288"/>
                  </a:cubicBezTo>
                  <a:cubicBezTo>
                    <a:pt x="198" y="294"/>
                    <a:pt x="206" y="297"/>
                    <a:pt x="201" y="300"/>
                  </a:cubicBezTo>
                  <a:cubicBezTo>
                    <a:pt x="197" y="302"/>
                    <a:pt x="203" y="306"/>
                    <a:pt x="203" y="312"/>
                  </a:cubicBezTo>
                  <a:cubicBezTo>
                    <a:pt x="203" y="317"/>
                    <a:pt x="209" y="319"/>
                    <a:pt x="219" y="319"/>
                  </a:cubicBezTo>
                  <a:cubicBezTo>
                    <a:pt x="228" y="318"/>
                    <a:pt x="231" y="319"/>
                    <a:pt x="231" y="326"/>
                  </a:cubicBezTo>
                  <a:cubicBezTo>
                    <a:pt x="231" y="333"/>
                    <a:pt x="237" y="334"/>
                    <a:pt x="240" y="340"/>
                  </a:cubicBezTo>
                  <a:cubicBezTo>
                    <a:pt x="242" y="347"/>
                    <a:pt x="237" y="354"/>
                    <a:pt x="238" y="359"/>
                  </a:cubicBezTo>
                  <a:cubicBezTo>
                    <a:pt x="238" y="363"/>
                    <a:pt x="236" y="367"/>
                    <a:pt x="233" y="369"/>
                  </a:cubicBezTo>
                  <a:cubicBezTo>
                    <a:pt x="237" y="373"/>
                    <a:pt x="237" y="375"/>
                    <a:pt x="234" y="377"/>
                  </a:cubicBezTo>
                  <a:cubicBezTo>
                    <a:pt x="230" y="379"/>
                    <a:pt x="239" y="385"/>
                    <a:pt x="237" y="395"/>
                  </a:cubicBezTo>
                  <a:cubicBezTo>
                    <a:pt x="234" y="404"/>
                    <a:pt x="234" y="406"/>
                    <a:pt x="244" y="407"/>
                  </a:cubicBezTo>
                  <a:cubicBezTo>
                    <a:pt x="254" y="407"/>
                    <a:pt x="253" y="410"/>
                    <a:pt x="257" y="408"/>
                  </a:cubicBezTo>
                  <a:cubicBezTo>
                    <a:pt x="260" y="406"/>
                    <a:pt x="265" y="415"/>
                    <a:pt x="267" y="420"/>
                  </a:cubicBezTo>
                  <a:cubicBezTo>
                    <a:pt x="268" y="425"/>
                    <a:pt x="272" y="436"/>
                    <a:pt x="274" y="436"/>
                  </a:cubicBezTo>
                  <a:cubicBezTo>
                    <a:pt x="275" y="436"/>
                    <a:pt x="281" y="431"/>
                    <a:pt x="286" y="434"/>
                  </a:cubicBezTo>
                  <a:cubicBezTo>
                    <a:pt x="291" y="436"/>
                    <a:pt x="285" y="453"/>
                    <a:pt x="285" y="460"/>
                  </a:cubicBezTo>
                  <a:cubicBezTo>
                    <a:pt x="288" y="460"/>
                    <a:pt x="293" y="460"/>
                    <a:pt x="294" y="460"/>
                  </a:cubicBezTo>
                  <a:cubicBezTo>
                    <a:pt x="297" y="462"/>
                    <a:pt x="298" y="479"/>
                    <a:pt x="297" y="483"/>
                  </a:cubicBezTo>
                  <a:cubicBezTo>
                    <a:pt x="295" y="486"/>
                    <a:pt x="285" y="489"/>
                    <a:pt x="279" y="492"/>
                  </a:cubicBezTo>
                  <a:cubicBezTo>
                    <a:pt x="274" y="496"/>
                    <a:pt x="260" y="509"/>
                    <a:pt x="254" y="519"/>
                  </a:cubicBezTo>
                  <a:cubicBezTo>
                    <a:pt x="250" y="525"/>
                    <a:pt x="245" y="530"/>
                    <a:pt x="241" y="534"/>
                  </a:cubicBezTo>
                  <a:cubicBezTo>
                    <a:pt x="243" y="534"/>
                    <a:pt x="244" y="534"/>
                    <a:pt x="245" y="534"/>
                  </a:cubicBezTo>
                  <a:cubicBezTo>
                    <a:pt x="248" y="533"/>
                    <a:pt x="253" y="533"/>
                    <a:pt x="258" y="539"/>
                  </a:cubicBezTo>
                  <a:cubicBezTo>
                    <a:pt x="263" y="544"/>
                    <a:pt x="262" y="549"/>
                    <a:pt x="264" y="549"/>
                  </a:cubicBezTo>
                  <a:cubicBezTo>
                    <a:pt x="266" y="548"/>
                    <a:pt x="269" y="541"/>
                    <a:pt x="273" y="546"/>
                  </a:cubicBezTo>
                  <a:cubicBezTo>
                    <a:pt x="277" y="552"/>
                    <a:pt x="287" y="556"/>
                    <a:pt x="289" y="559"/>
                  </a:cubicBezTo>
                  <a:cubicBezTo>
                    <a:pt x="291" y="561"/>
                    <a:pt x="299" y="563"/>
                    <a:pt x="299" y="570"/>
                  </a:cubicBezTo>
                  <a:cubicBezTo>
                    <a:pt x="299" y="575"/>
                    <a:pt x="296" y="584"/>
                    <a:pt x="300" y="592"/>
                  </a:cubicBezTo>
                  <a:cubicBezTo>
                    <a:pt x="302" y="590"/>
                    <a:pt x="304" y="588"/>
                    <a:pt x="307" y="58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4" name="Freeform 282"/>
            <p:cNvSpPr/>
            <p:nvPr/>
          </p:nvSpPr>
          <p:spPr>
            <a:xfrm>
              <a:off x="3325813" y="4586288"/>
              <a:ext cx="123825" cy="134938"/>
            </a:xfrm>
            <a:custGeom>
              <a:gdLst>
                <a:gd name="T0" fmla="*/ 72 w 73"/>
                <a:gd name="T1" fmla="*/ 37 h 79"/>
                <a:gd name="T2" fmla="*/ 62 w 73"/>
                <a:gd name="T3" fmla="*/ 26 h 79"/>
                <a:gd name="T4" fmla="*/ 46 w 73"/>
                <a:gd name="T5" fmla="*/ 13 h 79"/>
                <a:gd name="T6" fmla="*/ 37 w 73"/>
                <a:gd name="T7" fmla="*/ 16 h 79"/>
                <a:gd name="T8" fmla="*/ 31 w 73"/>
                <a:gd name="T9" fmla="*/ 6 h 79"/>
                <a:gd name="T10" fmla="*/ 18 w 73"/>
                <a:gd name="T11" fmla="*/ 1 h 79"/>
                <a:gd name="T12" fmla="*/ 14 w 73"/>
                <a:gd name="T13" fmla="*/ 1 h 79"/>
                <a:gd name="T14" fmla="*/ 10 w 73"/>
                <a:gd name="T15" fmla="*/ 9 h 79"/>
                <a:gd name="T16" fmla="*/ 5 w 73"/>
                <a:gd name="T17" fmla="*/ 34 h 79"/>
                <a:gd name="T18" fmla="*/ 1 w 73"/>
                <a:gd name="T19" fmla="*/ 53 h 79"/>
                <a:gd name="T20" fmla="*/ 5 w 73"/>
                <a:gd name="T21" fmla="*/ 62 h 79"/>
                <a:gd name="T22" fmla="*/ 4 w 73"/>
                <a:gd name="T23" fmla="*/ 68 h 79"/>
                <a:gd name="T24" fmla="*/ 10 w 73"/>
                <a:gd name="T25" fmla="*/ 71 h 79"/>
                <a:gd name="T26" fmla="*/ 28 w 73"/>
                <a:gd name="T27" fmla="*/ 76 h 79"/>
                <a:gd name="T28" fmla="*/ 40 w 73"/>
                <a:gd name="T29" fmla="*/ 76 h 79"/>
                <a:gd name="T30" fmla="*/ 62 w 73"/>
                <a:gd name="T31" fmla="*/ 73 h 79"/>
                <a:gd name="T32" fmla="*/ 73 w 73"/>
                <a:gd name="T33" fmla="*/ 59 h 79"/>
                <a:gd name="T34" fmla="*/ 72 w 73"/>
                <a:gd name="T35" fmla="*/ 37 h 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9">
                  <a:moveTo>
                    <a:pt x="72" y="37"/>
                  </a:moveTo>
                  <a:cubicBezTo>
                    <a:pt x="72" y="30"/>
                    <a:pt x="64" y="28"/>
                    <a:pt x="62" y="26"/>
                  </a:cubicBezTo>
                  <a:cubicBezTo>
                    <a:pt x="60" y="23"/>
                    <a:pt x="50" y="19"/>
                    <a:pt x="46" y="13"/>
                  </a:cubicBezTo>
                  <a:cubicBezTo>
                    <a:pt x="42" y="8"/>
                    <a:pt x="39" y="15"/>
                    <a:pt x="37" y="16"/>
                  </a:cubicBezTo>
                  <a:cubicBezTo>
                    <a:pt x="35" y="16"/>
                    <a:pt x="36" y="11"/>
                    <a:pt x="31" y="6"/>
                  </a:cubicBezTo>
                  <a:cubicBezTo>
                    <a:pt x="26" y="0"/>
                    <a:pt x="21" y="0"/>
                    <a:pt x="18" y="1"/>
                  </a:cubicBezTo>
                  <a:cubicBezTo>
                    <a:pt x="17" y="1"/>
                    <a:pt x="16" y="1"/>
                    <a:pt x="14" y="1"/>
                  </a:cubicBezTo>
                  <a:cubicBezTo>
                    <a:pt x="12" y="4"/>
                    <a:pt x="10" y="7"/>
                    <a:pt x="10" y="9"/>
                  </a:cubicBezTo>
                  <a:cubicBezTo>
                    <a:pt x="10" y="16"/>
                    <a:pt x="5" y="23"/>
                    <a:pt x="5" y="34"/>
                  </a:cubicBezTo>
                  <a:cubicBezTo>
                    <a:pt x="4" y="46"/>
                    <a:pt x="1" y="44"/>
                    <a:pt x="1" y="53"/>
                  </a:cubicBezTo>
                  <a:cubicBezTo>
                    <a:pt x="0" y="62"/>
                    <a:pt x="4" y="61"/>
                    <a:pt x="5" y="62"/>
                  </a:cubicBezTo>
                  <a:cubicBezTo>
                    <a:pt x="6" y="63"/>
                    <a:pt x="5" y="66"/>
                    <a:pt x="4" y="68"/>
                  </a:cubicBezTo>
                  <a:cubicBezTo>
                    <a:pt x="5" y="69"/>
                    <a:pt x="7" y="71"/>
                    <a:pt x="10" y="71"/>
                  </a:cubicBezTo>
                  <a:cubicBezTo>
                    <a:pt x="16" y="70"/>
                    <a:pt x="21" y="73"/>
                    <a:pt x="28" y="76"/>
                  </a:cubicBezTo>
                  <a:cubicBezTo>
                    <a:pt x="36" y="79"/>
                    <a:pt x="33" y="75"/>
                    <a:pt x="40" y="76"/>
                  </a:cubicBezTo>
                  <a:cubicBezTo>
                    <a:pt x="46" y="77"/>
                    <a:pt x="54" y="77"/>
                    <a:pt x="62" y="73"/>
                  </a:cubicBezTo>
                  <a:cubicBezTo>
                    <a:pt x="67" y="70"/>
                    <a:pt x="69" y="64"/>
                    <a:pt x="73" y="59"/>
                  </a:cubicBezTo>
                  <a:cubicBezTo>
                    <a:pt x="69" y="51"/>
                    <a:pt x="72" y="42"/>
                    <a:pt x="72" y="3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5" name="Freeform 283"/>
            <p:cNvSpPr>
              <a:spLocks noEditPoints="1"/>
            </p:cNvSpPr>
            <p:nvPr/>
          </p:nvSpPr>
          <p:spPr>
            <a:xfrm>
              <a:off x="2944813" y="4360863"/>
              <a:ext cx="501650" cy="985838"/>
            </a:xfrm>
            <a:custGeom>
              <a:gdLst>
                <a:gd name="T0" fmla="*/ 84 w 295"/>
                <a:gd name="T1" fmla="*/ 551 h 581"/>
                <a:gd name="T2" fmla="*/ 78 w 295"/>
                <a:gd name="T3" fmla="*/ 538 h 581"/>
                <a:gd name="T4" fmla="*/ 73 w 295"/>
                <a:gd name="T5" fmla="*/ 578 h 581"/>
                <a:gd name="T6" fmla="*/ 104 w 295"/>
                <a:gd name="T7" fmla="*/ 579 h 581"/>
                <a:gd name="T8" fmla="*/ 112 w 295"/>
                <a:gd name="T9" fmla="*/ 570 h 581"/>
                <a:gd name="T10" fmla="*/ 282 w 295"/>
                <a:gd name="T11" fmla="*/ 60 h 581"/>
                <a:gd name="T12" fmla="*/ 274 w 295"/>
                <a:gd name="T13" fmla="*/ 83 h 581"/>
                <a:gd name="T14" fmla="*/ 250 w 295"/>
                <a:gd name="T15" fmla="*/ 91 h 581"/>
                <a:gd name="T16" fmla="*/ 223 w 295"/>
                <a:gd name="T17" fmla="*/ 87 h 581"/>
                <a:gd name="T18" fmla="*/ 239 w 295"/>
                <a:gd name="T19" fmla="*/ 57 h 581"/>
                <a:gd name="T20" fmla="*/ 196 w 295"/>
                <a:gd name="T21" fmla="*/ 35 h 581"/>
                <a:gd name="T22" fmla="*/ 159 w 295"/>
                <a:gd name="T23" fmla="*/ 5 h 581"/>
                <a:gd name="T24" fmla="*/ 136 w 295"/>
                <a:gd name="T25" fmla="*/ 14 h 581"/>
                <a:gd name="T26" fmla="*/ 107 w 295"/>
                <a:gd name="T27" fmla="*/ 7 h 581"/>
                <a:gd name="T28" fmla="*/ 93 w 295"/>
                <a:gd name="T29" fmla="*/ 33 h 581"/>
                <a:gd name="T30" fmla="*/ 76 w 295"/>
                <a:gd name="T31" fmla="*/ 56 h 581"/>
                <a:gd name="T32" fmla="*/ 77 w 295"/>
                <a:gd name="T33" fmla="*/ 82 h 581"/>
                <a:gd name="T34" fmla="*/ 64 w 295"/>
                <a:gd name="T35" fmla="*/ 101 h 581"/>
                <a:gd name="T36" fmla="*/ 54 w 295"/>
                <a:gd name="T37" fmla="*/ 122 h 581"/>
                <a:gd name="T38" fmla="*/ 48 w 295"/>
                <a:gd name="T39" fmla="*/ 148 h 581"/>
                <a:gd name="T40" fmla="*/ 52 w 295"/>
                <a:gd name="T41" fmla="*/ 178 h 581"/>
                <a:gd name="T42" fmla="*/ 52 w 295"/>
                <a:gd name="T43" fmla="*/ 203 h 581"/>
                <a:gd name="T44" fmla="*/ 48 w 295"/>
                <a:gd name="T45" fmla="*/ 232 h 581"/>
                <a:gd name="T46" fmla="*/ 37 w 295"/>
                <a:gd name="T47" fmla="*/ 266 h 581"/>
                <a:gd name="T48" fmla="*/ 32 w 295"/>
                <a:gd name="T49" fmla="*/ 280 h 581"/>
                <a:gd name="T50" fmla="*/ 27 w 295"/>
                <a:gd name="T51" fmla="*/ 300 h 581"/>
                <a:gd name="T52" fmla="*/ 27 w 295"/>
                <a:gd name="T53" fmla="*/ 320 h 581"/>
                <a:gd name="T54" fmla="*/ 24 w 295"/>
                <a:gd name="T55" fmla="*/ 351 h 581"/>
                <a:gd name="T56" fmla="*/ 27 w 295"/>
                <a:gd name="T57" fmla="*/ 368 h 581"/>
                <a:gd name="T58" fmla="*/ 34 w 295"/>
                <a:gd name="T59" fmla="*/ 382 h 581"/>
                <a:gd name="T60" fmla="*/ 30 w 295"/>
                <a:gd name="T61" fmla="*/ 394 h 581"/>
                <a:gd name="T62" fmla="*/ 27 w 295"/>
                <a:gd name="T63" fmla="*/ 417 h 581"/>
                <a:gd name="T64" fmla="*/ 17 w 295"/>
                <a:gd name="T65" fmla="*/ 437 h 581"/>
                <a:gd name="T66" fmla="*/ 11 w 295"/>
                <a:gd name="T67" fmla="*/ 458 h 581"/>
                <a:gd name="T68" fmla="*/ 4 w 295"/>
                <a:gd name="T69" fmla="*/ 481 h 581"/>
                <a:gd name="T70" fmla="*/ 20 w 295"/>
                <a:gd name="T71" fmla="*/ 495 h 581"/>
                <a:gd name="T72" fmla="*/ 28 w 295"/>
                <a:gd name="T73" fmla="*/ 518 h 581"/>
                <a:gd name="T74" fmla="*/ 62 w 295"/>
                <a:gd name="T75" fmla="*/ 522 h 581"/>
                <a:gd name="T76" fmla="*/ 68 w 295"/>
                <a:gd name="T77" fmla="*/ 510 h 581"/>
                <a:gd name="T78" fmla="*/ 69 w 295"/>
                <a:gd name="T79" fmla="*/ 486 h 581"/>
                <a:gd name="T80" fmla="*/ 86 w 295"/>
                <a:gd name="T81" fmla="*/ 470 h 581"/>
                <a:gd name="T82" fmla="*/ 113 w 295"/>
                <a:gd name="T83" fmla="*/ 439 h 581"/>
                <a:gd name="T84" fmla="*/ 101 w 295"/>
                <a:gd name="T85" fmla="*/ 421 h 581"/>
                <a:gd name="T86" fmla="*/ 115 w 295"/>
                <a:gd name="T87" fmla="*/ 386 h 581"/>
                <a:gd name="T88" fmla="*/ 122 w 295"/>
                <a:gd name="T89" fmla="*/ 368 h 581"/>
                <a:gd name="T90" fmla="*/ 132 w 295"/>
                <a:gd name="T91" fmla="*/ 348 h 581"/>
                <a:gd name="T92" fmla="*/ 141 w 295"/>
                <a:gd name="T93" fmla="*/ 347 h 581"/>
                <a:gd name="T94" fmla="*/ 137 w 295"/>
                <a:gd name="T95" fmla="*/ 338 h 581"/>
                <a:gd name="T96" fmla="*/ 126 w 295"/>
                <a:gd name="T97" fmla="*/ 324 h 581"/>
                <a:gd name="T98" fmla="*/ 149 w 295"/>
                <a:gd name="T99" fmla="*/ 316 h 581"/>
                <a:gd name="T100" fmla="*/ 167 w 295"/>
                <a:gd name="T101" fmla="*/ 294 h 581"/>
                <a:gd name="T102" fmla="*/ 171 w 295"/>
                <a:gd name="T103" fmla="*/ 278 h 581"/>
                <a:gd name="T104" fmla="*/ 237 w 295"/>
                <a:gd name="T105" fmla="*/ 262 h 581"/>
                <a:gd name="T106" fmla="*/ 244 w 295"/>
                <a:gd name="T107" fmla="*/ 233 h 581"/>
                <a:gd name="T108" fmla="*/ 233 w 295"/>
                <a:gd name="T109" fmla="*/ 212 h 581"/>
                <a:gd name="T110" fmla="*/ 228 w 295"/>
                <a:gd name="T111" fmla="*/ 201 h 581"/>
                <a:gd name="T112" fmla="*/ 225 w 295"/>
                <a:gd name="T113" fmla="*/ 186 h 581"/>
                <a:gd name="T114" fmla="*/ 234 w 295"/>
                <a:gd name="T115" fmla="*/ 142 h 581"/>
                <a:gd name="T116" fmla="*/ 276 w 295"/>
                <a:gd name="T117" fmla="*/ 92 h 581"/>
                <a:gd name="T118" fmla="*/ 291 w 295"/>
                <a:gd name="T119" fmla="*/ 60 h 5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5" h="581">
                  <a:moveTo>
                    <a:pt x="112" y="570"/>
                  </a:moveTo>
                  <a:cubicBezTo>
                    <a:pt x="104" y="569"/>
                    <a:pt x="89" y="555"/>
                    <a:pt x="84" y="551"/>
                  </a:cubicBezTo>
                  <a:cubicBezTo>
                    <a:pt x="79" y="547"/>
                    <a:pt x="82" y="543"/>
                    <a:pt x="77" y="544"/>
                  </a:cubicBezTo>
                  <a:cubicBezTo>
                    <a:pt x="71" y="545"/>
                    <a:pt x="75" y="539"/>
                    <a:pt x="78" y="538"/>
                  </a:cubicBezTo>
                  <a:cubicBezTo>
                    <a:pt x="81" y="536"/>
                    <a:pt x="77" y="531"/>
                    <a:pt x="73" y="530"/>
                  </a:cubicBezTo>
                  <a:cubicBezTo>
                    <a:pt x="72" y="539"/>
                    <a:pt x="71" y="577"/>
                    <a:pt x="73" y="578"/>
                  </a:cubicBezTo>
                  <a:cubicBezTo>
                    <a:pt x="75" y="578"/>
                    <a:pt x="92" y="576"/>
                    <a:pt x="97" y="579"/>
                  </a:cubicBezTo>
                  <a:cubicBezTo>
                    <a:pt x="99" y="580"/>
                    <a:pt x="102" y="581"/>
                    <a:pt x="104" y="579"/>
                  </a:cubicBezTo>
                  <a:cubicBezTo>
                    <a:pt x="107" y="576"/>
                    <a:pt x="117" y="578"/>
                    <a:pt x="122" y="574"/>
                  </a:cubicBezTo>
                  <a:cubicBezTo>
                    <a:pt x="127" y="571"/>
                    <a:pt x="120" y="570"/>
                    <a:pt x="112" y="570"/>
                  </a:cubicBezTo>
                  <a:close/>
                  <a:moveTo>
                    <a:pt x="291" y="60"/>
                  </a:moveTo>
                  <a:cubicBezTo>
                    <a:pt x="290" y="60"/>
                    <a:pt x="285" y="60"/>
                    <a:pt x="282" y="60"/>
                  </a:cubicBezTo>
                  <a:cubicBezTo>
                    <a:pt x="282" y="61"/>
                    <a:pt x="282" y="61"/>
                    <a:pt x="282" y="61"/>
                  </a:cubicBezTo>
                  <a:cubicBezTo>
                    <a:pt x="283" y="67"/>
                    <a:pt x="279" y="83"/>
                    <a:pt x="274" y="83"/>
                  </a:cubicBezTo>
                  <a:cubicBezTo>
                    <a:pt x="270" y="82"/>
                    <a:pt x="266" y="89"/>
                    <a:pt x="263" y="88"/>
                  </a:cubicBezTo>
                  <a:cubicBezTo>
                    <a:pt x="259" y="87"/>
                    <a:pt x="255" y="94"/>
                    <a:pt x="250" y="91"/>
                  </a:cubicBezTo>
                  <a:cubicBezTo>
                    <a:pt x="246" y="88"/>
                    <a:pt x="240" y="92"/>
                    <a:pt x="236" y="90"/>
                  </a:cubicBezTo>
                  <a:cubicBezTo>
                    <a:pt x="233" y="87"/>
                    <a:pt x="223" y="89"/>
                    <a:pt x="223" y="87"/>
                  </a:cubicBezTo>
                  <a:cubicBezTo>
                    <a:pt x="223" y="84"/>
                    <a:pt x="228" y="85"/>
                    <a:pt x="228" y="77"/>
                  </a:cubicBezTo>
                  <a:cubicBezTo>
                    <a:pt x="228" y="69"/>
                    <a:pt x="241" y="60"/>
                    <a:pt x="239" y="57"/>
                  </a:cubicBezTo>
                  <a:cubicBezTo>
                    <a:pt x="237" y="54"/>
                    <a:pt x="215" y="48"/>
                    <a:pt x="212" y="44"/>
                  </a:cubicBezTo>
                  <a:cubicBezTo>
                    <a:pt x="209" y="40"/>
                    <a:pt x="204" y="36"/>
                    <a:pt x="196" y="35"/>
                  </a:cubicBezTo>
                  <a:cubicBezTo>
                    <a:pt x="187" y="35"/>
                    <a:pt x="187" y="30"/>
                    <a:pt x="179" y="25"/>
                  </a:cubicBezTo>
                  <a:cubicBezTo>
                    <a:pt x="173" y="21"/>
                    <a:pt x="163" y="11"/>
                    <a:pt x="159" y="5"/>
                  </a:cubicBezTo>
                  <a:cubicBezTo>
                    <a:pt x="154" y="4"/>
                    <a:pt x="146" y="3"/>
                    <a:pt x="145" y="5"/>
                  </a:cubicBezTo>
                  <a:cubicBezTo>
                    <a:pt x="143" y="7"/>
                    <a:pt x="139" y="20"/>
                    <a:pt x="136" y="14"/>
                  </a:cubicBezTo>
                  <a:cubicBezTo>
                    <a:pt x="133" y="7"/>
                    <a:pt x="126" y="7"/>
                    <a:pt x="120" y="7"/>
                  </a:cubicBezTo>
                  <a:cubicBezTo>
                    <a:pt x="113" y="6"/>
                    <a:pt x="114" y="0"/>
                    <a:pt x="107" y="7"/>
                  </a:cubicBezTo>
                  <a:cubicBezTo>
                    <a:pt x="104" y="10"/>
                    <a:pt x="100" y="14"/>
                    <a:pt x="96" y="16"/>
                  </a:cubicBezTo>
                  <a:cubicBezTo>
                    <a:pt x="96" y="23"/>
                    <a:pt x="94" y="31"/>
                    <a:pt x="93" y="33"/>
                  </a:cubicBezTo>
                  <a:cubicBezTo>
                    <a:pt x="91" y="36"/>
                    <a:pt x="77" y="42"/>
                    <a:pt x="76" y="46"/>
                  </a:cubicBezTo>
                  <a:cubicBezTo>
                    <a:pt x="76" y="49"/>
                    <a:pt x="78" y="54"/>
                    <a:pt x="76" y="56"/>
                  </a:cubicBezTo>
                  <a:cubicBezTo>
                    <a:pt x="73" y="59"/>
                    <a:pt x="82" y="70"/>
                    <a:pt x="77" y="72"/>
                  </a:cubicBezTo>
                  <a:cubicBezTo>
                    <a:pt x="72" y="75"/>
                    <a:pt x="80" y="79"/>
                    <a:pt x="77" y="82"/>
                  </a:cubicBezTo>
                  <a:cubicBezTo>
                    <a:pt x="74" y="84"/>
                    <a:pt x="69" y="86"/>
                    <a:pt x="69" y="89"/>
                  </a:cubicBezTo>
                  <a:cubicBezTo>
                    <a:pt x="69" y="92"/>
                    <a:pt x="68" y="99"/>
                    <a:pt x="64" y="101"/>
                  </a:cubicBezTo>
                  <a:cubicBezTo>
                    <a:pt x="60" y="103"/>
                    <a:pt x="58" y="109"/>
                    <a:pt x="58" y="114"/>
                  </a:cubicBezTo>
                  <a:cubicBezTo>
                    <a:pt x="58" y="119"/>
                    <a:pt x="52" y="116"/>
                    <a:pt x="54" y="122"/>
                  </a:cubicBezTo>
                  <a:cubicBezTo>
                    <a:pt x="56" y="128"/>
                    <a:pt x="58" y="136"/>
                    <a:pt x="54" y="137"/>
                  </a:cubicBezTo>
                  <a:cubicBezTo>
                    <a:pt x="49" y="138"/>
                    <a:pt x="50" y="148"/>
                    <a:pt x="48" y="148"/>
                  </a:cubicBezTo>
                  <a:cubicBezTo>
                    <a:pt x="45" y="148"/>
                    <a:pt x="44" y="159"/>
                    <a:pt x="48" y="164"/>
                  </a:cubicBezTo>
                  <a:cubicBezTo>
                    <a:pt x="52" y="169"/>
                    <a:pt x="52" y="173"/>
                    <a:pt x="52" y="178"/>
                  </a:cubicBezTo>
                  <a:cubicBezTo>
                    <a:pt x="52" y="183"/>
                    <a:pt x="58" y="186"/>
                    <a:pt x="56" y="191"/>
                  </a:cubicBezTo>
                  <a:cubicBezTo>
                    <a:pt x="54" y="196"/>
                    <a:pt x="55" y="201"/>
                    <a:pt x="52" y="203"/>
                  </a:cubicBezTo>
                  <a:cubicBezTo>
                    <a:pt x="49" y="205"/>
                    <a:pt x="52" y="212"/>
                    <a:pt x="48" y="214"/>
                  </a:cubicBezTo>
                  <a:cubicBezTo>
                    <a:pt x="44" y="215"/>
                    <a:pt x="51" y="229"/>
                    <a:pt x="48" y="232"/>
                  </a:cubicBezTo>
                  <a:cubicBezTo>
                    <a:pt x="45" y="235"/>
                    <a:pt x="37" y="237"/>
                    <a:pt x="37" y="246"/>
                  </a:cubicBezTo>
                  <a:cubicBezTo>
                    <a:pt x="37" y="256"/>
                    <a:pt x="38" y="261"/>
                    <a:pt x="37" y="266"/>
                  </a:cubicBezTo>
                  <a:cubicBezTo>
                    <a:pt x="36" y="269"/>
                    <a:pt x="41" y="268"/>
                    <a:pt x="41" y="274"/>
                  </a:cubicBezTo>
                  <a:cubicBezTo>
                    <a:pt x="40" y="280"/>
                    <a:pt x="33" y="276"/>
                    <a:pt x="32" y="280"/>
                  </a:cubicBezTo>
                  <a:cubicBezTo>
                    <a:pt x="32" y="283"/>
                    <a:pt x="34" y="290"/>
                    <a:pt x="31" y="291"/>
                  </a:cubicBezTo>
                  <a:cubicBezTo>
                    <a:pt x="29" y="291"/>
                    <a:pt x="27" y="294"/>
                    <a:pt x="27" y="300"/>
                  </a:cubicBezTo>
                  <a:cubicBezTo>
                    <a:pt x="27" y="306"/>
                    <a:pt x="24" y="307"/>
                    <a:pt x="24" y="310"/>
                  </a:cubicBezTo>
                  <a:cubicBezTo>
                    <a:pt x="23" y="313"/>
                    <a:pt x="27" y="316"/>
                    <a:pt x="27" y="320"/>
                  </a:cubicBezTo>
                  <a:cubicBezTo>
                    <a:pt x="27" y="323"/>
                    <a:pt x="29" y="335"/>
                    <a:pt x="26" y="336"/>
                  </a:cubicBezTo>
                  <a:cubicBezTo>
                    <a:pt x="23" y="336"/>
                    <a:pt x="21" y="349"/>
                    <a:pt x="24" y="351"/>
                  </a:cubicBezTo>
                  <a:cubicBezTo>
                    <a:pt x="26" y="353"/>
                    <a:pt x="26" y="356"/>
                    <a:pt x="25" y="359"/>
                  </a:cubicBezTo>
                  <a:cubicBezTo>
                    <a:pt x="24" y="361"/>
                    <a:pt x="31" y="364"/>
                    <a:pt x="27" y="368"/>
                  </a:cubicBezTo>
                  <a:cubicBezTo>
                    <a:pt x="23" y="372"/>
                    <a:pt x="26" y="377"/>
                    <a:pt x="31" y="375"/>
                  </a:cubicBezTo>
                  <a:cubicBezTo>
                    <a:pt x="36" y="374"/>
                    <a:pt x="38" y="382"/>
                    <a:pt x="34" y="382"/>
                  </a:cubicBezTo>
                  <a:cubicBezTo>
                    <a:pt x="29" y="382"/>
                    <a:pt x="24" y="382"/>
                    <a:pt x="28" y="385"/>
                  </a:cubicBezTo>
                  <a:cubicBezTo>
                    <a:pt x="32" y="388"/>
                    <a:pt x="36" y="392"/>
                    <a:pt x="30" y="394"/>
                  </a:cubicBezTo>
                  <a:cubicBezTo>
                    <a:pt x="24" y="397"/>
                    <a:pt x="29" y="401"/>
                    <a:pt x="28" y="406"/>
                  </a:cubicBezTo>
                  <a:cubicBezTo>
                    <a:pt x="27" y="411"/>
                    <a:pt x="32" y="416"/>
                    <a:pt x="27" y="417"/>
                  </a:cubicBezTo>
                  <a:cubicBezTo>
                    <a:pt x="23" y="418"/>
                    <a:pt x="29" y="426"/>
                    <a:pt x="23" y="427"/>
                  </a:cubicBezTo>
                  <a:cubicBezTo>
                    <a:pt x="17" y="428"/>
                    <a:pt x="21" y="434"/>
                    <a:pt x="17" y="437"/>
                  </a:cubicBezTo>
                  <a:cubicBezTo>
                    <a:pt x="13" y="440"/>
                    <a:pt x="22" y="445"/>
                    <a:pt x="17" y="448"/>
                  </a:cubicBezTo>
                  <a:cubicBezTo>
                    <a:pt x="13" y="451"/>
                    <a:pt x="16" y="458"/>
                    <a:pt x="11" y="458"/>
                  </a:cubicBezTo>
                  <a:cubicBezTo>
                    <a:pt x="7" y="458"/>
                    <a:pt x="4" y="465"/>
                    <a:pt x="3" y="468"/>
                  </a:cubicBezTo>
                  <a:cubicBezTo>
                    <a:pt x="3" y="471"/>
                    <a:pt x="0" y="477"/>
                    <a:pt x="4" y="481"/>
                  </a:cubicBezTo>
                  <a:cubicBezTo>
                    <a:pt x="8" y="486"/>
                    <a:pt x="3" y="489"/>
                    <a:pt x="7" y="491"/>
                  </a:cubicBezTo>
                  <a:cubicBezTo>
                    <a:pt x="10" y="493"/>
                    <a:pt x="22" y="490"/>
                    <a:pt x="20" y="495"/>
                  </a:cubicBezTo>
                  <a:cubicBezTo>
                    <a:pt x="18" y="501"/>
                    <a:pt x="19" y="512"/>
                    <a:pt x="21" y="512"/>
                  </a:cubicBezTo>
                  <a:cubicBezTo>
                    <a:pt x="23" y="512"/>
                    <a:pt x="24" y="518"/>
                    <a:pt x="28" y="518"/>
                  </a:cubicBezTo>
                  <a:cubicBezTo>
                    <a:pt x="31" y="518"/>
                    <a:pt x="47" y="516"/>
                    <a:pt x="54" y="518"/>
                  </a:cubicBezTo>
                  <a:cubicBezTo>
                    <a:pt x="57" y="518"/>
                    <a:pt x="60" y="520"/>
                    <a:pt x="62" y="522"/>
                  </a:cubicBezTo>
                  <a:cubicBezTo>
                    <a:pt x="65" y="520"/>
                    <a:pt x="73" y="526"/>
                    <a:pt x="75" y="524"/>
                  </a:cubicBezTo>
                  <a:cubicBezTo>
                    <a:pt x="78" y="522"/>
                    <a:pt x="67" y="513"/>
                    <a:pt x="68" y="510"/>
                  </a:cubicBezTo>
                  <a:cubicBezTo>
                    <a:pt x="68" y="508"/>
                    <a:pt x="66" y="503"/>
                    <a:pt x="66" y="499"/>
                  </a:cubicBezTo>
                  <a:cubicBezTo>
                    <a:pt x="66" y="496"/>
                    <a:pt x="64" y="489"/>
                    <a:pt x="69" y="486"/>
                  </a:cubicBezTo>
                  <a:cubicBezTo>
                    <a:pt x="73" y="483"/>
                    <a:pt x="74" y="479"/>
                    <a:pt x="77" y="480"/>
                  </a:cubicBezTo>
                  <a:cubicBezTo>
                    <a:pt x="80" y="481"/>
                    <a:pt x="85" y="478"/>
                    <a:pt x="86" y="470"/>
                  </a:cubicBezTo>
                  <a:cubicBezTo>
                    <a:pt x="86" y="462"/>
                    <a:pt x="90" y="459"/>
                    <a:pt x="96" y="454"/>
                  </a:cubicBezTo>
                  <a:cubicBezTo>
                    <a:pt x="103" y="448"/>
                    <a:pt x="115" y="442"/>
                    <a:pt x="113" y="439"/>
                  </a:cubicBezTo>
                  <a:cubicBezTo>
                    <a:pt x="111" y="437"/>
                    <a:pt x="116" y="428"/>
                    <a:pt x="116" y="425"/>
                  </a:cubicBezTo>
                  <a:cubicBezTo>
                    <a:pt x="116" y="422"/>
                    <a:pt x="105" y="423"/>
                    <a:pt x="101" y="421"/>
                  </a:cubicBezTo>
                  <a:cubicBezTo>
                    <a:pt x="98" y="420"/>
                    <a:pt x="85" y="411"/>
                    <a:pt x="91" y="399"/>
                  </a:cubicBezTo>
                  <a:cubicBezTo>
                    <a:pt x="98" y="387"/>
                    <a:pt x="111" y="386"/>
                    <a:pt x="115" y="386"/>
                  </a:cubicBezTo>
                  <a:cubicBezTo>
                    <a:pt x="119" y="385"/>
                    <a:pt x="115" y="380"/>
                    <a:pt x="119" y="378"/>
                  </a:cubicBezTo>
                  <a:cubicBezTo>
                    <a:pt x="122" y="376"/>
                    <a:pt x="122" y="373"/>
                    <a:pt x="122" y="368"/>
                  </a:cubicBezTo>
                  <a:cubicBezTo>
                    <a:pt x="122" y="362"/>
                    <a:pt x="122" y="354"/>
                    <a:pt x="128" y="353"/>
                  </a:cubicBezTo>
                  <a:cubicBezTo>
                    <a:pt x="134" y="352"/>
                    <a:pt x="136" y="349"/>
                    <a:pt x="132" y="348"/>
                  </a:cubicBezTo>
                  <a:cubicBezTo>
                    <a:pt x="129" y="347"/>
                    <a:pt x="127" y="343"/>
                    <a:pt x="133" y="342"/>
                  </a:cubicBezTo>
                  <a:cubicBezTo>
                    <a:pt x="139" y="342"/>
                    <a:pt x="137" y="347"/>
                    <a:pt x="141" y="347"/>
                  </a:cubicBezTo>
                  <a:cubicBezTo>
                    <a:pt x="145" y="347"/>
                    <a:pt x="152" y="340"/>
                    <a:pt x="147" y="336"/>
                  </a:cubicBezTo>
                  <a:cubicBezTo>
                    <a:pt x="141" y="332"/>
                    <a:pt x="140" y="338"/>
                    <a:pt x="137" y="338"/>
                  </a:cubicBezTo>
                  <a:cubicBezTo>
                    <a:pt x="134" y="339"/>
                    <a:pt x="131" y="335"/>
                    <a:pt x="129" y="335"/>
                  </a:cubicBezTo>
                  <a:cubicBezTo>
                    <a:pt x="126" y="335"/>
                    <a:pt x="128" y="327"/>
                    <a:pt x="126" y="324"/>
                  </a:cubicBezTo>
                  <a:cubicBezTo>
                    <a:pt x="125" y="321"/>
                    <a:pt x="123" y="314"/>
                    <a:pt x="126" y="310"/>
                  </a:cubicBezTo>
                  <a:cubicBezTo>
                    <a:pt x="128" y="307"/>
                    <a:pt x="139" y="316"/>
                    <a:pt x="149" y="316"/>
                  </a:cubicBezTo>
                  <a:cubicBezTo>
                    <a:pt x="159" y="317"/>
                    <a:pt x="166" y="311"/>
                    <a:pt x="166" y="308"/>
                  </a:cubicBezTo>
                  <a:cubicBezTo>
                    <a:pt x="166" y="304"/>
                    <a:pt x="161" y="298"/>
                    <a:pt x="167" y="294"/>
                  </a:cubicBezTo>
                  <a:cubicBezTo>
                    <a:pt x="173" y="290"/>
                    <a:pt x="168" y="289"/>
                    <a:pt x="166" y="284"/>
                  </a:cubicBezTo>
                  <a:cubicBezTo>
                    <a:pt x="165" y="278"/>
                    <a:pt x="169" y="275"/>
                    <a:pt x="171" y="278"/>
                  </a:cubicBezTo>
                  <a:cubicBezTo>
                    <a:pt x="174" y="280"/>
                    <a:pt x="193" y="279"/>
                    <a:pt x="209" y="276"/>
                  </a:cubicBezTo>
                  <a:cubicBezTo>
                    <a:pt x="225" y="272"/>
                    <a:pt x="236" y="267"/>
                    <a:pt x="237" y="262"/>
                  </a:cubicBezTo>
                  <a:cubicBezTo>
                    <a:pt x="238" y="258"/>
                    <a:pt x="248" y="247"/>
                    <a:pt x="250" y="243"/>
                  </a:cubicBezTo>
                  <a:cubicBezTo>
                    <a:pt x="252" y="239"/>
                    <a:pt x="250" y="234"/>
                    <a:pt x="244" y="233"/>
                  </a:cubicBezTo>
                  <a:cubicBezTo>
                    <a:pt x="237" y="232"/>
                    <a:pt x="238" y="225"/>
                    <a:pt x="241" y="221"/>
                  </a:cubicBezTo>
                  <a:cubicBezTo>
                    <a:pt x="245" y="217"/>
                    <a:pt x="239" y="213"/>
                    <a:pt x="233" y="212"/>
                  </a:cubicBezTo>
                  <a:cubicBezTo>
                    <a:pt x="227" y="211"/>
                    <a:pt x="217" y="207"/>
                    <a:pt x="223" y="202"/>
                  </a:cubicBezTo>
                  <a:cubicBezTo>
                    <a:pt x="225" y="200"/>
                    <a:pt x="227" y="200"/>
                    <a:pt x="228" y="201"/>
                  </a:cubicBezTo>
                  <a:cubicBezTo>
                    <a:pt x="229" y="199"/>
                    <a:pt x="230" y="196"/>
                    <a:pt x="229" y="195"/>
                  </a:cubicBezTo>
                  <a:cubicBezTo>
                    <a:pt x="228" y="194"/>
                    <a:pt x="224" y="195"/>
                    <a:pt x="225" y="186"/>
                  </a:cubicBezTo>
                  <a:cubicBezTo>
                    <a:pt x="225" y="177"/>
                    <a:pt x="228" y="179"/>
                    <a:pt x="229" y="167"/>
                  </a:cubicBezTo>
                  <a:cubicBezTo>
                    <a:pt x="229" y="156"/>
                    <a:pt x="234" y="149"/>
                    <a:pt x="234" y="142"/>
                  </a:cubicBezTo>
                  <a:cubicBezTo>
                    <a:pt x="234" y="136"/>
                    <a:pt x="245" y="129"/>
                    <a:pt x="251" y="119"/>
                  </a:cubicBezTo>
                  <a:cubicBezTo>
                    <a:pt x="257" y="109"/>
                    <a:pt x="271" y="96"/>
                    <a:pt x="276" y="92"/>
                  </a:cubicBezTo>
                  <a:cubicBezTo>
                    <a:pt x="282" y="89"/>
                    <a:pt x="292" y="86"/>
                    <a:pt x="294" y="83"/>
                  </a:cubicBezTo>
                  <a:cubicBezTo>
                    <a:pt x="295" y="79"/>
                    <a:pt x="294" y="62"/>
                    <a:pt x="291" y="6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6" name="Freeform 284"/>
            <p:cNvSpPr/>
            <p:nvPr/>
          </p:nvSpPr>
          <p:spPr>
            <a:xfrm>
              <a:off x="2892426" y="4251325"/>
              <a:ext cx="217488" cy="1114425"/>
            </a:xfrm>
            <a:custGeom>
              <a:gdLst>
                <a:gd name="T0" fmla="*/ 51 w 128"/>
                <a:gd name="T1" fmla="*/ 560 h 657"/>
                <a:gd name="T2" fmla="*/ 34 w 128"/>
                <a:gd name="T3" fmla="*/ 533 h 657"/>
                <a:gd name="T4" fmla="*/ 48 w 128"/>
                <a:gd name="T5" fmla="*/ 502 h 657"/>
                <a:gd name="T6" fmla="*/ 59 w 128"/>
                <a:gd name="T7" fmla="*/ 471 h 657"/>
                <a:gd name="T8" fmla="*/ 65 w 128"/>
                <a:gd name="T9" fmla="*/ 447 h 657"/>
                <a:gd name="T10" fmla="*/ 56 w 128"/>
                <a:gd name="T11" fmla="*/ 424 h 657"/>
                <a:gd name="T12" fmla="*/ 58 w 128"/>
                <a:gd name="T13" fmla="*/ 385 h 657"/>
                <a:gd name="T14" fmla="*/ 62 w 128"/>
                <a:gd name="T15" fmla="*/ 356 h 657"/>
                <a:gd name="T16" fmla="*/ 68 w 128"/>
                <a:gd name="T17" fmla="*/ 331 h 657"/>
                <a:gd name="T18" fmla="*/ 79 w 128"/>
                <a:gd name="T19" fmla="*/ 279 h 657"/>
                <a:gd name="T20" fmla="*/ 83 w 128"/>
                <a:gd name="T21" fmla="*/ 243 h 657"/>
                <a:gd name="T22" fmla="*/ 85 w 128"/>
                <a:gd name="T23" fmla="*/ 202 h 657"/>
                <a:gd name="T24" fmla="*/ 95 w 128"/>
                <a:gd name="T25" fmla="*/ 166 h 657"/>
                <a:gd name="T26" fmla="*/ 108 w 128"/>
                <a:gd name="T27" fmla="*/ 137 h 657"/>
                <a:gd name="T28" fmla="*/ 124 w 128"/>
                <a:gd name="T29" fmla="*/ 98 h 657"/>
                <a:gd name="T30" fmla="*/ 114 w 128"/>
                <a:gd name="T31" fmla="*/ 68 h 657"/>
                <a:gd name="T32" fmla="*/ 107 w 128"/>
                <a:gd name="T33" fmla="*/ 32 h 657"/>
                <a:gd name="T34" fmla="*/ 91 w 128"/>
                <a:gd name="T35" fmla="*/ 2 h 657"/>
                <a:gd name="T36" fmla="*/ 82 w 128"/>
                <a:gd name="T37" fmla="*/ 29 h 657"/>
                <a:gd name="T38" fmla="*/ 79 w 128"/>
                <a:gd name="T39" fmla="*/ 97 h 657"/>
                <a:gd name="T40" fmla="*/ 67 w 128"/>
                <a:gd name="T41" fmla="*/ 164 h 657"/>
                <a:gd name="T42" fmla="*/ 61 w 128"/>
                <a:gd name="T43" fmla="*/ 210 h 657"/>
                <a:gd name="T44" fmla="*/ 52 w 128"/>
                <a:gd name="T45" fmla="*/ 270 h 657"/>
                <a:gd name="T46" fmla="*/ 32 w 128"/>
                <a:gd name="T47" fmla="*/ 323 h 657"/>
                <a:gd name="T48" fmla="*/ 31 w 128"/>
                <a:gd name="T49" fmla="*/ 369 h 657"/>
                <a:gd name="T50" fmla="*/ 21 w 128"/>
                <a:gd name="T51" fmla="*/ 411 h 657"/>
                <a:gd name="T52" fmla="*/ 40 w 128"/>
                <a:gd name="T53" fmla="*/ 389 h 657"/>
                <a:gd name="T54" fmla="*/ 43 w 128"/>
                <a:gd name="T55" fmla="*/ 413 h 657"/>
                <a:gd name="T56" fmla="*/ 38 w 128"/>
                <a:gd name="T57" fmla="*/ 441 h 657"/>
                <a:gd name="T58" fmla="*/ 31 w 128"/>
                <a:gd name="T59" fmla="*/ 460 h 657"/>
                <a:gd name="T60" fmla="*/ 29 w 128"/>
                <a:gd name="T61" fmla="*/ 456 h 657"/>
                <a:gd name="T62" fmla="*/ 19 w 128"/>
                <a:gd name="T63" fmla="*/ 461 h 657"/>
                <a:gd name="T64" fmla="*/ 2 w 128"/>
                <a:gd name="T65" fmla="*/ 483 h 657"/>
                <a:gd name="T66" fmla="*/ 21 w 128"/>
                <a:gd name="T67" fmla="*/ 484 h 657"/>
                <a:gd name="T68" fmla="*/ 31 w 128"/>
                <a:gd name="T69" fmla="*/ 502 h 657"/>
                <a:gd name="T70" fmla="*/ 13 w 128"/>
                <a:gd name="T71" fmla="*/ 506 h 657"/>
                <a:gd name="T72" fmla="*/ 16 w 128"/>
                <a:gd name="T73" fmla="*/ 516 h 657"/>
                <a:gd name="T74" fmla="*/ 7 w 128"/>
                <a:gd name="T75" fmla="*/ 532 h 657"/>
                <a:gd name="T76" fmla="*/ 18 w 128"/>
                <a:gd name="T77" fmla="*/ 536 h 657"/>
                <a:gd name="T78" fmla="*/ 20 w 128"/>
                <a:gd name="T79" fmla="*/ 551 h 657"/>
                <a:gd name="T80" fmla="*/ 11 w 128"/>
                <a:gd name="T81" fmla="*/ 569 h 657"/>
                <a:gd name="T82" fmla="*/ 29 w 128"/>
                <a:gd name="T83" fmla="*/ 572 h 657"/>
                <a:gd name="T84" fmla="*/ 36 w 128"/>
                <a:gd name="T85" fmla="*/ 578 h 657"/>
                <a:gd name="T86" fmla="*/ 28 w 128"/>
                <a:gd name="T87" fmla="*/ 595 h 657"/>
                <a:gd name="T88" fmla="*/ 52 w 128"/>
                <a:gd name="T89" fmla="*/ 596 h 657"/>
                <a:gd name="T90" fmla="*/ 35 w 128"/>
                <a:gd name="T91" fmla="*/ 608 h 657"/>
                <a:gd name="T92" fmla="*/ 54 w 128"/>
                <a:gd name="T93" fmla="*/ 606 h 657"/>
                <a:gd name="T94" fmla="*/ 32 w 128"/>
                <a:gd name="T95" fmla="*/ 621 h 657"/>
                <a:gd name="T96" fmla="*/ 52 w 128"/>
                <a:gd name="T97" fmla="*/ 623 h 657"/>
                <a:gd name="T98" fmla="*/ 82 w 128"/>
                <a:gd name="T99" fmla="*/ 594 h 657"/>
                <a:gd name="T100" fmla="*/ 91 w 128"/>
                <a:gd name="T101" fmla="*/ 610 h 657"/>
                <a:gd name="T102" fmla="*/ 77 w 128"/>
                <a:gd name="T103" fmla="*/ 615 h 657"/>
                <a:gd name="T104" fmla="*/ 63 w 128"/>
                <a:gd name="T105" fmla="*/ 627 h 657"/>
                <a:gd name="T106" fmla="*/ 74 w 128"/>
                <a:gd name="T107" fmla="*/ 648 h 657"/>
                <a:gd name="T108" fmla="*/ 95 w 128"/>
                <a:gd name="T109" fmla="*/ 645 h 657"/>
                <a:gd name="T110" fmla="*/ 116 w 128"/>
                <a:gd name="T111" fmla="*/ 646 h 657"/>
                <a:gd name="T112" fmla="*/ 104 w 128"/>
                <a:gd name="T113" fmla="*/ 643 h 657"/>
                <a:gd name="T114" fmla="*/ 91 w 128"/>
                <a:gd name="T115" fmla="*/ 589 h 657"/>
                <a:gd name="T116" fmla="*/ 59 w 128"/>
                <a:gd name="T117" fmla="*/ 583 h 6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657">
                  <a:moveTo>
                    <a:pt x="59" y="583"/>
                  </a:moveTo>
                  <a:cubicBezTo>
                    <a:pt x="55" y="583"/>
                    <a:pt x="54" y="577"/>
                    <a:pt x="52" y="577"/>
                  </a:cubicBezTo>
                  <a:cubicBezTo>
                    <a:pt x="50" y="577"/>
                    <a:pt x="49" y="566"/>
                    <a:pt x="51" y="560"/>
                  </a:cubicBezTo>
                  <a:cubicBezTo>
                    <a:pt x="53" y="555"/>
                    <a:pt x="41" y="558"/>
                    <a:pt x="38" y="556"/>
                  </a:cubicBezTo>
                  <a:cubicBezTo>
                    <a:pt x="34" y="554"/>
                    <a:pt x="39" y="551"/>
                    <a:pt x="35" y="546"/>
                  </a:cubicBezTo>
                  <a:cubicBezTo>
                    <a:pt x="31" y="542"/>
                    <a:pt x="34" y="536"/>
                    <a:pt x="34" y="533"/>
                  </a:cubicBezTo>
                  <a:cubicBezTo>
                    <a:pt x="35" y="530"/>
                    <a:pt x="38" y="523"/>
                    <a:pt x="42" y="523"/>
                  </a:cubicBezTo>
                  <a:cubicBezTo>
                    <a:pt x="47" y="523"/>
                    <a:pt x="44" y="516"/>
                    <a:pt x="48" y="513"/>
                  </a:cubicBezTo>
                  <a:cubicBezTo>
                    <a:pt x="53" y="510"/>
                    <a:pt x="44" y="505"/>
                    <a:pt x="48" y="502"/>
                  </a:cubicBezTo>
                  <a:cubicBezTo>
                    <a:pt x="52" y="499"/>
                    <a:pt x="48" y="493"/>
                    <a:pt x="54" y="492"/>
                  </a:cubicBezTo>
                  <a:cubicBezTo>
                    <a:pt x="60" y="491"/>
                    <a:pt x="54" y="483"/>
                    <a:pt x="58" y="482"/>
                  </a:cubicBezTo>
                  <a:cubicBezTo>
                    <a:pt x="63" y="481"/>
                    <a:pt x="58" y="476"/>
                    <a:pt x="59" y="471"/>
                  </a:cubicBezTo>
                  <a:cubicBezTo>
                    <a:pt x="60" y="466"/>
                    <a:pt x="55" y="462"/>
                    <a:pt x="61" y="459"/>
                  </a:cubicBezTo>
                  <a:cubicBezTo>
                    <a:pt x="67" y="457"/>
                    <a:pt x="63" y="453"/>
                    <a:pt x="59" y="450"/>
                  </a:cubicBezTo>
                  <a:cubicBezTo>
                    <a:pt x="55" y="447"/>
                    <a:pt x="60" y="447"/>
                    <a:pt x="65" y="447"/>
                  </a:cubicBezTo>
                  <a:cubicBezTo>
                    <a:pt x="69" y="447"/>
                    <a:pt x="67" y="439"/>
                    <a:pt x="62" y="440"/>
                  </a:cubicBezTo>
                  <a:cubicBezTo>
                    <a:pt x="57" y="442"/>
                    <a:pt x="54" y="437"/>
                    <a:pt x="58" y="433"/>
                  </a:cubicBezTo>
                  <a:cubicBezTo>
                    <a:pt x="62" y="429"/>
                    <a:pt x="55" y="426"/>
                    <a:pt x="56" y="424"/>
                  </a:cubicBezTo>
                  <a:cubicBezTo>
                    <a:pt x="57" y="421"/>
                    <a:pt x="57" y="418"/>
                    <a:pt x="55" y="416"/>
                  </a:cubicBezTo>
                  <a:cubicBezTo>
                    <a:pt x="52" y="414"/>
                    <a:pt x="54" y="401"/>
                    <a:pt x="57" y="401"/>
                  </a:cubicBezTo>
                  <a:cubicBezTo>
                    <a:pt x="60" y="400"/>
                    <a:pt x="58" y="388"/>
                    <a:pt x="58" y="385"/>
                  </a:cubicBezTo>
                  <a:cubicBezTo>
                    <a:pt x="58" y="381"/>
                    <a:pt x="54" y="378"/>
                    <a:pt x="55" y="375"/>
                  </a:cubicBezTo>
                  <a:cubicBezTo>
                    <a:pt x="55" y="372"/>
                    <a:pt x="58" y="371"/>
                    <a:pt x="58" y="365"/>
                  </a:cubicBezTo>
                  <a:cubicBezTo>
                    <a:pt x="58" y="359"/>
                    <a:pt x="60" y="356"/>
                    <a:pt x="62" y="356"/>
                  </a:cubicBezTo>
                  <a:cubicBezTo>
                    <a:pt x="65" y="355"/>
                    <a:pt x="63" y="348"/>
                    <a:pt x="63" y="345"/>
                  </a:cubicBezTo>
                  <a:cubicBezTo>
                    <a:pt x="64" y="341"/>
                    <a:pt x="71" y="345"/>
                    <a:pt x="72" y="339"/>
                  </a:cubicBezTo>
                  <a:cubicBezTo>
                    <a:pt x="72" y="333"/>
                    <a:pt x="67" y="334"/>
                    <a:pt x="68" y="331"/>
                  </a:cubicBezTo>
                  <a:cubicBezTo>
                    <a:pt x="69" y="326"/>
                    <a:pt x="68" y="321"/>
                    <a:pt x="68" y="311"/>
                  </a:cubicBezTo>
                  <a:cubicBezTo>
                    <a:pt x="68" y="302"/>
                    <a:pt x="76" y="300"/>
                    <a:pt x="79" y="297"/>
                  </a:cubicBezTo>
                  <a:cubicBezTo>
                    <a:pt x="82" y="294"/>
                    <a:pt x="75" y="280"/>
                    <a:pt x="79" y="279"/>
                  </a:cubicBezTo>
                  <a:cubicBezTo>
                    <a:pt x="83" y="277"/>
                    <a:pt x="80" y="270"/>
                    <a:pt x="83" y="268"/>
                  </a:cubicBezTo>
                  <a:cubicBezTo>
                    <a:pt x="86" y="266"/>
                    <a:pt x="85" y="261"/>
                    <a:pt x="87" y="256"/>
                  </a:cubicBezTo>
                  <a:cubicBezTo>
                    <a:pt x="89" y="251"/>
                    <a:pt x="83" y="248"/>
                    <a:pt x="83" y="243"/>
                  </a:cubicBezTo>
                  <a:cubicBezTo>
                    <a:pt x="83" y="238"/>
                    <a:pt x="83" y="234"/>
                    <a:pt x="79" y="229"/>
                  </a:cubicBezTo>
                  <a:cubicBezTo>
                    <a:pt x="75" y="224"/>
                    <a:pt x="76" y="213"/>
                    <a:pt x="79" y="213"/>
                  </a:cubicBezTo>
                  <a:cubicBezTo>
                    <a:pt x="81" y="213"/>
                    <a:pt x="80" y="203"/>
                    <a:pt x="85" y="202"/>
                  </a:cubicBezTo>
                  <a:cubicBezTo>
                    <a:pt x="89" y="201"/>
                    <a:pt x="87" y="193"/>
                    <a:pt x="85" y="187"/>
                  </a:cubicBezTo>
                  <a:cubicBezTo>
                    <a:pt x="83" y="181"/>
                    <a:pt x="89" y="184"/>
                    <a:pt x="89" y="179"/>
                  </a:cubicBezTo>
                  <a:cubicBezTo>
                    <a:pt x="89" y="174"/>
                    <a:pt x="91" y="168"/>
                    <a:pt x="95" y="166"/>
                  </a:cubicBezTo>
                  <a:cubicBezTo>
                    <a:pt x="99" y="164"/>
                    <a:pt x="100" y="157"/>
                    <a:pt x="100" y="154"/>
                  </a:cubicBezTo>
                  <a:cubicBezTo>
                    <a:pt x="100" y="151"/>
                    <a:pt x="105" y="149"/>
                    <a:pt x="108" y="147"/>
                  </a:cubicBezTo>
                  <a:cubicBezTo>
                    <a:pt x="111" y="144"/>
                    <a:pt x="103" y="140"/>
                    <a:pt x="108" y="137"/>
                  </a:cubicBezTo>
                  <a:cubicBezTo>
                    <a:pt x="113" y="135"/>
                    <a:pt x="104" y="124"/>
                    <a:pt x="107" y="121"/>
                  </a:cubicBezTo>
                  <a:cubicBezTo>
                    <a:pt x="109" y="119"/>
                    <a:pt x="107" y="114"/>
                    <a:pt x="107" y="111"/>
                  </a:cubicBezTo>
                  <a:cubicBezTo>
                    <a:pt x="108" y="107"/>
                    <a:pt x="122" y="101"/>
                    <a:pt x="124" y="98"/>
                  </a:cubicBezTo>
                  <a:cubicBezTo>
                    <a:pt x="125" y="96"/>
                    <a:pt x="127" y="88"/>
                    <a:pt x="127" y="81"/>
                  </a:cubicBezTo>
                  <a:cubicBezTo>
                    <a:pt x="122" y="84"/>
                    <a:pt x="119" y="85"/>
                    <a:pt x="118" y="84"/>
                  </a:cubicBezTo>
                  <a:cubicBezTo>
                    <a:pt x="117" y="81"/>
                    <a:pt x="118" y="72"/>
                    <a:pt x="114" y="68"/>
                  </a:cubicBezTo>
                  <a:cubicBezTo>
                    <a:pt x="111" y="64"/>
                    <a:pt x="113" y="56"/>
                    <a:pt x="109" y="54"/>
                  </a:cubicBezTo>
                  <a:cubicBezTo>
                    <a:pt x="105" y="53"/>
                    <a:pt x="101" y="45"/>
                    <a:pt x="104" y="42"/>
                  </a:cubicBezTo>
                  <a:cubicBezTo>
                    <a:pt x="108" y="40"/>
                    <a:pt x="104" y="35"/>
                    <a:pt x="107" y="32"/>
                  </a:cubicBezTo>
                  <a:cubicBezTo>
                    <a:pt x="110" y="29"/>
                    <a:pt x="105" y="29"/>
                    <a:pt x="101" y="24"/>
                  </a:cubicBezTo>
                  <a:cubicBezTo>
                    <a:pt x="97" y="19"/>
                    <a:pt x="103" y="12"/>
                    <a:pt x="98" y="8"/>
                  </a:cubicBezTo>
                  <a:cubicBezTo>
                    <a:pt x="92" y="5"/>
                    <a:pt x="92" y="0"/>
                    <a:pt x="91" y="2"/>
                  </a:cubicBezTo>
                  <a:cubicBezTo>
                    <a:pt x="90" y="4"/>
                    <a:pt x="89" y="11"/>
                    <a:pt x="85" y="14"/>
                  </a:cubicBezTo>
                  <a:cubicBezTo>
                    <a:pt x="84" y="14"/>
                    <a:pt x="83" y="15"/>
                    <a:pt x="82" y="16"/>
                  </a:cubicBezTo>
                  <a:cubicBezTo>
                    <a:pt x="82" y="19"/>
                    <a:pt x="81" y="25"/>
                    <a:pt x="82" y="29"/>
                  </a:cubicBezTo>
                  <a:cubicBezTo>
                    <a:pt x="84" y="34"/>
                    <a:pt x="85" y="57"/>
                    <a:pt x="83" y="66"/>
                  </a:cubicBezTo>
                  <a:cubicBezTo>
                    <a:pt x="81" y="75"/>
                    <a:pt x="79" y="83"/>
                    <a:pt x="77" y="88"/>
                  </a:cubicBezTo>
                  <a:cubicBezTo>
                    <a:pt x="75" y="94"/>
                    <a:pt x="82" y="94"/>
                    <a:pt x="79" y="97"/>
                  </a:cubicBezTo>
                  <a:cubicBezTo>
                    <a:pt x="77" y="99"/>
                    <a:pt x="78" y="106"/>
                    <a:pt x="78" y="116"/>
                  </a:cubicBezTo>
                  <a:cubicBezTo>
                    <a:pt x="78" y="126"/>
                    <a:pt x="71" y="144"/>
                    <a:pt x="71" y="149"/>
                  </a:cubicBezTo>
                  <a:cubicBezTo>
                    <a:pt x="71" y="155"/>
                    <a:pt x="67" y="158"/>
                    <a:pt x="67" y="164"/>
                  </a:cubicBezTo>
                  <a:cubicBezTo>
                    <a:pt x="68" y="171"/>
                    <a:pt x="64" y="174"/>
                    <a:pt x="61" y="177"/>
                  </a:cubicBezTo>
                  <a:cubicBezTo>
                    <a:pt x="57" y="180"/>
                    <a:pt x="67" y="189"/>
                    <a:pt x="66" y="194"/>
                  </a:cubicBezTo>
                  <a:cubicBezTo>
                    <a:pt x="66" y="200"/>
                    <a:pt x="59" y="202"/>
                    <a:pt x="61" y="210"/>
                  </a:cubicBezTo>
                  <a:cubicBezTo>
                    <a:pt x="63" y="221"/>
                    <a:pt x="61" y="239"/>
                    <a:pt x="61" y="242"/>
                  </a:cubicBezTo>
                  <a:cubicBezTo>
                    <a:pt x="61" y="246"/>
                    <a:pt x="57" y="245"/>
                    <a:pt x="58" y="252"/>
                  </a:cubicBezTo>
                  <a:cubicBezTo>
                    <a:pt x="59" y="259"/>
                    <a:pt x="53" y="261"/>
                    <a:pt x="52" y="270"/>
                  </a:cubicBezTo>
                  <a:cubicBezTo>
                    <a:pt x="51" y="280"/>
                    <a:pt x="44" y="294"/>
                    <a:pt x="41" y="301"/>
                  </a:cubicBezTo>
                  <a:cubicBezTo>
                    <a:pt x="38" y="309"/>
                    <a:pt x="38" y="313"/>
                    <a:pt x="34" y="313"/>
                  </a:cubicBezTo>
                  <a:cubicBezTo>
                    <a:pt x="31" y="313"/>
                    <a:pt x="30" y="317"/>
                    <a:pt x="32" y="323"/>
                  </a:cubicBezTo>
                  <a:cubicBezTo>
                    <a:pt x="35" y="330"/>
                    <a:pt x="31" y="335"/>
                    <a:pt x="34" y="342"/>
                  </a:cubicBezTo>
                  <a:cubicBezTo>
                    <a:pt x="38" y="348"/>
                    <a:pt x="37" y="351"/>
                    <a:pt x="35" y="357"/>
                  </a:cubicBezTo>
                  <a:cubicBezTo>
                    <a:pt x="33" y="363"/>
                    <a:pt x="31" y="363"/>
                    <a:pt x="31" y="369"/>
                  </a:cubicBezTo>
                  <a:cubicBezTo>
                    <a:pt x="31" y="375"/>
                    <a:pt x="26" y="380"/>
                    <a:pt x="29" y="386"/>
                  </a:cubicBezTo>
                  <a:cubicBezTo>
                    <a:pt x="31" y="393"/>
                    <a:pt x="31" y="395"/>
                    <a:pt x="27" y="395"/>
                  </a:cubicBezTo>
                  <a:cubicBezTo>
                    <a:pt x="24" y="395"/>
                    <a:pt x="22" y="400"/>
                    <a:pt x="21" y="411"/>
                  </a:cubicBezTo>
                  <a:cubicBezTo>
                    <a:pt x="20" y="421"/>
                    <a:pt x="20" y="421"/>
                    <a:pt x="28" y="420"/>
                  </a:cubicBezTo>
                  <a:cubicBezTo>
                    <a:pt x="36" y="420"/>
                    <a:pt x="30" y="394"/>
                    <a:pt x="34" y="394"/>
                  </a:cubicBezTo>
                  <a:cubicBezTo>
                    <a:pt x="39" y="394"/>
                    <a:pt x="35" y="390"/>
                    <a:pt x="40" y="389"/>
                  </a:cubicBezTo>
                  <a:cubicBezTo>
                    <a:pt x="45" y="387"/>
                    <a:pt x="41" y="393"/>
                    <a:pt x="44" y="394"/>
                  </a:cubicBezTo>
                  <a:cubicBezTo>
                    <a:pt x="47" y="395"/>
                    <a:pt x="49" y="398"/>
                    <a:pt x="45" y="401"/>
                  </a:cubicBezTo>
                  <a:cubicBezTo>
                    <a:pt x="40" y="403"/>
                    <a:pt x="46" y="409"/>
                    <a:pt x="43" y="413"/>
                  </a:cubicBezTo>
                  <a:cubicBezTo>
                    <a:pt x="41" y="416"/>
                    <a:pt x="38" y="420"/>
                    <a:pt x="40" y="424"/>
                  </a:cubicBezTo>
                  <a:cubicBezTo>
                    <a:pt x="42" y="429"/>
                    <a:pt x="38" y="428"/>
                    <a:pt x="37" y="434"/>
                  </a:cubicBezTo>
                  <a:cubicBezTo>
                    <a:pt x="37" y="439"/>
                    <a:pt x="40" y="440"/>
                    <a:pt x="38" y="441"/>
                  </a:cubicBezTo>
                  <a:cubicBezTo>
                    <a:pt x="36" y="442"/>
                    <a:pt x="41" y="446"/>
                    <a:pt x="38" y="447"/>
                  </a:cubicBezTo>
                  <a:cubicBezTo>
                    <a:pt x="34" y="448"/>
                    <a:pt x="36" y="452"/>
                    <a:pt x="38" y="456"/>
                  </a:cubicBezTo>
                  <a:cubicBezTo>
                    <a:pt x="40" y="460"/>
                    <a:pt x="34" y="457"/>
                    <a:pt x="31" y="460"/>
                  </a:cubicBezTo>
                  <a:cubicBezTo>
                    <a:pt x="28" y="463"/>
                    <a:pt x="34" y="466"/>
                    <a:pt x="32" y="470"/>
                  </a:cubicBezTo>
                  <a:cubicBezTo>
                    <a:pt x="30" y="473"/>
                    <a:pt x="25" y="468"/>
                    <a:pt x="23" y="466"/>
                  </a:cubicBezTo>
                  <a:cubicBezTo>
                    <a:pt x="21" y="464"/>
                    <a:pt x="26" y="460"/>
                    <a:pt x="29" y="456"/>
                  </a:cubicBezTo>
                  <a:cubicBezTo>
                    <a:pt x="32" y="452"/>
                    <a:pt x="26" y="443"/>
                    <a:pt x="21" y="445"/>
                  </a:cubicBezTo>
                  <a:cubicBezTo>
                    <a:pt x="17" y="447"/>
                    <a:pt x="26" y="453"/>
                    <a:pt x="26" y="457"/>
                  </a:cubicBezTo>
                  <a:cubicBezTo>
                    <a:pt x="26" y="461"/>
                    <a:pt x="18" y="456"/>
                    <a:pt x="19" y="461"/>
                  </a:cubicBezTo>
                  <a:cubicBezTo>
                    <a:pt x="19" y="465"/>
                    <a:pt x="13" y="463"/>
                    <a:pt x="10" y="467"/>
                  </a:cubicBezTo>
                  <a:cubicBezTo>
                    <a:pt x="7" y="470"/>
                    <a:pt x="14" y="473"/>
                    <a:pt x="11" y="474"/>
                  </a:cubicBezTo>
                  <a:cubicBezTo>
                    <a:pt x="8" y="475"/>
                    <a:pt x="2" y="479"/>
                    <a:pt x="2" y="483"/>
                  </a:cubicBezTo>
                  <a:cubicBezTo>
                    <a:pt x="1" y="486"/>
                    <a:pt x="5" y="486"/>
                    <a:pt x="5" y="483"/>
                  </a:cubicBezTo>
                  <a:cubicBezTo>
                    <a:pt x="5" y="480"/>
                    <a:pt x="11" y="479"/>
                    <a:pt x="12" y="483"/>
                  </a:cubicBezTo>
                  <a:cubicBezTo>
                    <a:pt x="14" y="487"/>
                    <a:pt x="16" y="483"/>
                    <a:pt x="21" y="484"/>
                  </a:cubicBezTo>
                  <a:cubicBezTo>
                    <a:pt x="25" y="485"/>
                    <a:pt x="24" y="492"/>
                    <a:pt x="22" y="492"/>
                  </a:cubicBezTo>
                  <a:cubicBezTo>
                    <a:pt x="19" y="491"/>
                    <a:pt x="17" y="496"/>
                    <a:pt x="17" y="501"/>
                  </a:cubicBezTo>
                  <a:cubicBezTo>
                    <a:pt x="18" y="505"/>
                    <a:pt x="27" y="501"/>
                    <a:pt x="31" y="502"/>
                  </a:cubicBezTo>
                  <a:cubicBezTo>
                    <a:pt x="35" y="503"/>
                    <a:pt x="33" y="510"/>
                    <a:pt x="31" y="508"/>
                  </a:cubicBezTo>
                  <a:cubicBezTo>
                    <a:pt x="29" y="505"/>
                    <a:pt x="24" y="502"/>
                    <a:pt x="21" y="505"/>
                  </a:cubicBezTo>
                  <a:cubicBezTo>
                    <a:pt x="19" y="509"/>
                    <a:pt x="16" y="507"/>
                    <a:pt x="13" y="506"/>
                  </a:cubicBezTo>
                  <a:cubicBezTo>
                    <a:pt x="10" y="505"/>
                    <a:pt x="0" y="512"/>
                    <a:pt x="3" y="514"/>
                  </a:cubicBezTo>
                  <a:cubicBezTo>
                    <a:pt x="7" y="517"/>
                    <a:pt x="6" y="521"/>
                    <a:pt x="9" y="521"/>
                  </a:cubicBezTo>
                  <a:cubicBezTo>
                    <a:pt x="11" y="520"/>
                    <a:pt x="14" y="519"/>
                    <a:pt x="16" y="516"/>
                  </a:cubicBezTo>
                  <a:cubicBezTo>
                    <a:pt x="17" y="513"/>
                    <a:pt x="21" y="511"/>
                    <a:pt x="22" y="517"/>
                  </a:cubicBezTo>
                  <a:cubicBezTo>
                    <a:pt x="22" y="523"/>
                    <a:pt x="16" y="520"/>
                    <a:pt x="14" y="523"/>
                  </a:cubicBezTo>
                  <a:cubicBezTo>
                    <a:pt x="13" y="526"/>
                    <a:pt x="11" y="529"/>
                    <a:pt x="7" y="532"/>
                  </a:cubicBezTo>
                  <a:cubicBezTo>
                    <a:pt x="3" y="534"/>
                    <a:pt x="7" y="539"/>
                    <a:pt x="10" y="538"/>
                  </a:cubicBezTo>
                  <a:cubicBezTo>
                    <a:pt x="13" y="536"/>
                    <a:pt x="9" y="542"/>
                    <a:pt x="13" y="542"/>
                  </a:cubicBezTo>
                  <a:cubicBezTo>
                    <a:pt x="18" y="543"/>
                    <a:pt x="19" y="540"/>
                    <a:pt x="18" y="536"/>
                  </a:cubicBezTo>
                  <a:cubicBezTo>
                    <a:pt x="17" y="533"/>
                    <a:pt x="20" y="526"/>
                    <a:pt x="24" y="530"/>
                  </a:cubicBezTo>
                  <a:cubicBezTo>
                    <a:pt x="28" y="533"/>
                    <a:pt x="22" y="537"/>
                    <a:pt x="22" y="540"/>
                  </a:cubicBezTo>
                  <a:cubicBezTo>
                    <a:pt x="22" y="543"/>
                    <a:pt x="20" y="547"/>
                    <a:pt x="20" y="551"/>
                  </a:cubicBezTo>
                  <a:cubicBezTo>
                    <a:pt x="20" y="554"/>
                    <a:pt x="16" y="553"/>
                    <a:pt x="16" y="556"/>
                  </a:cubicBezTo>
                  <a:cubicBezTo>
                    <a:pt x="16" y="560"/>
                    <a:pt x="7" y="558"/>
                    <a:pt x="11" y="560"/>
                  </a:cubicBezTo>
                  <a:cubicBezTo>
                    <a:pt x="15" y="563"/>
                    <a:pt x="9" y="566"/>
                    <a:pt x="11" y="569"/>
                  </a:cubicBezTo>
                  <a:cubicBezTo>
                    <a:pt x="13" y="572"/>
                    <a:pt x="15" y="565"/>
                    <a:pt x="19" y="567"/>
                  </a:cubicBezTo>
                  <a:cubicBezTo>
                    <a:pt x="22" y="568"/>
                    <a:pt x="21" y="569"/>
                    <a:pt x="26" y="567"/>
                  </a:cubicBezTo>
                  <a:cubicBezTo>
                    <a:pt x="31" y="565"/>
                    <a:pt x="33" y="571"/>
                    <a:pt x="29" y="572"/>
                  </a:cubicBezTo>
                  <a:cubicBezTo>
                    <a:pt x="25" y="573"/>
                    <a:pt x="20" y="578"/>
                    <a:pt x="22" y="579"/>
                  </a:cubicBezTo>
                  <a:cubicBezTo>
                    <a:pt x="24" y="579"/>
                    <a:pt x="30" y="575"/>
                    <a:pt x="31" y="580"/>
                  </a:cubicBezTo>
                  <a:cubicBezTo>
                    <a:pt x="32" y="584"/>
                    <a:pt x="35" y="583"/>
                    <a:pt x="36" y="578"/>
                  </a:cubicBezTo>
                  <a:cubicBezTo>
                    <a:pt x="36" y="573"/>
                    <a:pt x="44" y="577"/>
                    <a:pt x="45" y="581"/>
                  </a:cubicBezTo>
                  <a:cubicBezTo>
                    <a:pt x="46" y="585"/>
                    <a:pt x="37" y="587"/>
                    <a:pt x="32" y="586"/>
                  </a:cubicBezTo>
                  <a:cubicBezTo>
                    <a:pt x="27" y="585"/>
                    <a:pt x="25" y="591"/>
                    <a:pt x="28" y="595"/>
                  </a:cubicBezTo>
                  <a:cubicBezTo>
                    <a:pt x="31" y="599"/>
                    <a:pt x="35" y="595"/>
                    <a:pt x="39" y="592"/>
                  </a:cubicBezTo>
                  <a:cubicBezTo>
                    <a:pt x="42" y="588"/>
                    <a:pt x="60" y="589"/>
                    <a:pt x="61" y="593"/>
                  </a:cubicBezTo>
                  <a:cubicBezTo>
                    <a:pt x="62" y="597"/>
                    <a:pt x="53" y="593"/>
                    <a:pt x="52" y="596"/>
                  </a:cubicBezTo>
                  <a:cubicBezTo>
                    <a:pt x="51" y="598"/>
                    <a:pt x="44" y="600"/>
                    <a:pt x="43" y="597"/>
                  </a:cubicBezTo>
                  <a:cubicBezTo>
                    <a:pt x="42" y="595"/>
                    <a:pt x="35" y="598"/>
                    <a:pt x="35" y="603"/>
                  </a:cubicBezTo>
                  <a:cubicBezTo>
                    <a:pt x="34" y="607"/>
                    <a:pt x="29" y="607"/>
                    <a:pt x="35" y="608"/>
                  </a:cubicBezTo>
                  <a:cubicBezTo>
                    <a:pt x="41" y="610"/>
                    <a:pt x="39" y="602"/>
                    <a:pt x="48" y="603"/>
                  </a:cubicBezTo>
                  <a:cubicBezTo>
                    <a:pt x="57" y="603"/>
                    <a:pt x="62" y="594"/>
                    <a:pt x="65" y="600"/>
                  </a:cubicBezTo>
                  <a:cubicBezTo>
                    <a:pt x="67" y="605"/>
                    <a:pt x="57" y="609"/>
                    <a:pt x="54" y="606"/>
                  </a:cubicBezTo>
                  <a:cubicBezTo>
                    <a:pt x="50" y="603"/>
                    <a:pt x="46" y="608"/>
                    <a:pt x="46" y="613"/>
                  </a:cubicBezTo>
                  <a:cubicBezTo>
                    <a:pt x="47" y="618"/>
                    <a:pt x="36" y="612"/>
                    <a:pt x="31" y="611"/>
                  </a:cubicBezTo>
                  <a:cubicBezTo>
                    <a:pt x="26" y="610"/>
                    <a:pt x="28" y="616"/>
                    <a:pt x="32" y="621"/>
                  </a:cubicBezTo>
                  <a:cubicBezTo>
                    <a:pt x="37" y="625"/>
                    <a:pt x="40" y="620"/>
                    <a:pt x="45" y="623"/>
                  </a:cubicBezTo>
                  <a:cubicBezTo>
                    <a:pt x="51" y="627"/>
                    <a:pt x="51" y="631"/>
                    <a:pt x="54" y="627"/>
                  </a:cubicBezTo>
                  <a:cubicBezTo>
                    <a:pt x="58" y="624"/>
                    <a:pt x="54" y="624"/>
                    <a:pt x="52" y="623"/>
                  </a:cubicBezTo>
                  <a:cubicBezTo>
                    <a:pt x="49" y="621"/>
                    <a:pt x="51" y="615"/>
                    <a:pt x="58" y="618"/>
                  </a:cubicBezTo>
                  <a:cubicBezTo>
                    <a:pt x="64" y="621"/>
                    <a:pt x="71" y="616"/>
                    <a:pt x="69" y="608"/>
                  </a:cubicBezTo>
                  <a:cubicBezTo>
                    <a:pt x="67" y="600"/>
                    <a:pt x="74" y="597"/>
                    <a:pt x="82" y="594"/>
                  </a:cubicBezTo>
                  <a:cubicBezTo>
                    <a:pt x="89" y="592"/>
                    <a:pt x="85" y="599"/>
                    <a:pt x="80" y="601"/>
                  </a:cubicBezTo>
                  <a:cubicBezTo>
                    <a:pt x="74" y="603"/>
                    <a:pt x="73" y="605"/>
                    <a:pt x="78" y="610"/>
                  </a:cubicBezTo>
                  <a:cubicBezTo>
                    <a:pt x="82" y="614"/>
                    <a:pt x="87" y="607"/>
                    <a:pt x="91" y="610"/>
                  </a:cubicBezTo>
                  <a:cubicBezTo>
                    <a:pt x="94" y="614"/>
                    <a:pt x="84" y="613"/>
                    <a:pt x="83" y="617"/>
                  </a:cubicBezTo>
                  <a:cubicBezTo>
                    <a:pt x="81" y="620"/>
                    <a:pt x="89" y="624"/>
                    <a:pt x="83" y="627"/>
                  </a:cubicBezTo>
                  <a:cubicBezTo>
                    <a:pt x="78" y="630"/>
                    <a:pt x="81" y="616"/>
                    <a:pt x="77" y="615"/>
                  </a:cubicBezTo>
                  <a:cubicBezTo>
                    <a:pt x="74" y="614"/>
                    <a:pt x="71" y="617"/>
                    <a:pt x="74" y="624"/>
                  </a:cubicBezTo>
                  <a:cubicBezTo>
                    <a:pt x="78" y="632"/>
                    <a:pt x="71" y="625"/>
                    <a:pt x="67" y="622"/>
                  </a:cubicBezTo>
                  <a:cubicBezTo>
                    <a:pt x="64" y="618"/>
                    <a:pt x="60" y="623"/>
                    <a:pt x="63" y="627"/>
                  </a:cubicBezTo>
                  <a:cubicBezTo>
                    <a:pt x="67" y="631"/>
                    <a:pt x="56" y="627"/>
                    <a:pt x="56" y="633"/>
                  </a:cubicBezTo>
                  <a:cubicBezTo>
                    <a:pt x="56" y="639"/>
                    <a:pt x="61" y="634"/>
                    <a:pt x="67" y="635"/>
                  </a:cubicBezTo>
                  <a:cubicBezTo>
                    <a:pt x="72" y="636"/>
                    <a:pt x="70" y="645"/>
                    <a:pt x="74" y="648"/>
                  </a:cubicBezTo>
                  <a:cubicBezTo>
                    <a:pt x="78" y="651"/>
                    <a:pt x="75" y="638"/>
                    <a:pt x="79" y="637"/>
                  </a:cubicBezTo>
                  <a:cubicBezTo>
                    <a:pt x="84" y="636"/>
                    <a:pt x="80" y="647"/>
                    <a:pt x="90" y="650"/>
                  </a:cubicBezTo>
                  <a:cubicBezTo>
                    <a:pt x="100" y="653"/>
                    <a:pt x="90" y="648"/>
                    <a:pt x="95" y="645"/>
                  </a:cubicBezTo>
                  <a:cubicBezTo>
                    <a:pt x="99" y="642"/>
                    <a:pt x="105" y="655"/>
                    <a:pt x="110" y="656"/>
                  </a:cubicBezTo>
                  <a:cubicBezTo>
                    <a:pt x="115" y="657"/>
                    <a:pt x="111" y="650"/>
                    <a:pt x="108" y="646"/>
                  </a:cubicBezTo>
                  <a:cubicBezTo>
                    <a:pt x="104" y="643"/>
                    <a:pt x="111" y="645"/>
                    <a:pt x="116" y="646"/>
                  </a:cubicBezTo>
                  <a:cubicBezTo>
                    <a:pt x="121" y="648"/>
                    <a:pt x="125" y="649"/>
                    <a:pt x="126" y="645"/>
                  </a:cubicBezTo>
                  <a:cubicBezTo>
                    <a:pt x="126" y="644"/>
                    <a:pt x="127" y="644"/>
                    <a:pt x="128" y="644"/>
                  </a:cubicBezTo>
                  <a:cubicBezTo>
                    <a:pt x="123" y="641"/>
                    <a:pt x="106" y="643"/>
                    <a:pt x="104" y="643"/>
                  </a:cubicBezTo>
                  <a:cubicBezTo>
                    <a:pt x="102" y="642"/>
                    <a:pt x="103" y="604"/>
                    <a:pt x="104" y="595"/>
                  </a:cubicBezTo>
                  <a:cubicBezTo>
                    <a:pt x="103" y="595"/>
                    <a:pt x="103" y="595"/>
                    <a:pt x="103" y="595"/>
                  </a:cubicBezTo>
                  <a:cubicBezTo>
                    <a:pt x="99" y="595"/>
                    <a:pt x="89" y="596"/>
                    <a:pt x="91" y="589"/>
                  </a:cubicBezTo>
                  <a:cubicBezTo>
                    <a:pt x="91" y="588"/>
                    <a:pt x="92" y="587"/>
                    <a:pt x="93" y="587"/>
                  </a:cubicBezTo>
                  <a:cubicBezTo>
                    <a:pt x="91" y="585"/>
                    <a:pt x="88" y="583"/>
                    <a:pt x="85" y="583"/>
                  </a:cubicBezTo>
                  <a:cubicBezTo>
                    <a:pt x="78" y="581"/>
                    <a:pt x="62" y="583"/>
                    <a:pt x="59" y="58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7" name="Freeform 285"/>
            <p:cNvSpPr/>
            <p:nvPr/>
          </p:nvSpPr>
          <p:spPr>
            <a:xfrm>
              <a:off x="3214688" y="4300538"/>
              <a:ext cx="219075" cy="220663"/>
            </a:xfrm>
            <a:custGeom>
              <a:gdLst>
                <a:gd name="T0" fmla="*/ 124 w 129"/>
                <a:gd name="T1" fmla="*/ 70 h 130"/>
                <a:gd name="T2" fmla="*/ 112 w 129"/>
                <a:gd name="T3" fmla="*/ 72 h 130"/>
                <a:gd name="T4" fmla="*/ 105 w 129"/>
                <a:gd name="T5" fmla="*/ 56 h 130"/>
                <a:gd name="T6" fmla="*/ 95 w 129"/>
                <a:gd name="T7" fmla="*/ 44 h 130"/>
                <a:gd name="T8" fmla="*/ 82 w 129"/>
                <a:gd name="T9" fmla="*/ 43 h 130"/>
                <a:gd name="T10" fmla="*/ 75 w 129"/>
                <a:gd name="T11" fmla="*/ 31 h 130"/>
                <a:gd name="T12" fmla="*/ 72 w 129"/>
                <a:gd name="T13" fmla="*/ 13 h 130"/>
                <a:gd name="T14" fmla="*/ 71 w 129"/>
                <a:gd name="T15" fmla="*/ 5 h 130"/>
                <a:gd name="T16" fmla="*/ 69 w 129"/>
                <a:gd name="T17" fmla="*/ 6 h 130"/>
                <a:gd name="T18" fmla="*/ 55 w 129"/>
                <a:gd name="T19" fmla="*/ 0 h 130"/>
                <a:gd name="T20" fmla="*/ 38 w 129"/>
                <a:gd name="T21" fmla="*/ 2 h 130"/>
                <a:gd name="T22" fmla="*/ 21 w 129"/>
                <a:gd name="T23" fmla="*/ 5 h 130"/>
                <a:gd name="T24" fmla="*/ 10 w 129"/>
                <a:gd name="T25" fmla="*/ 19 h 130"/>
                <a:gd name="T26" fmla="*/ 5 w 129"/>
                <a:gd name="T27" fmla="*/ 41 h 130"/>
                <a:gd name="T28" fmla="*/ 0 w 129"/>
                <a:gd name="T29" fmla="*/ 41 h 130"/>
                <a:gd name="T30" fmla="*/ 20 w 129"/>
                <a:gd name="T31" fmla="*/ 61 h 130"/>
                <a:gd name="T32" fmla="*/ 37 w 129"/>
                <a:gd name="T33" fmla="*/ 71 h 130"/>
                <a:gd name="T34" fmla="*/ 53 w 129"/>
                <a:gd name="T35" fmla="*/ 80 h 130"/>
                <a:gd name="T36" fmla="*/ 80 w 129"/>
                <a:gd name="T37" fmla="*/ 93 h 130"/>
                <a:gd name="T38" fmla="*/ 69 w 129"/>
                <a:gd name="T39" fmla="*/ 113 h 130"/>
                <a:gd name="T40" fmla="*/ 64 w 129"/>
                <a:gd name="T41" fmla="*/ 123 h 130"/>
                <a:gd name="T42" fmla="*/ 77 w 129"/>
                <a:gd name="T43" fmla="*/ 126 h 130"/>
                <a:gd name="T44" fmla="*/ 91 w 129"/>
                <a:gd name="T45" fmla="*/ 127 h 130"/>
                <a:gd name="T46" fmla="*/ 104 w 129"/>
                <a:gd name="T47" fmla="*/ 124 h 130"/>
                <a:gd name="T48" fmla="*/ 115 w 129"/>
                <a:gd name="T49" fmla="*/ 119 h 130"/>
                <a:gd name="T50" fmla="*/ 123 w 129"/>
                <a:gd name="T51" fmla="*/ 97 h 130"/>
                <a:gd name="T52" fmla="*/ 124 w 129"/>
                <a:gd name="T53" fmla="*/ 70 h 1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 h="130">
                  <a:moveTo>
                    <a:pt x="124" y="70"/>
                  </a:moveTo>
                  <a:cubicBezTo>
                    <a:pt x="119" y="67"/>
                    <a:pt x="113" y="72"/>
                    <a:pt x="112" y="72"/>
                  </a:cubicBezTo>
                  <a:cubicBezTo>
                    <a:pt x="110" y="72"/>
                    <a:pt x="106" y="61"/>
                    <a:pt x="105" y="56"/>
                  </a:cubicBezTo>
                  <a:cubicBezTo>
                    <a:pt x="103" y="51"/>
                    <a:pt x="98" y="42"/>
                    <a:pt x="95" y="44"/>
                  </a:cubicBezTo>
                  <a:cubicBezTo>
                    <a:pt x="91" y="46"/>
                    <a:pt x="92" y="43"/>
                    <a:pt x="82" y="43"/>
                  </a:cubicBezTo>
                  <a:cubicBezTo>
                    <a:pt x="72" y="42"/>
                    <a:pt x="72" y="40"/>
                    <a:pt x="75" y="31"/>
                  </a:cubicBezTo>
                  <a:cubicBezTo>
                    <a:pt x="77" y="21"/>
                    <a:pt x="68" y="15"/>
                    <a:pt x="72" y="13"/>
                  </a:cubicBezTo>
                  <a:cubicBezTo>
                    <a:pt x="75" y="11"/>
                    <a:pt x="75" y="9"/>
                    <a:pt x="71" y="5"/>
                  </a:cubicBezTo>
                  <a:cubicBezTo>
                    <a:pt x="71" y="6"/>
                    <a:pt x="70" y="6"/>
                    <a:pt x="69" y="6"/>
                  </a:cubicBezTo>
                  <a:cubicBezTo>
                    <a:pt x="65" y="6"/>
                    <a:pt x="61" y="0"/>
                    <a:pt x="55" y="0"/>
                  </a:cubicBezTo>
                  <a:cubicBezTo>
                    <a:pt x="49" y="0"/>
                    <a:pt x="43" y="0"/>
                    <a:pt x="38" y="2"/>
                  </a:cubicBezTo>
                  <a:cubicBezTo>
                    <a:pt x="34" y="4"/>
                    <a:pt x="26" y="1"/>
                    <a:pt x="21" y="5"/>
                  </a:cubicBezTo>
                  <a:cubicBezTo>
                    <a:pt x="16" y="8"/>
                    <a:pt x="9" y="16"/>
                    <a:pt x="10" y="19"/>
                  </a:cubicBezTo>
                  <a:cubicBezTo>
                    <a:pt x="10" y="22"/>
                    <a:pt x="8" y="40"/>
                    <a:pt x="5" y="41"/>
                  </a:cubicBezTo>
                  <a:cubicBezTo>
                    <a:pt x="4" y="41"/>
                    <a:pt x="3" y="41"/>
                    <a:pt x="0" y="41"/>
                  </a:cubicBezTo>
                  <a:cubicBezTo>
                    <a:pt x="4" y="47"/>
                    <a:pt x="14" y="57"/>
                    <a:pt x="20" y="61"/>
                  </a:cubicBezTo>
                  <a:cubicBezTo>
                    <a:pt x="28" y="66"/>
                    <a:pt x="28" y="71"/>
                    <a:pt x="37" y="71"/>
                  </a:cubicBezTo>
                  <a:cubicBezTo>
                    <a:pt x="45" y="72"/>
                    <a:pt x="50" y="76"/>
                    <a:pt x="53" y="80"/>
                  </a:cubicBezTo>
                  <a:cubicBezTo>
                    <a:pt x="56" y="84"/>
                    <a:pt x="78" y="90"/>
                    <a:pt x="80" y="93"/>
                  </a:cubicBezTo>
                  <a:cubicBezTo>
                    <a:pt x="82" y="96"/>
                    <a:pt x="69" y="105"/>
                    <a:pt x="69" y="113"/>
                  </a:cubicBezTo>
                  <a:cubicBezTo>
                    <a:pt x="69" y="121"/>
                    <a:pt x="64" y="120"/>
                    <a:pt x="64" y="123"/>
                  </a:cubicBezTo>
                  <a:cubicBezTo>
                    <a:pt x="64" y="125"/>
                    <a:pt x="74" y="123"/>
                    <a:pt x="77" y="126"/>
                  </a:cubicBezTo>
                  <a:cubicBezTo>
                    <a:pt x="81" y="128"/>
                    <a:pt x="87" y="124"/>
                    <a:pt x="91" y="127"/>
                  </a:cubicBezTo>
                  <a:cubicBezTo>
                    <a:pt x="96" y="130"/>
                    <a:pt x="100" y="123"/>
                    <a:pt x="104" y="124"/>
                  </a:cubicBezTo>
                  <a:cubicBezTo>
                    <a:pt x="107" y="125"/>
                    <a:pt x="111" y="118"/>
                    <a:pt x="115" y="119"/>
                  </a:cubicBezTo>
                  <a:cubicBezTo>
                    <a:pt x="120" y="119"/>
                    <a:pt x="124" y="103"/>
                    <a:pt x="123" y="97"/>
                  </a:cubicBezTo>
                  <a:cubicBezTo>
                    <a:pt x="122" y="91"/>
                    <a:pt x="129" y="72"/>
                    <a:pt x="124" y="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8" name="Freeform 286"/>
            <p:cNvSpPr/>
            <p:nvPr/>
          </p:nvSpPr>
          <p:spPr>
            <a:xfrm>
              <a:off x="2641601" y="3535363"/>
              <a:ext cx="80963" cy="66675"/>
            </a:xfrm>
            <a:custGeom>
              <a:gdLst>
                <a:gd name="T0" fmla="*/ 46 w 48"/>
                <a:gd name="T1" fmla="*/ 31 h 39"/>
                <a:gd name="T2" fmla="*/ 48 w 48"/>
                <a:gd name="T3" fmla="*/ 22 h 39"/>
                <a:gd name="T4" fmla="*/ 34 w 48"/>
                <a:gd name="T5" fmla="*/ 4 h 39"/>
                <a:gd name="T6" fmla="*/ 27 w 48"/>
                <a:gd name="T7" fmla="*/ 3 h 39"/>
                <a:gd name="T8" fmla="*/ 12 w 48"/>
                <a:gd name="T9" fmla="*/ 0 h 39"/>
                <a:gd name="T10" fmla="*/ 4 w 48"/>
                <a:gd name="T11" fmla="*/ 0 h 39"/>
                <a:gd name="T12" fmla="*/ 3 w 48"/>
                <a:gd name="T13" fmla="*/ 6 h 39"/>
                <a:gd name="T14" fmla="*/ 7 w 48"/>
                <a:gd name="T15" fmla="*/ 18 h 39"/>
                <a:gd name="T16" fmla="*/ 16 w 48"/>
                <a:gd name="T17" fmla="*/ 17 h 39"/>
                <a:gd name="T18" fmla="*/ 22 w 48"/>
                <a:gd name="T19" fmla="*/ 22 h 39"/>
                <a:gd name="T20" fmla="*/ 32 w 48"/>
                <a:gd name="T21" fmla="*/ 31 h 39"/>
                <a:gd name="T22" fmla="*/ 41 w 48"/>
                <a:gd name="T23" fmla="*/ 39 h 39"/>
                <a:gd name="T24" fmla="*/ 44 w 48"/>
                <a:gd name="T25" fmla="*/ 39 h 39"/>
                <a:gd name="T26" fmla="*/ 46 w 48"/>
                <a:gd name="T27" fmla="*/ 31 h 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9">
                  <a:moveTo>
                    <a:pt x="46" y="31"/>
                  </a:moveTo>
                  <a:cubicBezTo>
                    <a:pt x="46" y="29"/>
                    <a:pt x="46" y="25"/>
                    <a:pt x="48" y="22"/>
                  </a:cubicBezTo>
                  <a:cubicBezTo>
                    <a:pt x="43" y="16"/>
                    <a:pt x="37" y="8"/>
                    <a:pt x="34" y="4"/>
                  </a:cubicBezTo>
                  <a:cubicBezTo>
                    <a:pt x="31" y="4"/>
                    <a:pt x="28" y="4"/>
                    <a:pt x="27" y="3"/>
                  </a:cubicBezTo>
                  <a:cubicBezTo>
                    <a:pt x="24" y="0"/>
                    <a:pt x="16" y="2"/>
                    <a:pt x="12" y="0"/>
                  </a:cubicBezTo>
                  <a:cubicBezTo>
                    <a:pt x="11" y="0"/>
                    <a:pt x="8" y="0"/>
                    <a:pt x="4" y="0"/>
                  </a:cubicBezTo>
                  <a:cubicBezTo>
                    <a:pt x="5" y="2"/>
                    <a:pt x="5" y="5"/>
                    <a:pt x="3" y="6"/>
                  </a:cubicBezTo>
                  <a:cubicBezTo>
                    <a:pt x="0" y="8"/>
                    <a:pt x="0" y="15"/>
                    <a:pt x="7" y="18"/>
                  </a:cubicBezTo>
                  <a:cubicBezTo>
                    <a:pt x="14" y="21"/>
                    <a:pt x="12" y="17"/>
                    <a:pt x="16" y="17"/>
                  </a:cubicBezTo>
                  <a:cubicBezTo>
                    <a:pt x="19" y="17"/>
                    <a:pt x="19" y="22"/>
                    <a:pt x="22" y="22"/>
                  </a:cubicBezTo>
                  <a:cubicBezTo>
                    <a:pt x="25" y="22"/>
                    <a:pt x="33" y="26"/>
                    <a:pt x="32" y="31"/>
                  </a:cubicBezTo>
                  <a:cubicBezTo>
                    <a:pt x="32" y="36"/>
                    <a:pt x="35" y="39"/>
                    <a:pt x="41" y="39"/>
                  </a:cubicBezTo>
                  <a:cubicBezTo>
                    <a:pt x="42" y="39"/>
                    <a:pt x="43" y="39"/>
                    <a:pt x="44" y="39"/>
                  </a:cubicBezTo>
                  <a:cubicBezTo>
                    <a:pt x="45" y="35"/>
                    <a:pt x="47" y="33"/>
                    <a:pt x="46" y="3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59" name="Freeform 287"/>
            <p:cNvSpPr/>
            <p:nvPr/>
          </p:nvSpPr>
          <p:spPr>
            <a:xfrm>
              <a:off x="2716213" y="3568700"/>
              <a:ext cx="144463" cy="69850"/>
            </a:xfrm>
            <a:custGeom>
              <a:gdLst>
                <a:gd name="T0" fmla="*/ 76 w 85"/>
                <a:gd name="T1" fmla="*/ 12 h 41"/>
                <a:gd name="T2" fmla="*/ 56 w 85"/>
                <a:gd name="T3" fmla="*/ 2 h 41"/>
                <a:gd name="T4" fmla="*/ 35 w 85"/>
                <a:gd name="T5" fmla="*/ 10 h 41"/>
                <a:gd name="T6" fmla="*/ 12 w 85"/>
                <a:gd name="T7" fmla="*/ 9 h 41"/>
                <a:gd name="T8" fmla="*/ 4 w 85"/>
                <a:gd name="T9" fmla="*/ 3 h 41"/>
                <a:gd name="T10" fmla="*/ 2 w 85"/>
                <a:gd name="T11" fmla="*/ 12 h 41"/>
                <a:gd name="T12" fmla="*/ 0 w 85"/>
                <a:gd name="T13" fmla="*/ 20 h 41"/>
                <a:gd name="T14" fmla="*/ 19 w 85"/>
                <a:gd name="T15" fmla="*/ 28 h 41"/>
                <a:gd name="T16" fmla="*/ 30 w 85"/>
                <a:gd name="T17" fmla="*/ 35 h 41"/>
                <a:gd name="T18" fmla="*/ 41 w 85"/>
                <a:gd name="T19" fmla="*/ 33 h 41"/>
                <a:gd name="T20" fmla="*/ 37 w 85"/>
                <a:gd name="T21" fmla="*/ 24 h 41"/>
                <a:gd name="T22" fmla="*/ 45 w 85"/>
                <a:gd name="T23" fmla="*/ 17 h 41"/>
                <a:gd name="T24" fmla="*/ 61 w 85"/>
                <a:gd name="T25" fmla="*/ 12 h 41"/>
                <a:gd name="T26" fmla="*/ 65 w 85"/>
                <a:gd name="T27" fmla="*/ 22 h 41"/>
                <a:gd name="T28" fmla="*/ 73 w 85"/>
                <a:gd name="T29" fmla="*/ 37 h 41"/>
                <a:gd name="T30" fmla="*/ 83 w 85"/>
                <a:gd name="T31" fmla="*/ 28 h 41"/>
                <a:gd name="T32" fmla="*/ 85 w 85"/>
                <a:gd name="T33" fmla="*/ 23 h 41"/>
                <a:gd name="T34" fmla="*/ 76 w 85"/>
                <a:gd name="T35" fmla="*/ 12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41">
                  <a:moveTo>
                    <a:pt x="76" y="12"/>
                  </a:moveTo>
                  <a:cubicBezTo>
                    <a:pt x="71" y="4"/>
                    <a:pt x="62" y="5"/>
                    <a:pt x="56" y="2"/>
                  </a:cubicBezTo>
                  <a:cubicBezTo>
                    <a:pt x="50" y="0"/>
                    <a:pt x="43" y="3"/>
                    <a:pt x="35" y="10"/>
                  </a:cubicBezTo>
                  <a:cubicBezTo>
                    <a:pt x="28" y="17"/>
                    <a:pt x="18" y="13"/>
                    <a:pt x="12" y="9"/>
                  </a:cubicBezTo>
                  <a:cubicBezTo>
                    <a:pt x="10" y="8"/>
                    <a:pt x="7" y="6"/>
                    <a:pt x="4" y="3"/>
                  </a:cubicBezTo>
                  <a:cubicBezTo>
                    <a:pt x="2" y="6"/>
                    <a:pt x="2" y="10"/>
                    <a:pt x="2" y="12"/>
                  </a:cubicBezTo>
                  <a:cubicBezTo>
                    <a:pt x="3" y="14"/>
                    <a:pt x="1" y="16"/>
                    <a:pt x="0" y="20"/>
                  </a:cubicBezTo>
                  <a:cubicBezTo>
                    <a:pt x="7" y="21"/>
                    <a:pt x="15" y="23"/>
                    <a:pt x="19" y="28"/>
                  </a:cubicBezTo>
                  <a:cubicBezTo>
                    <a:pt x="24" y="34"/>
                    <a:pt x="27" y="30"/>
                    <a:pt x="30" y="35"/>
                  </a:cubicBezTo>
                  <a:cubicBezTo>
                    <a:pt x="33" y="41"/>
                    <a:pt x="39" y="36"/>
                    <a:pt x="41" y="33"/>
                  </a:cubicBezTo>
                  <a:cubicBezTo>
                    <a:pt x="43" y="29"/>
                    <a:pt x="37" y="28"/>
                    <a:pt x="37" y="24"/>
                  </a:cubicBezTo>
                  <a:cubicBezTo>
                    <a:pt x="36" y="21"/>
                    <a:pt x="43" y="22"/>
                    <a:pt x="45" y="17"/>
                  </a:cubicBezTo>
                  <a:cubicBezTo>
                    <a:pt x="46" y="13"/>
                    <a:pt x="56" y="10"/>
                    <a:pt x="61" y="12"/>
                  </a:cubicBezTo>
                  <a:cubicBezTo>
                    <a:pt x="65" y="14"/>
                    <a:pt x="69" y="17"/>
                    <a:pt x="65" y="22"/>
                  </a:cubicBezTo>
                  <a:cubicBezTo>
                    <a:pt x="62" y="26"/>
                    <a:pt x="68" y="32"/>
                    <a:pt x="73" y="37"/>
                  </a:cubicBezTo>
                  <a:cubicBezTo>
                    <a:pt x="77" y="34"/>
                    <a:pt x="81" y="29"/>
                    <a:pt x="83" y="28"/>
                  </a:cubicBezTo>
                  <a:cubicBezTo>
                    <a:pt x="84" y="27"/>
                    <a:pt x="85" y="25"/>
                    <a:pt x="85" y="23"/>
                  </a:cubicBezTo>
                  <a:cubicBezTo>
                    <a:pt x="83" y="22"/>
                    <a:pt x="80" y="17"/>
                    <a:pt x="76" y="1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0" name="Freeform 288"/>
            <p:cNvSpPr/>
            <p:nvPr/>
          </p:nvSpPr>
          <p:spPr>
            <a:xfrm>
              <a:off x="2814638" y="3495675"/>
              <a:ext cx="295275" cy="420688"/>
            </a:xfrm>
            <a:custGeom>
              <a:gdLst>
                <a:gd name="T0" fmla="*/ 27 w 174"/>
                <a:gd name="T1" fmla="*/ 181 h 248"/>
                <a:gd name="T2" fmla="*/ 38 w 174"/>
                <a:gd name="T3" fmla="*/ 181 h 248"/>
                <a:gd name="T4" fmla="*/ 49 w 174"/>
                <a:gd name="T5" fmla="*/ 189 h 248"/>
                <a:gd name="T6" fmla="*/ 49 w 174"/>
                <a:gd name="T7" fmla="*/ 190 h 248"/>
                <a:gd name="T8" fmla="*/ 62 w 174"/>
                <a:gd name="T9" fmla="*/ 190 h 248"/>
                <a:gd name="T10" fmla="*/ 70 w 174"/>
                <a:gd name="T11" fmla="*/ 202 h 248"/>
                <a:gd name="T12" fmla="*/ 80 w 174"/>
                <a:gd name="T13" fmla="*/ 211 h 248"/>
                <a:gd name="T14" fmla="*/ 85 w 174"/>
                <a:gd name="T15" fmla="*/ 220 h 248"/>
                <a:gd name="T16" fmla="*/ 102 w 174"/>
                <a:gd name="T17" fmla="*/ 222 h 248"/>
                <a:gd name="T18" fmla="*/ 110 w 174"/>
                <a:gd name="T19" fmla="*/ 221 h 248"/>
                <a:gd name="T20" fmla="*/ 120 w 174"/>
                <a:gd name="T21" fmla="*/ 221 h 248"/>
                <a:gd name="T22" fmla="*/ 131 w 174"/>
                <a:gd name="T23" fmla="*/ 229 h 248"/>
                <a:gd name="T24" fmla="*/ 123 w 174"/>
                <a:gd name="T25" fmla="*/ 241 h 248"/>
                <a:gd name="T26" fmla="*/ 132 w 174"/>
                <a:gd name="T27" fmla="*/ 248 h 248"/>
                <a:gd name="T28" fmla="*/ 132 w 174"/>
                <a:gd name="T29" fmla="*/ 248 h 248"/>
                <a:gd name="T30" fmla="*/ 138 w 174"/>
                <a:gd name="T31" fmla="*/ 228 h 248"/>
                <a:gd name="T32" fmla="*/ 141 w 174"/>
                <a:gd name="T33" fmla="*/ 209 h 248"/>
                <a:gd name="T34" fmla="*/ 132 w 174"/>
                <a:gd name="T35" fmla="*/ 185 h 248"/>
                <a:gd name="T36" fmla="*/ 142 w 174"/>
                <a:gd name="T37" fmla="*/ 177 h 248"/>
                <a:gd name="T38" fmla="*/ 139 w 174"/>
                <a:gd name="T39" fmla="*/ 171 h 248"/>
                <a:gd name="T40" fmla="*/ 135 w 174"/>
                <a:gd name="T41" fmla="*/ 163 h 248"/>
                <a:gd name="T42" fmla="*/ 157 w 174"/>
                <a:gd name="T43" fmla="*/ 162 h 248"/>
                <a:gd name="T44" fmla="*/ 173 w 174"/>
                <a:gd name="T45" fmla="*/ 156 h 248"/>
                <a:gd name="T46" fmla="*/ 171 w 174"/>
                <a:gd name="T47" fmla="*/ 149 h 248"/>
                <a:gd name="T48" fmla="*/ 171 w 174"/>
                <a:gd name="T49" fmla="*/ 138 h 248"/>
                <a:gd name="T50" fmla="*/ 165 w 174"/>
                <a:gd name="T51" fmla="*/ 127 h 248"/>
                <a:gd name="T52" fmla="*/ 169 w 174"/>
                <a:gd name="T53" fmla="*/ 100 h 248"/>
                <a:gd name="T54" fmla="*/ 152 w 174"/>
                <a:gd name="T55" fmla="*/ 96 h 248"/>
                <a:gd name="T56" fmla="*/ 132 w 174"/>
                <a:gd name="T57" fmla="*/ 87 h 248"/>
                <a:gd name="T58" fmla="*/ 107 w 174"/>
                <a:gd name="T59" fmla="*/ 85 h 248"/>
                <a:gd name="T60" fmla="*/ 97 w 174"/>
                <a:gd name="T61" fmla="*/ 65 h 248"/>
                <a:gd name="T62" fmla="*/ 91 w 174"/>
                <a:gd name="T63" fmla="*/ 56 h 248"/>
                <a:gd name="T64" fmla="*/ 84 w 174"/>
                <a:gd name="T65" fmla="*/ 52 h 248"/>
                <a:gd name="T66" fmla="*/ 86 w 174"/>
                <a:gd name="T67" fmla="*/ 46 h 248"/>
                <a:gd name="T68" fmla="*/ 88 w 174"/>
                <a:gd name="T69" fmla="*/ 35 h 248"/>
                <a:gd name="T70" fmla="*/ 101 w 174"/>
                <a:gd name="T71" fmla="*/ 19 h 248"/>
                <a:gd name="T72" fmla="*/ 106 w 174"/>
                <a:gd name="T73" fmla="*/ 16 h 248"/>
                <a:gd name="T74" fmla="*/ 109 w 174"/>
                <a:gd name="T75" fmla="*/ 13 h 248"/>
                <a:gd name="T76" fmla="*/ 113 w 174"/>
                <a:gd name="T77" fmla="*/ 4 h 248"/>
                <a:gd name="T78" fmla="*/ 96 w 174"/>
                <a:gd name="T79" fmla="*/ 12 h 248"/>
                <a:gd name="T80" fmla="*/ 84 w 174"/>
                <a:gd name="T81" fmla="*/ 19 h 248"/>
                <a:gd name="T82" fmla="*/ 70 w 174"/>
                <a:gd name="T83" fmla="*/ 23 h 248"/>
                <a:gd name="T84" fmla="*/ 64 w 174"/>
                <a:gd name="T85" fmla="*/ 22 h 248"/>
                <a:gd name="T86" fmla="*/ 50 w 174"/>
                <a:gd name="T87" fmla="*/ 35 h 248"/>
                <a:gd name="T88" fmla="*/ 45 w 174"/>
                <a:gd name="T89" fmla="*/ 49 h 248"/>
                <a:gd name="T90" fmla="*/ 30 w 174"/>
                <a:gd name="T91" fmla="*/ 66 h 248"/>
                <a:gd name="T92" fmla="*/ 27 w 174"/>
                <a:gd name="T93" fmla="*/ 66 h 248"/>
                <a:gd name="T94" fmla="*/ 25 w 174"/>
                <a:gd name="T95" fmla="*/ 71 h 248"/>
                <a:gd name="T96" fmla="*/ 15 w 174"/>
                <a:gd name="T97" fmla="*/ 80 h 248"/>
                <a:gd name="T98" fmla="*/ 20 w 174"/>
                <a:gd name="T99" fmla="*/ 85 h 248"/>
                <a:gd name="T100" fmla="*/ 23 w 174"/>
                <a:gd name="T101" fmla="*/ 96 h 248"/>
                <a:gd name="T102" fmla="*/ 23 w 174"/>
                <a:gd name="T103" fmla="*/ 104 h 248"/>
                <a:gd name="T104" fmla="*/ 26 w 174"/>
                <a:gd name="T105" fmla="*/ 127 h 248"/>
                <a:gd name="T106" fmla="*/ 22 w 174"/>
                <a:gd name="T107" fmla="*/ 139 h 248"/>
                <a:gd name="T108" fmla="*/ 10 w 174"/>
                <a:gd name="T109" fmla="*/ 149 h 248"/>
                <a:gd name="T110" fmla="*/ 3 w 174"/>
                <a:gd name="T111" fmla="*/ 158 h 248"/>
                <a:gd name="T112" fmla="*/ 0 w 174"/>
                <a:gd name="T113" fmla="*/ 165 h 248"/>
                <a:gd name="T114" fmla="*/ 18 w 174"/>
                <a:gd name="T115" fmla="*/ 175 h 248"/>
                <a:gd name="T116" fmla="*/ 27 w 174"/>
                <a:gd name="T117" fmla="*/ 181 h 2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 h="248">
                  <a:moveTo>
                    <a:pt x="27" y="181"/>
                  </a:moveTo>
                  <a:cubicBezTo>
                    <a:pt x="31" y="184"/>
                    <a:pt x="37" y="183"/>
                    <a:pt x="38" y="181"/>
                  </a:cubicBezTo>
                  <a:cubicBezTo>
                    <a:pt x="40" y="180"/>
                    <a:pt x="43" y="183"/>
                    <a:pt x="49" y="189"/>
                  </a:cubicBezTo>
                  <a:cubicBezTo>
                    <a:pt x="49" y="190"/>
                    <a:pt x="49" y="190"/>
                    <a:pt x="49" y="190"/>
                  </a:cubicBezTo>
                  <a:cubicBezTo>
                    <a:pt x="54" y="189"/>
                    <a:pt x="60" y="188"/>
                    <a:pt x="62" y="190"/>
                  </a:cubicBezTo>
                  <a:cubicBezTo>
                    <a:pt x="66" y="192"/>
                    <a:pt x="65" y="201"/>
                    <a:pt x="70" y="202"/>
                  </a:cubicBezTo>
                  <a:cubicBezTo>
                    <a:pt x="76" y="202"/>
                    <a:pt x="80" y="208"/>
                    <a:pt x="80" y="211"/>
                  </a:cubicBezTo>
                  <a:cubicBezTo>
                    <a:pt x="79" y="214"/>
                    <a:pt x="86" y="216"/>
                    <a:pt x="85" y="220"/>
                  </a:cubicBezTo>
                  <a:cubicBezTo>
                    <a:pt x="85" y="225"/>
                    <a:pt x="100" y="224"/>
                    <a:pt x="102" y="222"/>
                  </a:cubicBezTo>
                  <a:cubicBezTo>
                    <a:pt x="104" y="221"/>
                    <a:pt x="108" y="220"/>
                    <a:pt x="110" y="221"/>
                  </a:cubicBezTo>
                  <a:cubicBezTo>
                    <a:pt x="113" y="223"/>
                    <a:pt x="117" y="220"/>
                    <a:pt x="120" y="221"/>
                  </a:cubicBezTo>
                  <a:cubicBezTo>
                    <a:pt x="123" y="222"/>
                    <a:pt x="133" y="226"/>
                    <a:pt x="131" y="229"/>
                  </a:cubicBezTo>
                  <a:cubicBezTo>
                    <a:pt x="129" y="233"/>
                    <a:pt x="122" y="238"/>
                    <a:pt x="123" y="241"/>
                  </a:cubicBezTo>
                  <a:cubicBezTo>
                    <a:pt x="124" y="244"/>
                    <a:pt x="130" y="245"/>
                    <a:pt x="132" y="248"/>
                  </a:cubicBezTo>
                  <a:cubicBezTo>
                    <a:pt x="132" y="248"/>
                    <a:pt x="132" y="248"/>
                    <a:pt x="132" y="248"/>
                  </a:cubicBezTo>
                  <a:cubicBezTo>
                    <a:pt x="136" y="247"/>
                    <a:pt x="138" y="233"/>
                    <a:pt x="138" y="228"/>
                  </a:cubicBezTo>
                  <a:cubicBezTo>
                    <a:pt x="138" y="224"/>
                    <a:pt x="140" y="213"/>
                    <a:pt x="141" y="209"/>
                  </a:cubicBezTo>
                  <a:cubicBezTo>
                    <a:pt x="143" y="200"/>
                    <a:pt x="132" y="194"/>
                    <a:pt x="132" y="185"/>
                  </a:cubicBezTo>
                  <a:cubicBezTo>
                    <a:pt x="132" y="176"/>
                    <a:pt x="136" y="181"/>
                    <a:pt x="142" y="177"/>
                  </a:cubicBezTo>
                  <a:cubicBezTo>
                    <a:pt x="147" y="173"/>
                    <a:pt x="141" y="172"/>
                    <a:pt x="139" y="171"/>
                  </a:cubicBezTo>
                  <a:cubicBezTo>
                    <a:pt x="136" y="171"/>
                    <a:pt x="134" y="166"/>
                    <a:pt x="135" y="163"/>
                  </a:cubicBezTo>
                  <a:cubicBezTo>
                    <a:pt x="136" y="160"/>
                    <a:pt x="152" y="162"/>
                    <a:pt x="157" y="162"/>
                  </a:cubicBezTo>
                  <a:cubicBezTo>
                    <a:pt x="162" y="162"/>
                    <a:pt x="173" y="157"/>
                    <a:pt x="173" y="156"/>
                  </a:cubicBezTo>
                  <a:cubicBezTo>
                    <a:pt x="173" y="156"/>
                    <a:pt x="174" y="152"/>
                    <a:pt x="171" y="149"/>
                  </a:cubicBezTo>
                  <a:cubicBezTo>
                    <a:pt x="167" y="146"/>
                    <a:pt x="168" y="141"/>
                    <a:pt x="171" y="138"/>
                  </a:cubicBezTo>
                  <a:cubicBezTo>
                    <a:pt x="174" y="134"/>
                    <a:pt x="169" y="131"/>
                    <a:pt x="165" y="127"/>
                  </a:cubicBezTo>
                  <a:cubicBezTo>
                    <a:pt x="162" y="122"/>
                    <a:pt x="165" y="107"/>
                    <a:pt x="169" y="100"/>
                  </a:cubicBezTo>
                  <a:cubicBezTo>
                    <a:pt x="173" y="93"/>
                    <a:pt x="160" y="95"/>
                    <a:pt x="152" y="96"/>
                  </a:cubicBezTo>
                  <a:cubicBezTo>
                    <a:pt x="144" y="97"/>
                    <a:pt x="137" y="93"/>
                    <a:pt x="132" y="87"/>
                  </a:cubicBezTo>
                  <a:cubicBezTo>
                    <a:pt x="126" y="80"/>
                    <a:pt x="119" y="84"/>
                    <a:pt x="107" y="85"/>
                  </a:cubicBezTo>
                  <a:cubicBezTo>
                    <a:pt x="94" y="85"/>
                    <a:pt x="97" y="71"/>
                    <a:pt x="97" y="65"/>
                  </a:cubicBezTo>
                  <a:cubicBezTo>
                    <a:pt x="98" y="60"/>
                    <a:pt x="91" y="59"/>
                    <a:pt x="91" y="56"/>
                  </a:cubicBezTo>
                  <a:cubicBezTo>
                    <a:pt x="91" y="52"/>
                    <a:pt x="87" y="52"/>
                    <a:pt x="84" y="52"/>
                  </a:cubicBezTo>
                  <a:cubicBezTo>
                    <a:pt x="81" y="53"/>
                    <a:pt x="84" y="49"/>
                    <a:pt x="86" y="46"/>
                  </a:cubicBezTo>
                  <a:cubicBezTo>
                    <a:pt x="88" y="43"/>
                    <a:pt x="88" y="41"/>
                    <a:pt x="88" y="35"/>
                  </a:cubicBezTo>
                  <a:cubicBezTo>
                    <a:pt x="88" y="29"/>
                    <a:pt x="97" y="24"/>
                    <a:pt x="101" y="19"/>
                  </a:cubicBezTo>
                  <a:cubicBezTo>
                    <a:pt x="102" y="17"/>
                    <a:pt x="104" y="16"/>
                    <a:pt x="106" y="16"/>
                  </a:cubicBezTo>
                  <a:cubicBezTo>
                    <a:pt x="106" y="14"/>
                    <a:pt x="107" y="13"/>
                    <a:pt x="109" y="13"/>
                  </a:cubicBezTo>
                  <a:cubicBezTo>
                    <a:pt x="116" y="12"/>
                    <a:pt x="119" y="7"/>
                    <a:pt x="113" y="4"/>
                  </a:cubicBezTo>
                  <a:cubicBezTo>
                    <a:pt x="107" y="0"/>
                    <a:pt x="103" y="11"/>
                    <a:pt x="96" y="12"/>
                  </a:cubicBezTo>
                  <a:cubicBezTo>
                    <a:pt x="89" y="13"/>
                    <a:pt x="88" y="17"/>
                    <a:pt x="84" y="19"/>
                  </a:cubicBezTo>
                  <a:cubicBezTo>
                    <a:pt x="79" y="21"/>
                    <a:pt x="71" y="19"/>
                    <a:pt x="70" y="23"/>
                  </a:cubicBezTo>
                  <a:cubicBezTo>
                    <a:pt x="70" y="28"/>
                    <a:pt x="67" y="23"/>
                    <a:pt x="64" y="22"/>
                  </a:cubicBezTo>
                  <a:cubicBezTo>
                    <a:pt x="60" y="21"/>
                    <a:pt x="50" y="30"/>
                    <a:pt x="50" y="35"/>
                  </a:cubicBezTo>
                  <a:cubicBezTo>
                    <a:pt x="50" y="40"/>
                    <a:pt x="52" y="44"/>
                    <a:pt x="45" y="49"/>
                  </a:cubicBezTo>
                  <a:cubicBezTo>
                    <a:pt x="38" y="53"/>
                    <a:pt x="34" y="62"/>
                    <a:pt x="30" y="66"/>
                  </a:cubicBezTo>
                  <a:cubicBezTo>
                    <a:pt x="29" y="67"/>
                    <a:pt x="28" y="67"/>
                    <a:pt x="27" y="66"/>
                  </a:cubicBezTo>
                  <a:cubicBezTo>
                    <a:pt x="27" y="68"/>
                    <a:pt x="26" y="70"/>
                    <a:pt x="25" y="71"/>
                  </a:cubicBezTo>
                  <a:cubicBezTo>
                    <a:pt x="23" y="72"/>
                    <a:pt x="19" y="77"/>
                    <a:pt x="15" y="80"/>
                  </a:cubicBezTo>
                  <a:cubicBezTo>
                    <a:pt x="17" y="82"/>
                    <a:pt x="19" y="84"/>
                    <a:pt x="20" y="85"/>
                  </a:cubicBezTo>
                  <a:cubicBezTo>
                    <a:pt x="25" y="90"/>
                    <a:pt x="22" y="94"/>
                    <a:pt x="23" y="96"/>
                  </a:cubicBezTo>
                  <a:cubicBezTo>
                    <a:pt x="24" y="99"/>
                    <a:pt x="26" y="103"/>
                    <a:pt x="23" y="104"/>
                  </a:cubicBezTo>
                  <a:cubicBezTo>
                    <a:pt x="20" y="106"/>
                    <a:pt x="23" y="124"/>
                    <a:pt x="26" y="127"/>
                  </a:cubicBezTo>
                  <a:cubicBezTo>
                    <a:pt x="28" y="130"/>
                    <a:pt x="26" y="133"/>
                    <a:pt x="22" y="139"/>
                  </a:cubicBezTo>
                  <a:cubicBezTo>
                    <a:pt x="19" y="146"/>
                    <a:pt x="16" y="149"/>
                    <a:pt x="10" y="149"/>
                  </a:cubicBezTo>
                  <a:cubicBezTo>
                    <a:pt x="5" y="149"/>
                    <a:pt x="5" y="158"/>
                    <a:pt x="3" y="158"/>
                  </a:cubicBezTo>
                  <a:cubicBezTo>
                    <a:pt x="1" y="158"/>
                    <a:pt x="0" y="162"/>
                    <a:pt x="0" y="165"/>
                  </a:cubicBezTo>
                  <a:cubicBezTo>
                    <a:pt x="5" y="169"/>
                    <a:pt x="15" y="175"/>
                    <a:pt x="18" y="175"/>
                  </a:cubicBezTo>
                  <a:cubicBezTo>
                    <a:pt x="21" y="175"/>
                    <a:pt x="23" y="179"/>
                    <a:pt x="27" y="18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1" name="Freeform 289"/>
            <p:cNvSpPr/>
            <p:nvPr/>
          </p:nvSpPr>
          <p:spPr>
            <a:xfrm>
              <a:off x="3048001" y="4052888"/>
              <a:ext cx="303213" cy="346075"/>
            </a:xfrm>
            <a:custGeom>
              <a:gdLst>
                <a:gd name="T0" fmla="*/ 177 w 179"/>
                <a:gd name="T1" fmla="*/ 121 h 203"/>
                <a:gd name="T2" fmla="*/ 168 w 179"/>
                <a:gd name="T3" fmla="*/ 107 h 203"/>
                <a:gd name="T4" fmla="*/ 156 w 179"/>
                <a:gd name="T5" fmla="*/ 100 h 203"/>
                <a:gd name="T6" fmla="*/ 140 w 179"/>
                <a:gd name="T7" fmla="*/ 93 h 203"/>
                <a:gd name="T8" fmla="*/ 138 w 179"/>
                <a:gd name="T9" fmla="*/ 81 h 203"/>
                <a:gd name="T10" fmla="*/ 136 w 179"/>
                <a:gd name="T11" fmla="*/ 69 h 203"/>
                <a:gd name="T12" fmla="*/ 130 w 179"/>
                <a:gd name="T13" fmla="*/ 59 h 203"/>
                <a:gd name="T14" fmla="*/ 115 w 179"/>
                <a:gd name="T15" fmla="*/ 56 h 203"/>
                <a:gd name="T16" fmla="*/ 103 w 179"/>
                <a:gd name="T17" fmla="*/ 50 h 203"/>
                <a:gd name="T18" fmla="*/ 97 w 179"/>
                <a:gd name="T19" fmla="*/ 45 h 203"/>
                <a:gd name="T20" fmla="*/ 86 w 179"/>
                <a:gd name="T21" fmla="*/ 43 h 203"/>
                <a:gd name="T22" fmla="*/ 69 w 179"/>
                <a:gd name="T23" fmla="*/ 33 h 203"/>
                <a:gd name="T24" fmla="*/ 64 w 179"/>
                <a:gd name="T25" fmla="*/ 4 h 203"/>
                <a:gd name="T26" fmla="*/ 50 w 179"/>
                <a:gd name="T27" fmla="*/ 4 h 203"/>
                <a:gd name="T28" fmla="*/ 33 w 179"/>
                <a:gd name="T29" fmla="*/ 11 h 203"/>
                <a:gd name="T30" fmla="*/ 21 w 179"/>
                <a:gd name="T31" fmla="*/ 18 h 203"/>
                <a:gd name="T32" fmla="*/ 8 w 179"/>
                <a:gd name="T33" fmla="*/ 21 h 203"/>
                <a:gd name="T34" fmla="*/ 3 w 179"/>
                <a:gd name="T35" fmla="*/ 20 h 203"/>
                <a:gd name="T36" fmla="*/ 14 w 179"/>
                <a:gd name="T37" fmla="*/ 40 h 203"/>
                <a:gd name="T38" fmla="*/ 10 w 179"/>
                <a:gd name="T39" fmla="*/ 48 h 203"/>
                <a:gd name="T40" fmla="*/ 11 w 179"/>
                <a:gd name="T41" fmla="*/ 68 h 203"/>
                <a:gd name="T42" fmla="*/ 7 w 179"/>
                <a:gd name="T43" fmla="*/ 81 h 203"/>
                <a:gd name="T44" fmla="*/ 4 w 179"/>
                <a:gd name="T45" fmla="*/ 93 h 203"/>
                <a:gd name="T46" fmla="*/ 10 w 179"/>
                <a:gd name="T47" fmla="*/ 100 h 203"/>
                <a:gd name="T48" fmla="*/ 2 w 179"/>
                <a:gd name="T49" fmla="*/ 111 h 203"/>
                <a:gd name="T50" fmla="*/ 1 w 179"/>
                <a:gd name="T51" fmla="*/ 117 h 203"/>
                <a:gd name="T52" fmla="*/ 7 w 179"/>
                <a:gd name="T53" fmla="*/ 124 h 203"/>
                <a:gd name="T54" fmla="*/ 10 w 179"/>
                <a:gd name="T55" fmla="*/ 140 h 203"/>
                <a:gd name="T56" fmla="*/ 16 w 179"/>
                <a:gd name="T57" fmla="*/ 148 h 203"/>
                <a:gd name="T58" fmla="*/ 13 w 179"/>
                <a:gd name="T59" fmla="*/ 158 h 203"/>
                <a:gd name="T60" fmla="*/ 18 w 179"/>
                <a:gd name="T61" fmla="*/ 170 h 203"/>
                <a:gd name="T62" fmla="*/ 23 w 179"/>
                <a:gd name="T63" fmla="*/ 184 h 203"/>
                <a:gd name="T64" fmla="*/ 27 w 179"/>
                <a:gd name="T65" fmla="*/ 200 h 203"/>
                <a:gd name="T66" fmla="*/ 47 w 179"/>
                <a:gd name="T67" fmla="*/ 188 h 203"/>
                <a:gd name="T68" fmla="*/ 60 w 179"/>
                <a:gd name="T69" fmla="*/ 188 h 203"/>
                <a:gd name="T70" fmla="*/ 76 w 179"/>
                <a:gd name="T71" fmla="*/ 195 h 203"/>
                <a:gd name="T72" fmla="*/ 85 w 179"/>
                <a:gd name="T73" fmla="*/ 186 h 203"/>
                <a:gd name="T74" fmla="*/ 104 w 179"/>
                <a:gd name="T75" fmla="*/ 186 h 203"/>
                <a:gd name="T76" fmla="*/ 109 w 179"/>
                <a:gd name="T77" fmla="*/ 164 h 203"/>
                <a:gd name="T78" fmla="*/ 120 w 179"/>
                <a:gd name="T79" fmla="*/ 150 h 203"/>
                <a:gd name="T80" fmla="*/ 137 w 179"/>
                <a:gd name="T81" fmla="*/ 147 h 203"/>
                <a:gd name="T82" fmla="*/ 154 w 179"/>
                <a:gd name="T83" fmla="*/ 145 h 203"/>
                <a:gd name="T84" fmla="*/ 168 w 179"/>
                <a:gd name="T85" fmla="*/ 151 h 203"/>
                <a:gd name="T86" fmla="*/ 175 w 179"/>
                <a:gd name="T87" fmla="*/ 140 h 203"/>
                <a:gd name="T88" fmla="*/ 177 w 179"/>
                <a:gd name="T89" fmla="*/ 121 h 2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203">
                  <a:moveTo>
                    <a:pt x="177" y="121"/>
                  </a:moveTo>
                  <a:cubicBezTo>
                    <a:pt x="174" y="115"/>
                    <a:pt x="168" y="114"/>
                    <a:pt x="168" y="107"/>
                  </a:cubicBezTo>
                  <a:cubicBezTo>
                    <a:pt x="168" y="100"/>
                    <a:pt x="165" y="99"/>
                    <a:pt x="156" y="100"/>
                  </a:cubicBezTo>
                  <a:cubicBezTo>
                    <a:pt x="146" y="100"/>
                    <a:pt x="140" y="98"/>
                    <a:pt x="140" y="93"/>
                  </a:cubicBezTo>
                  <a:cubicBezTo>
                    <a:pt x="140" y="87"/>
                    <a:pt x="134" y="83"/>
                    <a:pt x="138" y="81"/>
                  </a:cubicBezTo>
                  <a:cubicBezTo>
                    <a:pt x="143" y="78"/>
                    <a:pt x="135" y="75"/>
                    <a:pt x="136" y="69"/>
                  </a:cubicBezTo>
                  <a:cubicBezTo>
                    <a:pt x="137" y="64"/>
                    <a:pt x="134" y="62"/>
                    <a:pt x="130" y="59"/>
                  </a:cubicBezTo>
                  <a:cubicBezTo>
                    <a:pt x="127" y="57"/>
                    <a:pt x="115" y="61"/>
                    <a:pt x="115" y="56"/>
                  </a:cubicBezTo>
                  <a:cubicBezTo>
                    <a:pt x="115" y="51"/>
                    <a:pt x="107" y="50"/>
                    <a:pt x="103" y="50"/>
                  </a:cubicBezTo>
                  <a:cubicBezTo>
                    <a:pt x="98" y="50"/>
                    <a:pt x="101" y="45"/>
                    <a:pt x="97" y="45"/>
                  </a:cubicBezTo>
                  <a:cubicBezTo>
                    <a:pt x="92" y="46"/>
                    <a:pt x="93" y="42"/>
                    <a:pt x="86" y="43"/>
                  </a:cubicBezTo>
                  <a:cubicBezTo>
                    <a:pt x="80" y="44"/>
                    <a:pt x="76" y="41"/>
                    <a:pt x="69" y="33"/>
                  </a:cubicBezTo>
                  <a:cubicBezTo>
                    <a:pt x="62" y="25"/>
                    <a:pt x="63" y="9"/>
                    <a:pt x="64" y="4"/>
                  </a:cubicBezTo>
                  <a:cubicBezTo>
                    <a:pt x="66" y="0"/>
                    <a:pt x="56" y="4"/>
                    <a:pt x="50" y="4"/>
                  </a:cubicBezTo>
                  <a:cubicBezTo>
                    <a:pt x="45" y="4"/>
                    <a:pt x="39" y="8"/>
                    <a:pt x="33" y="11"/>
                  </a:cubicBezTo>
                  <a:cubicBezTo>
                    <a:pt x="27" y="15"/>
                    <a:pt x="24" y="15"/>
                    <a:pt x="21" y="18"/>
                  </a:cubicBezTo>
                  <a:cubicBezTo>
                    <a:pt x="18" y="21"/>
                    <a:pt x="13" y="22"/>
                    <a:pt x="8" y="21"/>
                  </a:cubicBezTo>
                  <a:cubicBezTo>
                    <a:pt x="7" y="20"/>
                    <a:pt x="5" y="20"/>
                    <a:pt x="3" y="20"/>
                  </a:cubicBezTo>
                  <a:cubicBezTo>
                    <a:pt x="6" y="26"/>
                    <a:pt x="12" y="36"/>
                    <a:pt x="14" y="40"/>
                  </a:cubicBezTo>
                  <a:cubicBezTo>
                    <a:pt x="15" y="45"/>
                    <a:pt x="11" y="46"/>
                    <a:pt x="10" y="48"/>
                  </a:cubicBezTo>
                  <a:cubicBezTo>
                    <a:pt x="8" y="50"/>
                    <a:pt x="10" y="65"/>
                    <a:pt x="11" y="68"/>
                  </a:cubicBezTo>
                  <a:cubicBezTo>
                    <a:pt x="11" y="72"/>
                    <a:pt x="5" y="78"/>
                    <a:pt x="7" y="81"/>
                  </a:cubicBezTo>
                  <a:cubicBezTo>
                    <a:pt x="10" y="83"/>
                    <a:pt x="4" y="89"/>
                    <a:pt x="4" y="93"/>
                  </a:cubicBezTo>
                  <a:cubicBezTo>
                    <a:pt x="4" y="97"/>
                    <a:pt x="10" y="97"/>
                    <a:pt x="10" y="100"/>
                  </a:cubicBezTo>
                  <a:cubicBezTo>
                    <a:pt x="10" y="103"/>
                    <a:pt x="5" y="110"/>
                    <a:pt x="2" y="111"/>
                  </a:cubicBezTo>
                  <a:cubicBezTo>
                    <a:pt x="0" y="112"/>
                    <a:pt x="0" y="115"/>
                    <a:pt x="1" y="117"/>
                  </a:cubicBezTo>
                  <a:cubicBezTo>
                    <a:pt x="2" y="117"/>
                    <a:pt x="2" y="121"/>
                    <a:pt x="7" y="124"/>
                  </a:cubicBezTo>
                  <a:cubicBezTo>
                    <a:pt x="12" y="128"/>
                    <a:pt x="6" y="135"/>
                    <a:pt x="10" y="140"/>
                  </a:cubicBezTo>
                  <a:cubicBezTo>
                    <a:pt x="14" y="145"/>
                    <a:pt x="19" y="145"/>
                    <a:pt x="16" y="148"/>
                  </a:cubicBezTo>
                  <a:cubicBezTo>
                    <a:pt x="13" y="151"/>
                    <a:pt x="17" y="156"/>
                    <a:pt x="13" y="158"/>
                  </a:cubicBezTo>
                  <a:cubicBezTo>
                    <a:pt x="10" y="161"/>
                    <a:pt x="14" y="169"/>
                    <a:pt x="18" y="170"/>
                  </a:cubicBezTo>
                  <a:cubicBezTo>
                    <a:pt x="22" y="172"/>
                    <a:pt x="20" y="180"/>
                    <a:pt x="23" y="184"/>
                  </a:cubicBezTo>
                  <a:cubicBezTo>
                    <a:pt x="27" y="188"/>
                    <a:pt x="26" y="197"/>
                    <a:pt x="27" y="200"/>
                  </a:cubicBezTo>
                  <a:cubicBezTo>
                    <a:pt x="28" y="203"/>
                    <a:pt x="40" y="195"/>
                    <a:pt x="47" y="188"/>
                  </a:cubicBezTo>
                  <a:cubicBezTo>
                    <a:pt x="54" y="181"/>
                    <a:pt x="53" y="187"/>
                    <a:pt x="60" y="188"/>
                  </a:cubicBezTo>
                  <a:cubicBezTo>
                    <a:pt x="66" y="188"/>
                    <a:pt x="73" y="188"/>
                    <a:pt x="76" y="195"/>
                  </a:cubicBezTo>
                  <a:cubicBezTo>
                    <a:pt x="79" y="201"/>
                    <a:pt x="83" y="188"/>
                    <a:pt x="85" y="186"/>
                  </a:cubicBezTo>
                  <a:cubicBezTo>
                    <a:pt x="87" y="183"/>
                    <a:pt x="102" y="187"/>
                    <a:pt x="104" y="186"/>
                  </a:cubicBezTo>
                  <a:cubicBezTo>
                    <a:pt x="107" y="185"/>
                    <a:pt x="109" y="167"/>
                    <a:pt x="109" y="164"/>
                  </a:cubicBezTo>
                  <a:cubicBezTo>
                    <a:pt x="108" y="161"/>
                    <a:pt x="115" y="153"/>
                    <a:pt x="120" y="150"/>
                  </a:cubicBezTo>
                  <a:cubicBezTo>
                    <a:pt x="125" y="146"/>
                    <a:pt x="133" y="149"/>
                    <a:pt x="137" y="147"/>
                  </a:cubicBezTo>
                  <a:cubicBezTo>
                    <a:pt x="142" y="145"/>
                    <a:pt x="148" y="145"/>
                    <a:pt x="154" y="145"/>
                  </a:cubicBezTo>
                  <a:cubicBezTo>
                    <a:pt x="160" y="145"/>
                    <a:pt x="164" y="151"/>
                    <a:pt x="168" y="151"/>
                  </a:cubicBezTo>
                  <a:cubicBezTo>
                    <a:pt x="171" y="151"/>
                    <a:pt x="176" y="145"/>
                    <a:pt x="175" y="140"/>
                  </a:cubicBezTo>
                  <a:cubicBezTo>
                    <a:pt x="174" y="135"/>
                    <a:pt x="179" y="128"/>
                    <a:pt x="177" y="12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2" name="Freeform 290"/>
            <p:cNvSpPr/>
            <p:nvPr/>
          </p:nvSpPr>
          <p:spPr>
            <a:xfrm>
              <a:off x="2754313" y="3814763"/>
              <a:ext cx="319088" cy="463550"/>
            </a:xfrm>
            <a:custGeom>
              <a:gdLst>
                <a:gd name="T0" fmla="*/ 173 w 188"/>
                <a:gd name="T1" fmla="*/ 259 h 273"/>
                <a:gd name="T2" fmla="*/ 174 w 188"/>
                <a:gd name="T3" fmla="*/ 258 h 273"/>
                <a:gd name="T4" fmla="*/ 175 w 188"/>
                <a:gd name="T5" fmla="*/ 252 h 273"/>
                <a:gd name="T6" fmla="*/ 183 w 188"/>
                <a:gd name="T7" fmla="*/ 241 h 273"/>
                <a:gd name="T8" fmla="*/ 177 w 188"/>
                <a:gd name="T9" fmla="*/ 234 h 273"/>
                <a:gd name="T10" fmla="*/ 180 w 188"/>
                <a:gd name="T11" fmla="*/ 222 h 273"/>
                <a:gd name="T12" fmla="*/ 184 w 188"/>
                <a:gd name="T13" fmla="*/ 209 h 273"/>
                <a:gd name="T14" fmla="*/ 183 w 188"/>
                <a:gd name="T15" fmla="*/ 189 h 273"/>
                <a:gd name="T16" fmla="*/ 187 w 188"/>
                <a:gd name="T17" fmla="*/ 181 h 273"/>
                <a:gd name="T18" fmla="*/ 176 w 188"/>
                <a:gd name="T19" fmla="*/ 161 h 273"/>
                <a:gd name="T20" fmla="*/ 162 w 188"/>
                <a:gd name="T21" fmla="*/ 161 h 273"/>
                <a:gd name="T22" fmla="*/ 159 w 188"/>
                <a:gd name="T23" fmla="*/ 142 h 273"/>
                <a:gd name="T24" fmla="*/ 153 w 188"/>
                <a:gd name="T25" fmla="*/ 144 h 273"/>
                <a:gd name="T26" fmla="*/ 137 w 188"/>
                <a:gd name="T27" fmla="*/ 146 h 273"/>
                <a:gd name="T28" fmla="*/ 129 w 188"/>
                <a:gd name="T29" fmla="*/ 138 h 273"/>
                <a:gd name="T30" fmla="*/ 122 w 188"/>
                <a:gd name="T31" fmla="*/ 132 h 273"/>
                <a:gd name="T32" fmla="*/ 116 w 188"/>
                <a:gd name="T33" fmla="*/ 120 h 273"/>
                <a:gd name="T34" fmla="*/ 112 w 188"/>
                <a:gd name="T35" fmla="*/ 107 h 273"/>
                <a:gd name="T36" fmla="*/ 114 w 188"/>
                <a:gd name="T37" fmla="*/ 98 h 273"/>
                <a:gd name="T38" fmla="*/ 121 w 188"/>
                <a:gd name="T39" fmla="*/ 90 h 273"/>
                <a:gd name="T40" fmla="*/ 125 w 188"/>
                <a:gd name="T41" fmla="*/ 76 h 273"/>
                <a:gd name="T42" fmla="*/ 138 w 188"/>
                <a:gd name="T43" fmla="*/ 68 h 273"/>
                <a:gd name="T44" fmla="*/ 156 w 188"/>
                <a:gd name="T45" fmla="*/ 61 h 273"/>
                <a:gd name="T46" fmla="*/ 168 w 188"/>
                <a:gd name="T47" fmla="*/ 60 h 273"/>
                <a:gd name="T48" fmla="*/ 159 w 188"/>
                <a:gd name="T49" fmla="*/ 53 h 273"/>
                <a:gd name="T50" fmla="*/ 167 w 188"/>
                <a:gd name="T51" fmla="*/ 41 h 273"/>
                <a:gd name="T52" fmla="*/ 156 w 188"/>
                <a:gd name="T53" fmla="*/ 33 h 273"/>
                <a:gd name="T54" fmla="*/ 146 w 188"/>
                <a:gd name="T55" fmla="*/ 33 h 273"/>
                <a:gd name="T56" fmla="*/ 138 w 188"/>
                <a:gd name="T57" fmla="*/ 34 h 273"/>
                <a:gd name="T58" fmla="*/ 121 w 188"/>
                <a:gd name="T59" fmla="*/ 32 h 273"/>
                <a:gd name="T60" fmla="*/ 116 w 188"/>
                <a:gd name="T61" fmla="*/ 23 h 273"/>
                <a:gd name="T62" fmla="*/ 106 w 188"/>
                <a:gd name="T63" fmla="*/ 14 h 273"/>
                <a:gd name="T64" fmla="*/ 98 w 188"/>
                <a:gd name="T65" fmla="*/ 2 h 273"/>
                <a:gd name="T66" fmla="*/ 85 w 188"/>
                <a:gd name="T67" fmla="*/ 2 h 273"/>
                <a:gd name="T68" fmla="*/ 89 w 188"/>
                <a:gd name="T69" fmla="*/ 12 h 273"/>
                <a:gd name="T70" fmla="*/ 81 w 188"/>
                <a:gd name="T71" fmla="*/ 27 h 273"/>
                <a:gd name="T72" fmla="*/ 52 w 188"/>
                <a:gd name="T73" fmla="*/ 43 h 273"/>
                <a:gd name="T74" fmla="*/ 39 w 188"/>
                <a:gd name="T75" fmla="*/ 66 h 273"/>
                <a:gd name="T76" fmla="*/ 28 w 188"/>
                <a:gd name="T77" fmla="*/ 67 h 273"/>
                <a:gd name="T78" fmla="*/ 17 w 188"/>
                <a:gd name="T79" fmla="*/ 64 h 273"/>
                <a:gd name="T80" fmla="*/ 17 w 188"/>
                <a:gd name="T81" fmla="*/ 56 h 273"/>
                <a:gd name="T82" fmla="*/ 15 w 188"/>
                <a:gd name="T83" fmla="*/ 49 h 273"/>
                <a:gd name="T84" fmla="*/ 3 w 188"/>
                <a:gd name="T85" fmla="*/ 61 h 273"/>
                <a:gd name="T86" fmla="*/ 8 w 188"/>
                <a:gd name="T87" fmla="*/ 81 h 273"/>
                <a:gd name="T88" fmla="*/ 3 w 188"/>
                <a:gd name="T89" fmla="*/ 85 h 273"/>
                <a:gd name="T90" fmla="*/ 19 w 188"/>
                <a:gd name="T91" fmla="*/ 98 h 273"/>
                <a:gd name="T92" fmla="*/ 34 w 188"/>
                <a:gd name="T93" fmla="*/ 118 h 273"/>
                <a:gd name="T94" fmla="*/ 44 w 188"/>
                <a:gd name="T95" fmla="*/ 140 h 273"/>
                <a:gd name="T96" fmla="*/ 67 w 188"/>
                <a:gd name="T97" fmla="*/ 183 h 273"/>
                <a:gd name="T98" fmla="*/ 75 w 188"/>
                <a:gd name="T99" fmla="*/ 202 h 273"/>
                <a:gd name="T100" fmla="*/ 81 w 188"/>
                <a:gd name="T101" fmla="*/ 215 h 273"/>
                <a:gd name="T102" fmla="*/ 104 w 188"/>
                <a:gd name="T103" fmla="*/ 231 h 273"/>
                <a:gd name="T104" fmla="*/ 146 w 188"/>
                <a:gd name="T105" fmla="*/ 257 h 273"/>
                <a:gd name="T106" fmla="*/ 163 w 188"/>
                <a:gd name="T107" fmla="*/ 270 h 273"/>
                <a:gd name="T108" fmla="*/ 164 w 188"/>
                <a:gd name="T109" fmla="*/ 273 h 273"/>
                <a:gd name="T110" fmla="*/ 167 w 188"/>
                <a:gd name="T111" fmla="*/ 271 h 273"/>
                <a:gd name="T112" fmla="*/ 173 w 188"/>
                <a:gd name="T113" fmla="*/ 259 h 2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273">
                  <a:moveTo>
                    <a:pt x="173" y="259"/>
                  </a:moveTo>
                  <a:cubicBezTo>
                    <a:pt x="173" y="259"/>
                    <a:pt x="174" y="259"/>
                    <a:pt x="174" y="258"/>
                  </a:cubicBezTo>
                  <a:cubicBezTo>
                    <a:pt x="173" y="256"/>
                    <a:pt x="173" y="253"/>
                    <a:pt x="175" y="252"/>
                  </a:cubicBezTo>
                  <a:cubicBezTo>
                    <a:pt x="178" y="251"/>
                    <a:pt x="183" y="244"/>
                    <a:pt x="183" y="241"/>
                  </a:cubicBezTo>
                  <a:cubicBezTo>
                    <a:pt x="183" y="238"/>
                    <a:pt x="177" y="238"/>
                    <a:pt x="177" y="234"/>
                  </a:cubicBezTo>
                  <a:cubicBezTo>
                    <a:pt x="177" y="230"/>
                    <a:pt x="183" y="224"/>
                    <a:pt x="180" y="222"/>
                  </a:cubicBezTo>
                  <a:cubicBezTo>
                    <a:pt x="178" y="219"/>
                    <a:pt x="184" y="213"/>
                    <a:pt x="184" y="209"/>
                  </a:cubicBezTo>
                  <a:cubicBezTo>
                    <a:pt x="183" y="206"/>
                    <a:pt x="181" y="191"/>
                    <a:pt x="183" y="189"/>
                  </a:cubicBezTo>
                  <a:cubicBezTo>
                    <a:pt x="184" y="187"/>
                    <a:pt x="188" y="186"/>
                    <a:pt x="187" y="181"/>
                  </a:cubicBezTo>
                  <a:cubicBezTo>
                    <a:pt x="185" y="177"/>
                    <a:pt x="179" y="167"/>
                    <a:pt x="176" y="161"/>
                  </a:cubicBezTo>
                  <a:cubicBezTo>
                    <a:pt x="172" y="160"/>
                    <a:pt x="166" y="160"/>
                    <a:pt x="162" y="161"/>
                  </a:cubicBezTo>
                  <a:cubicBezTo>
                    <a:pt x="158" y="163"/>
                    <a:pt x="159" y="148"/>
                    <a:pt x="159" y="142"/>
                  </a:cubicBezTo>
                  <a:cubicBezTo>
                    <a:pt x="159" y="137"/>
                    <a:pt x="154" y="140"/>
                    <a:pt x="153" y="144"/>
                  </a:cubicBezTo>
                  <a:cubicBezTo>
                    <a:pt x="151" y="148"/>
                    <a:pt x="144" y="146"/>
                    <a:pt x="137" y="146"/>
                  </a:cubicBezTo>
                  <a:cubicBezTo>
                    <a:pt x="130" y="146"/>
                    <a:pt x="134" y="137"/>
                    <a:pt x="129" y="138"/>
                  </a:cubicBezTo>
                  <a:cubicBezTo>
                    <a:pt x="125" y="138"/>
                    <a:pt x="122" y="136"/>
                    <a:pt x="122" y="132"/>
                  </a:cubicBezTo>
                  <a:cubicBezTo>
                    <a:pt x="122" y="128"/>
                    <a:pt x="119" y="124"/>
                    <a:pt x="116" y="120"/>
                  </a:cubicBezTo>
                  <a:cubicBezTo>
                    <a:pt x="113" y="115"/>
                    <a:pt x="110" y="110"/>
                    <a:pt x="112" y="107"/>
                  </a:cubicBezTo>
                  <a:cubicBezTo>
                    <a:pt x="115" y="104"/>
                    <a:pt x="110" y="102"/>
                    <a:pt x="114" y="98"/>
                  </a:cubicBezTo>
                  <a:cubicBezTo>
                    <a:pt x="118" y="94"/>
                    <a:pt x="122" y="95"/>
                    <a:pt x="121" y="90"/>
                  </a:cubicBezTo>
                  <a:cubicBezTo>
                    <a:pt x="119" y="85"/>
                    <a:pt x="125" y="82"/>
                    <a:pt x="125" y="76"/>
                  </a:cubicBezTo>
                  <a:cubicBezTo>
                    <a:pt x="126" y="71"/>
                    <a:pt x="132" y="72"/>
                    <a:pt x="138" y="68"/>
                  </a:cubicBezTo>
                  <a:cubicBezTo>
                    <a:pt x="144" y="63"/>
                    <a:pt x="151" y="65"/>
                    <a:pt x="156" y="61"/>
                  </a:cubicBezTo>
                  <a:cubicBezTo>
                    <a:pt x="161" y="57"/>
                    <a:pt x="164" y="61"/>
                    <a:pt x="168" y="60"/>
                  </a:cubicBezTo>
                  <a:cubicBezTo>
                    <a:pt x="166" y="57"/>
                    <a:pt x="160" y="56"/>
                    <a:pt x="159" y="53"/>
                  </a:cubicBezTo>
                  <a:cubicBezTo>
                    <a:pt x="158" y="50"/>
                    <a:pt x="165" y="45"/>
                    <a:pt x="167" y="41"/>
                  </a:cubicBezTo>
                  <a:cubicBezTo>
                    <a:pt x="169" y="38"/>
                    <a:pt x="159" y="34"/>
                    <a:pt x="156" y="33"/>
                  </a:cubicBezTo>
                  <a:cubicBezTo>
                    <a:pt x="153" y="32"/>
                    <a:pt x="149" y="35"/>
                    <a:pt x="146" y="33"/>
                  </a:cubicBezTo>
                  <a:cubicBezTo>
                    <a:pt x="144" y="32"/>
                    <a:pt x="140" y="33"/>
                    <a:pt x="138" y="34"/>
                  </a:cubicBezTo>
                  <a:cubicBezTo>
                    <a:pt x="136" y="36"/>
                    <a:pt x="121" y="37"/>
                    <a:pt x="121" y="32"/>
                  </a:cubicBezTo>
                  <a:cubicBezTo>
                    <a:pt x="122" y="28"/>
                    <a:pt x="115" y="26"/>
                    <a:pt x="116" y="23"/>
                  </a:cubicBezTo>
                  <a:cubicBezTo>
                    <a:pt x="116" y="20"/>
                    <a:pt x="112" y="14"/>
                    <a:pt x="106" y="14"/>
                  </a:cubicBezTo>
                  <a:cubicBezTo>
                    <a:pt x="101" y="13"/>
                    <a:pt x="102" y="4"/>
                    <a:pt x="98" y="2"/>
                  </a:cubicBezTo>
                  <a:cubicBezTo>
                    <a:pt x="96" y="0"/>
                    <a:pt x="90" y="1"/>
                    <a:pt x="85" y="2"/>
                  </a:cubicBezTo>
                  <a:cubicBezTo>
                    <a:pt x="90" y="8"/>
                    <a:pt x="92" y="10"/>
                    <a:pt x="89" y="12"/>
                  </a:cubicBezTo>
                  <a:cubicBezTo>
                    <a:pt x="84" y="16"/>
                    <a:pt x="89" y="17"/>
                    <a:pt x="81" y="27"/>
                  </a:cubicBezTo>
                  <a:cubicBezTo>
                    <a:pt x="73" y="38"/>
                    <a:pt x="59" y="41"/>
                    <a:pt x="52" y="43"/>
                  </a:cubicBezTo>
                  <a:cubicBezTo>
                    <a:pt x="45" y="45"/>
                    <a:pt x="43" y="57"/>
                    <a:pt x="39" y="66"/>
                  </a:cubicBezTo>
                  <a:cubicBezTo>
                    <a:pt x="35" y="75"/>
                    <a:pt x="32" y="72"/>
                    <a:pt x="28" y="67"/>
                  </a:cubicBezTo>
                  <a:cubicBezTo>
                    <a:pt x="25" y="62"/>
                    <a:pt x="22" y="68"/>
                    <a:pt x="17" y="64"/>
                  </a:cubicBezTo>
                  <a:cubicBezTo>
                    <a:pt x="13" y="60"/>
                    <a:pt x="15" y="60"/>
                    <a:pt x="17" y="56"/>
                  </a:cubicBezTo>
                  <a:cubicBezTo>
                    <a:pt x="19" y="54"/>
                    <a:pt x="17" y="52"/>
                    <a:pt x="15" y="49"/>
                  </a:cubicBezTo>
                  <a:cubicBezTo>
                    <a:pt x="10" y="50"/>
                    <a:pt x="5" y="56"/>
                    <a:pt x="3" y="61"/>
                  </a:cubicBezTo>
                  <a:cubicBezTo>
                    <a:pt x="0" y="67"/>
                    <a:pt x="7" y="78"/>
                    <a:pt x="8" y="81"/>
                  </a:cubicBezTo>
                  <a:cubicBezTo>
                    <a:pt x="9" y="85"/>
                    <a:pt x="4" y="82"/>
                    <a:pt x="3" y="85"/>
                  </a:cubicBezTo>
                  <a:cubicBezTo>
                    <a:pt x="3" y="89"/>
                    <a:pt x="14" y="94"/>
                    <a:pt x="19" y="98"/>
                  </a:cubicBezTo>
                  <a:cubicBezTo>
                    <a:pt x="24" y="102"/>
                    <a:pt x="29" y="113"/>
                    <a:pt x="34" y="118"/>
                  </a:cubicBezTo>
                  <a:cubicBezTo>
                    <a:pt x="39" y="123"/>
                    <a:pt x="39" y="128"/>
                    <a:pt x="44" y="140"/>
                  </a:cubicBezTo>
                  <a:cubicBezTo>
                    <a:pt x="49" y="153"/>
                    <a:pt x="60" y="174"/>
                    <a:pt x="67" y="183"/>
                  </a:cubicBezTo>
                  <a:cubicBezTo>
                    <a:pt x="74" y="192"/>
                    <a:pt x="77" y="199"/>
                    <a:pt x="75" y="202"/>
                  </a:cubicBezTo>
                  <a:cubicBezTo>
                    <a:pt x="74" y="204"/>
                    <a:pt x="76" y="211"/>
                    <a:pt x="81" y="215"/>
                  </a:cubicBezTo>
                  <a:cubicBezTo>
                    <a:pt x="86" y="219"/>
                    <a:pt x="90" y="224"/>
                    <a:pt x="104" y="231"/>
                  </a:cubicBezTo>
                  <a:cubicBezTo>
                    <a:pt x="117" y="238"/>
                    <a:pt x="142" y="251"/>
                    <a:pt x="146" y="257"/>
                  </a:cubicBezTo>
                  <a:cubicBezTo>
                    <a:pt x="149" y="263"/>
                    <a:pt x="161" y="269"/>
                    <a:pt x="163" y="270"/>
                  </a:cubicBezTo>
                  <a:cubicBezTo>
                    <a:pt x="164" y="270"/>
                    <a:pt x="164" y="272"/>
                    <a:pt x="164" y="273"/>
                  </a:cubicBezTo>
                  <a:cubicBezTo>
                    <a:pt x="165" y="272"/>
                    <a:pt x="166" y="271"/>
                    <a:pt x="167" y="271"/>
                  </a:cubicBezTo>
                  <a:cubicBezTo>
                    <a:pt x="171" y="268"/>
                    <a:pt x="172" y="261"/>
                    <a:pt x="173" y="25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3" name="Freeform 291"/>
            <p:cNvSpPr/>
            <p:nvPr/>
          </p:nvSpPr>
          <p:spPr>
            <a:xfrm>
              <a:off x="2952751" y="3508375"/>
              <a:ext cx="342900" cy="287338"/>
            </a:xfrm>
            <a:custGeom>
              <a:gdLst>
                <a:gd name="T0" fmla="*/ 20 w 202"/>
                <a:gd name="T1" fmla="*/ 11 h 169"/>
                <a:gd name="T2" fmla="*/ 7 w 202"/>
                <a:gd name="T3" fmla="*/ 27 h 169"/>
                <a:gd name="T4" fmla="*/ 5 w 202"/>
                <a:gd name="T5" fmla="*/ 38 h 169"/>
                <a:gd name="T6" fmla="*/ 3 w 202"/>
                <a:gd name="T7" fmla="*/ 44 h 169"/>
                <a:gd name="T8" fmla="*/ 10 w 202"/>
                <a:gd name="T9" fmla="*/ 48 h 169"/>
                <a:gd name="T10" fmla="*/ 16 w 202"/>
                <a:gd name="T11" fmla="*/ 57 h 169"/>
                <a:gd name="T12" fmla="*/ 26 w 202"/>
                <a:gd name="T13" fmla="*/ 77 h 169"/>
                <a:gd name="T14" fmla="*/ 51 w 202"/>
                <a:gd name="T15" fmla="*/ 79 h 169"/>
                <a:gd name="T16" fmla="*/ 71 w 202"/>
                <a:gd name="T17" fmla="*/ 88 h 169"/>
                <a:gd name="T18" fmla="*/ 88 w 202"/>
                <a:gd name="T19" fmla="*/ 92 h 169"/>
                <a:gd name="T20" fmla="*/ 84 w 202"/>
                <a:gd name="T21" fmla="*/ 119 h 169"/>
                <a:gd name="T22" fmla="*/ 90 w 202"/>
                <a:gd name="T23" fmla="*/ 130 h 169"/>
                <a:gd name="T24" fmla="*/ 90 w 202"/>
                <a:gd name="T25" fmla="*/ 141 h 169"/>
                <a:gd name="T26" fmla="*/ 92 w 202"/>
                <a:gd name="T27" fmla="*/ 148 h 169"/>
                <a:gd name="T28" fmla="*/ 90 w 202"/>
                <a:gd name="T29" fmla="*/ 149 h 169"/>
                <a:gd name="T30" fmla="*/ 101 w 202"/>
                <a:gd name="T31" fmla="*/ 164 h 169"/>
                <a:gd name="T32" fmla="*/ 110 w 202"/>
                <a:gd name="T33" fmla="*/ 168 h 169"/>
                <a:gd name="T34" fmla="*/ 118 w 202"/>
                <a:gd name="T35" fmla="*/ 166 h 169"/>
                <a:gd name="T36" fmla="*/ 128 w 202"/>
                <a:gd name="T37" fmla="*/ 161 h 169"/>
                <a:gd name="T38" fmla="*/ 137 w 202"/>
                <a:gd name="T39" fmla="*/ 156 h 169"/>
                <a:gd name="T40" fmla="*/ 146 w 202"/>
                <a:gd name="T41" fmla="*/ 148 h 169"/>
                <a:gd name="T42" fmla="*/ 148 w 202"/>
                <a:gd name="T43" fmla="*/ 142 h 169"/>
                <a:gd name="T44" fmla="*/ 140 w 202"/>
                <a:gd name="T45" fmla="*/ 141 h 169"/>
                <a:gd name="T46" fmla="*/ 136 w 202"/>
                <a:gd name="T47" fmla="*/ 131 h 169"/>
                <a:gd name="T48" fmla="*/ 130 w 202"/>
                <a:gd name="T49" fmla="*/ 120 h 169"/>
                <a:gd name="T50" fmla="*/ 140 w 202"/>
                <a:gd name="T51" fmla="*/ 119 h 169"/>
                <a:gd name="T52" fmla="*/ 153 w 202"/>
                <a:gd name="T53" fmla="*/ 123 h 169"/>
                <a:gd name="T54" fmla="*/ 158 w 202"/>
                <a:gd name="T55" fmla="*/ 123 h 169"/>
                <a:gd name="T56" fmla="*/ 168 w 202"/>
                <a:gd name="T57" fmla="*/ 118 h 169"/>
                <a:gd name="T58" fmla="*/ 186 w 202"/>
                <a:gd name="T59" fmla="*/ 111 h 169"/>
                <a:gd name="T60" fmla="*/ 190 w 202"/>
                <a:gd name="T61" fmla="*/ 106 h 169"/>
                <a:gd name="T62" fmla="*/ 181 w 202"/>
                <a:gd name="T63" fmla="*/ 94 h 169"/>
                <a:gd name="T64" fmla="*/ 182 w 202"/>
                <a:gd name="T65" fmla="*/ 86 h 169"/>
                <a:gd name="T66" fmla="*/ 189 w 202"/>
                <a:gd name="T67" fmla="*/ 79 h 169"/>
                <a:gd name="T68" fmla="*/ 191 w 202"/>
                <a:gd name="T69" fmla="*/ 71 h 169"/>
                <a:gd name="T70" fmla="*/ 196 w 202"/>
                <a:gd name="T71" fmla="*/ 61 h 169"/>
                <a:gd name="T72" fmla="*/ 202 w 202"/>
                <a:gd name="T73" fmla="*/ 55 h 169"/>
                <a:gd name="T74" fmla="*/ 181 w 202"/>
                <a:gd name="T75" fmla="*/ 52 h 169"/>
                <a:gd name="T76" fmla="*/ 185 w 202"/>
                <a:gd name="T77" fmla="*/ 40 h 169"/>
                <a:gd name="T78" fmla="*/ 163 w 202"/>
                <a:gd name="T79" fmla="*/ 32 h 169"/>
                <a:gd name="T80" fmla="*/ 165 w 202"/>
                <a:gd name="T81" fmla="*/ 24 h 169"/>
                <a:gd name="T82" fmla="*/ 153 w 202"/>
                <a:gd name="T83" fmla="*/ 21 h 169"/>
                <a:gd name="T84" fmla="*/ 125 w 202"/>
                <a:gd name="T85" fmla="*/ 31 h 169"/>
                <a:gd name="T86" fmla="*/ 97 w 202"/>
                <a:gd name="T87" fmla="*/ 23 h 169"/>
                <a:gd name="T88" fmla="*/ 78 w 202"/>
                <a:gd name="T89" fmla="*/ 19 h 169"/>
                <a:gd name="T90" fmla="*/ 67 w 202"/>
                <a:gd name="T91" fmla="*/ 8 h 169"/>
                <a:gd name="T92" fmla="*/ 55 w 202"/>
                <a:gd name="T93" fmla="*/ 0 h 169"/>
                <a:gd name="T94" fmla="*/ 50 w 202"/>
                <a:gd name="T95" fmla="*/ 9 h 169"/>
                <a:gd name="T96" fmla="*/ 31 w 202"/>
                <a:gd name="T97" fmla="*/ 21 h 169"/>
                <a:gd name="T98" fmla="*/ 36 w 202"/>
                <a:gd name="T99" fmla="*/ 42 h 169"/>
                <a:gd name="T100" fmla="*/ 20 w 202"/>
                <a:gd name="T101" fmla="*/ 37 h 169"/>
                <a:gd name="T102" fmla="*/ 26 w 202"/>
                <a:gd name="T103" fmla="*/ 18 h 169"/>
                <a:gd name="T104" fmla="*/ 25 w 202"/>
                <a:gd name="T105" fmla="*/ 8 h 169"/>
                <a:gd name="T106" fmla="*/ 20 w 202"/>
                <a:gd name="T107" fmla="*/ 11 h 1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2" h="169">
                  <a:moveTo>
                    <a:pt x="20" y="11"/>
                  </a:moveTo>
                  <a:cubicBezTo>
                    <a:pt x="16" y="16"/>
                    <a:pt x="7" y="21"/>
                    <a:pt x="7" y="27"/>
                  </a:cubicBezTo>
                  <a:cubicBezTo>
                    <a:pt x="7" y="33"/>
                    <a:pt x="7" y="35"/>
                    <a:pt x="5" y="38"/>
                  </a:cubicBezTo>
                  <a:cubicBezTo>
                    <a:pt x="3" y="41"/>
                    <a:pt x="0" y="45"/>
                    <a:pt x="3" y="44"/>
                  </a:cubicBezTo>
                  <a:cubicBezTo>
                    <a:pt x="6" y="44"/>
                    <a:pt x="10" y="44"/>
                    <a:pt x="10" y="48"/>
                  </a:cubicBezTo>
                  <a:cubicBezTo>
                    <a:pt x="10" y="51"/>
                    <a:pt x="17" y="52"/>
                    <a:pt x="16" y="57"/>
                  </a:cubicBezTo>
                  <a:cubicBezTo>
                    <a:pt x="16" y="63"/>
                    <a:pt x="13" y="77"/>
                    <a:pt x="26" y="77"/>
                  </a:cubicBezTo>
                  <a:cubicBezTo>
                    <a:pt x="38" y="76"/>
                    <a:pt x="45" y="72"/>
                    <a:pt x="51" y="79"/>
                  </a:cubicBezTo>
                  <a:cubicBezTo>
                    <a:pt x="56" y="85"/>
                    <a:pt x="63" y="89"/>
                    <a:pt x="71" y="88"/>
                  </a:cubicBezTo>
                  <a:cubicBezTo>
                    <a:pt x="79" y="87"/>
                    <a:pt x="92" y="85"/>
                    <a:pt x="88" y="92"/>
                  </a:cubicBezTo>
                  <a:cubicBezTo>
                    <a:pt x="84" y="99"/>
                    <a:pt x="81" y="114"/>
                    <a:pt x="84" y="119"/>
                  </a:cubicBezTo>
                  <a:cubicBezTo>
                    <a:pt x="88" y="123"/>
                    <a:pt x="93" y="126"/>
                    <a:pt x="90" y="130"/>
                  </a:cubicBezTo>
                  <a:cubicBezTo>
                    <a:pt x="87" y="133"/>
                    <a:pt x="86" y="138"/>
                    <a:pt x="90" y="141"/>
                  </a:cubicBezTo>
                  <a:cubicBezTo>
                    <a:pt x="93" y="144"/>
                    <a:pt x="92" y="148"/>
                    <a:pt x="92" y="148"/>
                  </a:cubicBezTo>
                  <a:cubicBezTo>
                    <a:pt x="92" y="148"/>
                    <a:pt x="91" y="149"/>
                    <a:pt x="90" y="149"/>
                  </a:cubicBezTo>
                  <a:cubicBezTo>
                    <a:pt x="96" y="155"/>
                    <a:pt x="98" y="162"/>
                    <a:pt x="101" y="164"/>
                  </a:cubicBezTo>
                  <a:cubicBezTo>
                    <a:pt x="106" y="168"/>
                    <a:pt x="107" y="169"/>
                    <a:pt x="110" y="168"/>
                  </a:cubicBezTo>
                  <a:cubicBezTo>
                    <a:pt x="113" y="166"/>
                    <a:pt x="115" y="165"/>
                    <a:pt x="118" y="166"/>
                  </a:cubicBezTo>
                  <a:cubicBezTo>
                    <a:pt x="120" y="168"/>
                    <a:pt x="124" y="165"/>
                    <a:pt x="128" y="161"/>
                  </a:cubicBezTo>
                  <a:cubicBezTo>
                    <a:pt x="132" y="158"/>
                    <a:pt x="136" y="161"/>
                    <a:pt x="137" y="156"/>
                  </a:cubicBezTo>
                  <a:cubicBezTo>
                    <a:pt x="139" y="152"/>
                    <a:pt x="141" y="149"/>
                    <a:pt x="146" y="148"/>
                  </a:cubicBezTo>
                  <a:cubicBezTo>
                    <a:pt x="151" y="148"/>
                    <a:pt x="151" y="142"/>
                    <a:pt x="148" y="142"/>
                  </a:cubicBezTo>
                  <a:cubicBezTo>
                    <a:pt x="144" y="142"/>
                    <a:pt x="140" y="146"/>
                    <a:pt x="140" y="141"/>
                  </a:cubicBezTo>
                  <a:cubicBezTo>
                    <a:pt x="140" y="135"/>
                    <a:pt x="136" y="136"/>
                    <a:pt x="136" y="131"/>
                  </a:cubicBezTo>
                  <a:cubicBezTo>
                    <a:pt x="136" y="127"/>
                    <a:pt x="136" y="123"/>
                    <a:pt x="130" y="120"/>
                  </a:cubicBezTo>
                  <a:cubicBezTo>
                    <a:pt x="125" y="117"/>
                    <a:pt x="137" y="116"/>
                    <a:pt x="140" y="119"/>
                  </a:cubicBezTo>
                  <a:cubicBezTo>
                    <a:pt x="143" y="121"/>
                    <a:pt x="152" y="119"/>
                    <a:pt x="153" y="123"/>
                  </a:cubicBezTo>
                  <a:cubicBezTo>
                    <a:pt x="154" y="127"/>
                    <a:pt x="158" y="128"/>
                    <a:pt x="158" y="123"/>
                  </a:cubicBezTo>
                  <a:cubicBezTo>
                    <a:pt x="158" y="119"/>
                    <a:pt x="164" y="117"/>
                    <a:pt x="168" y="118"/>
                  </a:cubicBezTo>
                  <a:cubicBezTo>
                    <a:pt x="173" y="119"/>
                    <a:pt x="182" y="112"/>
                    <a:pt x="186" y="111"/>
                  </a:cubicBezTo>
                  <a:cubicBezTo>
                    <a:pt x="188" y="110"/>
                    <a:pt x="189" y="108"/>
                    <a:pt x="190" y="106"/>
                  </a:cubicBezTo>
                  <a:cubicBezTo>
                    <a:pt x="187" y="102"/>
                    <a:pt x="183" y="96"/>
                    <a:pt x="181" y="94"/>
                  </a:cubicBezTo>
                  <a:cubicBezTo>
                    <a:pt x="178" y="91"/>
                    <a:pt x="183" y="90"/>
                    <a:pt x="182" y="86"/>
                  </a:cubicBezTo>
                  <a:cubicBezTo>
                    <a:pt x="182" y="82"/>
                    <a:pt x="182" y="80"/>
                    <a:pt x="189" y="79"/>
                  </a:cubicBezTo>
                  <a:cubicBezTo>
                    <a:pt x="196" y="79"/>
                    <a:pt x="195" y="74"/>
                    <a:pt x="191" y="71"/>
                  </a:cubicBezTo>
                  <a:cubicBezTo>
                    <a:pt x="188" y="69"/>
                    <a:pt x="193" y="64"/>
                    <a:pt x="196" y="61"/>
                  </a:cubicBezTo>
                  <a:cubicBezTo>
                    <a:pt x="198" y="61"/>
                    <a:pt x="200" y="58"/>
                    <a:pt x="202" y="55"/>
                  </a:cubicBezTo>
                  <a:cubicBezTo>
                    <a:pt x="195" y="52"/>
                    <a:pt x="185" y="52"/>
                    <a:pt x="181" y="52"/>
                  </a:cubicBezTo>
                  <a:cubicBezTo>
                    <a:pt x="175" y="53"/>
                    <a:pt x="184" y="46"/>
                    <a:pt x="185" y="40"/>
                  </a:cubicBezTo>
                  <a:cubicBezTo>
                    <a:pt x="185" y="35"/>
                    <a:pt x="169" y="34"/>
                    <a:pt x="163" y="32"/>
                  </a:cubicBezTo>
                  <a:cubicBezTo>
                    <a:pt x="157" y="31"/>
                    <a:pt x="158" y="25"/>
                    <a:pt x="165" y="24"/>
                  </a:cubicBezTo>
                  <a:cubicBezTo>
                    <a:pt x="171" y="24"/>
                    <a:pt x="161" y="19"/>
                    <a:pt x="153" y="21"/>
                  </a:cubicBezTo>
                  <a:cubicBezTo>
                    <a:pt x="144" y="22"/>
                    <a:pt x="132" y="27"/>
                    <a:pt x="125" y="31"/>
                  </a:cubicBezTo>
                  <a:cubicBezTo>
                    <a:pt x="117" y="35"/>
                    <a:pt x="105" y="19"/>
                    <a:pt x="97" y="23"/>
                  </a:cubicBezTo>
                  <a:cubicBezTo>
                    <a:pt x="89" y="26"/>
                    <a:pt x="78" y="26"/>
                    <a:pt x="78" y="19"/>
                  </a:cubicBezTo>
                  <a:cubicBezTo>
                    <a:pt x="78" y="13"/>
                    <a:pt x="75" y="8"/>
                    <a:pt x="67" y="8"/>
                  </a:cubicBezTo>
                  <a:cubicBezTo>
                    <a:pt x="59" y="9"/>
                    <a:pt x="61" y="0"/>
                    <a:pt x="55" y="0"/>
                  </a:cubicBezTo>
                  <a:cubicBezTo>
                    <a:pt x="48" y="0"/>
                    <a:pt x="55" y="8"/>
                    <a:pt x="50" y="9"/>
                  </a:cubicBezTo>
                  <a:cubicBezTo>
                    <a:pt x="46" y="11"/>
                    <a:pt x="32" y="15"/>
                    <a:pt x="31" y="21"/>
                  </a:cubicBezTo>
                  <a:cubicBezTo>
                    <a:pt x="30" y="27"/>
                    <a:pt x="38" y="36"/>
                    <a:pt x="36" y="42"/>
                  </a:cubicBezTo>
                  <a:cubicBezTo>
                    <a:pt x="33" y="48"/>
                    <a:pt x="23" y="43"/>
                    <a:pt x="20" y="37"/>
                  </a:cubicBezTo>
                  <a:cubicBezTo>
                    <a:pt x="17" y="31"/>
                    <a:pt x="28" y="21"/>
                    <a:pt x="26" y="18"/>
                  </a:cubicBezTo>
                  <a:cubicBezTo>
                    <a:pt x="25" y="15"/>
                    <a:pt x="23" y="11"/>
                    <a:pt x="25" y="8"/>
                  </a:cubicBezTo>
                  <a:cubicBezTo>
                    <a:pt x="23" y="8"/>
                    <a:pt x="21" y="9"/>
                    <a:pt x="20"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4" name="Freeform 292"/>
            <p:cNvSpPr/>
            <p:nvPr/>
          </p:nvSpPr>
          <p:spPr>
            <a:xfrm>
              <a:off x="3335338" y="3656013"/>
              <a:ext cx="104775" cy="111125"/>
            </a:xfrm>
            <a:custGeom>
              <a:gdLst>
                <a:gd name="T0" fmla="*/ 15 w 62"/>
                <a:gd name="T1" fmla="*/ 13 h 65"/>
                <a:gd name="T2" fmla="*/ 8 w 62"/>
                <a:gd name="T3" fmla="*/ 20 h 65"/>
                <a:gd name="T4" fmla="*/ 2 w 62"/>
                <a:gd name="T5" fmla="*/ 33 h 65"/>
                <a:gd name="T6" fmla="*/ 14 w 62"/>
                <a:gd name="T7" fmla="*/ 48 h 65"/>
                <a:gd name="T8" fmla="*/ 23 w 62"/>
                <a:gd name="T9" fmla="*/ 64 h 65"/>
                <a:gd name="T10" fmla="*/ 30 w 62"/>
                <a:gd name="T11" fmla="*/ 64 h 65"/>
                <a:gd name="T12" fmla="*/ 36 w 62"/>
                <a:gd name="T13" fmla="*/ 55 h 65"/>
                <a:gd name="T14" fmla="*/ 53 w 62"/>
                <a:gd name="T15" fmla="*/ 56 h 65"/>
                <a:gd name="T16" fmla="*/ 54 w 62"/>
                <a:gd name="T17" fmla="*/ 58 h 65"/>
                <a:gd name="T18" fmla="*/ 58 w 62"/>
                <a:gd name="T19" fmla="*/ 51 h 65"/>
                <a:gd name="T20" fmla="*/ 57 w 62"/>
                <a:gd name="T21" fmla="*/ 31 h 65"/>
                <a:gd name="T22" fmla="*/ 59 w 62"/>
                <a:gd name="T23" fmla="*/ 14 h 65"/>
                <a:gd name="T24" fmla="*/ 62 w 62"/>
                <a:gd name="T25" fmla="*/ 7 h 65"/>
                <a:gd name="T26" fmla="*/ 48 w 62"/>
                <a:gd name="T27" fmla="*/ 3 h 65"/>
                <a:gd name="T28" fmla="*/ 29 w 62"/>
                <a:gd name="T29" fmla="*/ 4 h 65"/>
                <a:gd name="T30" fmla="*/ 18 w 62"/>
                <a:gd name="T31" fmla="*/ 3 h 65"/>
                <a:gd name="T32" fmla="*/ 16 w 62"/>
                <a:gd name="T33" fmla="*/ 4 h 65"/>
                <a:gd name="T34" fmla="*/ 15 w 62"/>
                <a:gd name="T35" fmla="*/ 13 h 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5">
                  <a:moveTo>
                    <a:pt x="15" y="13"/>
                  </a:moveTo>
                  <a:cubicBezTo>
                    <a:pt x="17" y="17"/>
                    <a:pt x="12" y="19"/>
                    <a:pt x="8" y="20"/>
                  </a:cubicBezTo>
                  <a:cubicBezTo>
                    <a:pt x="4" y="20"/>
                    <a:pt x="5" y="30"/>
                    <a:pt x="2" y="33"/>
                  </a:cubicBezTo>
                  <a:cubicBezTo>
                    <a:pt x="0" y="35"/>
                    <a:pt x="12" y="42"/>
                    <a:pt x="14" y="48"/>
                  </a:cubicBezTo>
                  <a:cubicBezTo>
                    <a:pt x="16" y="51"/>
                    <a:pt x="20" y="58"/>
                    <a:pt x="23" y="64"/>
                  </a:cubicBezTo>
                  <a:cubicBezTo>
                    <a:pt x="26" y="65"/>
                    <a:pt x="29" y="65"/>
                    <a:pt x="30" y="64"/>
                  </a:cubicBezTo>
                  <a:cubicBezTo>
                    <a:pt x="34" y="62"/>
                    <a:pt x="31" y="55"/>
                    <a:pt x="36" y="55"/>
                  </a:cubicBezTo>
                  <a:cubicBezTo>
                    <a:pt x="42" y="56"/>
                    <a:pt x="50" y="52"/>
                    <a:pt x="53" y="56"/>
                  </a:cubicBezTo>
                  <a:cubicBezTo>
                    <a:pt x="53" y="56"/>
                    <a:pt x="53" y="57"/>
                    <a:pt x="54" y="58"/>
                  </a:cubicBezTo>
                  <a:cubicBezTo>
                    <a:pt x="56" y="55"/>
                    <a:pt x="58" y="52"/>
                    <a:pt x="58" y="51"/>
                  </a:cubicBezTo>
                  <a:cubicBezTo>
                    <a:pt x="59" y="49"/>
                    <a:pt x="59" y="38"/>
                    <a:pt x="57" y="31"/>
                  </a:cubicBezTo>
                  <a:cubicBezTo>
                    <a:pt x="54" y="25"/>
                    <a:pt x="56" y="17"/>
                    <a:pt x="59" y="14"/>
                  </a:cubicBezTo>
                  <a:cubicBezTo>
                    <a:pt x="60" y="14"/>
                    <a:pt x="61" y="11"/>
                    <a:pt x="62" y="7"/>
                  </a:cubicBezTo>
                  <a:cubicBezTo>
                    <a:pt x="57" y="5"/>
                    <a:pt x="52" y="3"/>
                    <a:pt x="48" y="3"/>
                  </a:cubicBezTo>
                  <a:cubicBezTo>
                    <a:pt x="40" y="4"/>
                    <a:pt x="32" y="8"/>
                    <a:pt x="29" y="4"/>
                  </a:cubicBezTo>
                  <a:cubicBezTo>
                    <a:pt x="26" y="0"/>
                    <a:pt x="22" y="0"/>
                    <a:pt x="18" y="3"/>
                  </a:cubicBezTo>
                  <a:cubicBezTo>
                    <a:pt x="17" y="4"/>
                    <a:pt x="17" y="4"/>
                    <a:pt x="16" y="4"/>
                  </a:cubicBezTo>
                  <a:cubicBezTo>
                    <a:pt x="15" y="8"/>
                    <a:pt x="14" y="11"/>
                    <a:pt x="15"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5" name="Freeform 293"/>
            <p:cNvSpPr/>
            <p:nvPr/>
          </p:nvSpPr>
          <p:spPr>
            <a:xfrm>
              <a:off x="3254376" y="3602038"/>
              <a:ext cx="120650" cy="179388"/>
            </a:xfrm>
            <a:custGeom>
              <a:gdLst>
                <a:gd name="T0" fmla="*/ 18 w 71"/>
                <a:gd name="T1" fmla="*/ 6 h 106"/>
                <a:gd name="T2" fmla="*/ 13 w 71"/>
                <a:gd name="T3" fmla="*/ 16 h 106"/>
                <a:gd name="T4" fmla="*/ 11 w 71"/>
                <a:gd name="T5" fmla="*/ 24 h 106"/>
                <a:gd name="T6" fmla="*/ 4 w 71"/>
                <a:gd name="T7" fmla="*/ 31 h 106"/>
                <a:gd name="T8" fmla="*/ 3 w 71"/>
                <a:gd name="T9" fmla="*/ 39 h 106"/>
                <a:gd name="T10" fmla="*/ 12 w 71"/>
                <a:gd name="T11" fmla="*/ 51 h 106"/>
                <a:gd name="T12" fmla="*/ 18 w 71"/>
                <a:gd name="T13" fmla="*/ 48 h 106"/>
                <a:gd name="T14" fmla="*/ 24 w 71"/>
                <a:gd name="T15" fmla="*/ 60 h 106"/>
                <a:gd name="T16" fmla="*/ 25 w 71"/>
                <a:gd name="T17" fmla="*/ 72 h 106"/>
                <a:gd name="T18" fmla="*/ 28 w 71"/>
                <a:gd name="T19" fmla="*/ 98 h 106"/>
                <a:gd name="T20" fmla="*/ 44 w 71"/>
                <a:gd name="T21" fmla="*/ 103 h 106"/>
                <a:gd name="T22" fmla="*/ 53 w 71"/>
                <a:gd name="T23" fmla="*/ 100 h 106"/>
                <a:gd name="T24" fmla="*/ 61 w 71"/>
                <a:gd name="T25" fmla="*/ 96 h 106"/>
                <a:gd name="T26" fmla="*/ 71 w 71"/>
                <a:gd name="T27" fmla="*/ 96 h 106"/>
                <a:gd name="T28" fmla="*/ 62 w 71"/>
                <a:gd name="T29" fmla="*/ 80 h 106"/>
                <a:gd name="T30" fmla="*/ 50 w 71"/>
                <a:gd name="T31" fmla="*/ 65 h 106"/>
                <a:gd name="T32" fmla="*/ 56 w 71"/>
                <a:gd name="T33" fmla="*/ 52 h 106"/>
                <a:gd name="T34" fmla="*/ 63 w 71"/>
                <a:gd name="T35" fmla="*/ 45 h 106"/>
                <a:gd name="T36" fmla="*/ 64 w 71"/>
                <a:gd name="T37" fmla="*/ 36 h 106"/>
                <a:gd name="T38" fmla="*/ 51 w 71"/>
                <a:gd name="T39" fmla="*/ 24 h 106"/>
                <a:gd name="T40" fmla="*/ 44 w 71"/>
                <a:gd name="T41" fmla="*/ 15 h 106"/>
                <a:gd name="T42" fmla="*/ 29 w 71"/>
                <a:gd name="T43" fmla="*/ 3 h 106"/>
                <a:gd name="T44" fmla="*/ 24 w 71"/>
                <a:gd name="T45" fmla="*/ 0 h 106"/>
                <a:gd name="T46" fmla="*/ 18 w 71"/>
                <a:gd name="T47" fmla="*/ 6 h 1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06">
                  <a:moveTo>
                    <a:pt x="18" y="6"/>
                  </a:moveTo>
                  <a:cubicBezTo>
                    <a:pt x="15" y="9"/>
                    <a:pt x="10" y="14"/>
                    <a:pt x="13" y="16"/>
                  </a:cubicBezTo>
                  <a:cubicBezTo>
                    <a:pt x="17" y="19"/>
                    <a:pt x="18" y="24"/>
                    <a:pt x="11" y="24"/>
                  </a:cubicBezTo>
                  <a:cubicBezTo>
                    <a:pt x="4" y="25"/>
                    <a:pt x="4" y="27"/>
                    <a:pt x="4" y="31"/>
                  </a:cubicBezTo>
                  <a:cubicBezTo>
                    <a:pt x="5" y="35"/>
                    <a:pt x="0" y="36"/>
                    <a:pt x="3" y="39"/>
                  </a:cubicBezTo>
                  <a:cubicBezTo>
                    <a:pt x="5" y="41"/>
                    <a:pt x="9" y="47"/>
                    <a:pt x="12" y="51"/>
                  </a:cubicBezTo>
                  <a:cubicBezTo>
                    <a:pt x="13" y="49"/>
                    <a:pt x="15" y="47"/>
                    <a:pt x="18" y="48"/>
                  </a:cubicBezTo>
                  <a:cubicBezTo>
                    <a:pt x="24" y="48"/>
                    <a:pt x="19" y="58"/>
                    <a:pt x="24" y="60"/>
                  </a:cubicBezTo>
                  <a:cubicBezTo>
                    <a:pt x="28" y="62"/>
                    <a:pt x="28" y="69"/>
                    <a:pt x="25" y="72"/>
                  </a:cubicBezTo>
                  <a:cubicBezTo>
                    <a:pt x="21" y="75"/>
                    <a:pt x="20" y="89"/>
                    <a:pt x="28" y="98"/>
                  </a:cubicBezTo>
                  <a:cubicBezTo>
                    <a:pt x="36" y="106"/>
                    <a:pt x="42" y="105"/>
                    <a:pt x="44" y="103"/>
                  </a:cubicBezTo>
                  <a:cubicBezTo>
                    <a:pt x="46" y="101"/>
                    <a:pt x="52" y="103"/>
                    <a:pt x="53" y="100"/>
                  </a:cubicBezTo>
                  <a:cubicBezTo>
                    <a:pt x="55" y="96"/>
                    <a:pt x="57" y="100"/>
                    <a:pt x="61" y="96"/>
                  </a:cubicBezTo>
                  <a:cubicBezTo>
                    <a:pt x="63" y="94"/>
                    <a:pt x="67" y="95"/>
                    <a:pt x="71" y="96"/>
                  </a:cubicBezTo>
                  <a:cubicBezTo>
                    <a:pt x="68" y="90"/>
                    <a:pt x="64" y="83"/>
                    <a:pt x="62" y="80"/>
                  </a:cubicBezTo>
                  <a:cubicBezTo>
                    <a:pt x="60" y="74"/>
                    <a:pt x="48" y="67"/>
                    <a:pt x="50" y="65"/>
                  </a:cubicBezTo>
                  <a:cubicBezTo>
                    <a:pt x="53" y="62"/>
                    <a:pt x="52" y="52"/>
                    <a:pt x="56" y="52"/>
                  </a:cubicBezTo>
                  <a:cubicBezTo>
                    <a:pt x="60" y="51"/>
                    <a:pt x="65" y="49"/>
                    <a:pt x="63" y="45"/>
                  </a:cubicBezTo>
                  <a:cubicBezTo>
                    <a:pt x="62" y="43"/>
                    <a:pt x="63" y="40"/>
                    <a:pt x="64" y="36"/>
                  </a:cubicBezTo>
                  <a:cubicBezTo>
                    <a:pt x="60" y="35"/>
                    <a:pt x="55" y="24"/>
                    <a:pt x="51" y="24"/>
                  </a:cubicBezTo>
                  <a:cubicBezTo>
                    <a:pt x="47" y="24"/>
                    <a:pt x="43" y="21"/>
                    <a:pt x="44" y="15"/>
                  </a:cubicBezTo>
                  <a:cubicBezTo>
                    <a:pt x="45" y="10"/>
                    <a:pt x="35" y="9"/>
                    <a:pt x="29" y="3"/>
                  </a:cubicBezTo>
                  <a:cubicBezTo>
                    <a:pt x="28" y="1"/>
                    <a:pt x="26" y="0"/>
                    <a:pt x="24" y="0"/>
                  </a:cubicBezTo>
                  <a:cubicBezTo>
                    <a:pt x="22" y="3"/>
                    <a:pt x="20" y="6"/>
                    <a:pt x="18"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6" name="Freeform 294"/>
            <p:cNvSpPr/>
            <p:nvPr/>
          </p:nvSpPr>
          <p:spPr>
            <a:xfrm>
              <a:off x="3427413" y="3668713"/>
              <a:ext cx="76200" cy="95250"/>
            </a:xfrm>
            <a:custGeom>
              <a:gdLst>
                <a:gd name="T0" fmla="*/ 3 w 45"/>
                <a:gd name="T1" fmla="*/ 24 h 56"/>
                <a:gd name="T2" fmla="*/ 4 w 45"/>
                <a:gd name="T3" fmla="*/ 44 h 56"/>
                <a:gd name="T4" fmla="*/ 0 w 45"/>
                <a:gd name="T5" fmla="*/ 51 h 56"/>
                <a:gd name="T6" fmla="*/ 13 w 45"/>
                <a:gd name="T7" fmla="*/ 53 h 56"/>
                <a:gd name="T8" fmla="*/ 28 w 45"/>
                <a:gd name="T9" fmla="*/ 47 h 56"/>
                <a:gd name="T10" fmla="*/ 45 w 45"/>
                <a:gd name="T11" fmla="*/ 23 h 56"/>
                <a:gd name="T12" fmla="*/ 45 w 45"/>
                <a:gd name="T13" fmla="*/ 23 h 56"/>
                <a:gd name="T14" fmla="*/ 20 w 45"/>
                <a:gd name="T15" fmla="*/ 4 h 56"/>
                <a:gd name="T16" fmla="*/ 8 w 45"/>
                <a:gd name="T17" fmla="*/ 0 h 56"/>
                <a:gd name="T18" fmla="*/ 5 w 45"/>
                <a:gd name="T19" fmla="*/ 7 h 56"/>
                <a:gd name="T20" fmla="*/ 3 w 45"/>
                <a:gd name="T21" fmla="*/ 24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6">
                  <a:moveTo>
                    <a:pt x="3" y="24"/>
                  </a:moveTo>
                  <a:cubicBezTo>
                    <a:pt x="5" y="31"/>
                    <a:pt x="5" y="42"/>
                    <a:pt x="4" y="44"/>
                  </a:cubicBezTo>
                  <a:cubicBezTo>
                    <a:pt x="4" y="45"/>
                    <a:pt x="2" y="48"/>
                    <a:pt x="0" y="51"/>
                  </a:cubicBezTo>
                  <a:cubicBezTo>
                    <a:pt x="2" y="53"/>
                    <a:pt x="6" y="55"/>
                    <a:pt x="13" y="53"/>
                  </a:cubicBezTo>
                  <a:cubicBezTo>
                    <a:pt x="21" y="50"/>
                    <a:pt x="25" y="56"/>
                    <a:pt x="28" y="47"/>
                  </a:cubicBezTo>
                  <a:cubicBezTo>
                    <a:pt x="31" y="39"/>
                    <a:pt x="39" y="30"/>
                    <a:pt x="45" y="23"/>
                  </a:cubicBezTo>
                  <a:cubicBezTo>
                    <a:pt x="45" y="23"/>
                    <a:pt x="45" y="23"/>
                    <a:pt x="45" y="23"/>
                  </a:cubicBezTo>
                  <a:cubicBezTo>
                    <a:pt x="39" y="21"/>
                    <a:pt x="30" y="6"/>
                    <a:pt x="20" y="4"/>
                  </a:cubicBezTo>
                  <a:cubicBezTo>
                    <a:pt x="16" y="3"/>
                    <a:pt x="12" y="1"/>
                    <a:pt x="8" y="0"/>
                  </a:cubicBezTo>
                  <a:cubicBezTo>
                    <a:pt x="7" y="4"/>
                    <a:pt x="6" y="7"/>
                    <a:pt x="5" y="7"/>
                  </a:cubicBezTo>
                  <a:cubicBezTo>
                    <a:pt x="2" y="10"/>
                    <a:pt x="0" y="18"/>
                    <a:pt x="3"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7" name="Freeform 295"/>
            <p:cNvSpPr/>
            <p:nvPr/>
          </p:nvSpPr>
          <p:spPr>
            <a:xfrm>
              <a:off x="2673351" y="3216275"/>
              <a:ext cx="261938" cy="92075"/>
            </a:xfrm>
            <a:custGeom>
              <a:gdLst>
                <a:gd name="T0" fmla="*/ 125 w 154"/>
                <a:gd name="T1" fmla="*/ 34 h 54"/>
                <a:gd name="T2" fmla="*/ 54 w 154"/>
                <a:gd name="T3" fmla="*/ 6 h 54"/>
                <a:gd name="T4" fmla="*/ 3 w 154"/>
                <a:gd name="T5" fmla="*/ 24 h 54"/>
                <a:gd name="T6" fmla="*/ 28 w 154"/>
                <a:gd name="T7" fmla="*/ 12 h 54"/>
                <a:gd name="T8" fmla="*/ 42 w 154"/>
                <a:gd name="T9" fmla="*/ 18 h 54"/>
                <a:gd name="T10" fmla="*/ 67 w 154"/>
                <a:gd name="T11" fmla="*/ 24 h 54"/>
                <a:gd name="T12" fmla="*/ 98 w 154"/>
                <a:gd name="T13" fmla="*/ 40 h 54"/>
                <a:gd name="T14" fmla="*/ 105 w 154"/>
                <a:gd name="T15" fmla="*/ 52 h 54"/>
                <a:gd name="T16" fmla="*/ 152 w 154"/>
                <a:gd name="T17" fmla="*/ 50 h 54"/>
                <a:gd name="T18" fmla="*/ 125 w 154"/>
                <a:gd name="T19" fmla="*/ 34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54">
                  <a:moveTo>
                    <a:pt x="125" y="34"/>
                  </a:moveTo>
                  <a:cubicBezTo>
                    <a:pt x="115" y="34"/>
                    <a:pt x="83" y="12"/>
                    <a:pt x="54" y="6"/>
                  </a:cubicBezTo>
                  <a:cubicBezTo>
                    <a:pt x="25" y="0"/>
                    <a:pt x="0" y="20"/>
                    <a:pt x="3" y="24"/>
                  </a:cubicBezTo>
                  <a:cubicBezTo>
                    <a:pt x="7" y="29"/>
                    <a:pt x="21" y="18"/>
                    <a:pt x="28" y="12"/>
                  </a:cubicBezTo>
                  <a:cubicBezTo>
                    <a:pt x="35" y="7"/>
                    <a:pt x="41" y="15"/>
                    <a:pt x="42" y="18"/>
                  </a:cubicBezTo>
                  <a:cubicBezTo>
                    <a:pt x="43" y="21"/>
                    <a:pt x="52" y="23"/>
                    <a:pt x="67" y="24"/>
                  </a:cubicBezTo>
                  <a:cubicBezTo>
                    <a:pt x="81" y="25"/>
                    <a:pt x="83" y="37"/>
                    <a:pt x="98" y="40"/>
                  </a:cubicBezTo>
                  <a:cubicBezTo>
                    <a:pt x="112" y="43"/>
                    <a:pt x="98" y="49"/>
                    <a:pt x="105" y="52"/>
                  </a:cubicBezTo>
                  <a:cubicBezTo>
                    <a:pt x="112" y="54"/>
                    <a:pt x="149" y="54"/>
                    <a:pt x="152" y="50"/>
                  </a:cubicBezTo>
                  <a:cubicBezTo>
                    <a:pt x="154" y="47"/>
                    <a:pt x="134" y="34"/>
                    <a:pt x="125" y="3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8" name="Freeform 296"/>
            <p:cNvSpPr/>
            <p:nvPr/>
          </p:nvSpPr>
          <p:spPr>
            <a:xfrm>
              <a:off x="2825751" y="3340100"/>
              <a:ext cx="58738" cy="30163"/>
            </a:xfrm>
            <a:custGeom>
              <a:gdLst>
                <a:gd name="T0" fmla="*/ 3 w 35"/>
                <a:gd name="T1" fmla="*/ 6 h 17"/>
                <a:gd name="T2" fmla="*/ 32 w 35"/>
                <a:gd name="T3" fmla="*/ 11 h 17"/>
                <a:gd name="T4" fmla="*/ 3 w 35"/>
                <a:gd name="T5" fmla="*/ 6 h 17"/>
              </a:gdLst>
              <a:cxnLst>
                <a:cxn ang="0">
                  <a:pos x="T0" y="T1"/>
                </a:cxn>
                <a:cxn ang="0">
                  <a:pos x="T2" y="T3"/>
                </a:cxn>
                <a:cxn ang="0">
                  <a:pos x="T4" y="T5"/>
                </a:cxn>
              </a:cxnLst>
              <a:rect l="0" t="0" r="r" b="b"/>
              <a:pathLst>
                <a:path w="35" h="17">
                  <a:moveTo>
                    <a:pt x="3" y="6"/>
                  </a:moveTo>
                  <a:cubicBezTo>
                    <a:pt x="5" y="10"/>
                    <a:pt x="30" y="17"/>
                    <a:pt x="32" y="11"/>
                  </a:cubicBezTo>
                  <a:cubicBezTo>
                    <a:pt x="35" y="5"/>
                    <a:pt x="0" y="0"/>
                    <a:pt x="3" y="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69" name="Freeform 297"/>
            <p:cNvSpPr/>
            <p:nvPr/>
          </p:nvSpPr>
          <p:spPr>
            <a:xfrm>
              <a:off x="3101976" y="3336925"/>
              <a:ext cx="53975" cy="31750"/>
            </a:xfrm>
            <a:custGeom>
              <a:gdLst>
                <a:gd name="T0" fmla="*/ 6 w 32"/>
                <a:gd name="T1" fmla="*/ 9 h 18"/>
                <a:gd name="T2" fmla="*/ 29 w 32"/>
                <a:gd name="T3" fmla="*/ 9 h 18"/>
                <a:gd name="T4" fmla="*/ 6 w 32"/>
                <a:gd name="T5" fmla="*/ 9 h 18"/>
              </a:gdLst>
              <a:cxnLst>
                <a:cxn ang="0">
                  <a:pos x="T0" y="T1"/>
                </a:cxn>
                <a:cxn ang="0">
                  <a:pos x="T2" y="T3"/>
                </a:cxn>
                <a:cxn ang="0">
                  <a:pos x="T4" y="T5"/>
                </a:cxn>
              </a:cxnLst>
              <a:rect l="0" t="0" r="r" b="b"/>
              <a:pathLst>
                <a:path w="32" h="18">
                  <a:moveTo>
                    <a:pt x="6" y="9"/>
                  </a:moveTo>
                  <a:cubicBezTo>
                    <a:pt x="11" y="18"/>
                    <a:pt x="28" y="13"/>
                    <a:pt x="29" y="9"/>
                  </a:cubicBezTo>
                  <a:cubicBezTo>
                    <a:pt x="32" y="3"/>
                    <a:pt x="0" y="0"/>
                    <a:pt x="6" y="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0" name="Freeform 298"/>
            <p:cNvSpPr>
              <a:spLocks noEditPoints="1"/>
            </p:cNvSpPr>
            <p:nvPr/>
          </p:nvSpPr>
          <p:spPr>
            <a:xfrm>
              <a:off x="3255963" y="5210175"/>
              <a:ext cx="90488" cy="38100"/>
            </a:xfrm>
            <a:custGeom>
              <a:gdLst>
                <a:gd name="T0" fmla="*/ 50 w 53"/>
                <a:gd name="T1" fmla="*/ 9 h 23"/>
                <a:gd name="T2" fmla="*/ 26 w 53"/>
                <a:gd name="T3" fmla="*/ 20 h 23"/>
                <a:gd name="T4" fmla="*/ 50 w 53"/>
                <a:gd name="T5" fmla="*/ 9 h 23"/>
                <a:gd name="T6" fmla="*/ 24 w 53"/>
                <a:gd name="T7" fmla="*/ 2 h 23"/>
                <a:gd name="T8" fmla="*/ 7 w 53"/>
                <a:gd name="T9" fmla="*/ 19 h 23"/>
                <a:gd name="T10" fmla="*/ 24 w 53"/>
                <a:gd name="T11" fmla="*/ 2 h 23"/>
              </a:gdLst>
              <a:cxnLst>
                <a:cxn ang="0">
                  <a:pos x="T0" y="T1"/>
                </a:cxn>
                <a:cxn ang="0">
                  <a:pos x="T2" y="T3"/>
                </a:cxn>
                <a:cxn ang="0">
                  <a:pos x="T4" y="T5"/>
                </a:cxn>
                <a:cxn ang="0">
                  <a:pos x="T6" y="T7"/>
                </a:cxn>
                <a:cxn ang="0">
                  <a:pos x="T8" y="T9"/>
                </a:cxn>
                <a:cxn ang="0">
                  <a:pos x="T10" y="T11"/>
                </a:cxn>
              </a:cxnLst>
              <a:rect l="0" t="0" r="r" b="b"/>
              <a:pathLst>
                <a:path w="53" h="23">
                  <a:moveTo>
                    <a:pt x="50" y="9"/>
                  </a:moveTo>
                  <a:cubicBezTo>
                    <a:pt x="45" y="0"/>
                    <a:pt x="21" y="18"/>
                    <a:pt x="26" y="20"/>
                  </a:cubicBezTo>
                  <a:cubicBezTo>
                    <a:pt x="31" y="23"/>
                    <a:pt x="53" y="14"/>
                    <a:pt x="50" y="9"/>
                  </a:cubicBezTo>
                  <a:close/>
                  <a:moveTo>
                    <a:pt x="24" y="2"/>
                  </a:moveTo>
                  <a:cubicBezTo>
                    <a:pt x="17" y="1"/>
                    <a:pt x="0" y="15"/>
                    <a:pt x="7" y="19"/>
                  </a:cubicBezTo>
                  <a:cubicBezTo>
                    <a:pt x="15" y="23"/>
                    <a:pt x="31" y="4"/>
                    <a:pt x="24"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1" name="Freeform 299"/>
            <p:cNvSpPr/>
            <p:nvPr/>
          </p:nvSpPr>
          <p:spPr>
            <a:xfrm>
              <a:off x="2762251" y="3775075"/>
              <a:ext cx="147638" cy="166688"/>
            </a:xfrm>
            <a:custGeom>
              <a:gdLst>
                <a:gd name="T0" fmla="*/ 80 w 87"/>
                <a:gd name="T1" fmla="*/ 24 h 98"/>
                <a:gd name="T2" fmla="*/ 69 w 87"/>
                <a:gd name="T3" fmla="*/ 16 h 98"/>
                <a:gd name="T4" fmla="*/ 58 w 87"/>
                <a:gd name="T5" fmla="*/ 16 h 98"/>
                <a:gd name="T6" fmla="*/ 49 w 87"/>
                <a:gd name="T7" fmla="*/ 10 h 98"/>
                <a:gd name="T8" fmla="*/ 31 w 87"/>
                <a:gd name="T9" fmla="*/ 0 h 98"/>
                <a:gd name="T10" fmla="*/ 31 w 87"/>
                <a:gd name="T11" fmla="*/ 2 h 98"/>
                <a:gd name="T12" fmla="*/ 21 w 87"/>
                <a:gd name="T13" fmla="*/ 7 h 98"/>
                <a:gd name="T14" fmla="*/ 16 w 87"/>
                <a:gd name="T15" fmla="*/ 17 h 98"/>
                <a:gd name="T16" fmla="*/ 10 w 87"/>
                <a:gd name="T17" fmla="*/ 26 h 98"/>
                <a:gd name="T18" fmla="*/ 6 w 87"/>
                <a:gd name="T19" fmla="*/ 34 h 98"/>
                <a:gd name="T20" fmla="*/ 3 w 87"/>
                <a:gd name="T21" fmla="*/ 44 h 98"/>
                <a:gd name="T22" fmla="*/ 2 w 87"/>
                <a:gd name="T23" fmla="*/ 53 h 98"/>
                <a:gd name="T24" fmla="*/ 10 w 87"/>
                <a:gd name="T25" fmla="*/ 61 h 98"/>
                <a:gd name="T26" fmla="*/ 17 w 87"/>
                <a:gd name="T27" fmla="*/ 62 h 98"/>
                <a:gd name="T28" fmla="*/ 11 w 87"/>
                <a:gd name="T29" fmla="*/ 72 h 98"/>
                <a:gd name="T30" fmla="*/ 10 w 87"/>
                <a:gd name="T31" fmla="*/ 72 h 98"/>
                <a:gd name="T32" fmla="*/ 12 w 87"/>
                <a:gd name="T33" fmla="*/ 79 h 98"/>
                <a:gd name="T34" fmla="*/ 12 w 87"/>
                <a:gd name="T35" fmla="*/ 87 h 98"/>
                <a:gd name="T36" fmla="*/ 23 w 87"/>
                <a:gd name="T37" fmla="*/ 90 h 98"/>
                <a:gd name="T38" fmla="*/ 34 w 87"/>
                <a:gd name="T39" fmla="*/ 89 h 98"/>
                <a:gd name="T40" fmla="*/ 47 w 87"/>
                <a:gd name="T41" fmla="*/ 66 h 98"/>
                <a:gd name="T42" fmla="*/ 76 w 87"/>
                <a:gd name="T43" fmla="*/ 50 h 98"/>
                <a:gd name="T44" fmla="*/ 84 w 87"/>
                <a:gd name="T45" fmla="*/ 35 h 98"/>
                <a:gd name="T46" fmla="*/ 80 w 87"/>
                <a:gd name="T47" fmla="*/ 24 h 9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98">
                  <a:moveTo>
                    <a:pt x="80" y="24"/>
                  </a:moveTo>
                  <a:cubicBezTo>
                    <a:pt x="74" y="18"/>
                    <a:pt x="71" y="15"/>
                    <a:pt x="69" y="16"/>
                  </a:cubicBezTo>
                  <a:cubicBezTo>
                    <a:pt x="68" y="18"/>
                    <a:pt x="62" y="19"/>
                    <a:pt x="58" y="16"/>
                  </a:cubicBezTo>
                  <a:cubicBezTo>
                    <a:pt x="54" y="14"/>
                    <a:pt x="52" y="10"/>
                    <a:pt x="49" y="10"/>
                  </a:cubicBezTo>
                  <a:cubicBezTo>
                    <a:pt x="46" y="10"/>
                    <a:pt x="36" y="4"/>
                    <a:pt x="31" y="0"/>
                  </a:cubicBezTo>
                  <a:cubicBezTo>
                    <a:pt x="31" y="0"/>
                    <a:pt x="31" y="1"/>
                    <a:pt x="31" y="2"/>
                  </a:cubicBezTo>
                  <a:cubicBezTo>
                    <a:pt x="31" y="4"/>
                    <a:pt x="27" y="6"/>
                    <a:pt x="21" y="7"/>
                  </a:cubicBezTo>
                  <a:cubicBezTo>
                    <a:pt x="16" y="7"/>
                    <a:pt x="16" y="13"/>
                    <a:pt x="16" y="17"/>
                  </a:cubicBezTo>
                  <a:cubicBezTo>
                    <a:pt x="16" y="22"/>
                    <a:pt x="12" y="22"/>
                    <a:pt x="10" y="26"/>
                  </a:cubicBezTo>
                  <a:cubicBezTo>
                    <a:pt x="8" y="31"/>
                    <a:pt x="10" y="32"/>
                    <a:pt x="6" y="34"/>
                  </a:cubicBezTo>
                  <a:cubicBezTo>
                    <a:pt x="1" y="36"/>
                    <a:pt x="0" y="40"/>
                    <a:pt x="3" y="44"/>
                  </a:cubicBezTo>
                  <a:cubicBezTo>
                    <a:pt x="5" y="48"/>
                    <a:pt x="2" y="51"/>
                    <a:pt x="2" y="53"/>
                  </a:cubicBezTo>
                  <a:cubicBezTo>
                    <a:pt x="1" y="56"/>
                    <a:pt x="6" y="57"/>
                    <a:pt x="10" y="61"/>
                  </a:cubicBezTo>
                  <a:cubicBezTo>
                    <a:pt x="15" y="65"/>
                    <a:pt x="15" y="59"/>
                    <a:pt x="17" y="62"/>
                  </a:cubicBezTo>
                  <a:cubicBezTo>
                    <a:pt x="19" y="66"/>
                    <a:pt x="16" y="72"/>
                    <a:pt x="11" y="72"/>
                  </a:cubicBezTo>
                  <a:cubicBezTo>
                    <a:pt x="10" y="72"/>
                    <a:pt x="10" y="72"/>
                    <a:pt x="10" y="72"/>
                  </a:cubicBezTo>
                  <a:cubicBezTo>
                    <a:pt x="12" y="75"/>
                    <a:pt x="14" y="77"/>
                    <a:pt x="12" y="79"/>
                  </a:cubicBezTo>
                  <a:cubicBezTo>
                    <a:pt x="10" y="83"/>
                    <a:pt x="8" y="83"/>
                    <a:pt x="12" y="87"/>
                  </a:cubicBezTo>
                  <a:cubicBezTo>
                    <a:pt x="17" y="91"/>
                    <a:pt x="20" y="85"/>
                    <a:pt x="23" y="90"/>
                  </a:cubicBezTo>
                  <a:cubicBezTo>
                    <a:pt x="27" y="95"/>
                    <a:pt x="30" y="98"/>
                    <a:pt x="34" y="89"/>
                  </a:cubicBezTo>
                  <a:cubicBezTo>
                    <a:pt x="38" y="80"/>
                    <a:pt x="40" y="68"/>
                    <a:pt x="47" y="66"/>
                  </a:cubicBezTo>
                  <a:cubicBezTo>
                    <a:pt x="54" y="64"/>
                    <a:pt x="68" y="61"/>
                    <a:pt x="76" y="50"/>
                  </a:cubicBezTo>
                  <a:cubicBezTo>
                    <a:pt x="84" y="40"/>
                    <a:pt x="79" y="39"/>
                    <a:pt x="84" y="35"/>
                  </a:cubicBezTo>
                  <a:cubicBezTo>
                    <a:pt x="87" y="33"/>
                    <a:pt x="85" y="30"/>
                    <a:pt x="80"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2" name="Freeform 300"/>
            <p:cNvSpPr>
              <a:spLocks noEditPoints="1"/>
            </p:cNvSpPr>
            <p:nvPr/>
          </p:nvSpPr>
          <p:spPr>
            <a:xfrm>
              <a:off x="2973388" y="976312"/>
              <a:ext cx="1511300" cy="1130300"/>
            </a:xfrm>
            <a:custGeom>
              <a:gdLst>
                <a:gd name="T0" fmla="*/ 782 w 891"/>
                <a:gd name="T1" fmla="*/ 77 h 666"/>
                <a:gd name="T2" fmla="*/ 716 w 891"/>
                <a:gd name="T3" fmla="*/ 107 h 666"/>
                <a:gd name="T4" fmla="*/ 713 w 891"/>
                <a:gd name="T5" fmla="*/ 68 h 666"/>
                <a:gd name="T6" fmla="*/ 637 w 891"/>
                <a:gd name="T7" fmla="*/ 62 h 666"/>
                <a:gd name="T8" fmla="*/ 711 w 891"/>
                <a:gd name="T9" fmla="*/ 50 h 666"/>
                <a:gd name="T10" fmla="*/ 705 w 891"/>
                <a:gd name="T11" fmla="*/ 22 h 666"/>
                <a:gd name="T12" fmla="*/ 602 w 891"/>
                <a:gd name="T13" fmla="*/ 1 h 666"/>
                <a:gd name="T14" fmla="*/ 507 w 891"/>
                <a:gd name="T15" fmla="*/ 13 h 666"/>
                <a:gd name="T16" fmla="*/ 434 w 891"/>
                <a:gd name="T17" fmla="*/ 14 h 666"/>
                <a:gd name="T18" fmla="*/ 375 w 891"/>
                <a:gd name="T19" fmla="*/ 41 h 666"/>
                <a:gd name="T20" fmla="*/ 361 w 891"/>
                <a:gd name="T21" fmla="*/ 49 h 666"/>
                <a:gd name="T22" fmla="*/ 319 w 891"/>
                <a:gd name="T23" fmla="*/ 61 h 666"/>
                <a:gd name="T24" fmla="*/ 279 w 891"/>
                <a:gd name="T25" fmla="*/ 75 h 666"/>
                <a:gd name="T26" fmla="*/ 209 w 891"/>
                <a:gd name="T27" fmla="*/ 62 h 666"/>
                <a:gd name="T28" fmla="*/ 171 w 891"/>
                <a:gd name="T29" fmla="*/ 91 h 666"/>
                <a:gd name="T30" fmla="*/ 113 w 891"/>
                <a:gd name="T31" fmla="*/ 128 h 666"/>
                <a:gd name="T32" fmla="*/ 0 w 891"/>
                <a:gd name="T33" fmla="*/ 184 h 666"/>
                <a:gd name="T34" fmla="*/ 73 w 891"/>
                <a:gd name="T35" fmla="*/ 205 h 666"/>
                <a:gd name="T36" fmla="*/ 21 w 891"/>
                <a:gd name="T37" fmla="*/ 223 h 666"/>
                <a:gd name="T38" fmla="*/ 64 w 891"/>
                <a:gd name="T39" fmla="*/ 251 h 666"/>
                <a:gd name="T40" fmla="*/ 122 w 891"/>
                <a:gd name="T41" fmla="*/ 248 h 666"/>
                <a:gd name="T42" fmla="*/ 210 w 891"/>
                <a:gd name="T43" fmla="*/ 272 h 666"/>
                <a:gd name="T44" fmla="*/ 254 w 891"/>
                <a:gd name="T45" fmla="*/ 331 h 666"/>
                <a:gd name="T46" fmla="*/ 261 w 891"/>
                <a:gd name="T47" fmla="*/ 384 h 666"/>
                <a:gd name="T48" fmla="*/ 316 w 891"/>
                <a:gd name="T49" fmla="*/ 403 h 666"/>
                <a:gd name="T50" fmla="*/ 310 w 891"/>
                <a:gd name="T51" fmla="*/ 424 h 666"/>
                <a:gd name="T52" fmla="*/ 301 w 891"/>
                <a:gd name="T53" fmla="*/ 460 h 666"/>
                <a:gd name="T54" fmla="*/ 292 w 891"/>
                <a:gd name="T55" fmla="*/ 504 h 666"/>
                <a:gd name="T56" fmla="*/ 304 w 891"/>
                <a:gd name="T57" fmla="*/ 563 h 666"/>
                <a:gd name="T58" fmla="*/ 331 w 891"/>
                <a:gd name="T59" fmla="*/ 598 h 666"/>
                <a:gd name="T60" fmla="*/ 370 w 891"/>
                <a:gd name="T61" fmla="*/ 644 h 666"/>
                <a:gd name="T62" fmla="*/ 427 w 891"/>
                <a:gd name="T63" fmla="*/ 665 h 666"/>
                <a:gd name="T64" fmla="*/ 444 w 891"/>
                <a:gd name="T65" fmla="*/ 608 h 666"/>
                <a:gd name="T66" fmla="*/ 468 w 891"/>
                <a:gd name="T67" fmla="*/ 580 h 666"/>
                <a:gd name="T68" fmla="*/ 471 w 891"/>
                <a:gd name="T69" fmla="*/ 552 h 666"/>
                <a:gd name="T70" fmla="*/ 495 w 891"/>
                <a:gd name="T71" fmla="*/ 534 h 666"/>
                <a:gd name="T72" fmla="*/ 518 w 891"/>
                <a:gd name="T73" fmla="*/ 529 h 666"/>
                <a:gd name="T74" fmla="*/ 595 w 891"/>
                <a:gd name="T75" fmla="*/ 477 h 666"/>
                <a:gd name="T76" fmla="*/ 645 w 891"/>
                <a:gd name="T77" fmla="*/ 463 h 666"/>
                <a:gd name="T78" fmla="*/ 744 w 891"/>
                <a:gd name="T79" fmla="*/ 420 h 666"/>
                <a:gd name="T80" fmla="*/ 690 w 891"/>
                <a:gd name="T81" fmla="*/ 408 h 666"/>
                <a:gd name="T82" fmla="*/ 745 w 891"/>
                <a:gd name="T83" fmla="*/ 412 h 666"/>
                <a:gd name="T84" fmla="*/ 734 w 891"/>
                <a:gd name="T85" fmla="*/ 362 h 666"/>
                <a:gd name="T86" fmla="*/ 706 w 891"/>
                <a:gd name="T87" fmla="*/ 337 h 666"/>
                <a:gd name="T88" fmla="*/ 769 w 891"/>
                <a:gd name="T89" fmla="*/ 328 h 666"/>
                <a:gd name="T90" fmla="*/ 785 w 891"/>
                <a:gd name="T91" fmla="*/ 297 h 666"/>
                <a:gd name="T92" fmla="*/ 778 w 891"/>
                <a:gd name="T93" fmla="*/ 250 h 666"/>
                <a:gd name="T94" fmla="*/ 761 w 891"/>
                <a:gd name="T95" fmla="*/ 230 h 666"/>
                <a:gd name="T96" fmla="*/ 767 w 891"/>
                <a:gd name="T97" fmla="*/ 209 h 666"/>
                <a:gd name="T98" fmla="*/ 746 w 891"/>
                <a:gd name="T99" fmla="*/ 199 h 666"/>
                <a:gd name="T100" fmla="*/ 805 w 891"/>
                <a:gd name="T101" fmla="*/ 138 h 666"/>
                <a:gd name="T102" fmla="*/ 791 w 891"/>
                <a:gd name="T103" fmla="*/ 122 h 666"/>
                <a:gd name="T104" fmla="*/ 808 w 891"/>
                <a:gd name="T105" fmla="*/ 105 h 666"/>
                <a:gd name="T106" fmla="*/ 891 w 891"/>
                <a:gd name="T107" fmla="*/ 76 h 666"/>
                <a:gd name="T108" fmla="*/ 294 w 891"/>
                <a:gd name="T109" fmla="*/ 425 h 666"/>
                <a:gd name="T110" fmla="*/ 279 w 891"/>
                <a:gd name="T111" fmla="*/ 442 h 6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1" h="666">
                  <a:moveTo>
                    <a:pt x="841" y="62"/>
                  </a:moveTo>
                  <a:cubicBezTo>
                    <a:pt x="825" y="62"/>
                    <a:pt x="812" y="64"/>
                    <a:pt x="812" y="75"/>
                  </a:cubicBezTo>
                  <a:cubicBezTo>
                    <a:pt x="811" y="87"/>
                    <a:pt x="790" y="73"/>
                    <a:pt x="782" y="77"/>
                  </a:cubicBezTo>
                  <a:cubicBezTo>
                    <a:pt x="773" y="81"/>
                    <a:pt x="778" y="68"/>
                    <a:pt x="769" y="72"/>
                  </a:cubicBezTo>
                  <a:cubicBezTo>
                    <a:pt x="760" y="77"/>
                    <a:pt x="751" y="87"/>
                    <a:pt x="741" y="91"/>
                  </a:cubicBezTo>
                  <a:cubicBezTo>
                    <a:pt x="730" y="96"/>
                    <a:pt x="722" y="106"/>
                    <a:pt x="716" y="107"/>
                  </a:cubicBezTo>
                  <a:cubicBezTo>
                    <a:pt x="710" y="108"/>
                    <a:pt x="730" y="87"/>
                    <a:pt x="740" y="77"/>
                  </a:cubicBezTo>
                  <a:cubicBezTo>
                    <a:pt x="750" y="67"/>
                    <a:pt x="745" y="55"/>
                    <a:pt x="731" y="56"/>
                  </a:cubicBezTo>
                  <a:cubicBezTo>
                    <a:pt x="717" y="57"/>
                    <a:pt x="720" y="66"/>
                    <a:pt x="713" y="68"/>
                  </a:cubicBezTo>
                  <a:cubicBezTo>
                    <a:pt x="705" y="69"/>
                    <a:pt x="668" y="88"/>
                    <a:pt x="666" y="82"/>
                  </a:cubicBezTo>
                  <a:cubicBezTo>
                    <a:pt x="664" y="77"/>
                    <a:pt x="697" y="67"/>
                    <a:pt x="696" y="63"/>
                  </a:cubicBezTo>
                  <a:cubicBezTo>
                    <a:pt x="696" y="59"/>
                    <a:pt x="655" y="59"/>
                    <a:pt x="637" y="62"/>
                  </a:cubicBezTo>
                  <a:cubicBezTo>
                    <a:pt x="619" y="64"/>
                    <a:pt x="587" y="75"/>
                    <a:pt x="587" y="69"/>
                  </a:cubicBezTo>
                  <a:cubicBezTo>
                    <a:pt x="587" y="64"/>
                    <a:pt x="624" y="57"/>
                    <a:pt x="643" y="55"/>
                  </a:cubicBezTo>
                  <a:cubicBezTo>
                    <a:pt x="662" y="53"/>
                    <a:pt x="697" y="56"/>
                    <a:pt x="711" y="50"/>
                  </a:cubicBezTo>
                  <a:cubicBezTo>
                    <a:pt x="726" y="44"/>
                    <a:pt x="748" y="44"/>
                    <a:pt x="752" y="39"/>
                  </a:cubicBezTo>
                  <a:cubicBezTo>
                    <a:pt x="756" y="34"/>
                    <a:pt x="735" y="28"/>
                    <a:pt x="725" y="28"/>
                  </a:cubicBezTo>
                  <a:cubicBezTo>
                    <a:pt x="714" y="28"/>
                    <a:pt x="704" y="27"/>
                    <a:pt x="705" y="22"/>
                  </a:cubicBezTo>
                  <a:cubicBezTo>
                    <a:pt x="706" y="17"/>
                    <a:pt x="689" y="16"/>
                    <a:pt x="687" y="12"/>
                  </a:cubicBezTo>
                  <a:cubicBezTo>
                    <a:pt x="685" y="8"/>
                    <a:pt x="653" y="11"/>
                    <a:pt x="646" y="7"/>
                  </a:cubicBezTo>
                  <a:cubicBezTo>
                    <a:pt x="639" y="2"/>
                    <a:pt x="619" y="0"/>
                    <a:pt x="602" y="1"/>
                  </a:cubicBezTo>
                  <a:cubicBezTo>
                    <a:pt x="585" y="3"/>
                    <a:pt x="550" y="2"/>
                    <a:pt x="541" y="3"/>
                  </a:cubicBezTo>
                  <a:cubicBezTo>
                    <a:pt x="533" y="4"/>
                    <a:pt x="528" y="7"/>
                    <a:pt x="521" y="7"/>
                  </a:cubicBezTo>
                  <a:cubicBezTo>
                    <a:pt x="513" y="6"/>
                    <a:pt x="502" y="9"/>
                    <a:pt x="507" y="13"/>
                  </a:cubicBezTo>
                  <a:cubicBezTo>
                    <a:pt x="514" y="22"/>
                    <a:pt x="495" y="25"/>
                    <a:pt x="496" y="19"/>
                  </a:cubicBezTo>
                  <a:cubicBezTo>
                    <a:pt x="498" y="13"/>
                    <a:pt x="479" y="10"/>
                    <a:pt x="474" y="14"/>
                  </a:cubicBezTo>
                  <a:cubicBezTo>
                    <a:pt x="467" y="20"/>
                    <a:pt x="439" y="9"/>
                    <a:pt x="434" y="14"/>
                  </a:cubicBezTo>
                  <a:cubicBezTo>
                    <a:pt x="430" y="20"/>
                    <a:pt x="396" y="18"/>
                    <a:pt x="386" y="20"/>
                  </a:cubicBezTo>
                  <a:cubicBezTo>
                    <a:pt x="376" y="22"/>
                    <a:pt x="402" y="29"/>
                    <a:pt x="401" y="33"/>
                  </a:cubicBezTo>
                  <a:cubicBezTo>
                    <a:pt x="400" y="38"/>
                    <a:pt x="368" y="33"/>
                    <a:pt x="375" y="41"/>
                  </a:cubicBezTo>
                  <a:cubicBezTo>
                    <a:pt x="381" y="49"/>
                    <a:pt x="402" y="54"/>
                    <a:pt x="412" y="64"/>
                  </a:cubicBezTo>
                  <a:cubicBezTo>
                    <a:pt x="422" y="74"/>
                    <a:pt x="404" y="68"/>
                    <a:pt x="393" y="61"/>
                  </a:cubicBezTo>
                  <a:cubicBezTo>
                    <a:pt x="382" y="53"/>
                    <a:pt x="368" y="56"/>
                    <a:pt x="361" y="49"/>
                  </a:cubicBezTo>
                  <a:cubicBezTo>
                    <a:pt x="354" y="41"/>
                    <a:pt x="328" y="36"/>
                    <a:pt x="322" y="40"/>
                  </a:cubicBezTo>
                  <a:cubicBezTo>
                    <a:pt x="314" y="45"/>
                    <a:pt x="339" y="55"/>
                    <a:pt x="339" y="60"/>
                  </a:cubicBezTo>
                  <a:cubicBezTo>
                    <a:pt x="339" y="66"/>
                    <a:pt x="322" y="59"/>
                    <a:pt x="319" y="61"/>
                  </a:cubicBezTo>
                  <a:cubicBezTo>
                    <a:pt x="316" y="63"/>
                    <a:pt x="301" y="47"/>
                    <a:pt x="292" y="47"/>
                  </a:cubicBezTo>
                  <a:cubicBezTo>
                    <a:pt x="284" y="47"/>
                    <a:pt x="291" y="54"/>
                    <a:pt x="291" y="65"/>
                  </a:cubicBezTo>
                  <a:cubicBezTo>
                    <a:pt x="291" y="76"/>
                    <a:pt x="274" y="82"/>
                    <a:pt x="279" y="75"/>
                  </a:cubicBezTo>
                  <a:cubicBezTo>
                    <a:pt x="284" y="68"/>
                    <a:pt x="280" y="49"/>
                    <a:pt x="271" y="45"/>
                  </a:cubicBezTo>
                  <a:cubicBezTo>
                    <a:pt x="262" y="42"/>
                    <a:pt x="239" y="53"/>
                    <a:pt x="227" y="52"/>
                  </a:cubicBezTo>
                  <a:cubicBezTo>
                    <a:pt x="215" y="52"/>
                    <a:pt x="199" y="56"/>
                    <a:pt x="209" y="62"/>
                  </a:cubicBezTo>
                  <a:cubicBezTo>
                    <a:pt x="220" y="68"/>
                    <a:pt x="209" y="71"/>
                    <a:pt x="200" y="65"/>
                  </a:cubicBezTo>
                  <a:cubicBezTo>
                    <a:pt x="191" y="58"/>
                    <a:pt x="161" y="65"/>
                    <a:pt x="167" y="69"/>
                  </a:cubicBezTo>
                  <a:cubicBezTo>
                    <a:pt x="173" y="73"/>
                    <a:pt x="175" y="86"/>
                    <a:pt x="171" y="91"/>
                  </a:cubicBezTo>
                  <a:cubicBezTo>
                    <a:pt x="168" y="96"/>
                    <a:pt x="155" y="86"/>
                    <a:pt x="144" y="87"/>
                  </a:cubicBezTo>
                  <a:cubicBezTo>
                    <a:pt x="132" y="87"/>
                    <a:pt x="74" y="115"/>
                    <a:pt x="78" y="122"/>
                  </a:cubicBezTo>
                  <a:cubicBezTo>
                    <a:pt x="81" y="130"/>
                    <a:pt x="106" y="124"/>
                    <a:pt x="113" y="128"/>
                  </a:cubicBezTo>
                  <a:cubicBezTo>
                    <a:pt x="121" y="132"/>
                    <a:pt x="111" y="148"/>
                    <a:pt x="101" y="155"/>
                  </a:cubicBezTo>
                  <a:cubicBezTo>
                    <a:pt x="92" y="161"/>
                    <a:pt x="57" y="155"/>
                    <a:pt x="56" y="163"/>
                  </a:cubicBezTo>
                  <a:cubicBezTo>
                    <a:pt x="55" y="170"/>
                    <a:pt x="0" y="172"/>
                    <a:pt x="0" y="184"/>
                  </a:cubicBezTo>
                  <a:cubicBezTo>
                    <a:pt x="0" y="189"/>
                    <a:pt x="3" y="194"/>
                    <a:pt x="9" y="195"/>
                  </a:cubicBezTo>
                  <a:cubicBezTo>
                    <a:pt x="17" y="197"/>
                    <a:pt x="26" y="194"/>
                    <a:pt x="33" y="202"/>
                  </a:cubicBezTo>
                  <a:cubicBezTo>
                    <a:pt x="40" y="210"/>
                    <a:pt x="59" y="210"/>
                    <a:pt x="73" y="205"/>
                  </a:cubicBezTo>
                  <a:cubicBezTo>
                    <a:pt x="86" y="200"/>
                    <a:pt x="96" y="206"/>
                    <a:pt x="95" y="213"/>
                  </a:cubicBezTo>
                  <a:cubicBezTo>
                    <a:pt x="95" y="221"/>
                    <a:pt x="65" y="210"/>
                    <a:pt x="56" y="216"/>
                  </a:cubicBezTo>
                  <a:cubicBezTo>
                    <a:pt x="47" y="222"/>
                    <a:pt x="19" y="217"/>
                    <a:pt x="21" y="223"/>
                  </a:cubicBezTo>
                  <a:cubicBezTo>
                    <a:pt x="22" y="229"/>
                    <a:pt x="36" y="228"/>
                    <a:pt x="47" y="230"/>
                  </a:cubicBezTo>
                  <a:cubicBezTo>
                    <a:pt x="58" y="232"/>
                    <a:pt x="48" y="237"/>
                    <a:pt x="47" y="241"/>
                  </a:cubicBezTo>
                  <a:cubicBezTo>
                    <a:pt x="47" y="246"/>
                    <a:pt x="53" y="245"/>
                    <a:pt x="64" y="251"/>
                  </a:cubicBezTo>
                  <a:cubicBezTo>
                    <a:pt x="76" y="256"/>
                    <a:pt x="94" y="260"/>
                    <a:pt x="88" y="253"/>
                  </a:cubicBezTo>
                  <a:cubicBezTo>
                    <a:pt x="82" y="247"/>
                    <a:pt x="100" y="248"/>
                    <a:pt x="103" y="252"/>
                  </a:cubicBezTo>
                  <a:cubicBezTo>
                    <a:pt x="106" y="256"/>
                    <a:pt x="114" y="246"/>
                    <a:pt x="122" y="248"/>
                  </a:cubicBezTo>
                  <a:cubicBezTo>
                    <a:pt x="130" y="250"/>
                    <a:pt x="133" y="241"/>
                    <a:pt x="140" y="245"/>
                  </a:cubicBezTo>
                  <a:cubicBezTo>
                    <a:pt x="146" y="249"/>
                    <a:pt x="176" y="252"/>
                    <a:pt x="187" y="257"/>
                  </a:cubicBezTo>
                  <a:cubicBezTo>
                    <a:pt x="197" y="263"/>
                    <a:pt x="211" y="264"/>
                    <a:pt x="210" y="272"/>
                  </a:cubicBezTo>
                  <a:cubicBezTo>
                    <a:pt x="208" y="281"/>
                    <a:pt x="218" y="287"/>
                    <a:pt x="230" y="292"/>
                  </a:cubicBezTo>
                  <a:cubicBezTo>
                    <a:pt x="242" y="297"/>
                    <a:pt x="244" y="308"/>
                    <a:pt x="243" y="315"/>
                  </a:cubicBezTo>
                  <a:cubicBezTo>
                    <a:pt x="243" y="323"/>
                    <a:pt x="256" y="328"/>
                    <a:pt x="254" y="331"/>
                  </a:cubicBezTo>
                  <a:cubicBezTo>
                    <a:pt x="251" y="335"/>
                    <a:pt x="253" y="339"/>
                    <a:pt x="261" y="346"/>
                  </a:cubicBezTo>
                  <a:cubicBezTo>
                    <a:pt x="269" y="353"/>
                    <a:pt x="249" y="358"/>
                    <a:pt x="254" y="364"/>
                  </a:cubicBezTo>
                  <a:cubicBezTo>
                    <a:pt x="258" y="370"/>
                    <a:pt x="247" y="382"/>
                    <a:pt x="261" y="384"/>
                  </a:cubicBezTo>
                  <a:cubicBezTo>
                    <a:pt x="274" y="386"/>
                    <a:pt x="272" y="375"/>
                    <a:pt x="282" y="375"/>
                  </a:cubicBezTo>
                  <a:cubicBezTo>
                    <a:pt x="293" y="375"/>
                    <a:pt x="282" y="384"/>
                    <a:pt x="288" y="389"/>
                  </a:cubicBezTo>
                  <a:cubicBezTo>
                    <a:pt x="293" y="395"/>
                    <a:pt x="305" y="394"/>
                    <a:pt x="316" y="403"/>
                  </a:cubicBezTo>
                  <a:cubicBezTo>
                    <a:pt x="326" y="412"/>
                    <a:pt x="319" y="416"/>
                    <a:pt x="310" y="409"/>
                  </a:cubicBezTo>
                  <a:cubicBezTo>
                    <a:pt x="300" y="401"/>
                    <a:pt x="271" y="403"/>
                    <a:pt x="271" y="406"/>
                  </a:cubicBezTo>
                  <a:cubicBezTo>
                    <a:pt x="271" y="408"/>
                    <a:pt x="303" y="426"/>
                    <a:pt x="310" y="424"/>
                  </a:cubicBezTo>
                  <a:cubicBezTo>
                    <a:pt x="317" y="421"/>
                    <a:pt x="327" y="435"/>
                    <a:pt x="323" y="439"/>
                  </a:cubicBezTo>
                  <a:cubicBezTo>
                    <a:pt x="319" y="443"/>
                    <a:pt x="321" y="454"/>
                    <a:pt x="320" y="459"/>
                  </a:cubicBezTo>
                  <a:cubicBezTo>
                    <a:pt x="319" y="464"/>
                    <a:pt x="308" y="459"/>
                    <a:pt x="301" y="460"/>
                  </a:cubicBezTo>
                  <a:cubicBezTo>
                    <a:pt x="295" y="461"/>
                    <a:pt x="290" y="463"/>
                    <a:pt x="290" y="470"/>
                  </a:cubicBezTo>
                  <a:cubicBezTo>
                    <a:pt x="290" y="478"/>
                    <a:pt x="279" y="483"/>
                    <a:pt x="278" y="492"/>
                  </a:cubicBezTo>
                  <a:cubicBezTo>
                    <a:pt x="276" y="501"/>
                    <a:pt x="286" y="500"/>
                    <a:pt x="292" y="504"/>
                  </a:cubicBezTo>
                  <a:cubicBezTo>
                    <a:pt x="298" y="508"/>
                    <a:pt x="282" y="511"/>
                    <a:pt x="281" y="517"/>
                  </a:cubicBezTo>
                  <a:cubicBezTo>
                    <a:pt x="280" y="524"/>
                    <a:pt x="295" y="535"/>
                    <a:pt x="301" y="538"/>
                  </a:cubicBezTo>
                  <a:cubicBezTo>
                    <a:pt x="307" y="541"/>
                    <a:pt x="301" y="556"/>
                    <a:pt x="304" y="563"/>
                  </a:cubicBezTo>
                  <a:cubicBezTo>
                    <a:pt x="306" y="570"/>
                    <a:pt x="313" y="561"/>
                    <a:pt x="312" y="571"/>
                  </a:cubicBezTo>
                  <a:cubicBezTo>
                    <a:pt x="311" y="580"/>
                    <a:pt x="319" y="580"/>
                    <a:pt x="319" y="586"/>
                  </a:cubicBezTo>
                  <a:cubicBezTo>
                    <a:pt x="320" y="591"/>
                    <a:pt x="333" y="590"/>
                    <a:pt x="331" y="598"/>
                  </a:cubicBezTo>
                  <a:cubicBezTo>
                    <a:pt x="328" y="606"/>
                    <a:pt x="335" y="611"/>
                    <a:pt x="338" y="616"/>
                  </a:cubicBezTo>
                  <a:cubicBezTo>
                    <a:pt x="341" y="620"/>
                    <a:pt x="352" y="627"/>
                    <a:pt x="354" y="633"/>
                  </a:cubicBezTo>
                  <a:cubicBezTo>
                    <a:pt x="356" y="638"/>
                    <a:pt x="362" y="646"/>
                    <a:pt x="370" y="644"/>
                  </a:cubicBezTo>
                  <a:cubicBezTo>
                    <a:pt x="378" y="641"/>
                    <a:pt x="378" y="649"/>
                    <a:pt x="384" y="648"/>
                  </a:cubicBezTo>
                  <a:cubicBezTo>
                    <a:pt x="390" y="647"/>
                    <a:pt x="400" y="650"/>
                    <a:pt x="402" y="655"/>
                  </a:cubicBezTo>
                  <a:cubicBezTo>
                    <a:pt x="403" y="660"/>
                    <a:pt x="422" y="664"/>
                    <a:pt x="427" y="665"/>
                  </a:cubicBezTo>
                  <a:cubicBezTo>
                    <a:pt x="432" y="666"/>
                    <a:pt x="433" y="656"/>
                    <a:pt x="438" y="654"/>
                  </a:cubicBezTo>
                  <a:cubicBezTo>
                    <a:pt x="442" y="651"/>
                    <a:pt x="441" y="632"/>
                    <a:pt x="445" y="631"/>
                  </a:cubicBezTo>
                  <a:cubicBezTo>
                    <a:pt x="449" y="630"/>
                    <a:pt x="448" y="610"/>
                    <a:pt x="444" y="608"/>
                  </a:cubicBezTo>
                  <a:cubicBezTo>
                    <a:pt x="439" y="607"/>
                    <a:pt x="441" y="600"/>
                    <a:pt x="451" y="601"/>
                  </a:cubicBezTo>
                  <a:cubicBezTo>
                    <a:pt x="461" y="602"/>
                    <a:pt x="458" y="592"/>
                    <a:pt x="462" y="591"/>
                  </a:cubicBezTo>
                  <a:cubicBezTo>
                    <a:pt x="467" y="590"/>
                    <a:pt x="465" y="581"/>
                    <a:pt x="468" y="580"/>
                  </a:cubicBezTo>
                  <a:cubicBezTo>
                    <a:pt x="472" y="579"/>
                    <a:pt x="471" y="573"/>
                    <a:pt x="469" y="570"/>
                  </a:cubicBezTo>
                  <a:cubicBezTo>
                    <a:pt x="466" y="566"/>
                    <a:pt x="469" y="564"/>
                    <a:pt x="474" y="563"/>
                  </a:cubicBezTo>
                  <a:cubicBezTo>
                    <a:pt x="479" y="562"/>
                    <a:pt x="478" y="555"/>
                    <a:pt x="471" y="552"/>
                  </a:cubicBezTo>
                  <a:cubicBezTo>
                    <a:pt x="464" y="549"/>
                    <a:pt x="467" y="542"/>
                    <a:pt x="473" y="546"/>
                  </a:cubicBezTo>
                  <a:cubicBezTo>
                    <a:pt x="480" y="551"/>
                    <a:pt x="485" y="548"/>
                    <a:pt x="482" y="542"/>
                  </a:cubicBezTo>
                  <a:cubicBezTo>
                    <a:pt x="478" y="537"/>
                    <a:pt x="486" y="535"/>
                    <a:pt x="495" y="534"/>
                  </a:cubicBezTo>
                  <a:cubicBezTo>
                    <a:pt x="504" y="533"/>
                    <a:pt x="509" y="528"/>
                    <a:pt x="507" y="521"/>
                  </a:cubicBezTo>
                  <a:cubicBezTo>
                    <a:pt x="506" y="515"/>
                    <a:pt x="518" y="515"/>
                    <a:pt x="515" y="521"/>
                  </a:cubicBezTo>
                  <a:cubicBezTo>
                    <a:pt x="512" y="527"/>
                    <a:pt x="513" y="533"/>
                    <a:pt x="518" y="529"/>
                  </a:cubicBezTo>
                  <a:cubicBezTo>
                    <a:pt x="522" y="524"/>
                    <a:pt x="530" y="527"/>
                    <a:pt x="545" y="523"/>
                  </a:cubicBezTo>
                  <a:cubicBezTo>
                    <a:pt x="559" y="519"/>
                    <a:pt x="574" y="507"/>
                    <a:pt x="577" y="495"/>
                  </a:cubicBezTo>
                  <a:cubicBezTo>
                    <a:pt x="581" y="484"/>
                    <a:pt x="597" y="485"/>
                    <a:pt x="595" y="477"/>
                  </a:cubicBezTo>
                  <a:cubicBezTo>
                    <a:pt x="593" y="469"/>
                    <a:pt x="598" y="466"/>
                    <a:pt x="609" y="472"/>
                  </a:cubicBezTo>
                  <a:cubicBezTo>
                    <a:pt x="620" y="477"/>
                    <a:pt x="611" y="468"/>
                    <a:pt x="623" y="468"/>
                  </a:cubicBezTo>
                  <a:cubicBezTo>
                    <a:pt x="635" y="468"/>
                    <a:pt x="633" y="464"/>
                    <a:pt x="645" y="463"/>
                  </a:cubicBezTo>
                  <a:cubicBezTo>
                    <a:pt x="656" y="463"/>
                    <a:pt x="686" y="458"/>
                    <a:pt x="697" y="449"/>
                  </a:cubicBezTo>
                  <a:cubicBezTo>
                    <a:pt x="707" y="441"/>
                    <a:pt x="729" y="433"/>
                    <a:pt x="738" y="428"/>
                  </a:cubicBezTo>
                  <a:cubicBezTo>
                    <a:pt x="747" y="422"/>
                    <a:pt x="749" y="417"/>
                    <a:pt x="744" y="420"/>
                  </a:cubicBezTo>
                  <a:cubicBezTo>
                    <a:pt x="738" y="423"/>
                    <a:pt x="726" y="424"/>
                    <a:pt x="718" y="422"/>
                  </a:cubicBezTo>
                  <a:cubicBezTo>
                    <a:pt x="709" y="419"/>
                    <a:pt x="695" y="412"/>
                    <a:pt x="685" y="418"/>
                  </a:cubicBezTo>
                  <a:cubicBezTo>
                    <a:pt x="676" y="423"/>
                    <a:pt x="682" y="410"/>
                    <a:pt x="690" y="408"/>
                  </a:cubicBezTo>
                  <a:cubicBezTo>
                    <a:pt x="698" y="407"/>
                    <a:pt x="695" y="403"/>
                    <a:pt x="692" y="395"/>
                  </a:cubicBezTo>
                  <a:cubicBezTo>
                    <a:pt x="690" y="386"/>
                    <a:pt x="706" y="392"/>
                    <a:pt x="713" y="401"/>
                  </a:cubicBezTo>
                  <a:cubicBezTo>
                    <a:pt x="720" y="411"/>
                    <a:pt x="733" y="416"/>
                    <a:pt x="745" y="412"/>
                  </a:cubicBezTo>
                  <a:cubicBezTo>
                    <a:pt x="756" y="409"/>
                    <a:pt x="745" y="399"/>
                    <a:pt x="750" y="393"/>
                  </a:cubicBezTo>
                  <a:cubicBezTo>
                    <a:pt x="755" y="386"/>
                    <a:pt x="714" y="366"/>
                    <a:pt x="712" y="359"/>
                  </a:cubicBezTo>
                  <a:cubicBezTo>
                    <a:pt x="710" y="352"/>
                    <a:pt x="722" y="357"/>
                    <a:pt x="734" y="362"/>
                  </a:cubicBezTo>
                  <a:cubicBezTo>
                    <a:pt x="745" y="367"/>
                    <a:pt x="747" y="353"/>
                    <a:pt x="747" y="347"/>
                  </a:cubicBezTo>
                  <a:cubicBezTo>
                    <a:pt x="747" y="341"/>
                    <a:pt x="723" y="340"/>
                    <a:pt x="713" y="346"/>
                  </a:cubicBezTo>
                  <a:cubicBezTo>
                    <a:pt x="702" y="352"/>
                    <a:pt x="692" y="339"/>
                    <a:pt x="706" y="337"/>
                  </a:cubicBezTo>
                  <a:cubicBezTo>
                    <a:pt x="721" y="335"/>
                    <a:pt x="707" y="329"/>
                    <a:pt x="712" y="325"/>
                  </a:cubicBezTo>
                  <a:cubicBezTo>
                    <a:pt x="716" y="321"/>
                    <a:pt x="735" y="337"/>
                    <a:pt x="744" y="334"/>
                  </a:cubicBezTo>
                  <a:cubicBezTo>
                    <a:pt x="753" y="331"/>
                    <a:pt x="760" y="335"/>
                    <a:pt x="769" y="328"/>
                  </a:cubicBezTo>
                  <a:cubicBezTo>
                    <a:pt x="777" y="322"/>
                    <a:pt x="754" y="316"/>
                    <a:pt x="749" y="310"/>
                  </a:cubicBezTo>
                  <a:cubicBezTo>
                    <a:pt x="744" y="305"/>
                    <a:pt x="773" y="307"/>
                    <a:pt x="781" y="307"/>
                  </a:cubicBezTo>
                  <a:cubicBezTo>
                    <a:pt x="790" y="308"/>
                    <a:pt x="792" y="295"/>
                    <a:pt x="785" y="297"/>
                  </a:cubicBezTo>
                  <a:cubicBezTo>
                    <a:pt x="778" y="300"/>
                    <a:pt x="754" y="289"/>
                    <a:pt x="759" y="281"/>
                  </a:cubicBezTo>
                  <a:cubicBezTo>
                    <a:pt x="764" y="273"/>
                    <a:pt x="774" y="282"/>
                    <a:pt x="784" y="277"/>
                  </a:cubicBezTo>
                  <a:cubicBezTo>
                    <a:pt x="795" y="271"/>
                    <a:pt x="785" y="250"/>
                    <a:pt x="778" y="250"/>
                  </a:cubicBezTo>
                  <a:cubicBezTo>
                    <a:pt x="770" y="250"/>
                    <a:pt x="752" y="247"/>
                    <a:pt x="752" y="244"/>
                  </a:cubicBezTo>
                  <a:cubicBezTo>
                    <a:pt x="752" y="240"/>
                    <a:pt x="737" y="236"/>
                    <a:pt x="741" y="232"/>
                  </a:cubicBezTo>
                  <a:cubicBezTo>
                    <a:pt x="745" y="228"/>
                    <a:pt x="751" y="237"/>
                    <a:pt x="761" y="230"/>
                  </a:cubicBezTo>
                  <a:cubicBezTo>
                    <a:pt x="771" y="222"/>
                    <a:pt x="791" y="232"/>
                    <a:pt x="800" y="230"/>
                  </a:cubicBezTo>
                  <a:cubicBezTo>
                    <a:pt x="809" y="228"/>
                    <a:pt x="796" y="211"/>
                    <a:pt x="791" y="214"/>
                  </a:cubicBezTo>
                  <a:cubicBezTo>
                    <a:pt x="786" y="217"/>
                    <a:pt x="769" y="218"/>
                    <a:pt x="767" y="209"/>
                  </a:cubicBezTo>
                  <a:cubicBezTo>
                    <a:pt x="766" y="200"/>
                    <a:pt x="784" y="209"/>
                    <a:pt x="787" y="205"/>
                  </a:cubicBezTo>
                  <a:cubicBezTo>
                    <a:pt x="790" y="201"/>
                    <a:pt x="762" y="189"/>
                    <a:pt x="758" y="198"/>
                  </a:cubicBezTo>
                  <a:cubicBezTo>
                    <a:pt x="753" y="207"/>
                    <a:pt x="738" y="204"/>
                    <a:pt x="746" y="199"/>
                  </a:cubicBezTo>
                  <a:cubicBezTo>
                    <a:pt x="754" y="194"/>
                    <a:pt x="756" y="179"/>
                    <a:pt x="755" y="172"/>
                  </a:cubicBezTo>
                  <a:cubicBezTo>
                    <a:pt x="754" y="165"/>
                    <a:pt x="784" y="164"/>
                    <a:pt x="781" y="152"/>
                  </a:cubicBezTo>
                  <a:cubicBezTo>
                    <a:pt x="778" y="140"/>
                    <a:pt x="795" y="138"/>
                    <a:pt x="805" y="138"/>
                  </a:cubicBezTo>
                  <a:cubicBezTo>
                    <a:pt x="815" y="138"/>
                    <a:pt x="805" y="125"/>
                    <a:pt x="795" y="126"/>
                  </a:cubicBezTo>
                  <a:cubicBezTo>
                    <a:pt x="786" y="127"/>
                    <a:pt x="776" y="138"/>
                    <a:pt x="771" y="134"/>
                  </a:cubicBezTo>
                  <a:cubicBezTo>
                    <a:pt x="766" y="130"/>
                    <a:pt x="782" y="122"/>
                    <a:pt x="791" y="122"/>
                  </a:cubicBezTo>
                  <a:cubicBezTo>
                    <a:pt x="799" y="122"/>
                    <a:pt x="820" y="121"/>
                    <a:pt x="827" y="117"/>
                  </a:cubicBezTo>
                  <a:cubicBezTo>
                    <a:pt x="835" y="112"/>
                    <a:pt x="815" y="108"/>
                    <a:pt x="801" y="110"/>
                  </a:cubicBezTo>
                  <a:cubicBezTo>
                    <a:pt x="787" y="112"/>
                    <a:pt x="787" y="106"/>
                    <a:pt x="808" y="105"/>
                  </a:cubicBezTo>
                  <a:cubicBezTo>
                    <a:pt x="828" y="105"/>
                    <a:pt x="825" y="101"/>
                    <a:pt x="839" y="99"/>
                  </a:cubicBezTo>
                  <a:cubicBezTo>
                    <a:pt x="854" y="97"/>
                    <a:pt x="849" y="91"/>
                    <a:pt x="858" y="91"/>
                  </a:cubicBezTo>
                  <a:cubicBezTo>
                    <a:pt x="867" y="90"/>
                    <a:pt x="891" y="81"/>
                    <a:pt x="891" y="76"/>
                  </a:cubicBezTo>
                  <a:cubicBezTo>
                    <a:pt x="891" y="71"/>
                    <a:pt x="857" y="62"/>
                    <a:pt x="841" y="62"/>
                  </a:cubicBezTo>
                  <a:close/>
                  <a:moveTo>
                    <a:pt x="305" y="436"/>
                  </a:moveTo>
                  <a:cubicBezTo>
                    <a:pt x="306" y="429"/>
                    <a:pt x="298" y="434"/>
                    <a:pt x="294" y="425"/>
                  </a:cubicBezTo>
                  <a:cubicBezTo>
                    <a:pt x="289" y="417"/>
                    <a:pt x="267" y="414"/>
                    <a:pt x="265" y="420"/>
                  </a:cubicBezTo>
                  <a:cubicBezTo>
                    <a:pt x="264" y="423"/>
                    <a:pt x="258" y="427"/>
                    <a:pt x="263" y="433"/>
                  </a:cubicBezTo>
                  <a:cubicBezTo>
                    <a:pt x="269" y="439"/>
                    <a:pt x="273" y="436"/>
                    <a:pt x="279" y="442"/>
                  </a:cubicBezTo>
                  <a:cubicBezTo>
                    <a:pt x="285" y="448"/>
                    <a:pt x="305" y="443"/>
                    <a:pt x="305" y="43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3" name="Freeform 301"/>
            <p:cNvSpPr>
              <a:spLocks noEditPoints="1"/>
            </p:cNvSpPr>
            <p:nvPr/>
          </p:nvSpPr>
          <p:spPr>
            <a:xfrm>
              <a:off x="1276351" y="996950"/>
              <a:ext cx="2198688" cy="1695450"/>
            </a:xfrm>
            <a:custGeom>
              <a:gdLst>
                <a:gd name="T0" fmla="*/ 265 w 1296"/>
                <a:gd name="T1" fmla="*/ 881 h 999"/>
                <a:gd name="T2" fmla="*/ 243 w 1296"/>
                <a:gd name="T3" fmla="*/ 293 h 999"/>
                <a:gd name="T4" fmla="*/ 499 w 1296"/>
                <a:gd name="T5" fmla="*/ 324 h 999"/>
                <a:gd name="T6" fmla="*/ 331 w 1296"/>
                <a:gd name="T7" fmla="*/ 347 h 999"/>
                <a:gd name="T8" fmla="*/ 498 w 1296"/>
                <a:gd name="T9" fmla="*/ 431 h 999"/>
                <a:gd name="T10" fmla="*/ 306 w 1296"/>
                <a:gd name="T11" fmla="*/ 250 h 999"/>
                <a:gd name="T12" fmla="*/ 269 w 1296"/>
                <a:gd name="T13" fmla="*/ 239 h 999"/>
                <a:gd name="T14" fmla="*/ 476 w 1296"/>
                <a:gd name="T15" fmla="*/ 275 h 999"/>
                <a:gd name="T16" fmla="*/ 383 w 1296"/>
                <a:gd name="T17" fmla="*/ 186 h 999"/>
                <a:gd name="T18" fmla="*/ 533 w 1296"/>
                <a:gd name="T19" fmla="*/ 154 h 999"/>
                <a:gd name="T20" fmla="*/ 537 w 1296"/>
                <a:gd name="T21" fmla="*/ 208 h 999"/>
                <a:gd name="T22" fmla="*/ 542 w 1296"/>
                <a:gd name="T23" fmla="*/ 238 h 999"/>
                <a:gd name="T24" fmla="*/ 700 w 1296"/>
                <a:gd name="T25" fmla="*/ 190 h 999"/>
                <a:gd name="T26" fmla="*/ 635 w 1296"/>
                <a:gd name="T27" fmla="*/ 300 h 999"/>
                <a:gd name="T28" fmla="*/ 886 w 1296"/>
                <a:gd name="T29" fmla="*/ 284 h 999"/>
                <a:gd name="T30" fmla="*/ 749 w 1296"/>
                <a:gd name="T31" fmla="*/ 195 h 999"/>
                <a:gd name="T32" fmla="*/ 771 w 1296"/>
                <a:gd name="T33" fmla="*/ 107 h 999"/>
                <a:gd name="T34" fmla="*/ 757 w 1296"/>
                <a:gd name="T35" fmla="*/ 86 h 999"/>
                <a:gd name="T36" fmla="*/ 818 w 1296"/>
                <a:gd name="T37" fmla="*/ 155 h 999"/>
                <a:gd name="T38" fmla="*/ 901 w 1296"/>
                <a:gd name="T39" fmla="*/ 233 h 999"/>
                <a:gd name="T40" fmla="*/ 1026 w 1296"/>
                <a:gd name="T41" fmla="*/ 112 h 999"/>
                <a:gd name="T42" fmla="*/ 980 w 1296"/>
                <a:gd name="T43" fmla="*/ 12 h 999"/>
                <a:gd name="T44" fmla="*/ 734 w 1296"/>
                <a:gd name="T45" fmla="*/ 59 h 999"/>
                <a:gd name="T46" fmla="*/ 805 w 1296"/>
                <a:gd name="T47" fmla="*/ 568 h 999"/>
                <a:gd name="T48" fmla="*/ 1067 w 1296"/>
                <a:gd name="T49" fmla="*/ 439 h 999"/>
                <a:gd name="T50" fmla="*/ 962 w 1296"/>
                <a:gd name="T51" fmla="*/ 351 h 999"/>
                <a:gd name="T52" fmla="*/ 805 w 1296"/>
                <a:gd name="T53" fmla="*/ 323 h 999"/>
                <a:gd name="T54" fmla="*/ 909 w 1296"/>
                <a:gd name="T55" fmla="*/ 398 h 999"/>
                <a:gd name="T56" fmla="*/ 950 w 1296"/>
                <a:gd name="T57" fmla="*/ 528 h 999"/>
                <a:gd name="T58" fmla="*/ 1096 w 1296"/>
                <a:gd name="T59" fmla="*/ 540 h 999"/>
                <a:gd name="T60" fmla="*/ 880 w 1296"/>
                <a:gd name="T61" fmla="*/ 311 h 999"/>
                <a:gd name="T62" fmla="*/ 1242 w 1296"/>
                <a:gd name="T63" fmla="*/ 828 h 999"/>
                <a:gd name="T64" fmla="*/ 142 w 1296"/>
                <a:gd name="T65" fmla="*/ 812 h 999"/>
                <a:gd name="T66" fmla="*/ 1059 w 1296"/>
                <a:gd name="T67" fmla="*/ 886 h 999"/>
                <a:gd name="T68" fmla="*/ 1243 w 1296"/>
                <a:gd name="T69" fmla="*/ 786 h 999"/>
                <a:gd name="T70" fmla="*/ 1155 w 1296"/>
                <a:gd name="T71" fmla="*/ 723 h 999"/>
                <a:gd name="T72" fmla="*/ 1089 w 1296"/>
                <a:gd name="T73" fmla="*/ 681 h 999"/>
                <a:gd name="T74" fmla="*/ 984 w 1296"/>
                <a:gd name="T75" fmla="*/ 597 h 999"/>
                <a:gd name="T76" fmla="*/ 938 w 1296"/>
                <a:gd name="T77" fmla="*/ 700 h 999"/>
                <a:gd name="T78" fmla="*/ 859 w 1296"/>
                <a:gd name="T79" fmla="*/ 797 h 999"/>
                <a:gd name="T80" fmla="*/ 694 w 1296"/>
                <a:gd name="T81" fmla="*/ 678 h 999"/>
                <a:gd name="T82" fmla="*/ 747 w 1296"/>
                <a:gd name="T83" fmla="*/ 556 h 999"/>
                <a:gd name="T84" fmla="*/ 837 w 1296"/>
                <a:gd name="T85" fmla="*/ 499 h 999"/>
                <a:gd name="T86" fmla="*/ 821 w 1296"/>
                <a:gd name="T87" fmla="*/ 438 h 999"/>
                <a:gd name="T88" fmla="*/ 748 w 1296"/>
                <a:gd name="T89" fmla="*/ 443 h 999"/>
                <a:gd name="T90" fmla="*/ 693 w 1296"/>
                <a:gd name="T91" fmla="*/ 350 h 999"/>
                <a:gd name="T92" fmla="*/ 668 w 1296"/>
                <a:gd name="T93" fmla="*/ 377 h 999"/>
                <a:gd name="T94" fmla="*/ 655 w 1296"/>
                <a:gd name="T95" fmla="*/ 469 h 999"/>
                <a:gd name="T96" fmla="*/ 635 w 1296"/>
                <a:gd name="T97" fmla="*/ 450 h 999"/>
                <a:gd name="T98" fmla="*/ 515 w 1296"/>
                <a:gd name="T99" fmla="*/ 449 h 999"/>
                <a:gd name="T100" fmla="*/ 345 w 1296"/>
                <a:gd name="T101" fmla="*/ 438 h 999"/>
                <a:gd name="T102" fmla="*/ 125 w 1296"/>
                <a:gd name="T103" fmla="*/ 439 h 999"/>
                <a:gd name="T104" fmla="*/ 61 w 1296"/>
                <a:gd name="T105" fmla="*/ 440 h 999"/>
                <a:gd name="T106" fmla="*/ 164 w 1296"/>
                <a:gd name="T107" fmla="*/ 759 h 999"/>
                <a:gd name="T108" fmla="*/ 234 w 1296"/>
                <a:gd name="T109" fmla="*/ 849 h 999"/>
                <a:gd name="T110" fmla="*/ 804 w 1296"/>
                <a:gd name="T111" fmla="*/ 889 h 999"/>
                <a:gd name="T112" fmla="*/ 904 w 1296"/>
                <a:gd name="T113" fmla="*/ 988 h 999"/>
                <a:gd name="T114" fmla="*/ 1117 w 1296"/>
                <a:gd name="T115" fmla="*/ 932 h 999"/>
                <a:gd name="T116" fmla="*/ 313 w 1296"/>
                <a:gd name="T117" fmla="*/ 525 h 999"/>
                <a:gd name="T118" fmla="*/ 311 w 1296"/>
                <a:gd name="T119" fmla="*/ 506 h 999"/>
                <a:gd name="T120" fmla="*/ 649 w 1296"/>
                <a:gd name="T121" fmla="*/ 847 h 9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6" h="999">
                  <a:moveTo>
                    <a:pt x="256" y="876"/>
                  </a:moveTo>
                  <a:cubicBezTo>
                    <a:pt x="252" y="871"/>
                    <a:pt x="241" y="872"/>
                    <a:pt x="239" y="868"/>
                  </a:cubicBezTo>
                  <a:cubicBezTo>
                    <a:pt x="237" y="864"/>
                    <a:pt x="227" y="848"/>
                    <a:pt x="222" y="849"/>
                  </a:cubicBezTo>
                  <a:cubicBezTo>
                    <a:pt x="216" y="849"/>
                    <a:pt x="209" y="849"/>
                    <a:pt x="203" y="845"/>
                  </a:cubicBezTo>
                  <a:cubicBezTo>
                    <a:pt x="196" y="840"/>
                    <a:pt x="192" y="839"/>
                    <a:pt x="188" y="842"/>
                  </a:cubicBezTo>
                  <a:cubicBezTo>
                    <a:pt x="183" y="845"/>
                    <a:pt x="193" y="846"/>
                    <a:pt x="192" y="849"/>
                  </a:cubicBezTo>
                  <a:cubicBezTo>
                    <a:pt x="192" y="852"/>
                    <a:pt x="195" y="854"/>
                    <a:pt x="199" y="854"/>
                  </a:cubicBezTo>
                  <a:cubicBezTo>
                    <a:pt x="203" y="853"/>
                    <a:pt x="205" y="861"/>
                    <a:pt x="209" y="861"/>
                  </a:cubicBezTo>
                  <a:cubicBezTo>
                    <a:pt x="213" y="862"/>
                    <a:pt x="214" y="868"/>
                    <a:pt x="219" y="868"/>
                  </a:cubicBezTo>
                  <a:cubicBezTo>
                    <a:pt x="223" y="868"/>
                    <a:pt x="224" y="873"/>
                    <a:pt x="226" y="876"/>
                  </a:cubicBezTo>
                  <a:cubicBezTo>
                    <a:pt x="229" y="879"/>
                    <a:pt x="234" y="876"/>
                    <a:pt x="234" y="879"/>
                  </a:cubicBezTo>
                  <a:cubicBezTo>
                    <a:pt x="234" y="882"/>
                    <a:pt x="239" y="884"/>
                    <a:pt x="240" y="887"/>
                  </a:cubicBezTo>
                  <a:cubicBezTo>
                    <a:pt x="249" y="888"/>
                    <a:pt x="257" y="889"/>
                    <a:pt x="263" y="887"/>
                  </a:cubicBezTo>
                  <a:cubicBezTo>
                    <a:pt x="263" y="885"/>
                    <a:pt x="264" y="883"/>
                    <a:pt x="265" y="881"/>
                  </a:cubicBezTo>
                  <a:cubicBezTo>
                    <a:pt x="267" y="877"/>
                    <a:pt x="260" y="880"/>
                    <a:pt x="256" y="876"/>
                  </a:cubicBezTo>
                  <a:close/>
                  <a:moveTo>
                    <a:pt x="245" y="363"/>
                  </a:moveTo>
                  <a:cubicBezTo>
                    <a:pt x="256" y="366"/>
                    <a:pt x="258" y="386"/>
                    <a:pt x="265" y="386"/>
                  </a:cubicBezTo>
                  <a:cubicBezTo>
                    <a:pt x="271" y="386"/>
                    <a:pt x="267" y="380"/>
                    <a:pt x="275" y="380"/>
                  </a:cubicBezTo>
                  <a:cubicBezTo>
                    <a:pt x="283" y="380"/>
                    <a:pt x="282" y="375"/>
                    <a:pt x="289" y="376"/>
                  </a:cubicBezTo>
                  <a:cubicBezTo>
                    <a:pt x="297" y="376"/>
                    <a:pt x="303" y="374"/>
                    <a:pt x="303" y="365"/>
                  </a:cubicBezTo>
                  <a:cubicBezTo>
                    <a:pt x="303" y="356"/>
                    <a:pt x="309" y="353"/>
                    <a:pt x="317" y="351"/>
                  </a:cubicBezTo>
                  <a:cubicBezTo>
                    <a:pt x="325" y="349"/>
                    <a:pt x="318" y="339"/>
                    <a:pt x="329" y="336"/>
                  </a:cubicBezTo>
                  <a:cubicBezTo>
                    <a:pt x="340" y="334"/>
                    <a:pt x="370" y="321"/>
                    <a:pt x="375" y="317"/>
                  </a:cubicBezTo>
                  <a:cubicBezTo>
                    <a:pt x="380" y="313"/>
                    <a:pt x="369" y="308"/>
                    <a:pt x="357" y="301"/>
                  </a:cubicBezTo>
                  <a:cubicBezTo>
                    <a:pt x="345" y="294"/>
                    <a:pt x="336" y="292"/>
                    <a:pt x="327" y="298"/>
                  </a:cubicBezTo>
                  <a:cubicBezTo>
                    <a:pt x="318" y="304"/>
                    <a:pt x="325" y="291"/>
                    <a:pt x="318" y="295"/>
                  </a:cubicBezTo>
                  <a:cubicBezTo>
                    <a:pt x="311" y="298"/>
                    <a:pt x="292" y="289"/>
                    <a:pt x="289" y="286"/>
                  </a:cubicBezTo>
                  <a:cubicBezTo>
                    <a:pt x="287" y="283"/>
                    <a:pt x="252" y="293"/>
                    <a:pt x="243" y="293"/>
                  </a:cubicBezTo>
                  <a:cubicBezTo>
                    <a:pt x="235" y="293"/>
                    <a:pt x="244" y="302"/>
                    <a:pt x="250" y="307"/>
                  </a:cubicBezTo>
                  <a:cubicBezTo>
                    <a:pt x="256" y="311"/>
                    <a:pt x="236" y="326"/>
                    <a:pt x="240" y="329"/>
                  </a:cubicBezTo>
                  <a:cubicBezTo>
                    <a:pt x="243" y="332"/>
                    <a:pt x="236" y="340"/>
                    <a:pt x="227" y="351"/>
                  </a:cubicBezTo>
                  <a:cubicBezTo>
                    <a:pt x="218" y="361"/>
                    <a:pt x="233" y="360"/>
                    <a:pt x="245" y="363"/>
                  </a:cubicBezTo>
                  <a:close/>
                  <a:moveTo>
                    <a:pt x="567" y="416"/>
                  </a:moveTo>
                  <a:cubicBezTo>
                    <a:pt x="571" y="411"/>
                    <a:pt x="587" y="425"/>
                    <a:pt x="588" y="415"/>
                  </a:cubicBezTo>
                  <a:cubicBezTo>
                    <a:pt x="589" y="406"/>
                    <a:pt x="570" y="401"/>
                    <a:pt x="562" y="396"/>
                  </a:cubicBezTo>
                  <a:cubicBezTo>
                    <a:pt x="554" y="391"/>
                    <a:pt x="551" y="393"/>
                    <a:pt x="539" y="384"/>
                  </a:cubicBezTo>
                  <a:cubicBezTo>
                    <a:pt x="527" y="375"/>
                    <a:pt x="542" y="371"/>
                    <a:pt x="533" y="364"/>
                  </a:cubicBezTo>
                  <a:cubicBezTo>
                    <a:pt x="524" y="356"/>
                    <a:pt x="521" y="337"/>
                    <a:pt x="527" y="331"/>
                  </a:cubicBezTo>
                  <a:cubicBezTo>
                    <a:pt x="534" y="324"/>
                    <a:pt x="541" y="315"/>
                    <a:pt x="529" y="310"/>
                  </a:cubicBezTo>
                  <a:cubicBezTo>
                    <a:pt x="518" y="306"/>
                    <a:pt x="499" y="314"/>
                    <a:pt x="501" y="316"/>
                  </a:cubicBezTo>
                  <a:cubicBezTo>
                    <a:pt x="503" y="319"/>
                    <a:pt x="519" y="328"/>
                    <a:pt x="519" y="332"/>
                  </a:cubicBezTo>
                  <a:cubicBezTo>
                    <a:pt x="519" y="336"/>
                    <a:pt x="504" y="321"/>
                    <a:pt x="499" y="324"/>
                  </a:cubicBezTo>
                  <a:cubicBezTo>
                    <a:pt x="494" y="327"/>
                    <a:pt x="488" y="318"/>
                    <a:pt x="483" y="324"/>
                  </a:cubicBezTo>
                  <a:cubicBezTo>
                    <a:pt x="479" y="331"/>
                    <a:pt x="489" y="353"/>
                    <a:pt x="493" y="360"/>
                  </a:cubicBezTo>
                  <a:cubicBezTo>
                    <a:pt x="497" y="366"/>
                    <a:pt x="489" y="366"/>
                    <a:pt x="484" y="367"/>
                  </a:cubicBezTo>
                  <a:cubicBezTo>
                    <a:pt x="479" y="369"/>
                    <a:pt x="478" y="349"/>
                    <a:pt x="473" y="342"/>
                  </a:cubicBezTo>
                  <a:cubicBezTo>
                    <a:pt x="468" y="335"/>
                    <a:pt x="447" y="327"/>
                    <a:pt x="446" y="332"/>
                  </a:cubicBezTo>
                  <a:cubicBezTo>
                    <a:pt x="445" y="337"/>
                    <a:pt x="459" y="337"/>
                    <a:pt x="457" y="344"/>
                  </a:cubicBezTo>
                  <a:cubicBezTo>
                    <a:pt x="455" y="351"/>
                    <a:pt x="447" y="340"/>
                    <a:pt x="440" y="346"/>
                  </a:cubicBezTo>
                  <a:cubicBezTo>
                    <a:pt x="433" y="351"/>
                    <a:pt x="434" y="347"/>
                    <a:pt x="436" y="342"/>
                  </a:cubicBezTo>
                  <a:cubicBezTo>
                    <a:pt x="437" y="336"/>
                    <a:pt x="425" y="329"/>
                    <a:pt x="413" y="331"/>
                  </a:cubicBezTo>
                  <a:cubicBezTo>
                    <a:pt x="400" y="332"/>
                    <a:pt x="407" y="341"/>
                    <a:pt x="403" y="344"/>
                  </a:cubicBezTo>
                  <a:cubicBezTo>
                    <a:pt x="399" y="347"/>
                    <a:pt x="380" y="342"/>
                    <a:pt x="392" y="340"/>
                  </a:cubicBezTo>
                  <a:cubicBezTo>
                    <a:pt x="404" y="337"/>
                    <a:pt x="399" y="330"/>
                    <a:pt x="394" y="323"/>
                  </a:cubicBezTo>
                  <a:cubicBezTo>
                    <a:pt x="390" y="316"/>
                    <a:pt x="378" y="324"/>
                    <a:pt x="358" y="331"/>
                  </a:cubicBezTo>
                  <a:cubicBezTo>
                    <a:pt x="338" y="338"/>
                    <a:pt x="329" y="346"/>
                    <a:pt x="331" y="347"/>
                  </a:cubicBezTo>
                  <a:cubicBezTo>
                    <a:pt x="334" y="347"/>
                    <a:pt x="334" y="351"/>
                    <a:pt x="327" y="357"/>
                  </a:cubicBezTo>
                  <a:cubicBezTo>
                    <a:pt x="319" y="364"/>
                    <a:pt x="327" y="369"/>
                    <a:pt x="334" y="369"/>
                  </a:cubicBezTo>
                  <a:cubicBezTo>
                    <a:pt x="341" y="369"/>
                    <a:pt x="335" y="375"/>
                    <a:pt x="340" y="376"/>
                  </a:cubicBezTo>
                  <a:cubicBezTo>
                    <a:pt x="344" y="378"/>
                    <a:pt x="367" y="367"/>
                    <a:pt x="374" y="372"/>
                  </a:cubicBezTo>
                  <a:cubicBezTo>
                    <a:pt x="380" y="376"/>
                    <a:pt x="336" y="379"/>
                    <a:pt x="336" y="387"/>
                  </a:cubicBezTo>
                  <a:cubicBezTo>
                    <a:pt x="336" y="395"/>
                    <a:pt x="360" y="399"/>
                    <a:pt x="378" y="396"/>
                  </a:cubicBezTo>
                  <a:cubicBezTo>
                    <a:pt x="396" y="393"/>
                    <a:pt x="428" y="398"/>
                    <a:pt x="428" y="403"/>
                  </a:cubicBezTo>
                  <a:cubicBezTo>
                    <a:pt x="428" y="407"/>
                    <a:pt x="407" y="406"/>
                    <a:pt x="391" y="406"/>
                  </a:cubicBezTo>
                  <a:cubicBezTo>
                    <a:pt x="374" y="405"/>
                    <a:pt x="347" y="410"/>
                    <a:pt x="348" y="415"/>
                  </a:cubicBezTo>
                  <a:cubicBezTo>
                    <a:pt x="349" y="421"/>
                    <a:pt x="351" y="421"/>
                    <a:pt x="368" y="429"/>
                  </a:cubicBezTo>
                  <a:cubicBezTo>
                    <a:pt x="385" y="437"/>
                    <a:pt x="402" y="425"/>
                    <a:pt x="402" y="436"/>
                  </a:cubicBezTo>
                  <a:cubicBezTo>
                    <a:pt x="401" y="447"/>
                    <a:pt x="411" y="449"/>
                    <a:pt x="433" y="450"/>
                  </a:cubicBezTo>
                  <a:cubicBezTo>
                    <a:pt x="456" y="451"/>
                    <a:pt x="466" y="440"/>
                    <a:pt x="477" y="440"/>
                  </a:cubicBezTo>
                  <a:cubicBezTo>
                    <a:pt x="488" y="441"/>
                    <a:pt x="493" y="439"/>
                    <a:pt x="498" y="431"/>
                  </a:cubicBezTo>
                  <a:cubicBezTo>
                    <a:pt x="503" y="424"/>
                    <a:pt x="508" y="428"/>
                    <a:pt x="509" y="432"/>
                  </a:cubicBezTo>
                  <a:cubicBezTo>
                    <a:pt x="511" y="436"/>
                    <a:pt x="525" y="435"/>
                    <a:pt x="528" y="438"/>
                  </a:cubicBezTo>
                  <a:cubicBezTo>
                    <a:pt x="536" y="447"/>
                    <a:pt x="563" y="444"/>
                    <a:pt x="574" y="439"/>
                  </a:cubicBezTo>
                  <a:cubicBezTo>
                    <a:pt x="584" y="434"/>
                    <a:pt x="569" y="420"/>
                    <a:pt x="564" y="426"/>
                  </a:cubicBezTo>
                  <a:cubicBezTo>
                    <a:pt x="559" y="433"/>
                    <a:pt x="554" y="429"/>
                    <a:pt x="553" y="426"/>
                  </a:cubicBezTo>
                  <a:cubicBezTo>
                    <a:pt x="552" y="422"/>
                    <a:pt x="563" y="420"/>
                    <a:pt x="567" y="416"/>
                  </a:cubicBezTo>
                  <a:close/>
                  <a:moveTo>
                    <a:pt x="322" y="257"/>
                  </a:moveTo>
                  <a:cubicBezTo>
                    <a:pt x="334" y="258"/>
                    <a:pt x="345" y="248"/>
                    <a:pt x="345" y="242"/>
                  </a:cubicBezTo>
                  <a:cubicBezTo>
                    <a:pt x="344" y="236"/>
                    <a:pt x="316" y="257"/>
                    <a:pt x="322" y="257"/>
                  </a:cubicBezTo>
                  <a:close/>
                  <a:moveTo>
                    <a:pt x="269" y="239"/>
                  </a:moveTo>
                  <a:cubicBezTo>
                    <a:pt x="273" y="241"/>
                    <a:pt x="269" y="250"/>
                    <a:pt x="274" y="247"/>
                  </a:cubicBezTo>
                  <a:cubicBezTo>
                    <a:pt x="279" y="245"/>
                    <a:pt x="280" y="244"/>
                    <a:pt x="284" y="246"/>
                  </a:cubicBezTo>
                  <a:cubicBezTo>
                    <a:pt x="291" y="248"/>
                    <a:pt x="293" y="242"/>
                    <a:pt x="296" y="238"/>
                  </a:cubicBezTo>
                  <a:cubicBezTo>
                    <a:pt x="299" y="235"/>
                    <a:pt x="298" y="250"/>
                    <a:pt x="306" y="250"/>
                  </a:cubicBezTo>
                  <a:cubicBezTo>
                    <a:pt x="313" y="250"/>
                    <a:pt x="312" y="235"/>
                    <a:pt x="318" y="239"/>
                  </a:cubicBezTo>
                  <a:cubicBezTo>
                    <a:pt x="325" y="244"/>
                    <a:pt x="327" y="237"/>
                    <a:pt x="328" y="233"/>
                  </a:cubicBezTo>
                  <a:cubicBezTo>
                    <a:pt x="329" y="228"/>
                    <a:pt x="329" y="220"/>
                    <a:pt x="336" y="219"/>
                  </a:cubicBezTo>
                  <a:cubicBezTo>
                    <a:pt x="343" y="218"/>
                    <a:pt x="338" y="226"/>
                    <a:pt x="341" y="232"/>
                  </a:cubicBezTo>
                  <a:cubicBezTo>
                    <a:pt x="346" y="240"/>
                    <a:pt x="354" y="233"/>
                    <a:pt x="354" y="229"/>
                  </a:cubicBezTo>
                  <a:cubicBezTo>
                    <a:pt x="355" y="225"/>
                    <a:pt x="367" y="227"/>
                    <a:pt x="366" y="223"/>
                  </a:cubicBezTo>
                  <a:cubicBezTo>
                    <a:pt x="365" y="218"/>
                    <a:pt x="369" y="217"/>
                    <a:pt x="366" y="212"/>
                  </a:cubicBezTo>
                  <a:cubicBezTo>
                    <a:pt x="363" y="207"/>
                    <a:pt x="371" y="208"/>
                    <a:pt x="375" y="204"/>
                  </a:cubicBezTo>
                  <a:cubicBezTo>
                    <a:pt x="379" y="200"/>
                    <a:pt x="370" y="204"/>
                    <a:pt x="363" y="198"/>
                  </a:cubicBezTo>
                  <a:cubicBezTo>
                    <a:pt x="357" y="192"/>
                    <a:pt x="354" y="200"/>
                    <a:pt x="354" y="204"/>
                  </a:cubicBezTo>
                  <a:cubicBezTo>
                    <a:pt x="354" y="207"/>
                    <a:pt x="342" y="204"/>
                    <a:pt x="335" y="202"/>
                  </a:cubicBezTo>
                  <a:cubicBezTo>
                    <a:pt x="328" y="199"/>
                    <a:pt x="319" y="210"/>
                    <a:pt x="309" y="215"/>
                  </a:cubicBezTo>
                  <a:cubicBezTo>
                    <a:pt x="298" y="220"/>
                    <a:pt x="298" y="229"/>
                    <a:pt x="288" y="229"/>
                  </a:cubicBezTo>
                  <a:cubicBezTo>
                    <a:pt x="278" y="228"/>
                    <a:pt x="264" y="237"/>
                    <a:pt x="269" y="239"/>
                  </a:cubicBezTo>
                  <a:close/>
                  <a:moveTo>
                    <a:pt x="369" y="236"/>
                  </a:moveTo>
                  <a:cubicBezTo>
                    <a:pt x="360" y="236"/>
                    <a:pt x="361" y="246"/>
                    <a:pt x="371" y="246"/>
                  </a:cubicBezTo>
                  <a:cubicBezTo>
                    <a:pt x="382" y="246"/>
                    <a:pt x="385" y="249"/>
                    <a:pt x="370" y="248"/>
                  </a:cubicBezTo>
                  <a:cubicBezTo>
                    <a:pt x="355" y="247"/>
                    <a:pt x="349" y="260"/>
                    <a:pt x="359" y="258"/>
                  </a:cubicBezTo>
                  <a:cubicBezTo>
                    <a:pt x="369" y="255"/>
                    <a:pt x="382" y="255"/>
                    <a:pt x="374" y="258"/>
                  </a:cubicBezTo>
                  <a:cubicBezTo>
                    <a:pt x="366" y="260"/>
                    <a:pt x="345" y="262"/>
                    <a:pt x="348" y="266"/>
                  </a:cubicBezTo>
                  <a:cubicBezTo>
                    <a:pt x="350" y="269"/>
                    <a:pt x="358" y="268"/>
                    <a:pt x="367" y="271"/>
                  </a:cubicBezTo>
                  <a:cubicBezTo>
                    <a:pt x="375" y="275"/>
                    <a:pt x="380" y="276"/>
                    <a:pt x="387" y="269"/>
                  </a:cubicBezTo>
                  <a:cubicBezTo>
                    <a:pt x="393" y="262"/>
                    <a:pt x="402" y="255"/>
                    <a:pt x="398" y="265"/>
                  </a:cubicBezTo>
                  <a:cubicBezTo>
                    <a:pt x="395" y="275"/>
                    <a:pt x="409" y="267"/>
                    <a:pt x="426" y="267"/>
                  </a:cubicBezTo>
                  <a:cubicBezTo>
                    <a:pt x="443" y="266"/>
                    <a:pt x="423" y="277"/>
                    <a:pt x="405" y="278"/>
                  </a:cubicBezTo>
                  <a:cubicBezTo>
                    <a:pt x="387" y="280"/>
                    <a:pt x="390" y="289"/>
                    <a:pt x="404" y="292"/>
                  </a:cubicBezTo>
                  <a:cubicBezTo>
                    <a:pt x="418" y="295"/>
                    <a:pt x="449" y="283"/>
                    <a:pt x="456" y="276"/>
                  </a:cubicBezTo>
                  <a:cubicBezTo>
                    <a:pt x="463" y="269"/>
                    <a:pt x="469" y="280"/>
                    <a:pt x="476" y="275"/>
                  </a:cubicBezTo>
                  <a:cubicBezTo>
                    <a:pt x="483" y="269"/>
                    <a:pt x="497" y="275"/>
                    <a:pt x="509" y="273"/>
                  </a:cubicBezTo>
                  <a:cubicBezTo>
                    <a:pt x="522" y="270"/>
                    <a:pt x="523" y="247"/>
                    <a:pt x="514" y="243"/>
                  </a:cubicBezTo>
                  <a:cubicBezTo>
                    <a:pt x="505" y="239"/>
                    <a:pt x="505" y="247"/>
                    <a:pt x="498" y="249"/>
                  </a:cubicBezTo>
                  <a:cubicBezTo>
                    <a:pt x="491" y="250"/>
                    <a:pt x="487" y="241"/>
                    <a:pt x="482" y="235"/>
                  </a:cubicBezTo>
                  <a:cubicBezTo>
                    <a:pt x="476" y="229"/>
                    <a:pt x="480" y="218"/>
                    <a:pt x="471" y="220"/>
                  </a:cubicBezTo>
                  <a:cubicBezTo>
                    <a:pt x="463" y="221"/>
                    <a:pt x="445" y="235"/>
                    <a:pt x="456" y="236"/>
                  </a:cubicBezTo>
                  <a:cubicBezTo>
                    <a:pt x="467" y="237"/>
                    <a:pt x="463" y="243"/>
                    <a:pt x="457" y="246"/>
                  </a:cubicBezTo>
                  <a:cubicBezTo>
                    <a:pt x="451" y="248"/>
                    <a:pt x="471" y="253"/>
                    <a:pt x="468" y="256"/>
                  </a:cubicBezTo>
                  <a:cubicBezTo>
                    <a:pt x="465" y="260"/>
                    <a:pt x="436" y="257"/>
                    <a:pt x="434" y="251"/>
                  </a:cubicBezTo>
                  <a:cubicBezTo>
                    <a:pt x="433" y="244"/>
                    <a:pt x="410" y="233"/>
                    <a:pt x="400" y="235"/>
                  </a:cubicBezTo>
                  <a:cubicBezTo>
                    <a:pt x="391" y="238"/>
                    <a:pt x="394" y="227"/>
                    <a:pt x="385" y="227"/>
                  </a:cubicBezTo>
                  <a:cubicBezTo>
                    <a:pt x="375" y="226"/>
                    <a:pt x="378" y="235"/>
                    <a:pt x="369" y="236"/>
                  </a:cubicBezTo>
                  <a:close/>
                  <a:moveTo>
                    <a:pt x="403" y="189"/>
                  </a:moveTo>
                  <a:cubicBezTo>
                    <a:pt x="406" y="182"/>
                    <a:pt x="381" y="183"/>
                    <a:pt x="383" y="186"/>
                  </a:cubicBezTo>
                  <a:cubicBezTo>
                    <a:pt x="388" y="191"/>
                    <a:pt x="400" y="197"/>
                    <a:pt x="403" y="189"/>
                  </a:cubicBezTo>
                  <a:close/>
                  <a:moveTo>
                    <a:pt x="456" y="186"/>
                  </a:moveTo>
                  <a:cubicBezTo>
                    <a:pt x="465" y="185"/>
                    <a:pt x="461" y="178"/>
                    <a:pt x="447" y="180"/>
                  </a:cubicBezTo>
                  <a:cubicBezTo>
                    <a:pt x="434" y="182"/>
                    <a:pt x="411" y="182"/>
                    <a:pt x="411" y="192"/>
                  </a:cubicBezTo>
                  <a:cubicBezTo>
                    <a:pt x="411" y="200"/>
                    <a:pt x="415" y="204"/>
                    <a:pt x="430" y="205"/>
                  </a:cubicBezTo>
                  <a:cubicBezTo>
                    <a:pt x="445" y="206"/>
                    <a:pt x="458" y="192"/>
                    <a:pt x="451" y="192"/>
                  </a:cubicBezTo>
                  <a:cubicBezTo>
                    <a:pt x="443" y="192"/>
                    <a:pt x="448" y="187"/>
                    <a:pt x="456" y="186"/>
                  </a:cubicBezTo>
                  <a:close/>
                  <a:moveTo>
                    <a:pt x="425" y="174"/>
                  </a:moveTo>
                  <a:cubicBezTo>
                    <a:pt x="431" y="176"/>
                    <a:pt x="438" y="168"/>
                    <a:pt x="442" y="172"/>
                  </a:cubicBezTo>
                  <a:cubicBezTo>
                    <a:pt x="447" y="176"/>
                    <a:pt x="467" y="179"/>
                    <a:pt x="467" y="169"/>
                  </a:cubicBezTo>
                  <a:cubicBezTo>
                    <a:pt x="467" y="158"/>
                    <a:pt x="442" y="157"/>
                    <a:pt x="435" y="161"/>
                  </a:cubicBezTo>
                  <a:cubicBezTo>
                    <a:pt x="429" y="165"/>
                    <a:pt x="399" y="166"/>
                    <a:pt x="407" y="173"/>
                  </a:cubicBezTo>
                  <a:cubicBezTo>
                    <a:pt x="413" y="177"/>
                    <a:pt x="418" y="171"/>
                    <a:pt x="425" y="174"/>
                  </a:cubicBezTo>
                  <a:close/>
                  <a:moveTo>
                    <a:pt x="533" y="154"/>
                  </a:moveTo>
                  <a:cubicBezTo>
                    <a:pt x="540" y="149"/>
                    <a:pt x="554" y="157"/>
                    <a:pt x="552" y="163"/>
                  </a:cubicBezTo>
                  <a:cubicBezTo>
                    <a:pt x="549" y="169"/>
                    <a:pt x="527" y="162"/>
                    <a:pt x="529" y="167"/>
                  </a:cubicBezTo>
                  <a:cubicBezTo>
                    <a:pt x="529" y="169"/>
                    <a:pt x="532" y="176"/>
                    <a:pt x="547" y="172"/>
                  </a:cubicBezTo>
                  <a:cubicBezTo>
                    <a:pt x="563" y="167"/>
                    <a:pt x="576" y="171"/>
                    <a:pt x="586" y="179"/>
                  </a:cubicBezTo>
                  <a:cubicBezTo>
                    <a:pt x="596" y="187"/>
                    <a:pt x="606" y="191"/>
                    <a:pt x="613" y="182"/>
                  </a:cubicBezTo>
                  <a:cubicBezTo>
                    <a:pt x="620" y="174"/>
                    <a:pt x="604" y="173"/>
                    <a:pt x="607" y="166"/>
                  </a:cubicBezTo>
                  <a:cubicBezTo>
                    <a:pt x="611" y="160"/>
                    <a:pt x="597" y="156"/>
                    <a:pt x="590" y="156"/>
                  </a:cubicBezTo>
                  <a:cubicBezTo>
                    <a:pt x="583" y="156"/>
                    <a:pt x="580" y="143"/>
                    <a:pt x="574" y="146"/>
                  </a:cubicBezTo>
                  <a:cubicBezTo>
                    <a:pt x="569" y="148"/>
                    <a:pt x="565" y="153"/>
                    <a:pt x="565" y="144"/>
                  </a:cubicBezTo>
                  <a:cubicBezTo>
                    <a:pt x="565" y="136"/>
                    <a:pt x="531" y="135"/>
                    <a:pt x="523" y="138"/>
                  </a:cubicBezTo>
                  <a:cubicBezTo>
                    <a:pt x="514" y="142"/>
                    <a:pt x="525" y="159"/>
                    <a:pt x="533" y="154"/>
                  </a:cubicBezTo>
                  <a:close/>
                  <a:moveTo>
                    <a:pt x="537" y="208"/>
                  </a:moveTo>
                  <a:cubicBezTo>
                    <a:pt x="542" y="202"/>
                    <a:pt x="516" y="181"/>
                    <a:pt x="515" y="191"/>
                  </a:cubicBezTo>
                  <a:cubicBezTo>
                    <a:pt x="514" y="200"/>
                    <a:pt x="532" y="215"/>
                    <a:pt x="537" y="208"/>
                  </a:cubicBezTo>
                  <a:close/>
                  <a:moveTo>
                    <a:pt x="621" y="124"/>
                  </a:moveTo>
                  <a:cubicBezTo>
                    <a:pt x="625" y="116"/>
                    <a:pt x="594" y="110"/>
                    <a:pt x="602" y="116"/>
                  </a:cubicBezTo>
                  <a:cubicBezTo>
                    <a:pt x="606" y="120"/>
                    <a:pt x="616" y="131"/>
                    <a:pt x="621" y="124"/>
                  </a:cubicBezTo>
                  <a:close/>
                  <a:moveTo>
                    <a:pt x="548" y="270"/>
                  </a:moveTo>
                  <a:cubicBezTo>
                    <a:pt x="553" y="265"/>
                    <a:pt x="538" y="254"/>
                    <a:pt x="534" y="263"/>
                  </a:cubicBezTo>
                  <a:cubicBezTo>
                    <a:pt x="531" y="272"/>
                    <a:pt x="543" y="275"/>
                    <a:pt x="548" y="270"/>
                  </a:cubicBezTo>
                  <a:close/>
                  <a:moveTo>
                    <a:pt x="621" y="225"/>
                  </a:moveTo>
                  <a:cubicBezTo>
                    <a:pt x="620" y="231"/>
                    <a:pt x="605" y="224"/>
                    <a:pt x="594" y="219"/>
                  </a:cubicBezTo>
                  <a:cubicBezTo>
                    <a:pt x="582" y="215"/>
                    <a:pt x="589" y="228"/>
                    <a:pt x="598" y="236"/>
                  </a:cubicBezTo>
                  <a:cubicBezTo>
                    <a:pt x="607" y="244"/>
                    <a:pt x="594" y="240"/>
                    <a:pt x="582" y="231"/>
                  </a:cubicBezTo>
                  <a:cubicBezTo>
                    <a:pt x="569" y="223"/>
                    <a:pt x="571" y="237"/>
                    <a:pt x="576" y="242"/>
                  </a:cubicBezTo>
                  <a:cubicBezTo>
                    <a:pt x="582" y="246"/>
                    <a:pt x="575" y="253"/>
                    <a:pt x="567" y="242"/>
                  </a:cubicBezTo>
                  <a:cubicBezTo>
                    <a:pt x="560" y="232"/>
                    <a:pt x="556" y="221"/>
                    <a:pt x="543" y="220"/>
                  </a:cubicBezTo>
                  <a:cubicBezTo>
                    <a:pt x="531" y="220"/>
                    <a:pt x="537" y="232"/>
                    <a:pt x="542" y="238"/>
                  </a:cubicBezTo>
                  <a:cubicBezTo>
                    <a:pt x="548" y="247"/>
                    <a:pt x="554" y="249"/>
                    <a:pt x="565" y="255"/>
                  </a:cubicBezTo>
                  <a:cubicBezTo>
                    <a:pt x="575" y="260"/>
                    <a:pt x="592" y="252"/>
                    <a:pt x="600" y="254"/>
                  </a:cubicBezTo>
                  <a:cubicBezTo>
                    <a:pt x="607" y="256"/>
                    <a:pt x="591" y="266"/>
                    <a:pt x="596" y="272"/>
                  </a:cubicBezTo>
                  <a:cubicBezTo>
                    <a:pt x="602" y="278"/>
                    <a:pt x="616" y="274"/>
                    <a:pt x="627" y="273"/>
                  </a:cubicBezTo>
                  <a:cubicBezTo>
                    <a:pt x="638" y="273"/>
                    <a:pt x="633" y="266"/>
                    <a:pt x="639" y="262"/>
                  </a:cubicBezTo>
                  <a:cubicBezTo>
                    <a:pt x="645" y="257"/>
                    <a:pt x="633" y="258"/>
                    <a:pt x="638" y="247"/>
                  </a:cubicBezTo>
                  <a:cubicBezTo>
                    <a:pt x="643" y="236"/>
                    <a:pt x="622" y="218"/>
                    <a:pt x="621" y="225"/>
                  </a:cubicBezTo>
                  <a:close/>
                  <a:moveTo>
                    <a:pt x="648" y="187"/>
                  </a:moveTo>
                  <a:cubicBezTo>
                    <a:pt x="658" y="187"/>
                    <a:pt x="665" y="186"/>
                    <a:pt x="674" y="182"/>
                  </a:cubicBezTo>
                  <a:cubicBezTo>
                    <a:pt x="682" y="179"/>
                    <a:pt x="669" y="179"/>
                    <a:pt x="675" y="171"/>
                  </a:cubicBezTo>
                  <a:cubicBezTo>
                    <a:pt x="681" y="164"/>
                    <a:pt x="661" y="163"/>
                    <a:pt x="660" y="166"/>
                  </a:cubicBezTo>
                  <a:cubicBezTo>
                    <a:pt x="658" y="168"/>
                    <a:pt x="633" y="150"/>
                    <a:pt x="629" y="156"/>
                  </a:cubicBezTo>
                  <a:cubicBezTo>
                    <a:pt x="625" y="162"/>
                    <a:pt x="638" y="187"/>
                    <a:pt x="648" y="187"/>
                  </a:cubicBezTo>
                  <a:close/>
                  <a:moveTo>
                    <a:pt x="700" y="190"/>
                  </a:moveTo>
                  <a:cubicBezTo>
                    <a:pt x="699" y="186"/>
                    <a:pt x="650" y="192"/>
                    <a:pt x="658" y="198"/>
                  </a:cubicBezTo>
                  <a:cubicBezTo>
                    <a:pt x="671" y="207"/>
                    <a:pt x="702" y="194"/>
                    <a:pt x="700" y="190"/>
                  </a:cubicBezTo>
                  <a:close/>
                  <a:moveTo>
                    <a:pt x="693" y="284"/>
                  </a:moveTo>
                  <a:cubicBezTo>
                    <a:pt x="705" y="284"/>
                    <a:pt x="699" y="269"/>
                    <a:pt x="686" y="260"/>
                  </a:cubicBezTo>
                  <a:cubicBezTo>
                    <a:pt x="673" y="250"/>
                    <a:pt x="644" y="270"/>
                    <a:pt x="649" y="274"/>
                  </a:cubicBezTo>
                  <a:cubicBezTo>
                    <a:pt x="655" y="278"/>
                    <a:pt x="682" y="285"/>
                    <a:pt x="693" y="284"/>
                  </a:cubicBezTo>
                  <a:close/>
                  <a:moveTo>
                    <a:pt x="611" y="375"/>
                  </a:moveTo>
                  <a:cubicBezTo>
                    <a:pt x="625" y="384"/>
                    <a:pt x="620" y="367"/>
                    <a:pt x="636" y="367"/>
                  </a:cubicBezTo>
                  <a:cubicBezTo>
                    <a:pt x="653" y="368"/>
                    <a:pt x="653" y="342"/>
                    <a:pt x="656" y="332"/>
                  </a:cubicBezTo>
                  <a:cubicBezTo>
                    <a:pt x="658" y="322"/>
                    <a:pt x="643" y="323"/>
                    <a:pt x="647" y="330"/>
                  </a:cubicBezTo>
                  <a:cubicBezTo>
                    <a:pt x="651" y="337"/>
                    <a:pt x="646" y="344"/>
                    <a:pt x="645" y="336"/>
                  </a:cubicBezTo>
                  <a:cubicBezTo>
                    <a:pt x="643" y="327"/>
                    <a:pt x="631" y="335"/>
                    <a:pt x="627" y="329"/>
                  </a:cubicBezTo>
                  <a:cubicBezTo>
                    <a:pt x="622" y="322"/>
                    <a:pt x="641" y="322"/>
                    <a:pt x="645" y="313"/>
                  </a:cubicBezTo>
                  <a:cubicBezTo>
                    <a:pt x="650" y="305"/>
                    <a:pt x="631" y="306"/>
                    <a:pt x="635" y="300"/>
                  </a:cubicBezTo>
                  <a:cubicBezTo>
                    <a:pt x="640" y="293"/>
                    <a:pt x="607" y="300"/>
                    <a:pt x="616" y="304"/>
                  </a:cubicBezTo>
                  <a:cubicBezTo>
                    <a:pt x="626" y="308"/>
                    <a:pt x="617" y="313"/>
                    <a:pt x="608" y="307"/>
                  </a:cubicBezTo>
                  <a:cubicBezTo>
                    <a:pt x="599" y="300"/>
                    <a:pt x="574" y="311"/>
                    <a:pt x="583" y="318"/>
                  </a:cubicBezTo>
                  <a:cubicBezTo>
                    <a:pt x="590" y="324"/>
                    <a:pt x="611" y="315"/>
                    <a:pt x="599" y="331"/>
                  </a:cubicBezTo>
                  <a:cubicBezTo>
                    <a:pt x="587" y="348"/>
                    <a:pt x="582" y="327"/>
                    <a:pt x="570" y="329"/>
                  </a:cubicBezTo>
                  <a:cubicBezTo>
                    <a:pt x="558" y="331"/>
                    <a:pt x="563" y="345"/>
                    <a:pt x="581" y="350"/>
                  </a:cubicBezTo>
                  <a:cubicBezTo>
                    <a:pt x="598" y="355"/>
                    <a:pt x="596" y="365"/>
                    <a:pt x="611" y="375"/>
                  </a:cubicBezTo>
                  <a:close/>
                  <a:moveTo>
                    <a:pt x="716" y="271"/>
                  </a:moveTo>
                  <a:cubicBezTo>
                    <a:pt x="720" y="284"/>
                    <a:pt x="725" y="275"/>
                    <a:pt x="733" y="280"/>
                  </a:cubicBezTo>
                  <a:cubicBezTo>
                    <a:pt x="740" y="286"/>
                    <a:pt x="751" y="289"/>
                    <a:pt x="756" y="284"/>
                  </a:cubicBezTo>
                  <a:cubicBezTo>
                    <a:pt x="762" y="278"/>
                    <a:pt x="765" y="275"/>
                    <a:pt x="767" y="279"/>
                  </a:cubicBezTo>
                  <a:cubicBezTo>
                    <a:pt x="770" y="286"/>
                    <a:pt x="784" y="287"/>
                    <a:pt x="815" y="288"/>
                  </a:cubicBezTo>
                  <a:cubicBezTo>
                    <a:pt x="846" y="289"/>
                    <a:pt x="838" y="275"/>
                    <a:pt x="847" y="280"/>
                  </a:cubicBezTo>
                  <a:cubicBezTo>
                    <a:pt x="856" y="286"/>
                    <a:pt x="877" y="286"/>
                    <a:pt x="886" y="284"/>
                  </a:cubicBezTo>
                  <a:cubicBezTo>
                    <a:pt x="895" y="282"/>
                    <a:pt x="900" y="267"/>
                    <a:pt x="899" y="260"/>
                  </a:cubicBezTo>
                  <a:cubicBezTo>
                    <a:pt x="898" y="253"/>
                    <a:pt x="829" y="247"/>
                    <a:pt x="817" y="255"/>
                  </a:cubicBezTo>
                  <a:cubicBezTo>
                    <a:pt x="805" y="262"/>
                    <a:pt x="785" y="251"/>
                    <a:pt x="776" y="256"/>
                  </a:cubicBezTo>
                  <a:cubicBezTo>
                    <a:pt x="766" y="262"/>
                    <a:pt x="769" y="250"/>
                    <a:pt x="752" y="249"/>
                  </a:cubicBezTo>
                  <a:cubicBezTo>
                    <a:pt x="734" y="249"/>
                    <a:pt x="753" y="240"/>
                    <a:pt x="756" y="236"/>
                  </a:cubicBezTo>
                  <a:cubicBezTo>
                    <a:pt x="760" y="232"/>
                    <a:pt x="730" y="222"/>
                    <a:pt x="718" y="224"/>
                  </a:cubicBezTo>
                  <a:cubicBezTo>
                    <a:pt x="705" y="227"/>
                    <a:pt x="698" y="220"/>
                    <a:pt x="687" y="215"/>
                  </a:cubicBezTo>
                  <a:cubicBezTo>
                    <a:pt x="675" y="210"/>
                    <a:pt x="644" y="211"/>
                    <a:pt x="650" y="220"/>
                  </a:cubicBezTo>
                  <a:cubicBezTo>
                    <a:pt x="654" y="227"/>
                    <a:pt x="692" y="240"/>
                    <a:pt x="696" y="234"/>
                  </a:cubicBezTo>
                  <a:cubicBezTo>
                    <a:pt x="700" y="227"/>
                    <a:pt x="709" y="242"/>
                    <a:pt x="715" y="249"/>
                  </a:cubicBezTo>
                  <a:cubicBezTo>
                    <a:pt x="721" y="256"/>
                    <a:pt x="711" y="258"/>
                    <a:pt x="716" y="271"/>
                  </a:cubicBezTo>
                  <a:close/>
                  <a:moveTo>
                    <a:pt x="749" y="195"/>
                  </a:moveTo>
                  <a:cubicBezTo>
                    <a:pt x="737" y="189"/>
                    <a:pt x="722" y="202"/>
                    <a:pt x="734" y="206"/>
                  </a:cubicBezTo>
                  <a:cubicBezTo>
                    <a:pt x="745" y="210"/>
                    <a:pt x="760" y="201"/>
                    <a:pt x="749" y="195"/>
                  </a:cubicBezTo>
                  <a:close/>
                  <a:moveTo>
                    <a:pt x="656" y="123"/>
                  </a:moveTo>
                  <a:cubicBezTo>
                    <a:pt x="665" y="128"/>
                    <a:pt x="660" y="134"/>
                    <a:pt x="670" y="138"/>
                  </a:cubicBezTo>
                  <a:cubicBezTo>
                    <a:pt x="680" y="143"/>
                    <a:pt x="710" y="133"/>
                    <a:pt x="713" y="140"/>
                  </a:cubicBezTo>
                  <a:cubicBezTo>
                    <a:pt x="715" y="147"/>
                    <a:pt x="682" y="147"/>
                    <a:pt x="687" y="152"/>
                  </a:cubicBezTo>
                  <a:cubicBezTo>
                    <a:pt x="691" y="156"/>
                    <a:pt x="710" y="164"/>
                    <a:pt x="707" y="167"/>
                  </a:cubicBezTo>
                  <a:cubicBezTo>
                    <a:pt x="705" y="171"/>
                    <a:pt x="738" y="182"/>
                    <a:pt x="742" y="177"/>
                  </a:cubicBezTo>
                  <a:cubicBezTo>
                    <a:pt x="745" y="172"/>
                    <a:pt x="754" y="173"/>
                    <a:pt x="762" y="176"/>
                  </a:cubicBezTo>
                  <a:cubicBezTo>
                    <a:pt x="771" y="180"/>
                    <a:pt x="771" y="156"/>
                    <a:pt x="777" y="160"/>
                  </a:cubicBezTo>
                  <a:cubicBezTo>
                    <a:pt x="783" y="164"/>
                    <a:pt x="782" y="152"/>
                    <a:pt x="792" y="148"/>
                  </a:cubicBezTo>
                  <a:cubicBezTo>
                    <a:pt x="802" y="144"/>
                    <a:pt x="816" y="144"/>
                    <a:pt x="816" y="140"/>
                  </a:cubicBezTo>
                  <a:cubicBezTo>
                    <a:pt x="817" y="136"/>
                    <a:pt x="814" y="132"/>
                    <a:pt x="802" y="133"/>
                  </a:cubicBezTo>
                  <a:cubicBezTo>
                    <a:pt x="791" y="135"/>
                    <a:pt x="783" y="130"/>
                    <a:pt x="788" y="124"/>
                  </a:cubicBezTo>
                  <a:cubicBezTo>
                    <a:pt x="793" y="117"/>
                    <a:pt x="775" y="115"/>
                    <a:pt x="782" y="110"/>
                  </a:cubicBezTo>
                  <a:cubicBezTo>
                    <a:pt x="788" y="105"/>
                    <a:pt x="769" y="100"/>
                    <a:pt x="771" y="107"/>
                  </a:cubicBezTo>
                  <a:cubicBezTo>
                    <a:pt x="773" y="115"/>
                    <a:pt x="760" y="108"/>
                    <a:pt x="758" y="101"/>
                  </a:cubicBezTo>
                  <a:cubicBezTo>
                    <a:pt x="756" y="94"/>
                    <a:pt x="729" y="91"/>
                    <a:pt x="712" y="76"/>
                  </a:cubicBezTo>
                  <a:cubicBezTo>
                    <a:pt x="694" y="60"/>
                    <a:pt x="676" y="71"/>
                    <a:pt x="687" y="73"/>
                  </a:cubicBezTo>
                  <a:cubicBezTo>
                    <a:pt x="697" y="75"/>
                    <a:pt x="696" y="80"/>
                    <a:pt x="688" y="79"/>
                  </a:cubicBezTo>
                  <a:cubicBezTo>
                    <a:pt x="680" y="78"/>
                    <a:pt x="665" y="80"/>
                    <a:pt x="678" y="85"/>
                  </a:cubicBezTo>
                  <a:cubicBezTo>
                    <a:pt x="692" y="90"/>
                    <a:pt x="677" y="92"/>
                    <a:pt x="666" y="92"/>
                  </a:cubicBezTo>
                  <a:cubicBezTo>
                    <a:pt x="655" y="92"/>
                    <a:pt x="654" y="106"/>
                    <a:pt x="669" y="108"/>
                  </a:cubicBezTo>
                  <a:cubicBezTo>
                    <a:pt x="683" y="110"/>
                    <a:pt x="673" y="118"/>
                    <a:pt x="661" y="115"/>
                  </a:cubicBezTo>
                  <a:cubicBezTo>
                    <a:pt x="649" y="112"/>
                    <a:pt x="645" y="118"/>
                    <a:pt x="656" y="123"/>
                  </a:cubicBezTo>
                  <a:close/>
                  <a:moveTo>
                    <a:pt x="734" y="59"/>
                  </a:moveTo>
                  <a:cubicBezTo>
                    <a:pt x="743" y="53"/>
                    <a:pt x="750" y="57"/>
                    <a:pt x="742" y="61"/>
                  </a:cubicBezTo>
                  <a:cubicBezTo>
                    <a:pt x="734" y="65"/>
                    <a:pt x="737" y="67"/>
                    <a:pt x="748" y="67"/>
                  </a:cubicBezTo>
                  <a:cubicBezTo>
                    <a:pt x="759" y="66"/>
                    <a:pt x="744" y="70"/>
                    <a:pt x="744" y="76"/>
                  </a:cubicBezTo>
                  <a:cubicBezTo>
                    <a:pt x="744" y="83"/>
                    <a:pt x="756" y="79"/>
                    <a:pt x="757" y="86"/>
                  </a:cubicBezTo>
                  <a:cubicBezTo>
                    <a:pt x="758" y="92"/>
                    <a:pt x="785" y="95"/>
                    <a:pt x="794" y="87"/>
                  </a:cubicBezTo>
                  <a:cubicBezTo>
                    <a:pt x="802" y="79"/>
                    <a:pt x="799" y="89"/>
                    <a:pt x="798" y="94"/>
                  </a:cubicBezTo>
                  <a:cubicBezTo>
                    <a:pt x="798" y="99"/>
                    <a:pt x="838" y="104"/>
                    <a:pt x="840" y="97"/>
                  </a:cubicBezTo>
                  <a:cubicBezTo>
                    <a:pt x="842" y="91"/>
                    <a:pt x="847" y="93"/>
                    <a:pt x="855" y="95"/>
                  </a:cubicBezTo>
                  <a:cubicBezTo>
                    <a:pt x="863" y="97"/>
                    <a:pt x="901" y="88"/>
                    <a:pt x="902" y="80"/>
                  </a:cubicBezTo>
                  <a:cubicBezTo>
                    <a:pt x="902" y="73"/>
                    <a:pt x="914" y="84"/>
                    <a:pt x="902" y="93"/>
                  </a:cubicBezTo>
                  <a:cubicBezTo>
                    <a:pt x="889" y="101"/>
                    <a:pt x="865" y="100"/>
                    <a:pt x="854" y="103"/>
                  </a:cubicBezTo>
                  <a:cubicBezTo>
                    <a:pt x="843" y="106"/>
                    <a:pt x="861" y="114"/>
                    <a:pt x="872" y="122"/>
                  </a:cubicBezTo>
                  <a:cubicBezTo>
                    <a:pt x="883" y="131"/>
                    <a:pt x="858" y="126"/>
                    <a:pt x="847" y="115"/>
                  </a:cubicBezTo>
                  <a:cubicBezTo>
                    <a:pt x="837" y="104"/>
                    <a:pt x="814" y="104"/>
                    <a:pt x="802" y="105"/>
                  </a:cubicBezTo>
                  <a:cubicBezTo>
                    <a:pt x="789" y="106"/>
                    <a:pt x="793" y="128"/>
                    <a:pt x="802" y="128"/>
                  </a:cubicBezTo>
                  <a:cubicBezTo>
                    <a:pt x="811" y="128"/>
                    <a:pt x="820" y="131"/>
                    <a:pt x="829" y="146"/>
                  </a:cubicBezTo>
                  <a:cubicBezTo>
                    <a:pt x="838" y="160"/>
                    <a:pt x="858" y="156"/>
                    <a:pt x="858" y="163"/>
                  </a:cubicBezTo>
                  <a:cubicBezTo>
                    <a:pt x="858" y="169"/>
                    <a:pt x="833" y="158"/>
                    <a:pt x="818" y="155"/>
                  </a:cubicBezTo>
                  <a:cubicBezTo>
                    <a:pt x="804" y="153"/>
                    <a:pt x="782" y="162"/>
                    <a:pt x="781" y="172"/>
                  </a:cubicBezTo>
                  <a:cubicBezTo>
                    <a:pt x="780" y="182"/>
                    <a:pt x="802" y="181"/>
                    <a:pt x="816" y="173"/>
                  </a:cubicBezTo>
                  <a:cubicBezTo>
                    <a:pt x="830" y="164"/>
                    <a:pt x="820" y="175"/>
                    <a:pt x="813" y="182"/>
                  </a:cubicBezTo>
                  <a:cubicBezTo>
                    <a:pt x="805" y="188"/>
                    <a:pt x="829" y="193"/>
                    <a:pt x="829" y="201"/>
                  </a:cubicBezTo>
                  <a:cubicBezTo>
                    <a:pt x="829" y="209"/>
                    <a:pt x="812" y="206"/>
                    <a:pt x="810" y="199"/>
                  </a:cubicBezTo>
                  <a:cubicBezTo>
                    <a:pt x="808" y="192"/>
                    <a:pt x="802" y="185"/>
                    <a:pt x="785" y="186"/>
                  </a:cubicBezTo>
                  <a:cubicBezTo>
                    <a:pt x="768" y="187"/>
                    <a:pt x="773" y="199"/>
                    <a:pt x="783" y="200"/>
                  </a:cubicBezTo>
                  <a:cubicBezTo>
                    <a:pt x="793" y="202"/>
                    <a:pt x="794" y="209"/>
                    <a:pt x="782" y="209"/>
                  </a:cubicBezTo>
                  <a:cubicBezTo>
                    <a:pt x="771" y="209"/>
                    <a:pt x="744" y="217"/>
                    <a:pt x="753" y="224"/>
                  </a:cubicBezTo>
                  <a:cubicBezTo>
                    <a:pt x="762" y="233"/>
                    <a:pt x="794" y="224"/>
                    <a:pt x="800" y="229"/>
                  </a:cubicBezTo>
                  <a:cubicBezTo>
                    <a:pt x="806" y="235"/>
                    <a:pt x="822" y="236"/>
                    <a:pt x="826" y="231"/>
                  </a:cubicBezTo>
                  <a:cubicBezTo>
                    <a:pt x="830" y="225"/>
                    <a:pt x="843" y="227"/>
                    <a:pt x="856" y="227"/>
                  </a:cubicBezTo>
                  <a:cubicBezTo>
                    <a:pt x="869" y="227"/>
                    <a:pt x="872" y="229"/>
                    <a:pt x="878" y="235"/>
                  </a:cubicBezTo>
                  <a:cubicBezTo>
                    <a:pt x="884" y="240"/>
                    <a:pt x="894" y="238"/>
                    <a:pt x="901" y="233"/>
                  </a:cubicBezTo>
                  <a:cubicBezTo>
                    <a:pt x="908" y="227"/>
                    <a:pt x="908" y="227"/>
                    <a:pt x="917" y="227"/>
                  </a:cubicBezTo>
                  <a:cubicBezTo>
                    <a:pt x="926" y="227"/>
                    <a:pt x="928" y="222"/>
                    <a:pt x="924" y="215"/>
                  </a:cubicBezTo>
                  <a:cubicBezTo>
                    <a:pt x="919" y="207"/>
                    <a:pt x="907" y="220"/>
                    <a:pt x="906" y="215"/>
                  </a:cubicBezTo>
                  <a:cubicBezTo>
                    <a:pt x="905" y="208"/>
                    <a:pt x="894" y="206"/>
                    <a:pt x="876" y="209"/>
                  </a:cubicBezTo>
                  <a:cubicBezTo>
                    <a:pt x="858" y="211"/>
                    <a:pt x="865" y="197"/>
                    <a:pt x="876" y="200"/>
                  </a:cubicBezTo>
                  <a:cubicBezTo>
                    <a:pt x="887" y="204"/>
                    <a:pt x="902" y="202"/>
                    <a:pt x="914" y="199"/>
                  </a:cubicBezTo>
                  <a:cubicBezTo>
                    <a:pt x="927" y="196"/>
                    <a:pt x="917" y="190"/>
                    <a:pt x="917" y="185"/>
                  </a:cubicBezTo>
                  <a:cubicBezTo>
                    <a:pt x="917" y="180"/>
                    <a:pt x="933" y="183"/>
                    <a:pt x="944" y="183"/>
                  </a:cubicBezTo>
                  <a:cubicBezTo>
                    <a:pt x="956" y="183"/>
                    <a:pt x="973" y="164"/>
                    <a:pt x="973" y="153"/>
                  </a:cubicBezTo>
                  <a:cubicBezTo>
                    <a:pt x="974" y="142"/>
                    <a:pt x="947" y="145"/>
                    <a:pt x="934" y="145"/>
                  </a:cubicBezTo>
                  <a:cubicBezTo>
                    <a:pt x="922" y="145"/>
                    <a:pt x="943" y="135"/>
                    <a:pt x="967" y="136"/>
                  </a:cubicBezTo>
                  <a:cubicBezTo>
                    <a:pt x="992" y="138"/>
                    <a:pt x="981" y="127"/>
                    <a:pt x="985" y="123"/>
                  </a:cubicBezTo>
                  <a:cubicBezTo>
                    <a:pt x="990" y="119"/>
                    <a:pt x="1002" y="127"/>
                    <a:pt x="1014" y="125"/>
                  </a:cubicBezTo>
                  <a:cubicBezTo>
                    <a:pt x="1026" y="122"/>
                    <a:pt x="1018" y="112"/>
                    <a:pt x="1026" y="112"/>
                  </a:cubicBezTo>
                  <a:cubicBezTo>
                    <a:pt x="1032" y="112"/>
                    <a:pt x="1045" y="103"/>
                    <a:pt x="1072" y="88"/>
                  </a:cubicBezTo>
                  <a:cubicBezTo>
                    <a:pt x="1098" y="73"/>
                    <a:pt x="1119" y="76"/>
                    <a:pt x="1120" y="67"/>
                  </a:cubicBezTo>
                  <a:cubicBezTo>
                    <a:pt x="1122" y="59"/>
                    <a:pt x="1084" y="67"/>
                    <a:pt x="1077" y="65"/>
                  </a:cubicBezTo>
                  <a:cubicBezTo>
                    <a:pt x="1071" y="62"/>
                    <a:pt x="1104" y="55"/>
                    <a:pt x="1111" y="57"/>
                  </a:cubicBezTo>
                  <a:cubicBezTo>
                    <a:pt x="1119" y="59"/>
                    <a:pt x="1129" y="57"/>
                    <a:pt x="1156" y="44"/>
                  </a:cubicBezTo>
                  <a:cubicBezTo>
                    <a:pt x="1182" y="31"/>
                    <a:pt x="1171" y="28"/>
                    <a:pt x="1160" y="30"/>
                  </a:cubicBezTo>
                  <a:cubicBezTo>
                    <a:pt x="1149" y="32"/>
                    <a:pt x="1136" y="28"/>
                    <a:pt x="1137" y="21"/>
                  </a:cubicBezTo>
                  <a:cubicBezTo>
                    <a:pt x="1138" y="14"/>
                    <a:pt x="1121" y="20"/>
                    <a:pt x="1120" y="16"/>
                  </a:cubicBezTo>
                  <a:cubicBezTo>
                    <a:pt x="1120" y="13"/>
                    <a:pt x="1104" y="15"/>
                    <a:pt x="1087" y="21"/>
                  </a:cubicBezTo>
                  <a:cubicBezTo>
                    <a:pt x="1071" y="27"/>
                    <a:pt x="1086" y="15"/>
                    <a:pt x="1093" y="12"/>
                  </a:cubicBezTo>
                  <a:cubicBezTo>
                    <a:pt x="1100" y="9"/>
                    <a:pt x="1051" y="12"/>
                    <a:pt x="1042" y="6"/>
                  </a:cubicBezTo>
                  <a:cubicBezTo>
                    <a:pt x="1034" y="0"/>
                    <a:pt x="1024" y="16"/>
                    <a:pt x="1016" y="8"/>
                  </a:cubicBezTo>
                  <a:cubicBezTo>
                    <a:pt x="1009" y="0"/>
                    <a:pt x="989" y="7"/>
                    <a:pt x="991" y="13"/>
                  </a:cubicBezTo>
                  <a:cubicBezTo>
                    <a:pt x="994" y="18"/>
                    <a:pt x="988" y="18"/>
                    <a:pt x="980" y="12"/>
                  </a:cubicBezTo>
                  <a:cubicBezTo>
                    <a:pt x="973" y="6"/>
                    <a:pt x="958" y="13"/>
                    <a:pt x="944" y="11"/>
                  </a:cubicBezTo>
                  <a:cubicBezTo>
                    <a:pt x="931" y="9"/>
                    <a:pt x="936" y="22"/>
                    <a:pt x="922" y="15"/>
                  </a:cubicBezTo>
                  <a:cubicBezTo>
                    <a:pt x="907" y="9"/>
                    <a:pt x="891" y="12"/>
                    <a:pt x="895" y="14"/>
                  </a:cubicBezTo>
                  <a:cubicBezTo>
                    <a:pt x="900" y="16"/>
                    <a:pt x="894" y="20"/>
                    <a:pt x="887" y="18"/>
                  </a:cubicBezTo>
                  <a:cubicBezTo>
                    <a:pt x="881" y="16"/>
                    <a:pt x="875" y="18"/>
                    <a:pt x="878" y="25"/>
                  </a:cubicBezTo>
                  <a:cubicBezTo>
                    <a:pt x="882" y="31"/>
                    <a:pt x="854" y="23"/>
                    <a:pt x="854" y="30"/>
                  </a:cubicBezTo>
                  <a:cubicBezTo>
                    <a:pt x="854" y="37"/>
                    <a:pt x="845" y="41"/>
                    <a:pt x="837" y="35"/>
                  </a:cubicBezTo>
                  <a:cubicBezTo>
                    <a:pt x="829" y="28"/>
                    <a:pt x="805" y="26"/>
                    <a:pt x="812" y="32"/>
                  </a:cubicBezTo>
                  <a:cubicBezTo>
                    <a:pt x="819" y="38"/>
                    <a:pt x="790" y="35"/>
                    <a:pt x="798" y="40"/>
                  </a:cubicBezTo>
                  <a:cubicBezTo>
                    <a:pt x="805" y="46"/>
                    <a:pt x="788" y="51"/>
                    <a:pt x="788" y="47"/>
                  </a:cubicBezTo>
                  <a:cubicBezTo>
                    <a:pt x="788" y="44"/>
                    <a:pt x="772" y="38"/>
                    <a:pt x="765" y="44"/>
                  </a:cubicBezTo>
                  <a:cubicBezTo>
                    <a:pt x="759" y="50"/>
                    <a:pt x="757" y="57"/>
                    <a:pt x="754" y="53"/>
                  </a:cubicBezTo>
                  <a:cubicBezTo>
                    <a:pt x="751" y="49"/>
                    <a:pt x="736" y="51"/>
                    <a:pt x="723" y="56"/>
                  </a:cubicBezTo>
                  <a:cubicBezTo>
                    <a:pt x="709" y="61"/>
                    <a:pt x="725" y="65"/>
                    <a:pt x="734" y="59"/>
                  </a:cubicBezTo>
                  <a:close/>
                  <a:moveTo>
                    <a:pt x="896" y="616"/>
                  </a:moveTo>
                  <a:cubicBezTo>
                    <a:pt x="901" y="615"/>
                    <a:pt x="910" y="599"/>
                    <a:pt x="898" y="600"/>
                  </a:cubicBezTo>
                  <a:cubicBezTo>
                    <a:pt x="887" y="600"/>
                    <a:pt x="889" y="617"/>
                    <a:pt x="896" y="616"/>
                  </a:cubicBezTo>
                  <a:close/>
                  <a:moveTo>
                    <a:pt x="840" y="602"/>
                  </a:moveTo>
                  <a:cubicBezTo>
                    <a:pt x="850" y="608"/>
                    <a:pt x="865" y="591"/>
                    <a:pt x="864" y="586"/>
                  </a:cubicBezTo>
                  <a:cubicBezTo>
                    <a:pt x="863" y="580"/>
                    <a:pt x="827" y="594"/>
                    <a:pt x="840" y="602"/>
                  </a:cubicBezTo>
                  <a:close/>
                  <a:moveTo>
                    <a:pt x="886" y="566"/>
                  </a:moveTo>
                  <a:cubicBezTo>
                    <a:pt x="887" y="560"/>
                    <a:pt x="865" y="557"/>
                    <a:pt x="866" y="550"/>
                  </a:cubicBezTo>
                  <a:cubicBezTo>
                    <a:pt x="867" y="543"/>
                    <a:pt x="845" y="537"/>
                    <a:pt x="838" y="533"/>
                  </a:cubicBezTo>
                  <a:cubicBezTo>
                    <a:pt x="831" y="529"/>
                    <a:pt x="820" y="527"/>
                    <a:pt x="820" y="520"/>
                  </a:cubicBezTo>
                  <a:cubicBezTo>
                    <a:pt x="820" y="512"/>
                    <a:pt x="804" y="518"/>
                    <a:pt x="804" y="529"/>
                  </a:cubicBezTo>
                  <a:cubicBezTo>
                    <a:pt x="803" y="541"/>
                    <a:pt x="796" y="538"/>
                    <a:pt x="800" y="549"/>
                  </a:cubicBezTo>
                  <a:cubicBezTo>
                    <a:pt x="803" y="560"/>
                    <a:pt x="785" y="563"/>
                    <a:pt x="787" y="569"/>
                  </a:cubicBezTo>
                  <a:cubicBezTo>
                    <a:pt x="789" y="575"/>
                    <a:pt x="798" y="568"/>
                    <a:pt x="805" y="568"/>
                  </a:cubicBezTo>
                  <a:cubicBezTo>
                    <a:pt x="813" y="568"/>
                    <a:pt x="803" y="579"/>
                    <a:pt x="813" y="580"/>
                  </a:cubicBezTo>
                  <a:cubicBezTo>
                    <a:pt x="821" y="580"/>
                    <a:pt x="834" y="571"/>
                    <a:pt x="838" y="566"/>
                  </a:cubicBezTo>
                  <a:cubicBezTo>
                    <a:pt x="841" y="561"/>
                    <a:pt x="847" y="559"/>
                    <a:pt x="856" y="566"/>
                  </a:cubicBezTo>
                  <a:cubicBezTo>
                    <a:pt x="865" y="572"/>
                    <a:pt x="885" y="573"/>
                    <a:pt x="886" y="566"/>
                  </a:cubicBezTo>
                  <a:close/>
                  <a:moveTo>
                    <a:pt x="1097" y="509"/>
                  </a:moveTo>
                  <a:cubicBezTo>
                    <a:pt x="1105" y="510"/>
                    <a:pt x="1106" y="520"/>
                    <a:pt x="1118" y="530"/>
                  </a:cubicBezTo>
                  <a:cubicBezTo>
                    <a:pt x="1131" y="540"/>
                    <a:pt x="1132" y="533"/>
                    <a:pt x="1134" y="526"/>
                  </a:cubicBezTo>
                  <a:cubicBezTo>
                    <a:pt x="1136" y="519"/>
                    <a:pt x="1149" y="525"/>
                    <a:pt x="1149" y="518"/>
                  </a:cubicBezTo>
                  <a:cubicBezTo>
                    <a:pt x="1148" y="511"/>
                    <a:pt x="1160" y="502"/>
                    <a:pt x="1167" y="499"/>
                  </a:cubicBezTo>
                  <a:cubicBezTo>
                    <a:pt x="1175" y="496"/>
                    <a:pt x="1161" y="488"/>
                    <a:pt x="1151" y="489"/>
                  </a:cubicBezTo>
                  <a:cubicBezTo>
                    <a:pt x="1140" y="489"/>
                    <a:pt x="1138" y="482"/>
                    <a:pt x="1138" y="478"/>
                  </a:cubicBezTo>
                  <a:cubicBezTo>
                    <a:pt x="1138" y="473"/>
                    <a:pt x="1119" y="462"/>
                    <a:pt x="1113" y="464"/>
                  </a:cubicBezTo>
                  <a:cubicBezTo>
                    <a:pt x="1106" y="466"/>
                    <a:pt x="1095" y="456"/>
                    <a:pt x="1087" y="455"/>
                  </a:cubicBezTo>
                  <a:cubicBezTo>
                    <a:pt x="1078" y="455"/>
                    <a:pt x="1066" y="448"/>
                    <a:pt x="1067" y="439"/>
                  </a:cubicBezTo>
                  <a:cubicBezTo>
                    <a:pt x="1069" y="430"/>
                    <a:pt x="1084" y="442"/>
                    <a:pt x="1087" y="435"/>
                  </a:cubicBezTo>
                  <a:cubicBezTo>
                    <a:pt x="1091" y="427"/>
                    <a:pt x="1071" y="431"/>
                    <a:pt x="1071" y="426"/>
                  </a:cubicBezTo>
                  <a:cubicBezTo>
                    <a:pt x="1070" y="421"/>
                    <a:pt x="1075" y="423"/>
                    <a:pt x="1079" y="420"/>
                  </a:cubicBezTo>
                  <a:cubicBezTo>
                    <a:pt x="1083" y="416"/>
                    <a:pt x="1076" y="410"/>
                    <a:pt x="1071" y="407"/>
                  </a:cubicBezTo>
                  <a:cubicBezTo>
                    <a:pt x="1067" y="405"/>
                    <a:pt x="1065" y="413"/>
                    <a:pt x="1061" y="413"/>
                  </a:cubicBezTo>
                  <a:cubicBezTo>
                    <a:pt x="1056" y="413"/>
                    <a:pt x="1060" y="406"/>
                    <a:pt x="1064" y="401"/>
                  </a:cubicBezTo>
                  <a:cubicBezTo>
                    <a:pt x="1067" y="396"/>
                    <a:pt x="1049" y="391"/>
                    <a:pt x="1041" y="394"/>
                  </a:cubicBezTo>
                  <a:cubicBezTo>
                    <a:pt x="1033" y="396"/>
                    <a:pt x="1031" y="392"/>
                    <a:pt x="1031" y="387"/>
                  </a:cubicBezTo>
                  <a:cubicBezTo>
                    <a:pt x="1031" y="382"/>
                    <a:pt x="1017" y="387"/>
                    <a:pt x="1012" y="391"/>
                  </a:cubicBezTo>
                  <a:cubicBezTo>
                    <a:pt x="1007" y="395"/>
                    <a:pt x="1000" y="387"/>
                    <a:pt x="1007" y="386"/>
                  </a:cubicBezTo>
                  <a:cubicBezTo>
                    <a:pt x="1013" y="386"/>
                    <a:pt x="1021" y="380"/>
                    <a:pt x="1019" y="375"/>
                  </a:cubicBezTo>
                  <a:cubicBezTo>
                    <a:pt x="1017" y="369"/>
                    <a:pt x="1000" y="368"/>
                    <a:pt x="997" y="375"/>
                  </a:cubicBezTo>
                  <a:cubicBezTo>
                    <a:pt x="994" y="382"/>
                    <a:pt x="980" y="367"/>
                    <a:pt x="980" y="362"/>
                  </a:cubicBezTo>
                  <a:cubicBezTo>
                    <a:pt x="980" y="356"/>
                    <a:pt x="960" y="361"/>
                    <a:pt x="962" y="351"/>
                  </a:cubicBezTo>
                  <a:cubicBezTo>
                    <a:pt x="965" y="342"/>
                    <a:pt x="938" y="339"/>
                    <a:pt x="931" y="339"/>
                  </a:cubicBezTo>
                  <a:cubicBezTo>
                    <a:pt x="924" y="339"/>
                    <a:pt x="914" y="345"/>
                    <a:pt x="915" y="351"/>
                  </a:cubicBezTo>
                  <a:cubicBezTo>
                    <a:pt x="916" y="358"/>
                    <a:pt x="907" y="355"/>
                    <a:pt x="906" y="348"/>
                  </a:cubicBezTo>
                  <a:cubicBezTo>
                    <a:pt x="905" y="341"/>
                    <a:pt x="887" y="356"/>
                    <a:pt x="882" y="356"/>
                  </a:cubicBezTo>
                  <a:cubicBezTo>
                    <a:pt x="877" y="356"/>
                    <a:pt x="885" y="337"/>
                    <a:pt x="883" y="331"/>
                  </a:cubicBezTo>
                  <a:cubicBezTo>
                    <a:pt x="880" y="326"/>
                    <a:pt x="876" y="324"/>
                    <a:pt x="873" y="314"/>
                  </a:cubicBezTo>
                  <a:cubicBezTo>
                    <a:pt x="869" y="304"/>
                    <a:pt x="849" y="308"/>
                    <a:pt x="844" y="314"/>
                  </a:cubicBezTo>
                  <a:cubicBezTo>
                    <a:pt x="839" y="320"/>
                    <a:pt x="822" y="317"/>
                    <a:pt x="813" y="326"/>
                  </a:cubicBezTo>
                  <a:cubicBezTo>
                    <a:pt x="804" y="335"/>
                    <a:pt x="814" y="344"/>
                    <a:pt x="818" y="347"/>
                  </a:cubicBezTo>
                  <a:cubicBezTo>
                    <a:pt x="822" y="351"/>
                    <a:pt x="804" y="356"/>
                    <a:pt x="810" y="361"/>
                  </a:cubicBezTo>
                  <a:cubicBezTo>
                    <a:pt x="816" y="366"/>
                    <a:pt x="825" y="364"/>
                    <a:pt x="825" y="372"/>
                  </a:cubicBezTo>
                  <a:cubicBezTo>
                    <a:pt x="826" y="380"/>
                    <a:pt x="804" y="369"/>
                    <a:pt x="801" y="362"/>
                  </a:cubicBezTo>
                  <a:cubicBezTo>
                    <a:pt x="798" y="355"/>
                    <a:pt x="802" y="349"/>
                    <a:pt x="798" y="344"/>
                  </a:cubicBezTo>
                  <a:cubicBezTo>
                    <a:pt x="793" y="338"/>
                    <a:pt x="797" y="332"/>
                    <a:pt x="805" y="323"/>
                  </a:cubicBezTo>
                  <a:cubicBezTo>
                    <a:pt x="814" y="314"/>
                    <a:pt x="820" y="315"/>
                    <a:pt x="820" y="310"/>
                  </a:cubicBezTo>
                  <a:cubicBezTo>
                    <a:pt x="820" y="305"/>
                    <a:pt x="784" y="305"/>
                    <a:pt x="763" y="324"/>
                  </a:cubicBezTo>
                  <a:cubicBezTo>
                    <a:pt x="742" y="344"/>
                    <a:pt x="748" y="369"/>
                    <a:pt x="749" y="375"/>
                  </a:cubicBezTo>
                  <a:cubicBezTo>
                    <a:pt x="751" y="380"/>
                    <a:pt x="769" y="377"/>
                    <a:pt x="780" y="380"/>
                  </a:cubicBezTo>
                  <a:cubicBezTo>
                    <a:pt x="791" y="384"/>
                    <a:pt x="785" y="388"/>
                    <a:pt x="777" y="387"/>
                  </a:cubicBezTo>
                  <a:cubicBezTo>
                    <a:pt x="769" y="386"/>
                    <a:pt x="754" y="383"/>
                    <a:pt x="755" y="389"/>
                  </a:cubicBezTo>
                  <a:cubicBezTo>
                    <a:pt x="756" y="395"/>
                    <a:pt x="773" y="406"/>
                    <a:pt x="784" y="403"/>
                  </a:cubicBezTo>
                  <a:cubicBezTo>
                    <a:pt x="794" y="400"/>
                    <a:pt x="794" y="400"/>
                    <a:pt x="798" y="406"/>
                  </a:cubicBezTo>
                  <a:cubicBezTo>
                    <a:pt x="803" y="412"/>
                    <a:pt x="815" y="410"/>
                    <a:pt x="827" y="411"/>
                  </a:cubicBezTo>
                  <a:cubicBezTo>
                    <a:pt x="840" y="411"/>
                    <a:pt x="854" y="416"/>
                    <a:pt x="860" y="416"/>
                  </a:cubicBezTo>
                  <a:cubicBezTo>
                    <a:pt x="865" y="417"/>
                    <a:pt x="873" y="413"/>
                    <a:pt x="874" y="410"/>
                  </a:cubicBezTo>
                  <a:cubicBezTo>
                    <a:pt x="876" y="407"/>
                    <a:pt x="900" y="415"/>
                    <a:pt x="907" y="415"/>
                  </a:cubicBezTo>
                  <a:cubicBezTo>
                    <a:pt x="914" y="414"/>
                    <a:pt x="910" y="407"/>
                    <a:pt x="905" y="406"/>
                  </a:cubicBezTo>
                  <a:cubicBezTo>
                    <a:pt x="901" y="404"/>
                    <a:pt x="903" y="395"/>
                    <a:pt x="909" y="398"/>
                  </a:cubicBezTo>
                  <a:cubicBezTo>
                    <a:pt x="914" y="402"/>
                    <a:pt x="924" y="404"/>
                    <a:pt x="926" y="409"/>
                  </a:cubicBezTo>
                  <a:cubicBezTo>
                    <a:pt x="928" y="414"/>
                    <a:pt x="933" y="412"/>
                    <a:pt x="934" y="416"/>
                  </a:cubicBezTo>
                  <a:cubicBezTo>
                    <a:pt x="934" y="421"/>
                    <a:pt x="955" y="426"/>
                    <a:pt x="956" y="431"/>
                  </a:cubicBezTo>
                  <a:cubicBezTo>
                    <a:pt x="956" y="437"/>
                    <a:pt x="936" y="439"/>
                    <a:pt x="942" y="444"/>
                  </a:cubicBezTo>
                  <a:cubicBezTo>
                    <a:pt x="947" y="448"/>
                    <a:pt x="956" y="438"/>
                    <a:pt x="964" y="437"/>
                  </a:cubicBezTo>
                  <a:cubicBezTo>
                    <a:pt x="972" y="437"/>
                    <a:pt x="972" y="454"/>
                    <a:pt x="978" y="451"/>
                  </a:cubicBezTo>
                  <a:cubicBezTo>
                    <a:pt x="986" y="448"/>
                    <a:pt x="992" y="455"/>
                    <a:pt x="1000" y="466"/>
                  </a:cubicBezTo>
                  <a:cubicBezTo>
                    <a:pt x="1007" y="477"/>
                    <a:pt x="999" y="487"/>
                    <a:pt x="1000" y="491"/>
                  </a:cubicBezTo>
                  <a:cubicBezTo>
                    <a:pt x="1000" y="495"/>
                    <a:pt x="1015" y="493"/>
                    <a:pt x="1024" y="489"/>
                  </a:cubicBezTo>
                  <a:cubicBezTo>
                    <a:pt x="1032" y="484"/>
                    <a:pt x="1040" y="494"/>
                    <a:pt x="1046" y="500"/>
                  </a:cubicBezTo>
                  <a:cubicBezTo>
                    <a:pt x="1053" y="506"/>
                    <a:pt x="1022" y="515"/>
                    <a:pt x="1025" y="510"/>
                  </a:cubicBezTo>
                  <a:cubicBezTo>
                    <a:pt x="1027" y="505"/>
                    <a:pt x="1007" y="489"/>
                    <a:pt x="988" y="497"/>
                  </a:cubicBezTo>
                  <a:cubicBezTo>
                    <a:pt x="969" y="504"/>
                    <a:pt x="982" y="515"/>
                    <a:pt x="984" y="521"/>
                  </a:cubicBezTo>
                  <a:cubicBezTo>
                    <a:pt x="986" y="527"/>
                    <a:pt x="967" y="534"/>
                    <a:pt x="950" y="528"/>
                  </a:cubicBezTo>
                  <a:cubicBezTo>
                    <a:pt x="933" y="522"/>
                    <a:pt x="938" y="532"/>
                    <a:pt x="931" y="532"/>
                  </a:cubicBezTo>
                  <a:cubicBezTo>
                    <a:pt x="924" y="532"/>
                    <a:pt x="916" y="543"/>
                    <a:pt x="922" y="550"/>
                  </a:cubicBezTo>
                  <a:cubicBezTo>
                    <a:pt x="929" y="557"/>
                    <a:pt x="943" y="551"/>
                    <a:pt x="954" y="551"/>
                  </a:cubicBezTo>
                  <a:cubicBezTo>
                    <a:pt x="966" y="552"/>
                    <a:pt x="967" y="555"/>
                    <a:pt x="969" y="549"/>
                  </a:cubicBezTo>
                  <a:cubicBezTo>
                    <a:pt x="970" y="542"/>
                    <a:pt x="982" y="546"/>
                    <a:pt x="991" y="547"/>
                  </a:cubicBezTo>
                  <a:cubicBezTo>
                    <a:pt x="999" y="549"/>
                    <a:pt x="997" y="561"/>
                    <a:pt x="1007" y="562"/>
                  </a:cubicBezTo>
                  <a:cubicBezTo>
                    <a:pt x="1018" y="564"/>
                    <a:pt x="1009" y="574"/>
                    <a:pt x="1016" y="581"/>
                  </a:cubicBezTo>
                  <a:cubicBezTo>
                    <a:pt x="1022" y="588"/>
                    <a:pt x="1043" y="584"/>
                    <a:pt x="1051" y="592"/>
                  </a:cubicBezTo>
                  <a:cubicBezTo>
                    <a:pt x="1058" y="600"/>
                    <a:pt x="1091" y="615"/>
                    <a:pt x="1096" y="609"/>
                  </a:cubicBezTo>
                  <a:cubicBezTo>
                    <a:pt x="1101" y="603"/>
                    <a:pt x="1067" y="573"/>
                    <a:pt x="1058" y="571"/>
                  </a:cubicBezTo>
                  <a:cubicBezTo>
                    <a:pt x="1048" y="568"/>
                    <a:pt x="1067" y="565"/>
                    <a:pt x="1080" y="575"/>
                  </a:cubicBezTo>
                  <a:cubicBezTo>
                    <a:pt x="1092" y="584"/>
                    <a:pt x="1110" y="589"/>
                    <a:pt x="1119" y="577"/>
                  </a:cubicBezTo>
                  <a:cubicBezTo>
                    <a:pt x="1128" y="566"/>
                    <a:pt x="1111" y="569"/>
                    <a:pt x="1111" y="560"/>
                  </a:cubicBezTo>
                  <a:cubicBezTo>
                    <a:pt x="1111" y="552"/>
                    <a:pt x="1105" y="540"/>
                    <a:pt x="1096" y="540"/>
                  </a:cubicBezTo>
                  <a:cubicBezTo>
                    <a:pt x="1087" y="540"/>
                    <a:pt x="1064" y="522"/>
                    <a:pt x="1073" y="518"/>
                  </a:cubicBezTo>
                  <a:cubicBezTo>
                    <a:pt x="1081" y="515"/>
                    <a:pt x="1070" y="509"/>
                    <a:pt x="1076" y="502"/>
                  </a:cubicBezTo>
                  <a:cubicBezTo>
                    <a:pt x="1083" y="495"/>
                    <a:pt x="1089" y="509"/>
                    <a:pt x="1097" y="509"/>
                  </a:cubicBezTo>
                  <a:close/>
                  <a:moveTo>
                    <a:pt x="961" y="478"/>
                  </a:moveTo>
                  <a:cubicBezTo>
                    <a:pt x="969" y="477"/>
                    <a:pt x="967" y="465"/>
                    <a:pt x="963" y="459"/>
                  </a:cubicBezTo>
                  <a:cubicBezTo>
                    <a:pt x="960" y="455"/>
                    <a:pt x="951" y="454"/>
                    <a:pt x="944" y="455"/>
                  </a:cubicBezTo>
                  <a:cubicBezTo>
                    <a:pt x="937" y="455"/>
                    <a:pt x="925" y="466"/>
                    <a:pt x="931" y="477"/>
                  </a:cubicBezTo>
                  <a:cubicBezTo>
                    <a:pt x="938" y="488"/>
                    <a:pt x="953" y="480"/>
                    <a:pt x="961" y="478"/>
                  </a:cubicBezTo>
                  <a:close/>
                  <a:moveTo>
                    <a:pt x="880" y="311"/>
                  </a:moveTo>
                  <a:cubicBezTo>
                    <a:pt x="876" y="319"/>
                    <a:pt x="889" y="319"/>
                    <a:pt x="889" y="329"/>
                  </a:cubicBezTo>
                  <a:cubicBezTo>
                    <a:pt x="890" y="338"/>
                    <a:pt x="902" y="342"/>
                    <a:pt x="911" y="336"/>
                  </a:cubicBezTo>
                  <a:cubicBezTo>
                    <a:pt x="920" y="330"/>
                    <a:pt x="946" y="338"/>
                    <a:pt x="946" y="330"/>
                  </a:cubicBezTo>
                  <a:cubicBezTo>
                    <a:pt x="946" y="323"/>
                    <a:pt x="919" y="310"/>
                    <a:pt x="909" y="312"/>
                  </a:cubicBezTo>
                  <a:cubicBezTo>
                    <a:pt x="900" y="314"/>
                    <a:pt x="884" y="302"/>
                    <a:pt x="880" y="311"/>
                  </a:cubicBezTo>
                  <a:close/>
                  <a:moveTo>
                    <a:pt x="1122" y="860"/>
                  </a:moveTo>
                  <a:cubicBezTo>
                    <a:pt x="1124" y="865"/>
                    <a:pt x="1161" y="880"/>
                    <a:pt x="1162" y="873"/>
                  </a:cubicBezTo>
                  <a:cubicBezTo>
                    <a:pt x="1164" y="866"/>
                    <a:pt x="1121" y="855"/>
                    <a:pt x="1122" y="860"/>
                  </a:cubicBezTo>
                  <a:close/>
                  <a:moveTo>
                    <a:pt x="1286" y="898"/>
                  </a:moveTo>
                  <a:cubicBezTo>
                    <a:pt x="1283" y="903"/>
                    <a:pt x="1279" y="895"/>
                    <a:pt x="1285" y="891"/>
                  </a:cubicBezTo>
                  <a:cubicBezTo>
                    <a:pt x="1291" y="886"/>
                    <a:pt x="1284" y="884"/>
                    <a:pt x="1279" y="887"/>
                  </a:cubicBezTo>
                  <a:cubicBezTo>
                    <a:pt x="1274" y="890"/>
                    <a:pt x="1275" y="875"/>
                    <a:pt x="1280" y="873"/>
                  </a:cubicBezTo>
                  <a:cubicBezTo>
                    <a:pt x="1285" y="870"/>
                    <a:pt x="1268" y="865"/>
                    <a:pt x="1268" y="870"/>
                  </a:cubicBezTo>
                  <a:cubicBezTo>
                    <a:pt x="1268" y="875"/>
                    <a:pt x="1257" y="872"/>
                    <a:pt x="1255" y="867"/>
                  </a:cubicBezTo>
                  <a:cubicBezTo>
                    <a:pt x="1254" y="863"/>
                    <a:pt x="1246" y="862"/>
                    <a:pt x="1249" y="859"/>
                  </a:cubicBezTo>
                  <a:cubicBezTo>
                    <a:pt x="1252" y="856"/>
                    <a:pt x="1239" y="854"/>
                    <a:pt x="1238" y="859"/>
                  </a:cubicBezTo>
                  <a:cubicBezTo>
                    <a:pt x="1236" y="864"/>
                    <a:pt x="1233" y="856"/>
                    <a:pt x="1239" y="849"/>
                  </a:cubicBezTo>
                  <a:cubicBezTo>
                    <a:pt x="1245" y="842"/>
                    <a:pt x="1243" y="836"/>
                    <a:pt x="1249" y="832"/>
                  </a:cubicBezTo>
                  <a:cubicBezTo>
                    <a:pt x="1255" y="829"/>
                    <a:pt x="1249" y="825"/>
                    <a:pt x="1242" y="828"/>
                  </a:cubicBezTo>
                  <a:cubicBezTo>
                    <a:pt x="1236" y="830"/>
                    <a:pt x="1219" y="854"/>
                    <a:pt x="1219" y="860"/>
                  </a:cubicBezTo>
                  <a:cubicBezTo>
                    <a:pt x="1219" y="867"/>
                    <a:pt x="1218" y="875"/>
                    <a:pt x="1212" y="874"/>
                  </a:cubicBezTo>
                  <a:cubicBezTo>
                    <a:pt x="1206" y="874"/>
                    <a:pt x="1199" y="879"/>
                    <a:pt x="1204" y="883"/>
                  </a:cubicBezTo>
                  <a:cubicBezTo>
                    <a:pt x="1209" y="886"/>
                    <a:pt x="1192" y="896"/>
                    <a:pt x="1200" y="900"/>
                  </a:cubicBezTo>
                  <a:cubicBezTo>
                    <a:pt x="1205" y="903"/>
                    <a:pt x="1214" y="899"/>
                    <a:pt x="1222" y="900"/>
                  </a:cubicBezTo>
                  <a:cubicBezTo>
                    <a:pt x="1230" y="901"/>
                    <a:pt x="1236" y="901"/>
                    <a:pt x="1243" y="897"/>
                  </a:cubicBezTo>
                  <a:cubicBezTo>
                    <a:pt x="1249" y="892"/>
                    <a:pt x="1249" y="901"/>
                    <a:pt x="1256" y="900"/>
                  </a:cubicBezTo>
                  <a:cubicBezTo>
                    <a:pt x="1263" y="899"/>
                    <a:pt x="1252" y="906"/>
                    <a:pt x="1253" y="910"/>
                  </a:cubicBezTo>
                  <a:cubicBezTo>
                    <a:pt x="1253" y="915"/>
                    <a:pt x="1260" y="908"/>
                    <a:pt x="1265" y="905"/>
                  </a:cubicBezTo>
                  <a:cubicBezTo>
                    <a:pt x="1270" y="903"/>
                    <a:pt x="1277" y="905"/>
                    <a:pt x="1274" y="909"/>
                  </a:cubicBezTo>
                  <a:cubicBezTo>
                    <a:pt x="1272" y="914"/>
                    <a:pt x="1288" y="918"/>
                    <a:pt x="1292" y="911"/>
                  </a:cubicBezTo>
                  <a:cubicBezTo>
                    <a:pt x="1296" y="904"/>
                    <a:pt x="1288" y="894"/>
                    <a:pt x="1286" y="898"/>
                  </a:cubicBezTo>
                  <a:close/>
                  <a:moveTo>
                    <a:pt x="120" y="780"/>
                  </a:moveTo>
                  <a:cubicBezTo>
                    <a:pt x="108" y="786"/>
                    <a:pt x="136" y="815"/>
                    <a:pt x="142" y="812"/>
                  </a:cubicBezTo>
                  <a:cubicBezTo>
                    <a:pt x="146" y="809"/>
                    <a:pt x="135" y="797"/>
                    <a:pt x="135" y="789"/>
                  </a:cubicBezTo>
                  <a:cubicBezTo>
                    <a:pt x="135" y="782"/>
                    <a:pt x="131" y="774"/>
                    <a:pt x="120" y="780"/>
                  </a:cubicBezTo>
                  <a:close/>
                  <a:moveTo>
                    <a:pt x="1183" y="927"/>
                  </a:moveTo>
                  <a:cubicBezTo>
                    <a:pt x="1178" y="928"/>
                    <a:pt x="1182" y="920"/>
                    <a:pt x="1183" y="917"/>
                  </a:cubicBezTo>
                  <a:cubicBezTo>
                    <a:pt x="1183" y="913"/>
                    <a:pt x="1173" y="918"/>
                    <a:pt x="1173" y="923"/>
                  </a:cubicBezTo>
                  <a:cubicBezTo>
                    <a:pt x="1172" y="927"/>
                    <a:pt x="1165" y="928"/>
                    <a:pt x="1165" y="931"/>
                  </a:cubicBezTo>
                  <a:cubicBezTo>
                    <a:pt x="1165" y="939"/>
                    <a:pt x="1164" y="935"/>
                    <a:pt x="1159" y="937"/>
                  </a:cubicBezTo>
                  <a:cubicBezTo>
                    <a:pt x="1154" y="940"/>
                    <a:pt x="1134" y="937"/>
                    <a:pt x="1133" y="933"/>
                  </a:cubicBezTo>
                  <a:cubicBezTo>
                    <a:pt x="1133" y="928"/>
                    <a:pt x="1118" y="926"/>
                    <a:pt x="1117" y="920"/>
                  </a:cubicBezTo>
                  <a:cubicBezTo>
                    <a:pt x="1117" y="914"/>
                    <a:pt x="1110" y="912"/>
                    <a:pt x="1115" y="905"/>
                  </a:cubicBezTo>
                  <a:cubicBezTo>
                    <a:pt x="1121" y="898"/>
                    <a:pt x="1114" y="895"/>
                    <a:pt x="1109" y="900"/>
                  </a:cubicBezTo>
                  <a:cubicBezTo>
                    <a:pt x="1104" y="905"/>
                    <a:pt x="1100" y="897"/>
                    <a:pt x="1108" y="894"/>
                  </a:cubicBezTo>
                  <a:cubicBezTo>
                    <a:pt x="1115" y="891"/>
                    <a:pt x="1129" y="888"/>
                    <a:pt x="1122" y="876"/>
                  </a:cubicBezTo>
                  <a:cubicBezTo>
                    <a:pt x="1115" y="863"/>
                    <a:pt x="1070" y="879"/>
                    <a:pt x="1059" y="886"/>
                  </a:cubicBezTo>
                  <a:cubicBezTo>
                    <a:pt x="1048" y="892"/>
                    <a:pt x="1034" y="913"/>
                    <a:pt x="1027" y="913"/>
                  </a:cubicBezTo>
                  <a:cubicBezTo>
                    <a:pt x="1021" y="913"/>
                    <a:pt x="1038" y="902"/>
                    <a:pt x="1041" y="898"/>
                  </a:cubicBezTo>
                  <a:cubicBezTo>
                    <a:pt x="1043" y="894"/>
                    <a:pt x="1040" y="889"/>
                    <a:pt x="1044" y="891"/>
                  </a:cubicBezTo>
                  <a:cubicBezTo>
                    <a:pt x="1047" y="893"/>
                    <a:pt x="1057" y="877"/>
                    <a:pt x="1064" y="872"/>
                  </a:cubicBezTo>
                  <a:cubicBezTo>
                    <a:pt x="1071" y="867"/>
                    <a:pt x="1078" y="872"/>
                    <a:pt x="1079" y="867"/>
                  </a:cubicBezTo>
                  <a:cubicBezTo>
                    <a:pt x="1080" y="863"/>
                    <a:pt x="1083" y="860"/>
                    <a:pt x="1090" y="855"/>
                  </a:cubicBezTo>
                  <a:cubicBezTo>
                    <a:pt x="1096" y="849"/>
                    <a:pt x="1173" y="850"/>
                    <a:pt x="1181" y="850"/>
                  </a:cubicBezTo>
                  <a:cubicBezTo>
                    <a:pt x="1188" y="850"/>
                    <a:pt x="1203" y="840"/>
                    <a:pt x="1207" y="834"/>
                  </a:cubicBezTo>
                  <a:cubicBezTo>
                    <a:pt x="1211" y="827"/>
                    <a:pt x="1216" y="827"/>
                    <a:pt x="1227" y="828"/>
                  </a:cubicBezTo>
                  <a:cubicBezTo>
                    <a:pt x="1237" y="829"/>
                    <a:pt x="1242" y="819"/>
                    <a:pt x="1247" y="816"/>
                  </a:cubicBezTo>
                  <a:cubicBezTo>
                    <a:pt x="1252" y="812"/>
                    <a:pt x="1250" y="811"/>
                    <a:pt x="1246" y="810"/>
                  </a:cubicBezTo>
                  <a:cubicBezTo>
                    <a:pt x="1241" y="809"/>
                    <a:pt x="1237" y="806"/>
                    <a:pt x="1242" y="806"/>
                  </a:cubicBezTo>
                  <a:cubicBezTo>
                    <a:pt x="1246" y="805"/>
                    <a:pt x="1248" y="803"/>
                    <a:pt x="1250" y="797"/>
                  </a:cubicBezTo>
                  <a:cubicBezTo>
                    <a:pt x="1252" y="791"/>
                    <a:pt x="1249" y="794"/>
                    <a:pt x="1243" y="786"/>
                  </a:cubicBezTo>
                  <a:cubicBezTo>
                    <a:pt x="1236" y="777"/>
                    <a:pt x="1233" y="788"/>
                    <a:pt x="1227" y="787"/>
                  </a:cubicBezTo>
                  <a:cubicBezTo>
                    <a:pt x="1221" y="787"/>
                    <a:pt x="1231" y="779"/>
                    <a:pt x="1226" y="776"/>
                  </a:cubicBezTo>
                  <a:cubicBezTo>
                    <a:pt x="1221" y="773"/>
                    <a:pt x="1211" y="775"/>
                    <a:pt x="1204" y="781"/>
                  </a:cubicBezTo>
                  <a:cubicBezTo>
                    <a:pt x="1196" y="788"/>
                    <a:pt x="1196" y="781"/>
                    <a:pt x="1190" y="787"/>
                  </a:cubicBezTo>
                  <a:cubicBezTo>
                    <a:pt x="1183" y="794"/>
                    <a:pt x="1183" y="784"/>
                    <a:pt x="1186" y="782"/>
                  </a:cubicBezTo>
                  <a:cubicBezTo>
                    <a:pt x="1189" y="779"/>
                    <a:pt x="1192" y="782"/>
                    <a:pt x="1194" y="778"/>
                  </a:cubicBezTo>
                  <a:cubicBezTo>
                    <a:pt x="1197" y="774"/>
                    <a:pt x="1200" y="778"/>
                    <a:pt x="1208" y="773"/>
                  </a:cubicBezTo>
                  <a:cubicBezTo>
                    <a:pt x="1215" y="768"/>
                    <a:pt x="1222" y="771"/>
                    <a:pt x="1224" y="767"/>
                  </a:cubicBezTo>
                  <a:cubicBezTo>
                    <a:pt x="1226" y="764"/>
                    <a:pt x="1220" y="759"/>
                    <a:pt x="1213" y="760"/>
                  </a:cubicBezTo>
                  <a:cubicBezTo>
                    <a:pt x="1206" y="762"/>
                    <a:pt x="1201" y="751"/>
                    <a:pt x="1197" y="754"/>
                  </a:cubicBezTo>
                  <a:cubicBezTo>
                    <a:pt x="1192" y="757"/>
                    <a:pt x="1193" y="749"/>
                    <a:pt x="1188" y="752"/>
                  </a:cubicBezTo>
                  <a:cubicBezTo>
                    <a:pt x="1183" y="756"/>
                    <a:pt x="1180" y="751"/>
                    <a:pt x="1178" y="745"/>
                  </a:cubicBezTo>
                  <a:cubicBezTo>
                    <a:pt x="1175" y="739"/>
                    <a:pt x="1162" y="729"/>
                    <a:pt x="1153" y="727"/>
                  </a:cubicBezTo>
                  <a:cubicBezTo>
                    <a:pt x="1145" y="724"/>
                    <a:pt x="1150" y="719"/>
                    <a:pt x="1155" y="723"/>
                  </a:cubicBezTo>
                  <a:cubicBezTo>
                    <a:pt x="1159" y="726"/>
                    <a:pt x="1164" y="719"/>
                    <a:pt x="1166" y="716"/>
                  </a:cubicBezTo>
                  <a:cubicBezTo>
                    <a:pt x="1168" y="713"/>
                    <a:pt x="1163" y="710"/>
                    <a:pt x="1161" y="710"/>
                  </a:cubicBezTo>
                  <a:cubicBezTo>
                    <a:pt x="1158" y="709"/>
                    <a:pt x="1158" y="705"/>
                    <a:pt x="1159" y="702"/>
                  </a:cubicBezTo>
                  <a:cubicBezTo>
                    <a:pt x="1159" y="699"/>
                    <a:pt x="1150" y="695"/>
                    <a:pt x="1149" y="691"/>
                  </a:cubicBezTo>
                  <a:cubicBezTo>
                    <a:pt x="1149" y="688"/>
                    <a:pt x="1144" y="686"/>
                    <a:pt x="1144" y="683"/>
                  </a:cubicBezTo>
                  <a:cubicBezTo>
                    <a:pt x="1144" y="680"/>
                    <a:pt x="1138" y="676"/>
                    <a:pt x="1138" y="672"/>
                  </a:cubicBezTo>
                  <a:cubicBezTo>
                    <a:pt x="1138" y="668"/>
                    <a:pt x="1129" y="660"/>
                    <a:pt x="1128" y="656"/>
                  </a:cubicBezTo>
                  <a:cubicBezTo>
                    <a:pt x="1128" y="651"/>
                    <a:pt x="1123" y="648"/>
                    <a:pt x="1121" y="643"/>
                  </a:cubicBezTo>
                  <a:cubicBezTo>
                    <a:pt x="1119" y="637"/>
                    <a:pt x="1116" y="640"/>
                    <a:pt x="1114" y="647"/>
                  </a:cubicBezTo>
                  <a:cubicBezTo>
                    <a:pt x="1113" y="655"/>
                    <a:pt x="1106" y="655"/>
                    <a:pt x="1108" y="657"/>
                  </a:cubicBezTo>
                  <a:cubicBezTo>
                    <a:pt x="1112" y="663"/>
                    <a:pt x="1109" y="663"/>
                    <a:pt x="1106" y="666"/>
                  </a:cubicBezTo>
                  <a:cubicBezTo>
                    <a:pt x="1103" y="669"/>
                    <a:pt x="1108" y="674"/>
                    <a:pt x="1103" y="674"/>
                  </a:cubicBezTo>
                  <a:cubicBezTo>
                    <a:pt x="1098" y="674"/>
                    <a:pt x="1100" y="684"/>
                    <a:pt x="1098" y="680"/>
                  </a:cubicBezTo>
                  <a:cubicBezTo>
                    <a:pt x="1095" y="675"/>
                    <a:pt x="1089" y="677"/>
                    <a:pt x="1089" y="681"/>
                  </a:cubicBezTo>
                  <a:cubicBezTo>
                    <a:pt x="1089" y="686"/>
                    <a:pt x="1079" y="690"/>
                    <a:pt x="1074" y="689"/>
                  </a:cubicBezTo>
                  <a:cubicBezTo>
                    <a:pt x="1070" y="689"/>
                    <a:pt x="1070" y="680"/>
                    <a:pt x="1067" y="683"/>
                  </a:cubicBezTo>
                  <a:cubicBezTo>
                    <a:pt x="1063" y="686"/>
                    <a:pt x="1064" y="676"/>
                    <a:pt x="1058" y="676"/>
                  </a:cubicBezTo>
                  <a:cubicBezTo>
                    <a:pt x="1053" y="676"/>
                    <a:pt x="1049" y="676"/>
                    <a:pt x="1051" y="671"/>
                  </a:cubicBezTo>
                  <a:cubicBezTo>
                    <a:pt x="1052" y="666"/>
                    <a:pt x="1041" y="664"/>
                    <a:pt x="1045" y="661"/>
                  </a:cubicBezTo>
                  <a:cubicBezTo>
                    <a:pt x="1048" y="658"/>
                    <a:pt x="1044" y="653"/>
                    <a:pt x="1043" y="644"/>
                  </a:cubicBezTo>
                  <a:cubicBezTo>
                    <a:pt x="1043" y="636"/>
                    <a:pt x="1048" y="635"/>
                    <a:pt x="1048" y="632"/>
                  </a:cubicBezTo>
                  <a:cubicBezTo>
                    <a:pt x="1048" y="629"/>
                    <a:pt x="1044" y="629"/>
                    <a:pt x="1040" y="631"/>
                  </a:cubicBezTo>
                  <a:cubicBezTo>
                    <a:pt x="1036" y="634"/>
                    <a:pt x="1036" y="628"/>
                    <a:pt x="1032" y="628"/>
                  </a:cubicBezTo>
                  <a:cubicBezTo>
                    <a:pt x="1028" y="628"/>
                    <a:pt x="1015" y="628"/>
                    <a:pt x="1015" y="622"/>
                  </a:cubicBezTo>
                  <a:cubicBezTo>
                    <a:pt x="1014" y="616"/>
                    <a:pt x="1010" y="619"/>
                    <a:pt x="1008" y="614"/>
                  </a:cubicBezTo>
                  <a:cubicBezTo>
                    <a:pt x="1006" y="608"/>
                    <a:pt x="1001" y="612"/>
                    <a:pt x="1001" y="608"/>
                  </a:cubicBezTo>
                  <a:cubicBezTo>
                    <a:pt x="1001" y="605"/>
                    <a:pt x="999" y="603"/>
                    <a:pt x="995" y="603"/>
                  </a:cubicBezTo>
                  <a:cubicBezTo>
                    <a:pt x="991" y="602"/>
                    <a:pt x="990" y="598"/>
                    <a:pt x="984" y="597"/>
                  </a:cubicBezTo>
                  <a:cubicBezTo>
                    <a:pt x="979" y="597"/>
                    <a:pt x="973" y="601"/>
                    <a:pt x="970" y="602"/>
                  </a:cubicBezTo>
                  <a:cubicBezTo>
                    <a:pt x="967" y="604"/>
                    <a:pt x="960" y="598"/>
                    <a:pt x="957" y="600"/>
                  </a:cubicBezTo>
                  <a:cubicBezTo>
                    <a:pt x="954" y="602"/>
                    <a:pt x="953" y="598"/>
                    <a:pt x="945" y="596"/>
                  </a:cubicBezTo>
                  <a:cubicBezTo>
                    <a:pt x="937" y="594"/>
                    <a:pt x="926" y="593"/>
                    <a:pt x="926" y="596"/>
                  </a:cubicBezTo>
                  <a:cubicBezTo>
                    <a:pt x="925" y="599"/>
                    <a:pt x="919" y="600"/>
                    <a:pt x="920" y="607"/>
                  </a:cubicBezTo>
                  <a:cubicBezTo>
                    <a:pt x="921" y="614"/>
                    <a:pt x="927" y="612"/>
                    <a:pt x="929" y="617"/>
                  </a:cubicBezTo>
                  <a:cubicBezTo>
                    <a:pt x="931" y="621"/>
                    <a:pt x="926" y="620"/>
                    <a:pt x="925" y="624"/>
                  </a:cubicBezTo>
                  <a:cubicBezTo>
                    <a:pt x="925" y="628"/>
                    <a:pt x="921" y="628"/>
                    <a:pt x="921" y="631"/>
                  </a:cubicBezTo>
                  <a:cubicBezTo>
                    <a:pt x="921" y="634"/>
                    <a:pt x="924" y="633"/>
                    <a:pt x="925" y="639"/>
                  </a:cubicBezTo>
                  <a:cubicBezTo>
                    <a:pt x="927" y="645"/>
                    <a:pt x="930" y="644"/>
                    <a:pt x="931" y="652"/>
                  </a:cubicBezTo>
                  <a:cubicBezTo>
                    <a:pt x="932" y="660"/>
                    <a:pt x="929" y="658"/>
                    <a:pt x="925" y="659"/>
                  </a:cubicBezTo>
                  <a:cubicBezTo>
                    <a:pt x="922" y="660"/>
                    <a:pt x="926" y="664"/>
                    <a:pt x="921" y="669"/>
                  </a:cubicBezTo>
                  <a:cubicBezTo>
                    <a:pt x="917" y="674"/>
                    <a:pt x="913" y="680"/>
                    <a:pt x="916" y="683"/>
                  </a:cubicBezTo>
                  <a:cubicBezTo>
                    <a:pt x="920" y="686"/>
                    <a:pt x="933" y="692"/>
                    <a:pt x="938" y="700"/>
                  </a:cubicBezTo>
                  <a:cubicBezTo>
                    <a:pt x="944" y="709"/>
                    <a:pt x="943" y="723"/>
                    <a:pt x="942" y="732"/>
                  </a:cubicBezTo>
                  <a:cubicBezTo>
                    <a:pt x="940" y="742"/>
                    <a:pt x="929" y="744"/>
                    <a:pt x="921" y="753"/>
                  </a:cubicBezTo>
                  <a:cubicBezTo>
                    <a:pt x="913" y="761"/>
                    <a:pt x="904" y="760"/>
                    <a:pt x="901" y="760"/>
                  </a:cubicBezTo>
                  <a:cubicBezTo>
                    <a:pt x="897" y="760"/>
                    <a:pt x="899" y="768"/>
                    <a:pt x="904" y="774"/>
                  </a:cubicBezTo>
                  <a:cubicBezTo>
                    <a:pt x="910" y="780"/>
                    <a:pt x="905" y="782"/>
                    <a:pt x="908" y="789"/>
                  </a:cubicBezTo>
                  <a:cubicBezTo>
                    <a:pt x="911" y="795"/>
                    <a:pt x="908" y="800"/>
                    <a:pt x="913" y="806"/>
                  </a:cubicBezTo>
                  <a:cubicBezTo>
                    <a:pt x="917" y="812"/>
                    <a:pt x="914" y="814"/>
                    <a:pt x="909" y="818"/>
                  </a:cubicBezTo>
                  <a:cubicBezTo>
                    <a:pt x="904" y="823"/>
                    <a:pt x="911" y="820"/>
                    <a:pt x="912" y="826"/>
                  </a:cubicBezTo>
                  <a:cubicBezTo>
                    <a:pt x="912" y="831"/>
                    <a:pt x="909" y="828"/>
                    <a:pt x="905" y="825"/>
                  </a:cubicBezTo>
                  <a:cubicBezTo>
                    <a:pt x="901" y="822"/>
                    <a:pt x="897" y="831"/>
                    <a:pt x="897" y="834"/>
                  </a:cubicBezTo>
                  <a:cubicBezTo>
                    <a:pt x="897" y="838"/>
                    <a:pt x="887" y="829"/>
                    <a:pt x="885" y="830"/>
                  </a:cubicBezTo>
                  <a:cubicBezTo>
                    <a:pt x="883" y="830"/>
                    <a:pt x="885" y="824"/>
                    <a:pt x="880" y="820"/>
                  </a:cubicBezTo>
                  <a:cubicBezTo>
                    <a:pt x="874" y="815"/>
                    <a:pt x="869" y="814"/>
                    <a:pt x="869" y="810"/>
                  </a:cubicBezTo>
                  <a:cubicBezTo>
                    <a:pt x="869" y="805"/>
                    <a:pt x="859" y="802"/>
                    <a:pt x="859" y="797"/>
                  </a:cubicBezTo>
                  <a:cubicBezTo>
                    <a:pt x="859" y="792"/>
                    <a:pt x="861" y="778"/>
                    <a:pt x="858" y="775"/>
                  </a:cubicBezTo>
                  <a:cubicBezTo>
                    <a:pt x="856" y="771"/>
                    <a:pt x="858" y="767"/>
                    <a:pt x="860" y="763"/>
                  </a:cubicBezTo>
                  <a:cubicBezTo>
                    <a:pt x="862" y="759"/>
                    <a:pt x="858" y="754"/>
                    <a:pt x="852" y="754"/>
                  </a:cubicBezTo>
                  <a:cubicBezTo>
                    <a:pt x="846" y="754"/>
                    <a:pt x="838" y="752"/>
                    <a:pt x="830" y="753"/>
                  </a:cubicBezTo>
                  <a:cubicBezTo>
                    <a:pt x="822" y="753"/>
                    <a:pt x="817" y="752"/>
                    <a:pt x="815" y="750"/>
                  </a:cubicBezTo>
                  <a:cubicBezTo>
                    <a:pt x="812" y="747"/>
                    <a:pt x="805" y="743"/>
                    <a:pt x="795" y="740"/>
                  </a:cubicBezTo>
                  <a:cubicBezTo>
                    <a:pt x="785" y="737"/>
                    <a:pt x="780" y="732"/>
                    <a:pt x="779" y="729"/>
                  </a:cubicBezTo>
                  <a:cubicBezTo>
                    <a:pt x="778" y="727"/>
                    <a:pt x="768" y="724"/>
                    <a:pt x="766" y="721"/>
                  </a:cubicBezTo>
                  <a:cubicBezTo>
                    <a:pt x="764" y="718"/>
                    <a:pt x="754" y="717"/>
                    <a:pt x="750" y="717"/>
                  </a:cubicBezTo>
                  <a:cubicBezTo>
                    <a:pt x="746" y="718"/>
                    <a:pt x="737" y="709"/>
                    <a:pt x="731" y="710"/>
                  </a:cubicBezTo>
                  <a:cubicBezTo>
                    <a:pt x="725" y="710"/>
                    <a:pt x="712" y="716"/>
                    <a:pt x="709" y="716"/>
                  </a:cubicBezTo>
                  <a:cubicBezTo>
                    <a:pt x="707" y="717"/>
                    <a:pt x="710" y="711"/>
                    <a:pt x="711" y="709"/>
                  </a:cubicBezTo>
                  <a:cubicBezTo>
                    <a:pt x="713" y="707"/>
                    <a:pt x="706" y="697"/>
                    <a:pt x="705" y="691"/>
                  </a:cubicBezTo>
                  <a:cubicBezTo>
                    <a:pt x="703" y="684"/>
                    <a:pt x="701" y="677"/>
                    <a:pt x="694" y="678"/>
                  </a:cubicBezTo>
                  <a:cubicBezTo>
                    <a:pt x="687" y="679"/>
                    <a:pt x="680" y="676"/>
                    <a:pt x="678" y="674"/>
                  </a:cubicBezTo>
                  <a:cubicBezTo>
                    <a:pt x="676" y="673"/>
                    <a:pt x="676" y="655"/>
                    <a:pt x="677" y="647"/>
                  </a:cubicBezTo>
                  <a:cubicBezTo>
                    <a:pt x="679" y="639"/>
                    <a:pt x="687" y="627"/>
                    <a:pt x="687" y="623"/>
                  </a:cubicBezTo>
                  <a:cubicBezTo>
                    <a:pt x="687" y="618"/>
                    <a:pt x="693" y="616"/>
                    <a:pt x="698" y="614"/>
                  </a:cubicBezTo>
                  <a:cubicBezTo>
                    <a:pt x="703" y="613"/>
                    <a:pt x="699" y="604"/>
                    <a:pt x="704" y="603"/>
                  </a:cubicBezTo>
                  <a:cubicBezTo>
                    <a:pt x="708" y="602"/>
                    <a:pt x="709" y="600"/>
                    <a:pt x="710" y="597"/>
                  </a:cubicBezTo>
                  <a:cubicBezTo>
                    <a:pt x="711" y="593"/>
                    <a:pt x="716" y="595"/>
                    <a:pt x="713" y="592"/>
                  </a:cubicBezTo>
                  <a:cubicBezTo>
                    <a:pt x="710" y="589"/>
                    <a:pt x="713" y="588"/>
                    <a:pt x="720" y="588"/>
                  </a:cubicBezTo>
                  <a:cubicBezTo>
                    <a:pt x="727" y="588"/>
                    <a:pt x="738" y="585"/>
                    <a:pt x="737" y="578"/>
                  </a:cubicBezTo>
                  <a:cubicBezTo>
                    <a:pt x="735" y="570"/>
                    <a:pt x="716" y="576"/>
                    <a:pt x="716" y="570"/>
                  </a:cubicBezTo>
                  <a:cubicBezTo>
                    <a:pt x="716" y="564"/>
                    <a:pt x="691" y="563"/>
                    <a:pt x="693" y="560"/>
                  </a:cubicBezTo>
                  <a:cubicBezTo>
                    <a:pt x="694" y="556"/>
                    <a:pt x="717" y="562"/>
                    <a:pt x="726" y="566"/>
                  </a:cubicBezTo>
                  <a:cubicBezTo>
                    <a:pt x="734" y="569"/>
                    <a:pt x="736" y="568"/>
                    <a:pt x="743" y="568"/>
                  </a:cubicBezTo>
                  <a:cubicBezTo>
                    <a:pt x="750" y="568"/>
                    <a:pt x="745" y="559"/>
                    <a:pt x="747" y="556"/>
                  </a:cubicBezTo>
                  <a:cubicBezTo>
                    <a:pt x="748" y="552"/>
                    <a:pt x="761" y="561"/>
                    <a:pt x="768" y="559"/>
                  </a:cubicBezTo>
                  <a:cubicBezTo>
                    <a:pt x="776" y="557"/>
                    <a:pt x="783" y="542"/>
                    <a:pt x="789" y="538"/>
                  </a:cubicBezTo>
                  <a:cubicBezTo>
                    <a:pt x="795" y="534"/>
                    <a:pt x="790" y="530"/>
                    <a:pt x="778" y="531"/>
                  </a:cubicBezTo>
                  <a:cubicBezTo>
                    <a:pt x="766" y="532"/>
                    <a:pt x="759" y="527"/>
                    <a:pt x="753" y="522"/>
                  </a:cubicBezTo>
                  <a:cubicBezTo>
                    <a:pt x="746" y="517"/>
                    <a:pt x="747" y="514"/>
                    <a:pt x="754" y="514"/>
                  </a:cubicBezTo>
                  <a:cubicBezTo>
                    <a:pt x="760" y="515"/>
                    <a:pt x="776" y="528"/>
                    <a:pt x="783" y="528"/>
                  </a:cubicBezTo>
                  <a:cubicBezTo>
                    <a:pt x="789" y="529"/>
                    <a:pt x="799" y="517"/>
                    <a:pt x="804" y="513"/>
                  </a:cubicBezTo>
                  <a:cubicBezTo>
                    <a:pt x="810" y="509"/>
                    <a:pt x="800" y="507"/>
                    <a:pt x="796" y="504"/>
                  </a:cubicBezTo>
                  <a:cubicBezTo>
                    <a:pt x="793" y="501"/>
                    <a:pt x="802" y="499"/>
                    <a:pt x="807" y="499"/>
                  </a:cubicBezTo>
                  <a:cubicBezTo>
                    <a:pt x="813" y="499"/>
                    <a:pt x="815" y="504"/>
                    <a:pt x="817" y="506"/>
                  </a:cubicBezTo>
                  <a:cubicBezTo>
                    <a:pt x="819" y="508"/>
                    <a:pt x="828" y="505"/>
                    <a:pt x="832" y="505"/>
                  </a:cubicBezTo>
                  <a:cubicBezTo>
                    <a:pt x="837" y="505"/>
                    <a:pt x="832" y="497"/>
                    <a:pt x="824" y="494"/>
                  </a:cubicBezTo>
                  <a:cubicBezTo>
                    <a:pt x="817" y="491"/>
                    <a:pt x="824" y="486"/>
                    <a:pt x="827" y="490"/>
                  </a:cubicBezTo>
                  <a:cubicBezTo>
                    <a:pt x="829" y="495"/>
                    <a:pt x="834" y="494"/>
                    <a:pt x="837" y="499"/>
                  </a:cubicBezTo>
                  <a:cubicBezTo>
                    <a:pt x="840" y="507"/>
                    <a:pt x="843" y="502"/>
                    <a:pt x="849" y="499"/>
                  </a:cubicBezTo>
                  <a:cubicBezTo>
                    <a:pt x="856" y="497"/>
                    <a:pt x="859" y="493"/>
                    <a:pt x="863" y="489"/>
                  </a:cubicBezTo>
                  <a:cubicBezTo>
                    <a:pt x="866" y="486"/>
                    <a:pt x="867" y="490"/>
                    <a:pt x="871" y="484"/>
                  </a:cubicBezTo>
                  <a:cubicBezTo>
                    <a:pt x="875" y="478"/>
                    <a:pt x="869" y="472"/>
                    <a:pt x="864" y="468"/>
                  </a:cubicBezTo>
                  <a:cubicBezTo>
                    <a:pt x="859" y="464"/>
                    <a:pt x="864" y="460"/>
                    <a:pt x="859" y="458"/>
                  </a:cubicBezTo>
                  <a:cubicBezTo>
                    <a:pt x="854" y="455"/>
                    <a:pt x="853" y="450"/>
                    <a:pt x="859" y="452"/>
                  </a:cubicBezTo>
                  <a:cubicBezTo>
                    <a:pt x="866" y="453"/>
                    <a:pt x="871" y="451"/>
                    <a:pt x="874" y="446"/>
                  </a:cubicBezTo>
                  <a:cubicBezTo>
                    <a:pt x="877" y="442"/>
                    <a:pt x="864" y="441"/>
                    <a:pt x="870" y="438"/>
                  </a:cubicBezTo>
                  <a:cubicBezTo>
                    <a:pt x="876" y="435"/>
                    <a:pt x="871" y="431"/>
                    <a:pt x="865" y="431"/>
                  </a:cubicBezTo>
                  <a:cubicBezTo>
                    <a:pt x="859" y="431"/>
                    <a:pt x="854" y="428"/>
                    <a:pt x="854" y="424"/>
                  </a:cubicBezTo>
                  <a:cubicBezTo>
                    <a:pt x="854" y="419"/>
                    <a:pt x="844" y="422"/>
                    <a:pt x="838" y="419"/>
                  </a:cubicBezTo>
                  <a:cubicBezTo>
                    <a:pt x="832" y="416"/>
                    <a:pt x="818" y="417"/>
                    <a:pt x="815" y="417"/>
                  </a:cubicBezTo>
                  <a:cubicBezTo>
                    <a:pt x="812" y="417"/>
                    <a:pt x="811" y="431"/>
                    <a:pt x="816" y="431"/>
                  </a:cubicBezTo>
                  <a:cubicBezTo>
                    <a:pt x="821" y="431"/>
                    <a:pt x="825" y="437"/>
                    <a:pt x="821" y="438"/>
                  </a:cubicBezTo>
                  <a:cubicBezTo>
                    <a:pt x="816" y="440"/>
                    <a:pt x="821" y="445"/>
                    <a:pt x="818" y="445"/>
                  </a:cubicBezTo>
                  <a:cubicBezTo>
                    <a:pt x="815" y="444"/>
                    <a:pt x="810" y="443"/>
                    <a:pt x="809" y="451"/>
                  </a:cubicBezTo>
                  <a:cubicBezTo>
                    <a:pt x="808" y="459"/>
                    <a:pt x="807" y="463"/>
                    <a:pt x="802" y="466"/>
                  </a:cubicBezTo>
                  <a:cubicBezTo>
                    <a:pt x="796" y="468"/>
                    <a:pt x="800" y="456"/>
                    <a:pt x="795" y="457"/>
                  </a:cubicBezTo>
                  <a:cubicBezTo>
                    <a:pt x="790" y="457"/>
                    <a:pt x="789" y="467"/>
                    <a:pt x="793" y="468"/>
                  </a:cubicBezTo>
                  <a:cubicBezTo>
                    <a:pt x="797" y="469"/>
                    <a:pt x="798" y="472"/>
                    <a:pt x="799" y="477"/>
                  </a:cubicBezTo>
                  <a:cubicBezTo>
                    <a:pt x="800" y="482"/>
                    <a:pt x="792" y="478"/>
                    <a:pt x="788" y="484"/>
                  </a:cubicBezTo>
                  <a:cubicBezTo>
                    <a:pt x="785" y="490"/>
                    <a:pt x="785" y="481"/>
                    <a:pt x="780" y="477"/>
                  </a:cubicBezTo>
                  <a:cubicBezTo>
                    <a:pt x="776" y="474"/>
                    <a:pt x="770" y="467"/>
                    <a:pt x="771" y="462"/>
                  </a:cubicBezTo>
                  <a:cubicBezTo>
                    <a:pt x="771" y="458"/>
                    <a:pt x="773" y="457"/>
                    <a:pt x="777" y="456"/>
                  </a:cubicBezTo>
                  <a:cubicBezTo>
                    <a:pt x="780" y="455"/>
                    <a:pt x="777" y="452"/>
                    <a:pt x="776" y="446"/>
                  </a:cubicBezTo>
                  <a:cubicBezTo>
                    <a:pt x="776" y="440"/>
                    <a:pt x="772" y="442"/>
                    <a:pt x="767" y="436"/>
                  </a:cubicBezTo>
                  <a:cubicBezTo>
                    <a:pt x="762" y="430"/>
                    <a:pt x="756" y="430"/>
                    <a:pt x="753" y="433"/>
                  </a:cubicBezTo>
                  <a:cubicBezTo>
                    <a:pt x="750" y="436"/>
                    <a:pt x="752" y="441"/>
                    <a:pt x="748" y="443"/>
                  </a:cubicBezTo>
                  <a:cubicBezTo>
                    <a:pt x="743" y="445"/>
                    <a:pt x="745" y="454"/>
                    <a:pt x="741" y="455"/>
                  </a:cubicBezTo>
                  <a:cubicBezTo>
                    <a:pt x="737" y="456"/>
                    <a:pt x="740" y="439"/>
                    <a:pt x="736" y="437"/>
                  </a:cubicBezTo>
                  <a:cubicBezTo>
                    <a:pt x="733" y="436"/>
                    <a:pt x="734" y="432"/>
                    <a:pt x="738" y="431"/>
                  </a:cubicBezTo>
                  <a:cubicBezTo>
                    <a:pt x="743" y="431"/>
                    <a:pt x="746" y="426"/>
                    <a:pt x="742" y="426"/>
                  </a:cubicBezTo>
                  <a:cubicBezTo>
                    <a:pt x="738" y="426"/>
                    <a:pt x="730" y="421"/>
                    <a:pt x="727" y="420"/>
                  </a:cubicBezTo>
                  <a:cubicBezTo>
                    <a:pt x="724" y="418"/>
                    <a:pt x="720" y="425"/>
                    <a:pt x="716" y="423"/>
                  </a:cubicBezTo>
                  <a:cubicBezTo>
                    <a:pt x="713" y="420"/>
                    <a:pt x="717" y="414"/>
                    <a:pt x="717" y="410"/>
                  </a:cubicBezTo>
                  <a:cubicBezTo>
                    <a:pt x="717" y="407"/>
                    <a:pt x="722" y="412"/>
                    <a:pt x="725" y="407"/>
                  </a:cubicBezTo>
                  <a:cubicBezTo>
                    <a:pt x="729" y="403"/>
                    <a:pt x="716" y="403"/>
                    <a:pt x="716" y="398"/>
                  </a:cubicBezTo>
                  <a:cubicBezTo>
                    <a:pt x="716" y="393"/>
                    <a:pt x="707" y="392"/>
                    <a:pt x="704" y="390"/>
                  </a:cubicBezTo>
                  <a:cubicBezTo>
                    <a:pt x="700" y="388"/>
                    <a:pt x="706" y="380"/>
                    <a:pt x="704" y="377"/>
                  </a:cubicBezTo>
                  <a:cubicBezTo>
                    <a:pt x="703" y="374"/>
                    <a:pt x="691" y="363"/>
                    <a:pt x="685" y="364"/>
                  </a:cubicBezTo>
                  <a:cubicBezTo>
                    <a:pt x="680" y="365"/>
                    <a:pt x="679" y="357"/>
                    <a:pt x="682" y="358"/>
                  </a:cubicBezTo>
                  <a:cubicBezTo>
                    <a:pt x="685" y="358"/>
                    <a:pt x="687" y="356"/>
                    <a:pt x="693" y="350"/>
                  </a:cubicBezTo>
                  <a:cubicBezTo>
                    <a:pt x="698" y="344"/>
                    <a:pt x="699" y="342"/>
                    <a:pt x="695" y="341"/>
                  </a:cubicBezTo>
                  <a:cubicBezTo>
                    <a:pt x="691" y="339"/>
                    <a:pt x="689" y="336"/>
                    <a:pt x="696" y="336"/>
                  </a:cubicBezTo>
                  <a:cubicBezTo>
                    <a:pt x="703" y="336"/>
                    <a:pt x="714" y="341"/>
                    <a:pt x="718" y="338"/>
                  </a:cubicBezTo>
                  <a:cubicBezTo>
                    <a:pt x="722" y="335"/>
                    <a:pt x="734" y="316"/>
                    <a:pt x="739" y="309"/>
                  </a:cubicBezTo>
                  <a:cubicBezTo>
                    <a:pt x="744" y="302"/>
                    <a:pt x="736" y="302"/>
                    <a:pt x="724" y="303"/>
                  </a:cubicBezTo>
                  <a:cubicBezTo>
                    <a:pt x="713" y="304"/>
                    <a:pt x="710" y="298"/>
                    <a:pt x="700" y="297"/>
                  </a:cubicBezTo>
                  <a:cubicBezTo>
                    <a:pt x="691" y="297"/>
                    <a:pt x="673" y="299"/>
                    <a:pt x="670" y="302"/>
                  </a:cubicBezTo>
                  <a:cubicBezTo>
                    <a:pt x="667" y="305"/>
                    <a:pt x="675" y="308"/>
                    <a:pt x="674" y="311"/>
                  </a:cubicBezTo>
                  <a:cubicBezTo>
                    <a:pt x="673" y="314"/>
                    <a:pt x="667" y="309"/>
                    <a:pt x="664" y="310"/>
                  </a:cubicBezTo>
                  <a:cubicBezTo>
                    <a:pt x="662" y="311"/>
                    <a:pt x="665" y="316"/>
                    <a:pt x="664" y="327"/>
                  </a:cubicBezTo>
                  <a:cubicBezTo>
                    <a:pt x="664" y="338"/>
                    <a:pt x="667" y="339"/>
                    <a:pt x="670" y="343"/>
                  </a:cubicBezTo>
                  <a:cubicBezTo>
                    <a:pt x="673" y="347"/>
                    <a:pt x="673" y="353"/>
                    <a:pt x="673" y="360"/>
                  </a:cubicBezTo>
                  <a:cubicBezTo>
                    <a:pt x="673" y="367"/>
                    <a:pt x="666" y="366"/>
                    <a:pt x="664" y="368"/>
                  </a:cubicBezTo>
                  <a:cubicBezTo>
                    <a:pt x="661" y="370"/>
                    <a:pt x="669" y="372"/>
                    <a:pt x="668" y="377"/>
                  </a:cubicBezTo>
                  <a:cubicBezTo>
                    <a:pt x="667" y="381"/>
                    <a:pt x="660" y="374"/>
                    <a:pt x="656" y="376"/>
                  </a:cubicBezTo>
                  <a:cubicBezTo>
                    <a:pt x="652" y="377"/>
                    <a:pt x="649" y="388"/>
                    <a:pt x="653" y="391"/>
                  </a:cubicBezTo>
                  <a:cubicBezTo>
                    <a:pt x="657" y="395"/>
                    <a:pt x="659" y="394"/>
                    <a:pt x="656" y="398"/>
                  </a:cubicBezTo>
                  <a:cubicBezTo>
                    <a:pt x="653" y="403"/>
                    <a:pt x="649" y="409"/>
                    <a:pt x="657" y="415"/>
                  </a:cubicBezTo>
                  <a:cubicBezTo>
                    <a:pt x="664" y="421"/>
                    <a:pt x="679" y="420"/>
                    <a:pt x="686" y="425"/>
                  </a:cubicBezTo>
                  <a:cubicBezTo>
                    <a:pt x="694" y="430"/>
                    <a:pt x="683" y="427"/>
                    <a:pt x="686" y="433"/>
                  </a:cubicBezTo>
                  <a:cubicBezTo>
                    <a:pt x="689" y="438"/>
                    <a:pt x="681" y="440"/>
                    <a:pt x="681" y="444"/>
                  </a:cubicBezTo>
                  <a:cubicBezTo>
                    <a:pt x="682" y="448"/>
                    <a:pt x="684" y="446"/>
                    <a:pt x="688" y="439"/>
                  </a:cubicBezTo>
                  <a:cubicBezTo>
                    <a:pt x="692" y="432"/>
                    <a:pt x="695" y="441"/>
                    <a:pt x="695" y="447"/>
                  </a:cubicBezTo>
                  <a:cubicBezTo>
                    <a:pt x="694" y="453"/>
                    <a:pt x="689" y="450"/>
                    <a:pt x="685" y="456"/>
                  </a:cubicBezTo>
                  <a:cubicBezTo>
                    <a:pt x="681" y="462"/>
                    <a:pt x="677" y="463"/>
                    <a:pt x="671" y="462"/>
                  </a:cubicBezTo>
                  <a:cubicBezTo>
                    <a:pt x="664" y="460"/>
                    <a:pt x="668" y="470"/>
                    <a:pt x="671" y="476"/>
                  </a:cubicBezTo>
                  <a:cubicBezTo>
                    <a:pt x="673" y="481"/>
                    <a:pt x="670" y="483"/>
                    <a:pt x="663" y="481"/>
                  </a:cubicBezTo>
                  <a:cubicBezTo>
                    <a:pt x="656" y="479"/>
                    <a:pt x="652" y="475"/>
                    <a:pt x="655" y="469"/>
                  </a:cubicBezTo>
                  <a:cubicBezTo>
                    <a:pt x="659" y="464"/>
                    <a:pt x="661" y="457"/>
                    <a:pt x="657" y="458"/>
                  </a:cubicBezTo>
                  <a:cubicBezTo>
                    <a:pt x="653" y="459"/>
                    <a:pt x="643" y="458"/>
                    <a:pt x="640" y="453"/>
                  </a:cubicBezTo>
                  <a:cubicBezTo>
                    <a:pt x="637" y="449"/>
                    <a:pt x="642" y="451"/>
                    <a:pt x="651" y="452"/>
                  </a:cubicBezTo>
                  <a:cubicBezTo>
                    <a:pt x="660" y="453"/>
                    <a:pt x="652" y="446"/>
                    <a:pt x="659" y="446"/>
                  </a:cubicBezTo>
                  <a:cubicBezTo>
                    <a:pt x="665" y="446"/>
                    <a:pt x="670" y="449"/>
                    <a:pt x="675" y="445"/>
                  </a:cubicBezTo>
                  <a:cubicBezTo>
                    <a:pt x="681" y="440"/>
                    <a:pt x="672" y="430"/>
                    <a:pt x="667" y="432"/>
                  </a:cubicBezTo>
                  <a:cubicBezTo>
                    <a:pt x="663" y="434"/>
                    <a:pt x="656" y="436"/>
                    <a:pt x="656" y="431"/>
                  </a:cubicBezTo>
                  <a:cubicBezTo>
                    <a:pt x="656" y="427"/>
                    <a:pt x="664" y="430"/>
                    <a:pt x="668" y="429"/>
                  </a:cubicBezTo>
                  <a:cubicBezTo>
                    <a:pt x="672" y="428"/>
                    <a:pt x="665" y="422"/>
                    <a:pt x="659" y="424"/>
                  </a:cubicBezTo>
                  <a:cubicBezTo>
                    <a:pt x="653" y="425"/>
                    <a:pt x="648" y="426"/>
                    <a:pt x="643" y="420"/>
                  </a:cubicBezTo>
                  <a:cubicBezTo>
                    <a:pt x="638" y="415"/>
                    <a:pt x="628" y="411"/>
                    <a:pt x="626" y="424"/>
                  </a:cubicBezTo>
                  <a:cubicBezTo>
                    <a:pt x="624" y="437"/>
                    <a:pt x="615" y="430"/>
                    <a:pt x="611" y="434"/>
                  </a:cubicBezTo>
                  <a:cubicBezTo>
                    <a:pt x="608" y="438"/>
                    <a:pt x="615" y="441"/>
                    <a:pt x="624" y="441"/>
                  </a:cubicBezTo>
                  <a:cubicBezTo>
                    <a:pt x="633" y="442"/>
                    <a:pt x="639" y="450"/>
                    <a:pt x="635" y="450"/>
                  </a:cubicBezTo>
                  <a:cubicBezTo>
                    <a:pt x="631" y="450"/>
                    <a:pt x="633" y="456"/>
                    <a:pt x="628" y="454"/>
                  </a:cubicBezTo>
                  <a:cubicBezTo>
                    <a:pt x="624" y="451"/>
                    <a:pt x="619" y="454"/>
                    <a:pt x="623" y="457"/>
                  </a:cubicBezTo>
                  <a:cubicBezTo>
                    <a:pt x="626" y="461"/>
                    <a:pt x="621" y="463"/>
                    <a:pt x="622" y="467"/>
                  </a:cubicBezTo>
                  <a:cubicBezTo>
                    <a:pt x="622" y="471"/>
                    <a:pt x="615" y="467"/>
                    <a:pt x="608" y="467"/>
                  </a:cubicBezTo>
                  <a:cubicBezTo>
                    <a:pt x="601" y="466"/>
                    <a:pt x="589" y="468"/>
                    <a:pt x="580" y="470"/>
                  </a:cubicBezTo>
                  <a:cubicBezTo>
                    <a:pt x="571" y="472"/>
                    <a:pt x="561" y="469"/>
                    <a:pt x="557" y="465"/>
                  </a:cubicBezTo>
                  <a:cubicBezTo>
                    <a:pt x="553" y="460"/>
                    <a:pt x="548" y="461"/>
                    <a:pt x="541" y="461"/>
                  </a:cubicBezTo>
                  <a:cubicBezTo>
                    <a:pt x="535" y="461"/>
                    <a:pt x="537" y="455"/>
                    <a:pt x="528" y="455"/>
                  </a:cubicBezTo>
                  <a:cubicBezTo>
                    <a:pt x="520" y="454"/>
                    <a:pt x="522" y="447"/>
                    <a:pt x="521" y="443"/>
                  </a:cubicBezTo>
                  <a:cubicBezTo>
                    <a:pt x="520" y="439"/>
                    <a:pt x="503" y="440"/>
                    <a:pt x="497" y="444"/>
                  </a:cubicBezTo>
                  <a:cubicBezTo>
                    <a:pt x="491" y="448"/>
                    <a:pt x="479" y="446"/>
                    <a:pt x="476" y="453"/>
                  </a:cubicBezTo>
                  <a:cubicBezTo>
                    <a:pt x="473" y="460"/>
                    <a:pt x="479" y="459"/>
                    <a:pt x="482" y="459"/>
                  </a:cubicBezTo>
                  <a:cubicBezTo>
                    <a:pt x="487" y="459"/>
                    <a:pt x="487" y="454"/>
                    <a:pt x="496" y="455"/>
                  </a:cubicBezTo>
                  <a:cubicBezTo>
                    <a:pt x="505" y="456"/>
                    <a:pt x="511" y="446"/>
                    <a:pt x="515" y="449"/>
                  </a:cubicBezTo>
                  <a:cubicBezTo>
                    <a:pt x="519" y="453"/>
                    <a:pt x="500" y="461"/>
                    <a:pt x="491" y="462"/>
                  </a:cubicBezTo>
                  <a:cubicBezTo>
                    <a:pt x="483" y="463"/>
                    <a:pt x="485" y="470"/>
                    <a:pt x="493" y="482"/>
                  </a:cubicBezTo>
                  <a:cubicBezTo>
                    <a:pt x="501" y="494"/>
                    <a:pt x="489" y="487"/>
                    <a:pt x="489" y="493"/>
                  </a:cubicBezTo>
                  <a:cubicBezTo>
                    <a:pt x="489" y="499"/>
                    <a:pt x="474" y="491"/>
                    <a:pt x="480" y="489"/>
                  </a:cubicBezTo>
                  <a:cubicBezTo>
                    <a:pt x="486" y="487"/>
                    <a:pt x="483" y="481"/>
                    <a:pt x="479" y="477"/>
                  </a:cubicBezTo>
                  <a:cubicBezTo>
                    <a:pt x="474" y="473"/>
                    <a:pt x="471" y="477"/>
                    <a:pt x="471" y="473"/>
                  </a:cubicBezTo>
                  <a:cubicBezTo>
                    <a:pt x="472" y="469"/>
                    <a:pt x="466" y="473"/>
                    <a:pt x="462" y="470"/>
                  </a:cubicBezTo>
                  <a:cubicBezTo>
                    <a:pt x="457" y="466"/>
                    <a:pt x="455" y="463"/>
                    <a:pt x="449" y="467"/>
                  </a:cubicBezTo>
                  <a:cubicBezTo>
                    <a:pt x="443" y="470"/>
                    <a:pt x="435" y="469"/>
                    <a:pt x="422" y="471"/>
                  </a:cubicBezTo>
                  <a:cubicBezTo>
                    <a:pt x="408" y="473"/>
                    <a:pt x="383" y="473"/>
                    <a:pt x="379" y="468"/>
                  </a:cubicBezTo>
                  <a:cubicBezTo>
                    <a:pt x="374" y="464"/>
                    <a:pt x="391" y="456"/>
                    <a:pt x="395" y="457"/>
                  </a:cubicBezTo>
                  <a:cubicBezTo>
                    <a:pt x="400" y="458"/>
                    <a:pt x="397" y="452"/>
                    <a:pt x="390" y="446"/>
                  </a:cubicBezTo>
                  <a:cubicBezTo>
                    <a:pt x="383" y="440"/>
                    <a:pt x="366" y="437"/>
                    <a:pt x="366" y="440"/>
                  </a:cubicBezTo>
                  <a:cubicBezTo>
                    <a:pt x="367" y="444"/>
                    <a:pt x="357" y="440"/>
                    <a:pt x="345" y="438"/>
                  </a:cubicBezTo>
                  <a:cubicBezTo>
                    <a:pt x="333" y="436"/>
                    <a:pt x="332" y="432"/>
                    <a:pt x="324" y="431"/>
                  </a:cubicBezTo>
                  <a:cubicBezTo>
                    <a:pt x="316" y="431"/>
                    <a:pt x="304" y="429"/>
                    <a:pt x="295" y="422"/>
                  </a:cubicBezTo>
                  <a:cubicBezTo>
                    <a:pt x="286" y="415"/>
                    <a:pt x="265" y="416"/>
                    <a:pt x="263" y="423"/>
                  </a:cubicBezTo>
                  <a:cubicBezTo>
                    <a:pt x="260" y="429"/>
                    <a:pt x="253" y="429"/>
                    <a:pt x="246" y="429"/>
                  </a:cubicBezTo>
                  <a:cubicBezTo>
                    <a:pt x="239" y="429"/>
                    <a:pt x="249" y="421"/>
                    <a:pt x="246" y="420"/>
                  </a:cubicBezTo>
                  <a:cubicBezTo>
                    <a:pt x="243" y="418"/>
                    <a:pt x="247" y="409"/>
                    <a:pt x="242" y="408"/>
                  </a:cubicBezTo>
                  <a:cubicBezTo>
                    <a:pt x="236" y="408"/>
                    <a:pt x="232" y="430"/>
                    <a:pt x="222" y="429"/>
                  </a:cubicBezTo>
                  <a:cubicBezTo>
                    <a:pt x="212" y="428"/>
                    <a:pt x="208" y="406"/>
                    <a:pt x="200" y="400"/>
                  </a:cubicBezTo>
                  <a:cubicBezTo>
                    <a:pt x="192" y="394"/>
                    <a:pt x="184" y="394"/>
                    <a:pt x="191" y="403"/>
                  </a:cubicBezTo>
                  <a:cubicBezTo>
                    <a:pt x="198" y="411"/>
                    <a:pt x="185" y="405"/>
                    <a:pt x="186" y="411"/>
                  </a:cubicBezTo>
                  <a:cubicBezTo>
                    <a:pt x="187" y="417"/>
                    <a:pt x="175" y="424"/>
                    <a:pt x="175" y="420"/>
                  </a:cubicBezTo>
                  <a:cubicBezTo>
                    <a:pt x="176" y="417"/>
                    <a:pt x="169" y="414"/>
                    <a:pt x="161" y="423"/>
                  </a:cubicBezTo>
                  <a:cubicBezTo>
                    <a:pt x="153" y="432"/>
                    <a:pt x="148" y="430"/>
                    <a:pt x="147" y="427"/>
                  </a:cubicBezTo>
                  <a:cubicBezTo>
                    <a:pt x="147" y="424"/>
                    <a:pt x="124" y="436"/>
                    <a:pt x="125" y="439"/>
                  </a:cubicBezTo>
                  <a:cubicBezTo>
                    <a:pt x="126" y="443"/>
                    <a:pt x="121" y="446"/>
                    <a:pt x="115" y="446"/>
                  </a:cubicBezTo>
                  <a:cubicBezTo>
                    <a:pt x="109" y="446"/>
                    <a:pt x="114" y="440"/>
                    <a:pt x="119" y="438"/>
                  </a:cubicBezTo>
                  <a:cubicBezTo>
                    <a:pt x="124" y="435"/>
                    <a:pt x="139" y="423"/>
                    <a:pt x="147" y="422"/>
                  </a:cubicBezTo>
                  <a:cubicBezTo>
                    <a:pt x="154" y="420"/>
                    <a:pt x="169" y="414"/>
                    <a:pt x="170" y="411"/>
                  </a:cubicBezTo>
                  <a:cubicBezTo>
                    <a:pt x="170" y="407"/>
                    <a:pt x="162" y="410"/>
                    <a:pt x="157" y="409"/>
                  </a:cubicBezTo>
                  <a:cubicBezTo>
                    <a:pt x="152" y="408"/>
                    <a:pt x="143" y="414"/>
                    <a:pt x="134" y="418"/>
                  </a:cubicBezTo>
                  <a:cubicBezTo>
                    <a:pt x="125" y="422"/>
                    <a:pt x="115" y="420"/>
                    <a:pt x="118" y="426"/>
                  </a:cubicBezTo>
                  <a:cubicBezTo>
                    <a:pt x="121" y="431"/>
                    <a:pt x="110" y="425"/>
                    <a:pt x="108" y="428"/>
                  </a:cubicBezTo>
                  <a:cubicBezTo>
                    <a:pt x="105" y="432"/>
                    <a:pt x="101" y="428"/>
                    <a:pt x="104" y="426"/>
                  </a:cubicBezTo>
                  <a:cubicBezTo>
                    <a:pt x="108" y="424"/>
                    <a:pt x="97" y="421"/>
                    <a:pt x="97" y="423"/>
                  </a:cubicBezTo>
                  <a:cubicBezTo>
                    <a:pt x="97" y="425"/>
                    <a:pt x="95" y="428"/>
                    <a:pt x="87" y="428"/>
                  </a:cubicBezTo>
                  <a:cubicBezTo>
                    <a:pt x="79" y="428"/>
                    <a:pt x="72" y="434"/>
                    <a:pt x="77" y="437"/>
                  </a:cubicBezTo>
                  <a:cubicBezTo>
                    <a:pt x="82" y="441"/>
                    <a:pt x="85" y="443"/>
                    <a:pt x="83" y="446"/>
                  </a:cubicBezTo>
                  <a:cubicBezTo>
                    <a:pt x="80" y="448"/>
                    <a:pt x="72" y="439"/>
                    <a:pt x="61" y="440"/>
                  </a:cubicBezTo>
                  <a:cubicBezTo>
                    <a:pt x="49" y="441"/>
                    <a:pt x="27" y="427"/>
                    <a:pt x="27" y="424"/>
                  </a:cubicBezTo>
                  <a:cubicBezTo>
                    <a:pt x="27" y="422"/>
                    <a:pt x="11" y="423"/>
                    <a:pt x="0" y="422"/>
                  </a:cubicBezTo>
                  <a:cubicBezTo>
                    <a:pt x="0" y="645"/>
                    <a:pt x="0" y="645"/>
                    <a:pt x="0" y="645"/>
                  </a:cubicBezTo>
                  <a:cubicBezTo>
                    <a:pt x="0" y="645"/>
                    <a:pt x="5" y="649"/>
                    <a:pt x="8" y="647"/>
                  </a:cubicBezTo>
                  <a:cubicBezTo>
                    <a:pt x="10" y="644"/>
                    <a:pt x="14" y="647"/>
                    <a:pt x="21" y="644"/>
                  </a:cubicBezTo>
                  <a:cubicBezTo>
                    <a:pt x="28" y="641"/>
                    <a:pt x="31" y="648"/>
                    <a:pt x="31" y="651"/>
                  </a:cubicBezTo>
                  <a:cubicBezTo>
                    <a:pt x="31" y="655"/>
                    <a:pt x="41" y="660"/>
                    <a:pt x="45" y="666"/>
                  </a:cubicBezTo>
                  <a:cubicBezTo>
                    <a:pt x="50" y="672"/>
                    <a:pt x="52" y="676"/>
                    <a:pt x="57" y="673"/>
                  </a:cubicBezTo>
                  <a:cubicBezTo>
                    <a:pt x="61" y="670"/>
                    <a:pt x="70" y="669"/>
                    <a:pt x="70" y="663"/>
                  </a:cubicBezTo>
                  <a:cubicBezTo>
                    <a:pt x="70" y="657"/>
                    <a:pt x="90" y="657"/>
                    <a:pt x="90" y="664"/>
                  </a:cubicBezTo>
                  <a:cubicBezTo>
                    <a:pt x="90" y="671"/>
                    <a:pt x="110" y="680"/>
                    <a:pt x="121" y="700"/>
                  </a:cubicBezTo>
                  <a:cubicBezTo>
                    <a:pt x="132" y="719"/>
                    <a:pt x="131" y="724"/>
                    <a:pt x="147" y="730"/>
                  </a:cubicBezTo>
                  <a:cubicBezTo>
                    <a:pt x="163" y="737"/>
                    <a:pt x="163" y="740"/>
                    <a:pt x="161" y="746"/>
                  </a:cubicBezTo>
                  <a:cubicBezTo>
                    <a:pt x="159" y="751"/>
                    <a:pt x="171" y="754"/>
                    <a:pt x="164" y="759"/>
                  </a:cubicBezTo>
                  <a:cubicBezTo>
                    <a:pt x="161" y="761"/>
                    <a:pt x="157" y="763"/>
                    <a:pt x="154" y="766"/>
                  </a:cubicBezTo>
                  <a:cubicBezTo>
                    <a:pt x="154" y="769"/>
                    <a:pt x="157" y="771"/>
                    <a:pt x="160" y="773"/>
                  </a:cubicBezTo>
                  <a:cubicBezTo>
                    <a:pt x="164" y="777"/>
                    <a:pt x="153" y="777"/>
                    <a:pt x="156" y="779"/>
                  </a:cubicBezTo>
                  <a:cubicBezTo>
                    <a:pt x="159" y="782"/>
                    <a:pt x="155" y="787"/>
                    <a:pt x="159" y="790"/>
                  </a:cubicBezTo>
                  <a:cubicBezTo>
                    <a:pt x="162" y="794"/>
                    <a:pt x="168" y="793"/>
                    <a:pt x="171" y="790"/>
                  </a:cubicBezTo>
                  <a:cubicBezTo>
                    <a:pt x="175" y="787"/>
                    <a:pt x="177" y="793"/>
                    <a:pt x="174" y="798"/>
                  </a:cubicBezTo>
                  <a:cubicBezTo>
                    <a:pt x="172" y="803"/>
                    <a:pt x="178" y="807"/>
                    <a:pt x="181" y="803"/>
                  </a:cubicBezTo>
                  <a:cubicBezTo>
                    <a:pt x="183" y="799"/>
                    <a:pt x="190" y="809"/>
                    <a:pt x="193" y="810"/>
                  </a:cubicBezTo>
                  <a:cubicBezTo>
                    <a:pt x="195" y="812"/>
                    <a:pt x="198" y="817"/>
                    <a:pt x="193" y="817"/>
                  </a:cubicBezTo>
                  <a:cubicBezTo>
                    <a:pt x="189" y="817"/>
                    <a:pt x="189" y="825"/>
                    <a:pt x="193" y="826"/>
                  </a:cubicBezTo>
                  <a:cubicBezTo>
                    <a:pt x="196" y="826"/>
                    <a:pt x="196" y="830"/>
                    <a:pt x="196" y="833"/>
                  </a:cubicBezTo>
                  <a:cubicBezTo>
                    <a:pt x="196" y="836"/>
                    <a:pt x="207" y="840"/>
                    <a:pt x="212" y="839"/>
                  </a:cubicBezTo>
                  <a:cubicBezTo>
                    <a:pt x="216" y="838"/>
                    <a:pt x="220" y="842"/>
                    <a:pt x="222" y="845"/>
                  </a:cubicBezTo>
                  <a:cubicBezTo>
                    <a:pt x="223" y="849"/>
                    <a:pt x="231" y="851"/>
                    <a:pt x="234" y="849"/>
                  </a:cubicBezTo>
                  <a:cubicBezTo>
                    <a:pt x="237" y="847"/>
                    <a:pt x="239" y="853"/>
                    <a:pt x="240" y="858"/>
                  </a:cubicBezTo>
                  <a:cubicBezTo>
                    <a:pt x="240" y="862"/>
                    <a:pt x="247" y="860"/>
                    <a:pt x="251" y="859"/>
                  </a:cubicBezTo>
                  <a:cubicBezTo>
                    <a:pt x="254" y="859"/>
                    <a:pt x="257" y="865"/>
                    <a:pt x="259" y="864"/>
                  </a:cubicBezTo>
                  <a:cubicBezTo>
                    <a:pt x="265" y="861"/>
                    <a:pt x="267" y="871"/>
                    <a:pt x="270" y="877"/>
                  </a:cubicBezTo>
                  <a:cubicBezTo>
                    <a:pt x="671" y="875"/>
                    <a:pt x="671" y="875"/>
                    <a:pt x="671" y="875"/>
                  </a:cubicBezTo>
                  <a:cubicBezTo>
                    <a:pt x="671" y="875"/>
                    <a:pt x="672" y="865"/>
                    <a:pt x="676" y="869"/>
                  </a:cubicBezTo>
                  <a:cubicBezTo>
                    <a:pt x="681" y="872"/>
                    <a:pt x="677" y="878"/>
                    <a:pt x="682" y="880"/>
                  </a:cubicBezTo>
                  <a:cubicBezTo>
                    <a:pt x="688" y="882"/>
                    <a:pt x="692" y="885"/>
                    <a:pt x="695" y="884"/>
                  </a:cubicBezTo>
                  <a:cubicBezTo>
                    <a:pt x="698" y="883"/>
                    <a:pt x="703" y="878"/>
                    <a:pt x="708" y="884"/>
                  </a:cubicBezTo>
                  <a:cubicBezTo>
                    <a:pt x="713" y="891"/>
                    <a:pt x="717" y="885"/>
                    <a:pt x="720" y="889"/>
                  </a:cubicBezTo>
                  <a:cubicBezTo>
                    <a:pt x="723" y="893"/>
                    <a:pt x="729" y="896"/>
                    <a:pt x="733" y="891"/>
                  </a:cubicBezTo>
                  <a:cubicBezTo>
                    <a:pt x="736" y="888"/>
                    <a:pt x="748" y="892"/>
                    <a:pt x="754" y="894"/>
                  </a:cubicBezTo>
                  <a:cubicBezTo>
                    <a:pt x="761" y="889"/>
                    <a:pt x="766" y="877"/>
                    <a:pt x="773" y="877"/>
                  </a:cubicBezTo>
                  <a:cubicBezTo>
                    <a:pt x="781" y="877"/>
                    <a:pt x="802" y="878"/>
                    <a:pt x="804" y="889"/>
                  </a:cubicBezTo>
                  <a:cubicBezTo>
                    <a:pt x="805" y="900"/>
                    <a:pt x="818" y="890"/>
                    <a:pt x="819" y="900"/>
                  </a:cubicBezTo>
                  <a:cubicBezTo>
                    <a:pt x="820" y="909"/>
                    <a:pt x="829" y="916"/>
                    <a:pt x="827" y="921"/>
                  </a:cubicBezTo>
                  <a:cubicBezTo>
                    <a:pt x="830" y="922"/>
                    <a:pt x="833" y="924"/>
                    <a:pt x="835" y="926"/>
                  </a:cubicBezTo>
                  <a:cubicBezTo>
                    <a:pt x="840" y="925"/>
                    <a:pt x="850" y="927"/>
                    <a:pt x="858" y="929"/>
                  </a:cubicBezTo>
                  <a:cubicBezTo>
                    <a:pt x="867" y="933"/>
                    <a:pt x="880" y="926"/>
                    <a:pt x="885" y="937"/>
                  </a:cubicBezTo>
                  <a:cubicBezTo>
                    <a:pt x="889" y="948"/>
                    <a:pt x="900" y="956"/>
                    <a:pt x="890" y="957"/>
                  </a:cubicBezTo>
                  <a:cubicBezTo>
                    <a:pt x="882" y="957"/>
                    <a:pt x="871" y="946"/>
                    <a:pt x="871" y="952"/>
                  </a:cubicBezTo>
                  <a:cubicBezTo>
                    <a:pt x="872" y="958"/>
                    <a:pt x="867" y="955"/>
                    <a:pt x="867" y="965"/>
                  </a:cubicBezTo>
                  <a:cubicBezTo>
                    <a:pt x="867" y="975"/>
                    <a:pt x="860" y="988"/>
                    <a:pt x="856" y="988"/>
                  </a:cubicBezTo>
                  <a:cubicBezTo>
                    <a:pt x="856" y="987"/>
                    <a:pt x="856" y="987"/>
                    <a:pt x="856" y="987"/>
                  </a:cubicBezTo>
                  <a:cubicBezTo>
                    <a:pt x="855" y="991"/>
                    <a:pt x="855" y="996"/>
                    <a:pt x="858" y="999"/>
                  </a:cubicBezTo>
                  <a:cubicBezTo>
                    <a:pt x="863" y="995"/>
                    <a:pt x="870" y="989"/>
                    <a:pt x="876" y="989"/>
                  </a:cubicBezTo>
                  <a:cubicBezTo>
                    <a:pt x="886" y="990"/>
                    <a:pt x="889" y="996"/>
                    <a:pt x="895" y="991"/>
                  </a:cubicBezTo>
                  <a:cubicBezTo>
                    <a:pt x="902" y="987"/>
                    <a:pt x="903" y="985"/>
                    <a:pt x="904" y="988"/>
                  </a:cubicBezTo>
                  <a:cubicBezTo>
                    <a:pt x="904" y="989"/>
                    <a:pt x="904" y="989"/>
                    <a:pt x="904" y="990"/>
                  </a:cubicBezTo>
                  <a:cubicBezTo>
                    <a:pt x="906" y="988"/>
                    <a:pt x="908" y="987"/>
                    <a:pt x="908" y="986"/>
                  </a:cubicBezTo>
                  <a:cubicBezTo>
                    <a:pt x="908" y="984"/>
                    <a:pt x="908" y="982"/>
                    <a:pt x="907" y="980"/>
                  </a:cubicBezTo>
                  <a:cubicBezTo>
                    <a:pt x="901" y="981"/>
                    <a:pt x="899" y="982"/>
                    <a:pt x="897" y="977"/>
                  </a:cubicBezTo>
                  <a:cubicBezTo>
                    <a:pt x="894" y="971"/>
                    <a:pt x="916" y="964"/>
                    <a:pt x="927" y="966"/>
                  </a:cubicBezTo>
                  <a:cubicBezTo>
                    <a:pt x="937" y="967"/>
                    <a:pt x="943" y="960"/>
                    <a:pt x="947" y="964"/>
                  </a:cubicBezTo>
                  <a:cubicBezTo>
                    <a:pt x="953" y="959"/>
                    <a:pt x="964" y="949"/>
                    <a:pt x="966" y="949"/>
                  </a:cubicBezTo>
                  <a:cubicBezTo>
                    <a:pt x="970" y="949"/>
                    <a:pt x="1016" y="949"/>
                    <a:pt x="1016" y="949"/>
                  </a:cubicBezTo>
                  <a:cubicBezTo>
                    <a:pt x="1016" y="949"/>
                    <a:pt x="1032" y="939"/>
                    <a:pt x="1034" y="930"/>
                  </a:cubicBezTo>
                  <a:cubicBezTo>
                    <a:pt x="1036" y="921"/>
                    <a:pt x="1047" y="900"/>
                    <a:pt x="1053" y="904"/>
                  </a:cubicBezTo>
                  <a:cubicBezTo>
                    <a:pt x="1059" y="909"/>
                    <a:pt x="1072" y="906"/>
                    <a:pt x="1072" y="910"/>
                  </a:cubicBezTo>
                  <a:cubicBezTo>
                    <a:pt x="1073" y="914"/>
                    <a:pt x="1068" y="928"/>
                    <a:pt x="1084" y="950"/>
                  </a:cubicBezTo>
                  <a:cubicBezTo>
                    <a:pt x="1090" y="947"/>
                    <a:pt x="1096" y="944"/>
                    <a:pt x="1100" y="944"/>
                  </a:cubicBezTo>
                  <a:cubicBezTo>
                    <a:pt x="1105" y="944"/>
                    <a:pt x="1114" y="937"/>
                    <a:pt x="1117" y="932"/>
                  </a:cubicBezTo>
                  <a:cubicBezTo>
                    <a:pt x="1119" y="927"/>
                    <a:pt x="1123" y="936"/>
                    <a:pt x="1118" y="938"/>
                  </a:cubicBezTo>
                  <a:cubicBezTo>
                    <a:pt x="1113" y="939"/>
                    <a:pt x="1122" y="943"/>
                    <a:pt x="1131" y="943"/>
                  </a:cubicBezTo>
                  <a:cubicBezTo>
                    <a:pt x="1140" y="943"/>
                    <a:pt x="1127" y="946"/>
                    <a:pt x="1120" y="946"/>
                  </a:cubicBezTo>
                  <a:cubicBezTo>
                    <a:pt x="1113" y="946"/>
                    <a:pt x="1110" y="947"/>
                    <a:pt x="1101" y="956"/>
                  </a:cubicBezTo>
                  <a:cubicBezTo>
                    <a:pt x="1092" y="965"/>
                    <a:pt x="1094" y="967"/>
                    <a:pt x="1100" y="972"/>
                  </a:cubicBezTo>
                  <a:cubicBezTo>
                    <a:pt x="1105" y="976"/>
                    <a:pt x="1112" y="974"/>
                    <a:pt x="1119" y="968"/>
                  </a:cubicBezTo>
                  <a:cubicBezTo>
                    <a:pt x="1126" y="962"/>
                    <a:pt x="1125" y="956"/>
                    <a:pt x="1133" y="956"/>
                  </a:cubicBezTo>
                  <a:cubicBezTo>
                    <a:pt x="1140" y="957"/>
                    <a:pt x="1158" y="950"/>
                    <a:pt x="1166" y="947"/>
                  </a:cubicBezTo>
                  <a:cubicBezTo>
                    <a:pt x="1174" y="945"/>
                    <a:pt x="1169" y="943"/>
                    <a:pt x="1169" y="940"/>
                  </a:cubicBezTo>
                  <a:cubicBezTo>
                    <a:pt x="1169" y="936"/>
                    <a:pt x="1183" y="936"/>
                    <a:pt x="1188" y="933"/>
                  </a:cubicBezTo>
                  <a:cubicBezTo>
                    <a:pt x="1194" y="929"/>
                    <a:pt x="1187" y="926"/>
                    <a:pt x="1183" y="927"/>
                  </a:cubicBezTo>
                  <a:close/>
                  <a:moveTo>
                    <a:pt x="343" y="509"/>
                  </a:moveTo>
                  <a:cubicBezTo>
                    <a:pt x="335" y="519"/>
                    <a:pt x="332" y="521"/>
                    <a:pt x="323" y="519"/>
                  </a:cubicBezTo>
                  <a:cubicBezTo>
                    <a:pt x="315" y="518"/>
                    <a:pt x="309" y="522"/>
                    <a:pt x="313" y="525"/>
                  </a:cubicBezTo>
                  <a:cubicBezTo>
                    <a:pt x="318" y="528"/>
                    <a:pt x="318" y="531"/>
                    <a:pt x="309" y="533"/>
                  </a:cubicBezTo>
                  <a:cubicBezTo>
                    <a:pt x="300" y="535"/>
                    <a:pt x="294" y="542"/>
                    <a:pt x="291" y="541"/>
                  </a:cubicBezTo>
                  <a:cubicBezTo>
                    <a:pt x="287" y="540"/>
                    <a:pt x="306" y="527"/>
                    <a:pt x="301" y="523"/>
                  </a:cubicBezTo>
                  <a:cubicBezTo>
                    <a:pt x="296" y="520"/>
                    <a:pt x="284" y="529"/>
                    <a:pt x="284" y="534"/>
                  </a:cubicBezTo>
                  <a:cubicBezTo>
                    <a:pt x="284" y="538"/>
                    <a:pt x="276" y="538"/>
                    <a:pt x="271" y="538"/>
                  </a:cubicBezTo>
                  <a:cubicBezTo>
                    <a:pt x="266" y="538"/>
                    <a:pt x="260" y="533"/>
                    <a:pt x="264" y="533"/>
                  </a:cubicBezTo>
                  <a:cubicBezTo>
                    <a:pt x="269" y="532"/>
                    <a:pt x="266" y="527"/>
                    <a:pt x="273" y="524"/>
                  </a:cubicBezTo>
                  <a:cubicBezTo>
                    <a:pt x="279" y="522"/>
                    <a:pt x="271" y="518"/>
                    <a:pt x="273" y="515"/>
                  </a:cubicBezTo>
                  <a:cubicBezTo>
                    <a:pt x="276" y="512"/>
                    <a:pt x="289" y="518"/>
                    <a:pt x="289" y="513"/>
                  </a:cubicBezTo>
                  <a:cubicBezTo>
                    <a:pt x="290" y="507"/>
                    <a:pt x="276" y="503"/>
                    <a:pt x="271" y="506"/>
                  </a:cubicBezTo>
                  <a:cubicBezTo>
                    <a:pt x="267" y="509"/>
                    <a:pt x="256" y="516"/>
                    <a:pt x="243" y="511"/>
                  </a:cubicBezTo>
                  <a:cubicBezTo>
                    <a:pt x="239" y="509"/>
                    <a:pt x="275" y="505"/>
                    <a:pt x="281" y="499"/>
                  </a:cubicBezTo>
                  <a:cubicBezTo>
                    <a:pt x="288" y="494"/>
                    <a:pt x="315" y="487"/>
                    <a:pt x="317" y="493"/>
                  </a:cubicBezTo>
                  <a:cubicBezTo>
                    <a:pt x="319" y="498"/>
                    <a:pt x="302" y="501"/>
                    <a:pt x="311" y="506"/>
                  </a:cubicBezTo>
                  <a:cubicBezTo>
                    <a:pt x="319" y="510"/>
                    <a:pt x="332" y="507"/>
                    <a:pt x="335" y="502"/>
                  </a:cubicBezTo>
                  <a:cubicBezTo>
                    <a:pt x="338" y="497"/>
                    <a:pt x="352" y="498"/>
                    <a:pt x="343" y="509"/>
                  </a:cubicBezTo>
                  <a:close/>
                  <a:moveTo>
                    <a:pt x="425" y="612"/>
                  </a:moveTo>
                  <a:cubicBezTo>
                    <a:pt x="415" y="621"/>
                    <a:pt x="416" y="619"/>
                    <a:pt x="407" y="620"/>
                  </a:cubicBezTo>
                  <a:cubicBezTo>
                    <a:pt x="398" y="622"/>
                    <a:pt x="405" y="631"/>
                    <a:pt x="395" y="631"/>
                  </a:cubicBezTo>
                  <a:cubicBezTo>
                    <a:pt x="384" y="632"/>
                    <a:pt x="359" y="633"/>
                    <a:pt x="355" y="627"/>
                  </a:cubicBezTo>
                  <a:cubicBezTo>
                    <a:pt x="354" y="625"/>
                    <a:pt x="369" y="627"/>
                    <a:pt x="370" y="622"/>
                  </a:cubicBezTo>
                  <a:cubicBezTo>
                    <a:pt x="371" y="618"/>
                    <a:pt x="375" y="611"/>
                    <a:pt x="381" y="611"/>
                  </a:cubicBezTo>
                  <a:cubicBezTo>
                    <a:pt x="388" y="611"/>
                    <a:pt x="387" y="603"/>
                    <a:pt x="377" y="597"/>
                  </a:cubicBezTo>
                  <a:cubicBezTo>
                    <a:pt x="366" y="592"/>
                    <a:pt x="392" y="589"/>
                    <a:pt x="398" y="597"/>
                  </a:cubicBezTo>
                  <a:cubicBezTo>
                    <a:pt x="404" y="605"/>
                    <a:pt x="414" y="611"/>
                    <a:pt x="420" y="605"/>
                  </a:cubicBezTo>
                  <a:cubicBezTo>
                    <a:pt x="426" y="600"/>
                    <a:pt x="460" y="583"/>
                    <a:pt x="460" y="591"/>
                  </a:cubicBezTo>
                  <a:cubicBezTo>
                    <a:pt x="460" y="598"/>
                    <a:pt x="435" y="604"/>
                    <a:pt x="425" y="612"/>
                  </a:cubicBezTo>
                  <a:close/>
                  <a:moveTo>
                    <a:pt x="649" y="847"/>
                  </a:moveTo>
                  <a:cubicBezTo>
                    <a:pt x="642" y="848"/>
                    <a:pt x="650" y="828"/>
                    <a:pt x="637" y="821"/>
                  </a:cubicBezTo>
                  <a:cubicBezTo>
                    <a:pt x="622" y="813"/>
                    <a:pt x="615" y="797"/>
                    <a:pt x="615" y="789"/>
                  </a:cubicBezTo>
                  <a:cubicBezTo>
                    <a:pt x="615" y="780"/>
                    <a:pt x="628" y="777"/>
                    <a:pt x="633" y="783"/>
                  </a:cubicBezTo>
                  <a:cubicBezTo>
                    <a:pt x="638" y="789"/>
                    <a:pt x="646" y="816"/>
                    <a:pt x="651" y="824"/>
                  </a:cubicBezTo>
                  <a:cubicBezTo>
                    <a:pt x="655" y="833"/>
                    <a:pt x="655" y="846"/>
                    <a:pt x="649" y="8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4" name="Freeform 302"/>
            <p:cNvSpPr/>
            <p:nvPr/>
          </p:nvSpPr>
          <p:spPr>
            <a:xfrm>
              <a:off x="933451" y="2155825"/>
              <a:ext cx="73025" cy="69850"/>
            </a:xfrm>
            <a:custGeom>
              <a:gdLst>
                <a:gd name="T0" fmla="*/ 40 w 43"/>
                <a:gd name="T1" fmla="*/ 11 h 41"/>
                <a:gd name="T2" fmla="*/ 37 w 43"/>
                <a:gd name="T3" fmla="*/ 4 h 41"/>
                <a:gd name="T4" fmla="*/ 25 w 43"/>
                <a:gd name="T5" fmla="*/ 8 h 41"/>
                <a:gd name="T6" fmla="*/ 13 w 43"/>
                <a:gd name="T7" fmla="*/ 23 h 41"/>
                <a:gd name="T8" fmla="*/ 2 w 43"/>
                <a:gd name="T9" fmla="*/ 26 h 41"/>
                <a:gd name="T10" fmla="*/ 8 w 43"/>
                <a:gd name="T11" fmla="*/ 38 h 41"/>
                <a:gd name="T12" fmla="*/ 16 w 43"/>
                <a:gd name="T13" fmla="*/ 38 h 41"/>
                <a:gd name="T14" fmla="*/ 35 w 43"/>
                <a:gd name="T15" fmla="*/ 24 h 41"/>
                <a:gd name="T16" fmla="*/ 29 w 43"/>
                <a:gd name="T17" fmla="*/ 15 h 41"/>
                <a:gd name="T18" fmla="*/ 40 w 43"/>
                <a:gd name="T19" fmla="*/ 11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40" y="11"/>
                  </a:moveTo>
                  <a:cubicBezTo>
                    <a:pt x="43" y="9"/>
                    <a:pt x="36" y="7"/>
                    <a:pt x="37" y="4"/>
                  </a:cubicBezTo>
                  <a:cubicBezTo>
                    <a:pt x="37" y="0"/>
                    <a:pt x="32" y="0"/>
                    <a:pt x="25" y="8"/>
                  </a:cubicBezTo>
                  <a:cubicBezTo>
                    <a:pt x="19" y="15"/>
                    <a:pt x="14" y="19"/>
                    <a:pt x="13" y="23"/>
                  </a:cubicBezTo>
                  <a:cubicBezTo>
                    <a:pt x="12" y="26"/>
                    <a:pt x="4" y="22"/>
                    <a:pt x="2" y="26"/>
                  </a:cubicBezTo>
                  <a:cubicBezTo>
                    <a:pt x="0" y="31"/>
                    <a:pt x="4" y="41"/>
                    <a:pt x="8" y="38"/>
                  </a:cubicBezTo>
                  <a:cubicBezTo>
                    <a:pt x="13" y="34"/>
                    <a:pt x="13" y="38"/>
                    <a:pt x="16" y="38"/>
                  </a:cubicBezTo>
                  <a:cubicBezTo>
                    <a:pt x="19" y="38"/>
                    <a:pt x="32" y="29"/>
                    <a:pt x="35" y="24"/>
                  </a:cubicBezTo>
                  <a:cubicBezTo>
                    <a:pt x="38" y="20"/>
                    <a:pt x="30" y="18"/>
                    <a:pt x="29" y="15"/>
                  </a:cubicBezTo>
                  <a:cubicBezTo>
                    <a:pt x="29" y="13"/>
                    <a:pt x="36" y="13"/>
                    <a:pt x="40" y="1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5" name="Freeform 303"/>
            <p:cNvSpPr/>
            <p:nvPr/>
          </p:nvSpPr>
          <p:spPr>
            <a:xfrm>
              <a:off x="674688" y="2286000"/>
              <a:ext cx="55563" cy="22225"/>
            </a:xfrm>
            <a:custGeom>
              <a:gdLst>
                <a:gd name="T0" fmla="*/ 26 w 33"/>
                <a:gd name="T1" fmla="*/ 2 h 13"/>
                <a:gd name="T2" fmla="*/ 7 w 33"/>
                <a:gd name="T3" fmla="*/ 12 h 13"/>
                <a:gd name="T4" fmla="*/ 18 w 33"/>
                <a:gd name="T5" fmla="*/ 8 h 13"/>
                <a:gd name="T6" fmla="*/ 26 w 33"/>
                <a:gd name="T7" fmla="*/ 2 h 13"/>
              </a:gdLst>
              <a:cxnLst>
                <a:cxn ang="0">
                  <a:pos x="T0" y="T1"/>
                </a:cxn>
                <a:cxn ang="0">
                  <a:pos x="T2" y="T3"/>
                </a:cxn>
                <a:cxn ang="0">
                  <a:pos x="T4" y="T5"/>
                </a:cxn>
                <a:cxn ang="0">
                  <a:pos x="T6" y="T7"/>
                </a:cxn>
              </a:cxnLst>
              <a:rect l="0" t="0" r="r" b="b"/>
              <a:pathLst>
                <a:path w="33" h="13">
                  <a:moveTo>
                    <a:pt x="26" y="2"/>
                  </a:moveTo>
                  <a:cubicBezTo>
                    <a:pt x="19" y="0"/>
                    <a:pt x="0" y="11"/>
                    <a:pt x="7" y="12"/>
                  </a:cubicBezTo>
                  <a:cubicBezTo>
                    <a:pt x="11" y="13"/>
                    <a:pt x="13" y="8"/>
                    <a:pt x="18" y="8"/>
                  </a:cubicBezTo>
                  <a:cubicBezTo>
                    <a:pt x="24" y="8"/>
                    <a:pt x="33" y="5"/>
                    <a:pt x="26"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6" name="Freeform 304"/>
            <p:cNvSpPr/>
            <p:nvPr/>
          </p:nvSpPr>
          <p:spPr>
            <a:xfrm>
              <a:off x="1684338" y="2465388"/>
              <a:ext cx="1430338" cy="715963"/>
            </a:xfrm>
            <a:custGeom>
              <a:gdLst>
                <a:gd name="T0" fmla="*/ 794 w 844"/>
                <a:gd name="T1" fmla="*/ 65 h 422"/>
                <a:gd name="T2" fmla="*/ 707 w 844"/>
                <a:gd name="T3" fmla="*/ 99 h 422"/>
                <a:gd name="T4" fmla="*/ 667 w 844"/>
                <a:gd name="T5" fmla="*/ 115 h 422"/>
                <a:gd name="T6" fmla="*/ 631 w 844"/>
                <a:gd name="T7" fmla="*/ 145 h 422"/>
                <a:gd name="T8" fmla="*/ 618 w 844"/>
                <a:gd name="T9" fmla="*/ 134 h 422"/>
                <a:gd name="T10" fmla="*/ 595 w 844"/>
                <a:gd name="T11" fmla="*/ 106 h 422"/>
                <a:gd name="T12" fmla="*/ 564 w 844"/>
                <a:gd name="T13" fmla="*/ 88 h 422"/>
                <a:gd name="T14" fmla="*/ 538 w 844"/>
                <a:gd name="T15" fmla="*/ 113 h 422"/>
                <a:gd name="T16" fmla="*/ 594 w 844"/>
                <a:gd name="T17" fmla="*/ 63 h 422"/>
                <a:gd name="T18" fmla="*/ 585 w 844"/>
                <a:gd name="T19" fmla="*/ 58 h 422"/>
                <a:gd name="T20" fmla="*/ 534 w 844"/>
                <a:gd name="T21" fmla="*/ 48 h 422"/>
                <a:gd name="T22" fmla="*/ 477 w 844"/>
                <a:gd name="T23" fmla="*/ 51 h 422"/>
                <a:gd name="T24" fmla="*/ 493 w 844"/>
                <a:gd name="T25" fmla="*/ 26 h 422"/>
                <a:gd name="T26" fmla="*/ 455 w 844"/>
                <a:gd name="T27" fmla="*/ 19 h 422"/>
                <a:gd name="T28" fmla="*/ 431 w 844"/>
                <a:gd name="T29" fmla="*/ 10 h 422"/>
                <a:gd name="T30" fmla="*/ 34 w 844"/>
                <a:gd name="T31" fmla="*/ 29 h 422"/>
                <a:gd name="T32" fmla="*/ 26 w 844"/>
                <a:gd name="T33" fmla="*/ 28 h 422"/>
                <a:gd name="T34" fmla="*/ 1 w 844"/>
                <a:gd name="T35" fmla="*/ 23 h 422"/>
                <a:gd name="T36" fmla="*/ 14 w 844"/>
                <a:gd name="T37" fmla="*/ 61 h 422"/>
                <a:gd name="T38" fmla="*/ 5 w 844"/>
                <a:gd name="T39" fmla="*/ 133 h 422"/>
                <a:gd name="T40" fmla="*/ 16 w 844"/>
                <a:gd name="T41" fmla="*/ 194 h 422"/>
                <a:gd name="T42" fmla="*/ 41 w 844"/>
                <a:gd name="T43" fmla="*/ 224 h 422"/>
                <a:gd name="T44" fmla="*/ 65 w 844"/>
                <a:gd name="T45" fmla="*/ 265 h 422"/>
                <a:gd name="T46" fmla="*/ 109 w 844"/>
                <a:gd name="T47" fmla="*/ 292 h 422"/>
                <a:gd name="T48" fmla="*/ 162 w 844"/>
                <a:gd name="T49" fmla="*/ 305 h 422"/>
                <a:gd name="T50" fmla="*/ 246 w 844"/>
                <a:gd name="T51" fmla="*/ 311 h 422"/>
                <a:gd name="T52" fmla="*/ 294 w 844"/>
                <a:gd name="T53" fmla="*/ 338 h 422"/>
                <a:gd name="T54" fmla="*/ 328 w 844"/>
                <a:gd name="T55" fmla="*/ 342 h 422"/>
                <a:gd name="T56" fmla="*/ 371 w 844"/>
                <a:gd name="T57" fmla="*/ 388 h 422"/>
                <a:gd name="T58" fmla="*/ 401 w 844"/>
                <a:gd name="T59" fmla="*/ 406 h 422"/>
                <a:gd name="T60" fmla="*/ 411 w 844"/>
                <a:gd name="T61" fmla="*/ 364 h 422"/>
                <a:gd name="T62" fmla="*/ 441 w 844"/>
                <a:gd name="T63" fmla="*/ 346 h 422"/>
                <a:gd name="T64" fmla="*/ 465 w 844"/>
                <a:gd name="T65" fmla="*/ 343 h 422"/>
                <a:gd name="T66" fmla="*/ 499 w 844"/>
                <a:gd name="T67" fmla="*/ 351 h 422"/>
                <a:gd name="T68" fmla="*/ 515 w 844"/>
                <a:gd name="T69" fmla="*/ 348 h 422"/>
                <a:gd name="T70" fmla="*/ 535 w 844"/>
                <a:gd name="T71" fmla="*/ 331 h 422"/>
                <a:gd name="T72" fmla="*/ 574 w 844"/>
                <a:gd name="T73" fmla="*/ 342 h 422"/>
                <a:gd name="T74" fmla="*/ 612 w 844"/>
                <a:gd name="T75" fmla="*/ 355 h 422"/>
                <a:gd name="T76" fmla="*/ 624 w 844"/>
                <a:gd name="T77" fmla="*/ 402 h 422"/>
                <a:gd name="T78" fmla="*/ 651 w 844"/>
                <a:gd name="T79" fmla="*/ 399 h 422"/>
                <a:gd name="T80" fmla="*/ 631 w 844"/>
                <a:gd name="T81" fmla="*/ 327 h 422"/>
                <a:gd name="T82" fmla="*/ 673 w 844"/>
                <a:gd name="T83" fmla="*/ 278 h 422"/>
                <a:gd name="T84" fmla="*/ 698 w 844"/>
                <a:gd name="T85" fmla="*/ 254 h 422"/>
                <a:gd name="T86" fmla="*/ 715 w 844"/>
                <a:gd name="T87" fmla="*/ 241 h 422"/>
                <a:gd name="T88" fmla="*/ 705 w 844"/>
                <a:gd name="T89" fmla="*/ 219 h 422"/>
                <a:gd name="T90" fmla="*/ 704 w 844"/>
                <a:gd name="T91" fmla="*/ 183 h 422"/>
                <a:gd name="T92" fmla="*/ 712 w 844"/>
                <a:gd name="T93" fmla="*/ 214 h 422"/>
                <a:gd name="T94" fmla="*/ 721 w 844"/>
                <a:gd name="T95" fmla="*/ 185 h 422"/>
                <a:gd name="T96" fmla="*/ 747 w 844"/>
                <a:gd name="T97" fmla="*/ 162 h 422"/>
                <a:gd name="T98" fmla="*/ 770 w 844"/>
                <a:gd name="T99" fmla="*/ 148 h 422"/>
                <a:gd name="T100" fmla="*/ 785 w 844"/>
                <a:gd name="T101" fmla="*/ 132 h 422"/>
                <a:gd name="T102" fmla="*/ 805 w 844"/>
                <a:gd name="T103" fmla="*/ 103 h 422"/>
                <a:gd name="T104" fmla="*/ 844 w 844"/>
                <a:gd name="T105" fmla="*/ 85 h 4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4" h="422">
                  <a:moveTo>
                    <a:pt x="832" y="45"/>
                  </a:moveTo>
                  <a:cubicBezTo>
                    <a:pt x="832" y="41"/>
                    <a:pt x="819" y="44"/>
                    <a:pt x="813" y="39"/>
                  </a:cubicBezTo>
                  <a:cubicBezTo>
                    <a:pt x="807" y="35"/>
                    <a:pt x="796" y="56"/>
                    <a:pt x="794" y="65"/>
                  </a:cubicBezTo>
                  <a:cubicBezTo>
                    <a:pt x="792" y="74"/>
                    <a:pt x="776" y="84"/>
                    <a:pt x="776" y="84"/>
                  </a:cubicBezTo>
                  <a:cubicBezTo>
                    <a:pt x="776" y="84"/>
                    <a:pt x="730" y="84"/>
                    <a:pt x="726" y="84"/>
                  </a:cubicBezTo>
                  <a:cubicBezTo>
                    <a:pt x="724" y="84"/>
                    <a:pt x="713" y="94"/>
                    <a:pt x="707" y="99"/>
                  </a:cubicBezTo>
                  <a:cubicBezTo>
                    <a:pt x="707" y="100"/>
                    <a:pt x="707" y="100"/>
                    <a:pt x="707" y="100"/>
                  </a:cubicBezTo>
                  <a:cubicBezTo>
                    <a:pt x="712" y="108"/>
                    <a:pt x="695" y="113"/>
                    <a:pt x="679" y="114"/>
                  </a:cubicBezTo>
                  <a:cubicBezTo>
                    <a:pt x="674" y="114"/>
                    <a:pt x="670" y="115"/>
                    <a:pt x="667" y="115"/>
                  </a:cubicBezTo>
                  <a:cubicBezTo>
                    <a:pt x="668" y="117"/>
                    <a:pt x="668" y="119"/>
                    <a:pt x="668" y="121"/>
                  </a:cubicBezTo>
                  <a:cubicBezTo>
                    <a:pt x="668" y="122"/>
                    <a:pt x="666" y="123"/>
                    <a:pt x="664" y="125"/>
                  </a:cubicBezTo>
                  <a:cubicBezTo>
                    <a:pt x="661" y="130"/>
                    <a:pt x="642" y="139"/>
                    <a:pt x="631" y="145"/>
                  </a:cubicBezTo>
                  <a:cubicBezTo>
                    <a:pt x="618" y="152"/>
                    <a:pt x="602" y="148"/>
                    <a:pt x="602" y="139"/>
                  </a:cubicBezTo>
                  <a:cubicBezTo>
                    <a:pt x="602" y="129"/>
                    <a:pt x="611" y="131"/>
                    <a:pt x="613" y="135"/>
                  </a:cubicBezTo>
                  <a:cubicBezTo>
                    <a:pt x="613" y="137"/>
                    <a:pt x="615" y="136"/>
                    <a:pt x="618" y="134"/>
                  </a:cubicBezTo>
                  <a:cubicBezTo>
                    <a:pt x="615" y="131"/>
                    <a:pt x="615" y="126"/>
                    <a:pt x="616" y="122"/>
                  </a:cubicBezTo>
                  <a:cubicBezTo>
                    <a:pt x="612" y="121"/>
                    <a:pt x="618" y="106"/>
                    <a:pt x="611" y="104"/>
                  </a:cubicBezTo>
                  <a:cubicBezTo>
                    <a:pt x="603" y="101"/>
                    <a:pt x="594" y="115"/>
                    <a:pt x="595" y="106"/>
                  </a:cubicBezTo>
                  <a:cubicBezTo>
                    <a:pt x="596" y="98"/>
                    <a:pt x="608" y="91"/>
                    <a:pt x="601" y="80"/>
                  </a:cubicBezTo>
                  <a:cubicBezTo>
                    <a:pt x="594" y="69"/>
                    <a:pt x="581" y="69"/>
                    <a:pt x="578" y="77"/>
                  </a:cubicBezTo>
                  <a:cubicBezTo>
                    <a:pt x="576" y="86"/>
                    <a:pt x="567" y="82"/>
                    <a:pt x="564" y="88"/>
                  </a:cubicBezTo>
                  <a:cubicBezTo>
                    <a:pt x="560" y="95"/>
                    <a:pt x="557" y="109"/>
                    <a:pt x="560" y="119"/>
                  </a:cubicBezTo>
                  <a:cubicBezTo>
                    <a:pt x="562" y="130"/>
                    <a:pt x="559" y="135"/>
                    <a:pt x="549" y="141"/>
                  </a:cubicBezTo>
                  <a:cubicBezTo>
                    <a:pt x="540" y="146"/>
                    <a:pt x="535" y="132"/>
                    <a:pt x="538" y="113"/>
                  </a:cubicBezTo>
                  <a:cubicBezTo>
                    <a:pt x="541" y="100"/>
                    <a:pt x="548" y="88"/>
                    <a:pt x="542" y="88"/>
                  </a:cubicBezTo>
                  <a:cubicBezTo>
                    <a:pt x="535" y="88"/>
                    <a:pt x="550" y="72"/>
                    <a:pt x="564" y="69"/>
                  </a:cubicBezTo>
                  <a:cubicBezTo>
                    <a:pt x="577" y="66"/>
                    <a:pt x="594" y="67"/>
                    <a:pt x="594" y="63"/>
                  </a:cubicBezTo>
                  <a:cubicBezTo>
                    <a:pt x="594" y="62"/>
                    <a:pt x="594" y="62"/>
                    <a:pt x="595" y="61"/>
                  </a:cubicBezTo>
                  <a:cubicBezTo>
                    <a:pt x="593" y="59"/>
                    <a:pt x="590" y="57"/>
                    <a:pt x="587" y="56"/>
                  </a:cubicBezTo>
                  <a:cubicBezTo>
                    <a:pt x="587" y="57"/>
                    <a:pt x="586" y="57"/>
                    <a:pt x="585" y="58"/>
                  </a:cubicBezTo>
                  <a:cubicBezTo>
                    <a:pt x="580" y="62"/>
                    <a:pt x="582" y="52"/>
                    <a:pt x="572" y="52"/>
                  </a:cubicBezTo>
                  <a:cubicBezTo>
                    <a:pt x="562" y="52"/>
                    <a:pt x="553" y="61"/>
                    <a:pt x="545" y="57"/>
                  </a:cubicBezTo>
                  <a:cubicBezTo>
                    <a:pt x="537" y="53"/>
                    <a:pt x="541" y="48"/>
                    <a:pt x="534" y="48"/>
                  </a:cubicBezTo>
                  <a:cubicBezTo>
                    <a:pt x="527" y="48"/>
                    <a:pt x="539" y="35"/>
                    <a:pt x="529" y="41"/>
                  </a:cubicBezTo>
                  <a:cubicBezTo>
                    <a:pt x="518" y="46"/>
                    <a:pt x="503" y="61"/>
                    <a:pt x="496" y="54"/>
                  </a:cubicBezTo>
                  <a:cubicBezTo>
                    <a:pt x="489" y="48"/>
                    <a:pt x="482" y="56"/>
                    <a:pt x="477" y="51"/>
                  </a:cubicBezTo>
                  <a:cubicBezTo>
                    <a:pt x="472" y="46"/>
                    <a:pt x="495" y="32"/>
                    <a:pt x="506" y="32"/>
                  </a:cubicBezTo>
                  <a:cubicBezTo>
                    <a:pt x="509" y="32"/>
                    <a:pt x="511" y="31"/>
                    <a:pt x="514" y="29"/>
                  </a:cubicBezTo>
                  <a:cubicBezTo>
                    <a:pt x="508" y="27"/>
                    <a:pt x="496" y="23"/>
                    <a:pt x="493" y="26"/>
                  </a:cubicBezTo>
                  <a:cubicBezTo>
                    <a:pt x="489" y="31"/>
                    <a:pt x="483" y="28"/>
                    <a:pt x="480" y="24"/>
                  </a:cubicBezTo>
                  <a:cubicBezTo>
                    <a:pt x="477" y="20"/>
                    <a:pt x="473" y="26"/>
                    <a:pt x="468" y="19"/>
                  </a:cubicBezTo>
                  <a:cubicBezTo>
                    <a:pt x="463" y="13"/>
                    <a:pt x="458" y="18"/>
                    <a:pt x="455" y="19"/>
                  </a:cubicBezTo>
                  <a:cubicBezTo>
                    <a:pt x="452" y="20"/>
                    <a:pt x="448" y="17"/>
                    <a:pt x="442" y="15"/>
                  </a:cubicBezTo>
                  <a:cubicBezTo>
                    <a:pt x="437" y="13"/>
                    <a:pt x="441" y="7"/>
                    <a:pt x="436" y="4"/>
                  </a:cubicBezTo>
                  <a:cubicBezTo>
                    <a:pt x="432" y="0"/>
                    <a:pt x="431" y="10"/>
                    <a:pt x="431" y="10"/>
                  </a:cubicBezTo>
                  <a:cubicBezTo>
                    <a:pt x="30" y="12"/>
                    <a:pt x="30" y="12"/>
                    <a:pt x="30" y="12"/>
                  </a:cubicBezTo>
                  <a:cubicBezTo>
                    <a:pt x="31" y="13"/>
                    <a:pt x="31" y="14"/>
                    <a:pt x="32" y="14"/>
                  </a:cubicBezTo>
                  <a:cubicBezTo>
                    <a:pt x="37" y="19"/>
                    <a:pt x="33" y="23"/>
                    <a:pt x="34" y="29"/>
                  </a:cubicBezTo>
                  <a:cubicBezTo>
                    <a:pt x="36" y="35"/>
                    <a:pt x="35" y="44"/>
                    <a:pt x="30" y="44"/>
                  </a:cubicBezTo>
                  <a:cubicBezTo>
                    <a:pt x="25" y="44"/>
                    <a:pt x="24" y="39"/>
                    <a:pt x="28" y="37"/>
                  </a:cubicBezTo>
                  <a:cubicBezTo>
                    <a:pt x="32" y="35"/>
                    <a:pt x="30" y="28"/>
                    <a:pt x="26" y="28"/>
                  </a:cubicBezTo>
                  <a:cubicBezTo>
                    <a:pt x="24" y="28"/>
                    <a:pt x="23" y="25"/>
                    <a:pt x="23" y="22"/>
                  </a:cubicBezTo>
                  <a:cubicBezTo>
                    <a:pt x="17" y="24"/>
                    <a:pt x="9" y="23"/>
                    <a:pt x="0" y="22"/>
                  </a:cubicBezTo>
                  <a:cubicBezTo>
                    <a:pt x="0" y="23"/>
                    <a:pt x="1" y="23"/>
                    <a:pt x="1" y="23"/>
                  </a:cubicBezTo>
                  <a:cubicBezTo>
                    <a:pt x="1" y="27"/>
                    <a:pt x="3" y="36"/>
                    <a:pt x="8" y="43"/>
                  </a:cubicBezTo>
                  <a:cubicBezTo>
                    <a:pt x="13" y="50"/>
                    <a:pt x="10" y="54"/>
                    <a:pt x="14" y="56"/>
                  </a:cubicBezTo>
                  <a:cubicBezTo>
                    <a:pt x="19" y="59"/>
                    <a:pt x="19" y="62"/>
                    <a:pt x="14" y="61"/>
                  </a:cubicBezTo>
                  <a:cubicBezTo>
                    <a:pt x="10" y="61"/>
                    <a:pt x="13" y="65"/>
                    <a:pt x="12" y="74"/>
                  </a:cubicBezTo>
                  <a:cubicBezTo>
                    <a:pt x="10" y="84"/>
                    <a:pt x="10" y="104"/>
                    <a:pt x="9" y="110"/>
                  </a:cubicBezTo>
                  <a:cubicBezTo>
                    <a:pt x="8" y="116"/>
                    <a:pt x="1" y="126"/>
                    <a:pt x="5" y="133"/>
                  </a:cubicBezTo>
                  <a:cubicBezTo>
                    <a:pt x="10" y="139"/>
                    <a:pt x="13" y="148"/>
                    <a:pt x="10" y="156"/>
                  </a:cubicBezTo>
                  <a:cubicBezTo>
                    <a:pt x="8" y="164"/>
                    <a:pt x="8" y="169"/>
                    <a:pt x="12" y="175"/>
                  </a:cubicBezTo>
                  <a:cubicBezTo>
                    <a:pt x="15" y="182"/>
                    <a:pt x="13" y="192"/>
                    <a:pt x="16" y="194"/>
                  </a:cubicBezTo>
                  <a:cubicBezTo>
                    <a:pt x="20" y="197"/>
                    <a:pt x="24" y="201"/>
                    <a:pt x="27" y="207"/>
                  </a:cubicBezTo>
                  <a:cubicBezTo>
                    <a:pt x="31" y="213"/>
                    <a:pt x="34" y="209"/>
                    <a:pt x="35" y="215"/>
                  </a:cubicBezTo>
                  <a:cubicBezTo>
                    <a:pt x="35" y="221"/>
                    <a:pt x="35" y="222"/>
                    <a:pt x="41" y="224"/>
                  </a:cubicBezTo>
                  <a:cubicBezTo>
                    <a:pt x="46" y="226"/>
                    <a:pt x="43" y="232"/>
                    <a:pt x="43" y="235"/>
                  </a:cubicBezTo>
                  <a:cubicBezTo>
                    <a:pt x="43" y="239"/>
                    <a:pt x="49" y="244"/>
                    <a:pt x="58" y="252"/>
                  </a:cubicBezTo>
                  <a:cubicBezTo>
                    <a:pt x="66" y="259"/>
                    <a:pt x="59" y="265"/>
                    <a:pt x="65" y="265"/>
                  </a:cubicBezTo>
                  <a:cubicBezTo>
                    <a:pt x="71" y="265"/>
                    <a:pt x="77" y="269"/>
                    <a:pt x="83" y="273"/>
                  </a:cubicBezTo>
                  <a:cubicBezTo>
                    <a:pt x="89" y="277"/>
                    <a:pt x="91" y="274"/>
                    <a:pt x="95" y="275"/>
                  </a:cubicBezTo>
                  <a:cubicBezTo>
                    <a:pt x="100" y="276"/>
                    <a:pt x="107" y="285"/>
                    <a:pt x="109" y="292"/>
                  </a:cubicBezTo>
                  <a:cubicBezTo>
                    <a:pt x="110" y="294"/>
                    <a:pt x="111" y="297"/>
                    <a:pt x="112" y="301"/>
                  </a:cubicBezTo>
                  <a:cubicBezTo>
                    <a:pt x="146" y="296"/>
                    <a:pt x="146" y="296"/>
                    <a:pt x="146" y="296"/>
                  </a:cubicBezTo>
                  <a:cubicBezTo>
                    <a:pt x="146" y="296"/>
                    <a:pt x="156" y="304"/>
                    <a:pt x="162" y="305"/>
                  </a:cubicBezTo>
                  <a:cubicBezTo>
                    <a:pt x="168" y="306"/>
                    <a:pt x="199" y="318"/>
                    <a:pt x="199" y="318"/>
                  </a:cubicBezTo>
                  <a:cubicBezTo>
                    <a:pt x="241" y="318"/>
                    <a:pt x="241" y="318"/>
                    <a:pt x="241" y="318"/>
                  </a:cubicBezTo>
                  <a:cubicBezTo>
                    <a:pt x="246" y="311"/>
                    <a:pt x="246" y="311"/>
                    <a:pt x="246" y="311"/>
                  </a:cubicBezTo>
                  <a:cubicBezTo>
                    <a:pt x="268" y="311"/>
                    <a:pt x="268" y="311"/>
                    <a:pt x="268" y="311"/>
                  </a:cubicBezTo>
                  <a:cubicBezTo>
                    <a:pt x="268" y="311"/>
                    <a:pt x="283" y="326"/>
                    <a:pt x="285" y="326"/>
                  </a:cubicBezTo>
                  <a:cubicBezTo>
                    <a:pt x="287" y="327"/>
                    <a:pt x="294" y="334"/>
                    <a:pt x="294" y="338"/>
                  </a:cubicBezTo>
                  <a:cubicBezTo>
                    <a:pt x="294" y="342"/>
                    <a:pt x="296" y="345"/>
                    <a:pt x="299" y="347"/>
                  </a:cubicBezTo>
                  <a:cubicBezTo>
                    <a:pt x="303" y="349"/>
                    <a:pt x="315" y="356"/>
                    <a:pt x="316" y="356"/>
                  </a:cubicBezTo>
                  <a:cubicBezTo>
                    <a:pt x="318" y="355"/>
                    <a:pt x="321" y="342"/>
                    <a:pt x="328" y="342"/>
                  </a:cubicBezTo>
                  <a:cubicBezTo>
                    <a:pt x="334" y="343"/>
                    <a:pt x="351" y="347"/>
                    <a:pt x="354" y="357"/>
                  </a:cubicBezTo>
                  <a:cubicBezTo>
                    <a:pt x="356" y="367"/>
                    <a:pt x="365" y="375"/>
                    <a:pt x="367" y="377"/>
                  </a:cubicBezTo>
                  <a:cubicBezTo>
                    <a:pt x="370" y="379"/>
                    <a:pt x="369" y="385"/>
                    <a:pt x="371" y="388"/>
                  </a:cubicBezTo>
                  <a:cubicBezTo>
                    <a:pt x="373" y="391"/>
                    <a:pt x="372" y="397"/>
                    <a:pt x="375" y="397"/>
                  </a:cubicBezTo>
                  <a:cubicBezTo>
                    <a:pt x="377" y="397"/>
                    <a:pt x="390" y="404"/>
                    <a:pt x="395" y="404"/>
                  </a:cubicBezTo>
                  <a:cubicBezTo>
                    <a:pt x="397" y="404"/>
                    <a:pt x="399" y="405"/>
                    <a:pt x="401" y="406"/>
                  </a:cubicBezTo>
                  <a:cubicBezTo>
                    <a:pt x="402" y="395"/>
                    <a:pt x="390" y="393"/>
                    <a:pt x="397" y="387"/>
                  </a:cubicBezTo>
                  <a:cubicBezTo>
                    <a:pt x="405" y="381"/>
                    <a:pt x="397" y="376"/>
                    <a:pt x="401" y="373"/>
                  </a:cubicBezTo>
                  <a:cubicBezTo>
                    <a:pt x="404" y="371"/>
                    <a:pt x="411" y="368"/>
                    <a:pt x="411" y="364"/>
                  </a:cubicBezTo>
                  <a:cubicBezTo>
                    <a:pt x="411" y="361"/>
                    <a:pt x="415" y="361"/>
                    <a:pt x="420" y="361"/>
                  </a:cubicBezTo>
                  <a:cubicBezTo>
                    <a:pt x="425" y="362"/>
                    <a:pt x="435" y="353"/>
                    <a:pt x="434" y="349"/>
                  </a:cubicBezTo>
                  <a:cubicBezTo>
                    <a:pt x="434" y="346"/>
                    <a:pt x="435" y="345"/>
                    <a:pt x="441" y="346"/>
                  </a:cubicBezTo>
                  <a:cubicBezTo>
                    <a:pt x="447" y="348"/>
                    <a:pt x="446" y="339"/>
                    <a:pt x="450" y="341"/>
                  </a:cubicBezTo>
                  <a:cubicBezTo>
                    <a:pt x="454" y="342"/>
                    <a:pt x="457" y="344"/>
                    <a:pt x="458" y="341"/>
                  </a:cubicBezTo>
                  <a:cubicBezTo>
                    <a:pt x="458" y="338"/>
                    <a:pt x="462" y="339"/>
                    <a:pt x="465" y="343"/>
                  </a:cubicBezTo>
                  <a:cubicBezTo>
                    <a:pt x="468" y="347"/>
                    <a:pt x="476" y="348"/>
                    <a:pt x="477" y="343"/>
                  </a:cubicBezTo>
                  <a:cubicBezTo>
                    <a:pt x="477" y="339"/>
                    <a:pt x="482" y="343"/>
                    <a:pt x="486" y="348"/>
                  </a:cubicBezTo>
                  <a:cubicBezTo>
                    <a:pt x="491" y="352"/>
                    <a:pt x="493" y="351"/>
                    <a:pt x="499" y="351"/>
                  </a:cubicBezTo>
                  <a:cubicBezTo>
                    <a:pt x="505" y="352"/>
                    <a:pt x="505" y="350"/>
                    <a:pt x="505" y="346"/>
                  </a:cubicBezTo>
                  <a:cubicBezTo>
                    <a:pt x="505" y="342"/>
                    <a:pt x="512" y="354"/>
                    <a:pt x="518" y="355"/>
                  </a:cubicBezTo>
                  <a:cubicBezTo>
                    <a:pt x="524" y="356"/>
                    <a:pt x="519" y="351"/>
                    <a:pt x="515" y="348"/>
                  </a:cubicBezTo>
                  <a:cubicBezTo>
                    <a:pt x="510" y="344"/>
                    <a:pt x="516" y="343"/>
                    <a:pt x="512" y="340"/>
                  </a:cubicBezTo>
                  <a:cubicBezTo>
                    <a:pt x="508" y="337"/>
                    <a:pt x="517" y="333"/>
                    <a:pt x="524" y="333"/>
                  </a:cubicBezTo>
                  <a:cubicBezTo>
                    <a:pt x="532" y="333"/>
                    <a:pt x="532" y="335"/>
                    <a:pt x="535" y="331"/>
                  </a:cubicBezTo>
                  <a:cubicBezTo>
                    <a:pt x="538" y="326"/>
                    <a:pt x="541" y="331"/>
                    <a:pt x="541" y="335"/>
                  </a:cubicBezTo>
                  <a:cubicBezTo>
                    <a:pt x="541" y="339"/>
                    <a:pt x="553" y="333"/>
                    <a:pt x="560" y="333"/>
                  </a:cubicBezTo>
                  <a:cubicBezTo>
                    <a:pt x="567" y="333"/>
                    <a:pt x="573" y="338"/>
                    <a:pt x="574" y="342"/>
                  </a:cubicBezTo>
                  <a:cubicBezTo>
                    <a:pt x="574" y="346"/>
                    <a:pt x="579" y="348"/>
                    <a:pt x="584" y="344"/>
                  </a:cubicBezTo>
                  <a:cubicBezTo>
                    <a:pt x="588" y="340"/>
                    <a:pt x="593" y="335"/>
                    <a:pt x="597" y="339"/>
                  </a:cubicBezTo>
                  <a:cubicBezTo>
                    <a:pt x="602" y="344"/>
                    <a:pt x="606" y="350"/>
                    <a:pt x="612" y="355"/>
                  </a:cubicBezTo>
                  <a:cubicBezTo>
                    <a:pt x="617" y="361"/>
                    <a:pt x="609" y="368"/>
                    <a:pt x="612" y="372"/>
                  </a:cubicBezTo>
                  <a:cubicBezTo>
                    <a:pt x="615" y="376"/>
                    <a:pt x="612" y="382"/>
                    <a:pt x="618" y="386"/>
                  </a:cubicBezTo>
                  <a:cubicBezTo>
                    <a:pt x="624" y="391"/>
                    <a:pt x="619" y="400"/>
                    <a:pt x="624" y="402"/>
                  </a:cubicBezTo>
                  <a:cubicBezTo>
                    <a:pt x="629" y="403"/>
                    <a:pt x="633" y="411"/>
                    <a:pt x="634" y="414"/>
                  </a:cubicBezTo>
                  <a:cubicBezTo>
                    <a:pt x="634" y="417"/>
                    <a:pt x="644" y="422"/>
                    <a:pt x="645" y="416"/>
                  </a:cubicBezTo>
                  <a:cubicBezTo>
                    <a:pt x="645" y="411"/>
                    <a:pt x="651" y="404"/>
                    <a:pt x="651" y="399"/>
                  </a:cubicBezTo>
                  <a:cubicBezTo>
                    <a:pt x="652" y="394"/>
                    <a:pt x="647" y="375"/>
                    <a:pt x="643" y="370"/>
                  </a:cubicBezTo>
                  <a:cubicBezTo>
                    <a:pt x="639" y="364"/>
                    <a:pt x="644" y="363"/>
                    <a:pt x="639" y="356"/>
                  </a:cubicBezTo>
                  <a:cubicBezTo>
                    <a:pt x="634" y="349"/>
                    <a:pt x="631" y="337"/>
                    <a:pt x="631" y="327"/>
                  </a:cubicBezTo>
                  <a:cubicBezTo>
                    <a:pt x="631" y="318"/>
                    <a:pt x="643" y="302"/>
                    <a:pt x="648" y="297"/>
                  </a:cubicBezTo>
                  <a:cubicBezTo>
                    <a:pt x="654" y="292"/>
                    <a:pt x="660" y="295"/>
                    <a:pt x="661" y="290"/>
                  </a:cubicBezTo>
                  <a:cubicBezTo>
                    <a:pt x="662" y="284"/>
                    <a:pt x="669" y="278"/>
                    <a:pt x="673" y="278"/>
                  </a:cubicBezTo>
                  <a:cubicBezTo>
                    <a:pt x="677" y="278"/>
                    <a:pt x="681" y="279"/>
                    <a:pt x="682" y="275"/>
                  </a:cubicBezTo>
                  <a:cubicBezTo>
                    <a:pt x="682" y="271"/>
                    <a:pt x="689" y="265"/>
                    <a:pt x="697" y="264"/>
                  </a:cubicBezTo>
                  <a:cubicBezTo>
                    <a:pt x="705" y="263"/>
                    <a:pt x="701" y="258"/>
                    <a:pt x="698" y="254"/>
                  </a:cubicBezTo>
                  <a:cubicBezTo>
                    <a:pt x="696" y="251"/>
                    <a:pt x="700" y="247"/>
                    <a:pt x="702" y="249"/>
                  </a:cubicBezTo>
                  <a:cubicBezTo>
                    <a:pt x="704" y="252"/>
                    <a:pt x="709" y="252"/>
                    <a:pt x="712" y="250"/>
                  </a:cubicBezTo>
                  <a:cubicBezTo>
                    <a:pt x="715" y="248"/>
                    <a:pt x="723" y="242"/>
                    <a:pt x="715" y="241"/>
                  </a:cubicBezTo>
                  <a:cubicBezTo>
                    <a:pt x="708" y="241"/>
                    <a:pt x="707" y="238"/>
                    <a:pt x="711" y="236"/>
                  </a:cubicBezTo>
                  <a:cubicBezTo>
                    <a:pt x="715" y="235"/>
                    <a:pt x="712" y="227"/>
                    <a:pt x="706" y="226"/>
                  </a:cubicBezTo>
                  <a:cubicBezTo>
                    <a:pt x="700" y="226"/>
                    <a:pt x="702" y="223"/>
                    <a:pt x="705" y="219"/>
                  </a:cubicBezTo>
                  <a:cubicBezTo>
                    <a:pt x="709" y="216"/>
                    <a:pt x="700" y="210"/>
                    <a:pt x="696" y="207"/>
                  </a:cubicBezTo>
                  <a:cubicBezTo>
                    <a:pt x="692" y="204"/>
                    <a:pt x="699" y="203"/>
                    <a:pt x="702" y="202"/>
                  </a:cubicBezTo>
                  <a:cubicBezTo>
                    <a:pt x="705" y="201"/>
                    <a:pt x="703" y="186"/>
                    <a:pt x="704" y="183"/>
                  </a:cubicBezTo>
                  <a:cubicBezTo>
                    <a:pt x="706" y="179"/>
                    <a:pt x="711" y="179"/>
                    <a:pt x="709" y="183"/>
                  </a:cubicBezTo>
                  <a:cubicBezTo>
                    <a:pt x="707" y="186"/>
                    <a:pt x="704" y="192"/>
                    <a:pt x="708" y="197"/>
                  </a:cubicBezTo>
                  <a:cubicBezTo>
                    <a:pt x="712" y="202"/>
                    <a:pt x="713" y="207"/>
                    <a:pt x="712" y="214"/>
                  </a:cubicBezTo>
                  <a:cubicBezTo>
                    <a:pt x="710" y="222"/>
                    <a:pt x="713" y="220"/>
                    <a:pt x="718" y="210"/>
                  </a:cubicBezTo>
                  <a:cubicBezTo>
                    <a:pt x="723" y="201"/>
                    <a:pt x="724" y="192"/>
                    <a:pt x="720" y="191"/>
                  </a:cubicBezTo>
                  <a:cubicBezTo>
                    <a:pt x="717" y="190"/>
                    <a:pt x="717" y="181"/>
                    <a:pt x="721" y="185"/>
                  </a:cubicBezTo>
                  <a:cubicBezTo>
                    <a:pt x="724" y="190"/>
                    <a:pt x="726" y="190"/>
                    <a:pt x="731" y="184"/>
                  </a:cubicBezTo>
                  <a:cubicBezTo>
                    <a:pt x="737" y="179"/>
                    <a:pt x="743" y="169"/>
                    <a:pt x="739" y="166"/>
                  </a:cubicBezTo>
                  <a:cubicBezTo>
                    <a:pt x="735" y="164"/>
                    <a:pt x="741" y="162"/>
                    <a:pt x="747" y="162"/>
                  </a:cubicBezTo>
                  <a:cubicBezTo>
                    <a:pt x="754" y="163"/>
                    <a:pt x="767" y="158"/>
                    <a:pt x="768" y="156"/>
                  </a:cubicBezTo>
                  <a:cubicBezTo>
                    <a:pt x="772" y="150"/>
                    <a:pt x="746" y="159"/>
                    <a:pt x="746" y="156"/>
                  </a:cubicBezTo>
                  <a:cubicBezTo>
                    <a:pt x="746" y="152"/>
                    <a:pt x="762" y="149"/>
                    <a:pt x="770" y="148"/>
                  </a:cubicBezTo>
                  <a:cubicBezTo>
                    <a:pt x="777" y="148"/>
                    <a:pt x="774" y="138"/>
                    <a:pt x="777" y="142"/>
                  </a:cubicBezTo>
                  <a:cubicBezTo>
                    <a:pt x="780" y="146"/>
                    <a:pt x="785" y="146"/>
                    <a:pt x="789" y="143"/>
                  </a:cubicBezTo>
                  <a:cubicBezTo>
                    <a:pt x="793" y="141"/>
                    <a:pt x="790" y="133"/>
                    <a:pt x="785" y="132"/>
                  </a:cubicBezTo>
                  <a:cubicBezTo>
                    <a:pt x="780" y="131"/>
                    <a:pt x="789" y="127"/>
                    <a:pt x="787" y="124"/>
                  </a:cubicBezTo>
                  <a:cubicBezTo>
                    <a:pt x="785" y="122"/>
                    <a:pt x="790" y="110"/>
                    <a:pt x="796" y="109"/>
                  </a:cubicBezTo>
                  <a:cubicBezTo>
                    <a:pt x="803" y="107"/>
                    <a:pt x="800" y="103"/>
                    <a:pt x="805" y="103"/>
                  </a:cubicBezTo>
                  <a:cubicBezTo>
                    <a:pt x="810" y="103"/>
                    <a:pt x="811" y="97"/>
                    <a:pt x="815" y="93"/>
                  </a:cubicBezTo>
                  <a:cubicBezTo>
                    <a:pt x="820" y="88"/>
                    <a:pt x="826" y="100"/>
                    <a:pt x="834" y="93"/>
                  </a:cubicBezTo>
                  <a:cubicBezTo>
                    <a:pt x="836" y="91"/>
                    <a:pt x="840" y="88"/>
                    <a:pt x="844" y="85"/>
                  </a:cubicBezTo>
                  <a:cubicBezTo>
                    <a:pt x="828" y="63"/>
                    <a:pt x="833" y="49"/>
                    <a:pt x="832" y="4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7" name="Freeform 305"/>
            <p:cNvSpPr/>
            <p:nvPr/>
          </p:nvSpPr>
          <p:spPr>
            <a:xfrm>
              <a:off x="623888" y="2087563"/>
              <a:ext cx="47625" cy="31750"/>
            </a:xfrm>
            <a:custGeom>
              <a:gdLst>
                <a:gd name="T0" fmla="*/ 14 w 28"/>
                <a:gd name="T1" fmla="*/ 5 h 18"/>
                <a:gd name="T2" fmla="*/ 1 w 28"/>
                <a:gd name="T3" fmla="*/ 10 h 18"/>
                <a:gd name="T4" fmla="*/ 22 w 28"/>
                <a:gd name="T5" fmla="*/ 16 h 18"/>
                <a:gd name="T6" fmla="*/ 25 w 28"/>
                <a:gd name="T7" fmla="*/ 6 h 18"/>
                <a:gd name="T8" fmla="*/ 14 w 28"/>
                <a:gd name="T9" fmla="*/ 5 h 18"/>
              </a:gdLst>
              <a:cxnLst>
                <a:cxn ang="0">
                  <a:pos x="T0" y="T1"/>
                </a:cxn>
                <a:cxn ang="0">
                  <a:pos x="T2" y="T3"/>
                </a:cxn>
                <a:cxn ang="0">
                  <a:pos x="T4" y="T5"/>
                </a:cxn>
                <a:cxn ang="0">
                  <a:pos x="T6" y="T7"/>
                </a:cxn>
                <a:cxn ang="0">
                  <a:pos x="T8" y="T9"/>
                </a:cxn>
              </a:cxnLst>
              <a:rect l="0" t="0" r="r" b="b"/>
              <a:pathLst>
                <a:path w="28" h="18">
                  <a:moveTo>
                    <a:pt x="14" y="5"/>
                  </a:moveTo>
                  <a:cubicBezTo>
                    <a:pt x="14" y="0"/>
                    <a:pt x="0" y="5"/>
                    <a:pt x="1" y="10"/>
                  </a:cubicBezTo>
                  <a:cubicBezTo>
                    <a:pt x="3" y="15"/>
                    <a:pt x="16" y="18"/>
                    <a:pt x="22" y="16"/>
                  </a:cubicBezTo>
                  <a:cubicBezTo>
                    <a:pt x="27" y="14"/>
                    <a:pt x="28" y="9"/>
                    <a:pt x="25" y="6"/>
                  </a:cubicBezTo>
                  <a:cubicBezTo>
                    <a:pt x="21" y="3"/>
                    <a:pt x="15" y="11"/>
                    <a:pt x="14"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8" name="Freeform 306"/>
            <p:cNvSpPr/>
            <p:nvPr/>
          </p:nvSpPr>
          <p:spPr>
            <a:xfrm>
              <a:off x="606426" y="1636713"/>
              <a:ext cx="960438" cy="661988"/>
            </a:xfrm>
            <a:custGeom>
              <a:gdLst>
                <a:gd name="T0" fmla="*/ 516 w 566"/>
                <a:gd name="T1" fmla="*/ 323 h 390"/>
                <a:gd name="T2" fmla="*/ 452 w 566"/>
                <a:gd name="T3" fmla="*/ 296 h 390"/>
                <a:gd name="T4" fmla="*/ 416 w 566"/>
                <a:gd name="T5" fmla="*/ 267 h 390"/>
                <a:gd name="T6" fmla="*/ 395 w 566"/>
                <a:gd name="T7" fmla="*/ 45 h 390"/>
                <a:gd name="T8" fmla="*/ 330 w 566"/>
                <a:gd name="T9" fmla="*/ 36 h 390"/>
                <a:gd name="T10" fmla="*/ 239 w 566"/>
                <a:gd name="T11" fmla="*/ 27 h 390"/>
                <a:gd name="T12" fmla="*/ 200 w 566"/>
                <a:gd name="T13" fmla="*/ 15 h 390"/>
                <a:gd name="T14" fmla="*/ 174 w 566"/>
                <a:gd name="T15" fmla="*/ 13 h 390"/>
                <a:gd name="T16" fmla="*/ 153 w 566"/>
                <a:gd name="T17" fmla="*/ 11 h 390"/>
                <a:gd name="T18" fmla="*/ 120 w 566"/>
                <a:gd name="T19" fmla="*/ 28 h 390"/>
                <a:gd name="T20" fmla="*/ 71 w 566"/>
                <a:gd name="T21" fmla="*/ 44 h 390"/>
                <a:gd name="T22" fmla="*/ 24 w 566"/>
                <a:gd name="T23" fmla="*/ 76 h 390"/>
                <a:gd name="T24" fmla="*/ 89 w 566"/>
                <a:gd name="T25" fmla="*/ 112 h 390"/>
                <a:gd name="T26" fmla="*/ 92 w 566"/>
                <a:gd name="T27" fmla="*/ 133 h 390"/>
                <a:gd name="T28" fmla="*/ 61 w 566"/>
                <a:gd name="T29" fmla="*/ 126 h 390"/>
                <a:gd name="T30" fmla="*/ 22 w 566"/>
                <a:gd name="T31" fmla="*/ 137 h 390"/>
                <a:gd name="T32" fmla="*/ 21 w 566"/>
                <a:gd name="T33" fmla="*/ 163 h 390"/>
                <a:gd name="T34" fmla="*/ 76 w 566"/>
                <a:gd name="T35" fmla="*/ 176 h 390"/>
                <a:gd name="T36" fmla="*/ 99 w 566"/>
                <a:gd name="T37" fmla="*/ 196 h 390"/>
                <a:gd name="T38" fmla="*/ 55 w 566"/>
                <a:gd name="T39" fmla="*/ 204 h 390"/>
                <a:gd name="T40" fmla="*/ 28 w 566"/>
                <a:gd name="T41" fmla="*/ 242 h 390"/>
                <a:gd name="T42" fmla="*/ 58 w 566"/>
                <a:gd name="T43" fmla="*/ 282 h 390"/>
                <a:gd name="T44" fmla="*/ 89 w 566"/>
                <a:gd name="T45" fmla="*/ 290 h 390"/>
                <a:gd name="T46" fmla="*/ 123 w 566"/>
                <a:gd name="T47" fmla="*/ 304 h 390"/>
                <a:gd name="T48" fmla="*/ 154 w 566"/>
                <a:gd name="T49" fmla="*/ 301 h 390"/>
                <a:gd name="T50" fmla="*/ 132 w 566"/>
                <a:gd name="T51" fmla="*/ 347 h 390"/>
                <a:gd name="T52" fmla="*/ 74 w 566"/>
                <a:gd name="T53" fmla="*/ 384 h 390"/>
                <a:gd name="T54" fmla="*/ 108 w 566"/>
                <a:gd name="T55" fmla="*/ 370 h 390"/>
                <a:gd name="T56" fmla="*/ 141 w 566"/>
                <a:gd name="T57" fmla="*/ 355 h 390"/>
                <a:gd name="T58" fmla="*/ 189 w 566"/>
                <a:gd name="T59" fmla="*/ 322 h 390"/>
                <a:gd name="T60" fmla="*/ 213 w 566"/>
                <a:gd name="T61" fmla="*/ 300 h 390"/>
                <a:gd name="T62" fmla="*/ 223 w 566"/>
                <a:gd name="T63" fmla="*/ 275 h 390"/>
                <a:gd name="T64" fmla="*/ 252 w 566"/>
                <a:gd name="T65" fmla="*/ 247 h 390"/>
                <a:gd name="T66" fmla="*/ 246 w 566"/>
                <a:gd name="T67" fmla="*/ 259 h 390"/>
                <a:gd name="T68" fmla="*/ 236 w 566"/>
                <a:gd name="T69" fmla="*/ 290 h 390"/>
                <a:gd name="T70" fmla="*/ 292 w 566"/>
                <a:gd name="T71" fmla="*/ 278 h 390"/>
                <a:gd name="T72" fmla="*/ 290 w 566"/>
                <a:gd name="T73" fmla="*/ 254 h 390"/>
                <a:gd name="T74" fmla="*/ 320 w 566"/>
                <a:gd name="T75" fmla="*/ 260 h 390"/>
                <a:gd name="T76" fmla="*/ 327 w 566"/>
                <a:gd name="T77" fmla="*/ 268 h 390"/>
                <a:gd name="T78" fmla="*/ 356 w 566"/>
                <a:gd name="T79" fmla="*/ 275 h 390"/>
                <a:gd name="T80" fmla="*/ 418 w 566"/>
                <a:gd name="T81" fmla="*/ 277 h 390"/>
                <a:gd name="T82" fmla="*/ 439 w 566"/>
                <a:gd name="T83" fmla="*/ 299 h 390"/>
                <a:gd name="T84" fmla="*/ 476 w 566"/>
                <a:gd name="T85" fmla="*/ 312 h 390"/>
                <a:gd name="T86" fmla="*/ 484 w 566"/>
                <a:gd name="T87" fmla="*/ 320 h 390"/>
                <a:gd name="T88" fmla="*/ 476 w 566"/>
                <a:gd name="T89" fmla="*/ 335 h 390"/>
                <a:gd name="T90" fmla="*/ 486 w 566"/>
                <a:gd name="T91" fmla="*/ 337 h 390"/>
                <a:gd name="T92" fmla="*/ 498 w 566"/>
                <a:gd name="T93" fmla="*/ 333 h 390"/>
                <a:gd name="T94" fmla="*/ 502 w 566"/>
                <a:gd name="T95" fmla="*/ 339 h 390"/>
                <a:gd name="T96" fmla="*/ 501 w 566"/>
                <a:gd name="T97" fmla="*/ 353 h 390"/>
                <a:gd name="T98" fmla="*/ 517 w 566"/>
                <a:gd name="T99" fmla="*/ 354 h 390"/>
                <a:gd name="T100" fmla="*/ 521 w 566"/>
                <a:gd name="T101" fmla="*/ 368 h 390"/>
                <a:gd name="T102" fmla="*/ 511 w 566"/>
                <a:gd name="T103" fmla="*/ 387 h 390"/>
                <a:gd name="T104" fmla="*/ 527 w 566"/>
                <a:gd name="T105" fmla="*/ 377 h 390"/>
                <a:gd name="T106" fmla="*/ 543 w 566"/>
                <a:gd name="T107" fmla="*/ 386 h 390"/>
                <a:gd name="T108" fmla="*/ 559 w 566"/>
                <a:gd name="T109" fmla="*/ 382 h 39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6" h="390">
                  <a:moveTo>
                    <a:pt x="556" y="369"/>
                  </a:moveTo>
                  <a:cubicBezTo>
                    <a:pt x="558" y="363"/>
                    <a:pt x="558" y="360"/>
                    <a:pt x="542" y="353"/>
                  </a:cubicBezTo>
                  <a:cubicBezTo>
                    <a:pt x="526" y="347"/>
                    <a:pt x="527" y="342"/>
                    <a:pt x="516" y="323"/>
                  </a:cubicBezTo>
                  <a:cubicBezTo>
                    <a:pt x="505" y="303"/>
                    <a:pt x="485" y="294"/>
                    <a:pt x="485" y="287"/>
                  </a:cubicBezTo>
                  <a:cubicBezTo>
                    <a:pt x="485" y="280"/>
                    <a:pt x="465" y="280"/>
                    <a:pt x="465" y="286"/>
                  </a:cubicBezTo>
                  <a:cubicBezTo>
                    <a:pt x="465" y="292"/>
                    <a:pt x="456" y="293"/>
                    <a:pt x="452" y="296"/>
                  </a:cubicBezTo>
                  <a:cubicBezTo>
                    <a:pt x="447" y="299"/>
                    <a:pt x="445" y="295"/>
                    <a:pt x="440" y="289"/>
                  </a:cubicBezTo>
                  <a:cubicBezTo>
                    <a:pt x="436" y="283"/>
                    <a:pt x="426" y="278"/>
                    <a:pt x="426" y="274"/>
                  </a:cubicBezTo>
                  <a:cubicBezTo>
                    <a:pt x="426" y="271"/>
                    <a:pt x="423" y="264"/>
                    <a:pt x="416" y="267"/>
                  </a:cubicBezTo>
                  <a:cubicBezTo>
                    <a:pt x="409" y="270"/>
                    <a:pt x="405" y="267"/>
                    <a:pt x="403" y="270"/>
                  </a:cubicBezTo>
                  <a:cubicBezTo>
                    <a:pt x="400" y="272"/>
                    <a:pt x="395" y="268"/>
                    <a:pt x="395" y="268"/>
                  </a:cubicBezTo>
                  <a:cubicBezTo>
                    <a:pt x="395" y="45"/>
                    <a:pt x="395" y="45"/>
                    <a:pt x="395" y="45"/>
                  </a:cubicBezTo>
                  <a:cubicBezTo>
                    <a:pt x="392" y="45"/>
                    <a:pt x="390" y="44"/>
                    <a:pt x="388" y="44"/>
                  </a:cubicBezTo>
                  <a:cubicBezTo>
                    <a:pt x="379" y="40"/>
                    <a:pt x="365" y="34"/>
                    <a:pt x="358" y="35"/>
                  </a:cubicBezTo>
                  <a:cubicBezTo>
                    <a:pt x="350" y="37"/>
                    <a:pt x="335" y="39"/>
                    <a:pt x="330" y="36"/>
                  </a:cubicBezTo>
                  <a:cubicBezTo>
                    <a:pt x="325" y="34"/>
                    <a:pt x="318" y="31"/>
                    <a:pt x="307" y="33"/>
                  </a:cubicBezTo>
                  <a:cubicBezTo>
                    <a:pt x="297" y="35"/>
                    <a:pt x="290" y="27"/>
                    <a:pt x="276" y="24"/>
                  </a:cubicBezTo>
                  <a:cubicBezTo>
                    <a:pt x="263" y="21"/>
                    <a:pt x="244" y="25"/>
                    <a:pt x="239" y="27"/>
                  </a:cubicBezTo>
                  <a:cubicBezTo>
                    <a:pt x="235" y="28"/>
                    <a:pt x="236" y="22"/>
                    <a:pt x="230" y="22"/>
                  </a:cubicBezTo>
                  <a:cubicBezTo>
                    <a:pt x="224" y="23"/>
                    <a:pt x="228" y="20"/>
                    <a:pt x="225" y="15"/>
                  </a:cubicBezTo>
                  <a:cubicBezTo>
                    <a:pt x="222" y="10"/>
                    <a:pt x="206" y="15"/>
                    <a:pt x="200" y="15"/>
                  </a:cubicBezTo>
                  <a:cubicBezTo>
                    <a:pt x="194" y="16"/>
                    <a:pt x="193" y="12"/>
                    <a:pt x="193" y="10"/>
                  </a:cubicBezTo>
                  <a:cubicBezTo>
                    <a:pt x="193" y="7"/>
                    <a:pt x="188" y="8"/>
                    <a:pt x="186" y="11"/>
                  </a:cubicBezTo>
                  <a:cubicBezTo>
                    <a:pt x="183" y="15"/>
                    <a:pt x="177" y="16"/>
                    <a:pt x="174" y="13"/>
                  </a:cubicBezTo>
                  <a:cubicBezTo>
                    <a:pt x="172" y="11"/>
                    <a:pt x="180" y="10"/>
                    <a:pt x="180" y="7"/>
                  </a:cubicBezTo>
                  <a:cubicBezTo>
                    <a:pt x="180" y="4"/>
                    <a:pt x="172" y="2"/>
                    <a:pt x="168" y="1"/>
                  </a:cubicBezTo>
                  <a:cubicBezTo>
                    <a:pt x="165" y="0"/>
                    <a:pt x="160" y="5"/>
                    <a:pt x="153" y="11"/>
                  </a:cubicBezTo>
                  <a:cubicBezTo>
                    <a:pt x="147" y="17"/>
                    <a:pt x="137" y="16"/>
                    <a:pt x="130" y="16"/>
                  </a:cubicBezTo>
                  <a:cubicBezTo>
                    <a:pt x="124" y="15"/>
                    <a:pt x="117" y="16"/>
                    <a:pt x="117" y="20"/>
                  </a:cubicBezTo>
                  <a:cubicBezTo>
                    <a:pt x="117" y="23"/>
                    <a:pt x="125" y="23"/>
                    <a:pt x="120" y="28"/>
                  </a:cubicBezTo>
                  <a:cubicBezTo>
                    <a:pt x="116" y="32"/>
                    <a:pt x="114" y="21"/>
                    <a:pt x="109" y="26"/>
                  </a:cubicBezTo>
                  <a:cubicBezTo>
                    <a:pt x="105" y="31"/>
                    <a:pt x="91" y="31"/>
                    <a:pt x="88" y="30"/>
                  </a:cubicBezTo>
                  <a:cubicBezTo>
                    <a:pt x="85" y="30"/>
                    <a:pt x="74" y="41"/>
                    <a:pt x="71" y="44"/>
                  </a:cubicBezTo>
                  <a:cubicBezTo>
                    <a:pt x="68" y="48"/>
                    <a:pt x="74" y="50"/>
                    <a:pt x="65" y="60"/>
                  </a:cubicBezTo>
                  <a:cubicBezTo>
                    <a:pt x="56" y="69"/>
                    <a:pt x="33" y="67"/>
                    <a:pt x="28" y="67"/>
                  </a:cubicBezTo>
                  <a:cubicBezTo>
                    <a:pt x="23" y="67"/>
                    <a:pt x="27" y="73"/>
                    <a:pt x="24" y="76"/>
                  </a:cubicBezTo>
                  <a:cubicBezTo>
                    <a:pt x="22" y="80"/>
                    <a:pt x="27" y="83"/>
                    <a:pt x="40" y="87"/>
                  </a:cubicBezTo>
                  <a:cubicBezTo>
                    <a:pt x="54" y="90"/>
                    <a:pt x="63" y="108"/>
                    <a:pt x="64" y="112"/>
                  </a:cubicBezTo>
                  <a:cubicBezTo>
                    <a:pt x="66" y="116"/>
                    <a:pt x="82" y="111"/>
                    <a:pt x="89" y="112"/>
                  </a:cubicBezTo>
                  <a:cubicBezTo>
                    <a:pt x="95" y="113"/>
                    <a:pt x="88" y="122"/>
                    <a:pt x="94" y="125"/>
                  </a:cubicBezTo>
                  <a:cubicBezTo>
                    <a:pt x="99" y="128"/>
                    <a:pt x="107" y="124"/>
                    <a:pt x="109" y="128"/>
                  </a:cubicBezTo>
                  <a:cubicBezTo>
                    <a:pt x="111" y="133"/>
                    <a:pt x="98" y="128"/>
                    <a:pt x="92" y="133"/>
                  </a:cubicBezTo>
                  <a:cubicBezTo>
                    <a:pt x="85" y="138"/>
                    <a:pt x="82" y="140"/>
                    <a:pt x="79" y="137"/>
                  </a:cubicBezTo>
                  <a:cubicBezTo>
                    <a:pt x="77" y="133"/>
                    <a:pt x="66" y="135"/>
                    <a:pt x="61" y="136"/>
                  </a:cubicBezTo>
                  <a:cubicBezTo>
                    <a:pt x="55" y="137"/>
                    <a:pt x="60" y="129"/>
                    <a:pt x="61" y="126"/>
                  </a:cubicBezTo>
                  <a:cubicBezTo>
                    <a:pt x="61" y="123"/>
                    <a:pt x="53" y="120"/>
                    <a:pt x="43" y="127"/>
                  </a:cubicBezTo>
                  <a:cubicBezTo>
                    <a:pt x="32" y="133"/>
                    <a:pt x="36" y="130"/>
                    <a:pt x="35" y="135"/>
                  </a:cubicBezTo>
                  <a:cubicBezTo>
                    <a:pt x="33" y="140"/>
                    <a:pt x="29" y="132"/>
                    <a:pt x="22" y="137"/>
                  </a:cubicBezTo>
                  <a:cubicBezTo>
                    <a:pt x="15" y="141"/>
                    <a:pt x="4" y="144"/>
                    <a:pt x="2" y="148"/>
                  </a:cubicBezTo>
                  <a:cubicBezTo>
                    <a:pt x="0" y="152"/>
                    <a:pt x="17" y="155"/>
                    <a:pt x="23" y="156"/>
                  </a:cubicBezTo>
                  <a:cubicBezTo>
                    <a:pt x="30" y="158"/>
                    <a:pt x="16" y="162"/>
                    <a:pt x="21" y="163"/>
                  </a:cubicBezTo>
                  <a:cubicBezTo>
                    <a:pt x="26" y="165"/>
                    <a:pt x="24" y="170"/>
                    <a:pt x="32" y="174"/>
                  </a:cubicBezTo>
                  <a:cubicBezTo>
                    <a:pt x="40" y="178"/>
                    <a:pt x="58" y="174"/>
                    <a:pt x="63" y="174"/>
                  </a:cubicBezTo>
                  <a:cubicBezTo>
                    <a:pt x="67" y="174"/>
                    <a:pt x="72" y="180"/>
                    <a:pt x="76" y="176"/>
                  </a:cubicBezTo>
                  <a:cubicBezTo>
                    <a:pt x="80" y="171"/>
                    <a:pt x="94" y="160"/>
                    <a:pt x="102" y="167"/>
                  </a:cubicBezTo>
                  <a:cubicBezTo>
                    <a:pt x="109" y="173"/>
                    <a:pt x="94" y="172"/>
                    <a:pt x="97" y="177"/>
                  </a:cubicBezTo>
                  <a:cubicBezTo>
                    <a:pt x="101" y="181"/>
                    <a:pt x="106" y="191"/>
                    <a:pt x="99" y="196"/>
                  </a:cubicBezTo>
                  <a:cubicBezTo>
                    <a:pt x="92" y="201"/>
                    <a:pt x="85" y="198"/>
                    <a:pt x="81" y="197"/>
                  </a:cubicBezTo>
                  <a:cubicBezTo>
                    <a:pt x="77" y="197"/>
                    <a:pt x="80" y="204"/>
                    <a:pt x="74" y="209"/>
                  </a:cubicBezTo>
                  <a:cubicBezTo>
                    <a:pt x="67" y="214"/>
                    <a:pt x="63" y="204"/>
                    <a:pt x="55" y="204"/>
                  </a:cubicBezTo>
                  <a:cubicBezTo>
                    <a:pt x="47" y="204"/>
                    <a:pt x="49" y="214"/>
                    <a:pt x="49" y="219"/>
                  </a:cubicBezTo>
                  <a:cubicBezTo>
                    <a:pt x="50" y="224"/>
                    <a:pt x="38" y="218"/>
                    <a:pt x="35" y="230"/>
                  </a:cubicBezTo>
                  <a:cubicBezTo>
                    <a:pt x="32" y="241"/>
                    <a:pt x="20" y="231"/>
                    <a:pt x="28" y="242"/>
                  </a:cubicBezTo>
                  <a:cubicBezTo>
                    <a:pt x="36" y="254"/>
                    <a:pt x="35" y="247"/>
                    <a:pt x="41" y="251"/>
                  </a:cubicBezTo>
                  <a:cubicBezTo>
                    <a:pt x="47" y="256"/>
                    <a:pt x="34" y="264"/>
                    <a:pt x="40" y="265"/>
                  </a:cubicBezTo>
                  <a:cubicBezTo>
                    <a:pt x="47" y="266"/>
                    <a:pt x="54" y="278"/>
                    <a:pt x="58" y="282"/>
                  </a:cubicBezTo>
                  <a:cubicBezTo>
                    <a:pt x="63" y="286"/>
                    <a:pt x="69" y="280"/>
                    <a:pt x="76" y="280"/>
                  </a:cubicBezTo>
                  <a:cubicBezTo>
                    <a:pt x="82" y="279"/>
                    <a:pt x="79" y="270"/>
                    <a:pt x="83" y="273"/>
                  </a:cubicBezTo>
                  <a:cubicBezTo>
                    <a:pt x="87" y="277"/>
                    <a:pt x="92" y="287"/>
                    <a:pt x="89" y="290"/>
                  </a:cubicBezTo>
                  <a:cubicBezTo>
                    <a:pt x="85" y="292"/>
                    <a:pt x="88" y="300"/>
                    <a:pt x="87" y="304"/>
                  </a:cubicBezTo>
                  <a:cubicBezTo>
                    <a:pt x="87" y="308"/>
                    <a:pt x="102" y="307"/>
                    <a:pt x="103" y="302"/>
                  </a:cubicBezTo>
                  <a:cubicBezTo>
                    <a:pt x="104" y="298"/>
                    <a:pt x="117" y="297"/>
                    <a:pt x="123" y="304"/>
                  </a:cubicBezTo>
                  <a:cubicBezTo>
                    <a:pt x="130" y="311"/>
                    <a:pt x="132" y="313"/>
                    <a:pt x="132" y="307"/>
                  </a:cubicBezTo>
                  <a:cubicBezTo>
                    <a:pt x="132" y="301"/>
                    <a:pt x="138" y="295"/>
                    <a:pt x="138" y="300"/>
                  </a:cubicBezTo>
                  <a:cubicBezTo>
                    <a:pt x="139" y="304"/>
                    <a:pt x="144" y="306"/>
                    <a:pt x="154" y="301"/>
                  </a:cubicBezTo>
                  <a:cubicBezTo>
                    <a:pt x="164" y="297"/>
                    <a:pt x="160" y="301"/>
                    <a:pt x="155" y="308"/>
                  </a:cubicBezTo>
                  <a:cubicBezTo>
                    <a:pt x="147" y="317"/>
                    <a:pt x="155" y="330"/>
                    <a:pt x="149" y="331"/>
                  </a:cubicBezTo>
                  <a:cubicBezTo>
                    <a:pt x="144" y="332"/>
                    <a:pt x="140" y="346"/>
                    <a:pt x="132" y="347"/>
                  </a:cubicBezTo>
                  <a:cubicBezTo>
                    <a:pt x="123" y="348"/>
                    <a:pt x="109" y="363"/>
                    <a:pt x="107" y="366"/>
                  </a:cubicBezTo>
                  <a:cubicBezTo>
                    <a:pt x="105" y="369"/>
                    <a:pt x="87" y="361"/>
                    <a:pt x="85" y="368"/>
                  </a:cubicBezTo>
                  <a:cubicBezTo>
                    <a:pt x="82" y="376"/>
                    <a:pt x="71" y="381"/>
                    <a:pt x="74" y="384"/>
                  </a:cubicBezTo>
                  <a:cubicBezTo>
                    <a:pt x="76" y="386"/>
                    <a:pt x="91" y="379"/>
                    <a:pt x="91" y="375"/>
                  </a:cubicBezTo>
                  <a:cubicBezTo>
                    <a:pt x="92" y="371"/>
                    <a:pt x="94" y="371"/>
                    <a:pt x="97" y="374"/>
                  </a:cubicBezTo>
                  <a:cubicBezTo>
                    <a:pt x="99" y="377"/>
                    <a:pt x="106" y="373"/>
                    <a:pt x="108" y="370"/>
                  </a:cubicBezTo>
                  <a:cubicBezTo>
                    <a:pt x="111" y="368"/>
                    <a:pt x="116" y="369"/>
                    <a:pt x="119" y="369"/>
                  </a:cubicBezTo>
                  <a:cubicBezTo>
                    <a:pt x="122" y="370"/>
                    <a:pt x="123" y="366"/>
                    <a:pt x="132" y="364"/>
                  </a:cubicBezTo>
                  <a:cubicBezTo>
                    <a:pt x="141" y="362"/>
                    <a:pt x="139" y="360"/>
                    <a:pt x="141" y="355"/>
                  </a:cubicBezTo>
                  <a:cubicBezTo>
                    <a:pt x="143" y="351"/>
                    <a:pt x="163" y="341"/>
                    <a:pt x="167" y="340"/>
                  </a:cubicBezTo>
                  <a:cubicBezTo>
                    <a:pt x="171" y="339"/>
                    <a:pt x="169" y="333"/>
                    <a:pt x="173" y="332"/>
                  </a:cubicBezTo>
                  <a:cubicBezTo>
                    <a:pt x="177" y="332"/>
                    <a:pt x="184" y="327"/>
                    <a:pt x="189" y="322"/>
                  </a:cubicBezTo>
                  <a:cubicBezTo>
                    <a:pt x="195" y="318"/>
                    <a:pt x="196" y="320"/>
                    <a:pt x="200" y="318"/>
                  </a:cubicBezTo>
                  <a:cubicBezTo>
                    <a:pt x="204" y="317"/>
                    <a:pt x="201" y="308"/>
                    <a:pt x="205" y="308"/>
                  </a:cubicBezTo>
                  <a:cubicBezTo>
                    <a:pt x="209" y="307"/>
                    <a:pt x="213" y="304"/>
                    <a:pt x="213" y="300"/>
                  </a:cubicBezTo>
                  <a:cubicBezTo>
                    <a:pt x="213" y="297"/>
                    <a:pt x="202" y="297"/>
                    <a:pt x="201" y="294"/>
                  </a:cubicBezTo>
                  <a:cubicBezTo>
                    <a:pt x="200" y="292"/>
                    <a:pt x="209" y="284"/>
                    <a:pt x="213" y="284"/>
                  </a:cubicBezTo>
                  <a:cubicBezTo>
                    <a:pt x="217" y="284"/>
                    <a:pt x="222" y="280"/>
                    <a:pt x="223" y="275"/>
                  </a:cubicBezTo>
                  <a:cubicBezTo>
                    <a:pt x="223" y="270"/>
                    <a:pt x="228" y="269"/>
                    <a:pt x="232" y="265"/>
                  </a:cubicBezTo>
                  <a:cubicBezTo>
                    <a:pt x="237" y="260"/>
                    <a:pt x="236" y="256"/>
                    <a:pt x="240" y="256"/>
                  </a:cubicBezTo>
                  <a:cubicBezTo>
                    <a:pt x="244" y="256"/>
                    <a:pt x="248" y="250"/>
                    <a:pt x="252" y="247"/>
                  </a:cubicBezTo>
                  <a:cubicBezTo>
                    <a:pt x="257" y="245"/>
                    <a:pt x="252" y="250"/>
                    <a:pt x="261" y="251"/>
                  </a:cubicBezTo>
                  <a:cubicBezTo>
                    <a:pt x="270" y="251"/>
                    <a:pt x="268" y="259"/>
                    <a:pt x="261" y="256"/>
                  </a:cubicBezTo>
                  <a:cubicBezTo>
                    <a:pt x="255" y="253"/>
                    <a:pt x="252" y="254"/>
                    <a:pt x="246" y="259"/>
                  </a:cubicBezTo>
                  <a:cubicBezTo>
                    <a:pt x="240" y="265"/>
                    <a:pt x="245" y="266"/>
                    <a:pt x="240" y="272"/>
                  </a:cubicBezTo>
                  <a:cubicBezTo>
                    <a:pt x="236" y="279"/>
                    <a:pt x="236" y="282"/>
                    <a:pt x="241" y="283"/>
                  </a:cubicBezTo>
                  <a:cubicBezTo>
                    <a:pt x="247" y="284"/>
                    <a:pt x="242" y="288"/>
                    <a:pt x="236" y="290"/>
                  </a:cubicBezTo>
                  <a:cubicBezTo>
                    <a:pt x="231" y="291"/>
                    <a:pt x="235" y="294"/>
                    <a:pt x="242" y="294"/>
                  </a:cubicBezTo>
                  <a:cubicBezTo>
                    <a:pt x="249" y="294"/>
                    <a:pt x="260" y="284"/>
                    <a:pt x="271" y="279"/>
                  </a:cubicBezTo>
                  <a:cubicBezTo>
                    <a:pt x="281" y="273"/>
                    <a:pt x="289" y="279"/>
                    <a:pt x="292" y="278"/>
                  </a:cubicBezTo>
                  <a:cubicBezTo>
                    <a:pt x="295" y="277"/>
                    <a:pt x="288" y="272"/>
                    <a:pt x="292" y="270"/>
                  </a:cubicBezTo>
                  <a:cubicBezTo>
                    <a:pt x="296" y="269"/>
                    <a:pt x="288" y="268"/>
                    <a:pt x="286" y="261"/>
                  </a:cubicBezTo>
                  <a:cubicBezTo>
                    <a:pt x="283" y="255"/>
                    <a:pt x="289" y="259"/>
                    <a:pt x="290" y="254"/>
                  </a:cubicBezTo>
                  <a:cubicBezTo>
                    <a:pt x="292" y="250"/>
                    <a:pt x="295" y="251"/>
                    <a:pt x="298" y="254"/>
                  </a:cubicBezTo>
                  <a:cubicBezTo>
                    <a:pt x="302" y="256"/>
                    <a:pt x="306" y="251"/>
                    <a:pt x="309" y="258"/>
                  </a:cubicBezTo>
                  <a:cubicBezTo>
                    <a:pt x="312" y="264"/>
                    <a:pt x="315" y="256"/>
                    <a:pt x="320" y="260"/>
                  </a:cubicBezTo>
                  <a:cubicBezTo>
                    <a:pt x="326" y="264"/>
                    <a:pt x="319" y="264"/>
                    <a:pt x="314" y="265"/>
                  </a:cubicBezTo>
                  <a:cubicBezTo>
                    <a:pt x="308" y="266"/>
                    <a:pt x="311" y="274"/>
                    <a:pt x="316" y="270"/>
                  </a:cubicBezTo>
                  <a:cubicBezTo>
                    <a:pt x="320" y="267"/>
                    <a:pt x="323" y="264"/>
                    <a:pt x="327" y="268"/>
                  </a:cubicBezTo>
                  <a:cubicBezTo>
                    <a:pt x="331" y="271"/>
                    <a:pt x="333" y="270"/>
                    <a:pt x="336" y="267"/>
                  </a:cubicBezTo>
                  <a:cubicBezTo>
                    <a:pt x="339" y="263"/>
                    <a:pt x="339" y="267"/>
                    <a:pt x="339" y="270"/>
                  </a:cubicBezTo>
                  <a:cubicBezTo>
                    <a:pt x="339" y="272"/>
                    <a:pt x="346" y="273"/>
                    <a:pt x="356" y="275"/>
                  </a:cubicBezTo>
                  <a:cubicBezTo>
                    <a:pt x="365" y="276"/>
                    <a:pt x="383" y="274"/>
                    <a:pt x="387" y="274"/>
                  </a:cubicBezTo>
                  <a:cubicBezTo>
                    <a:pt x="392" y="273"/>
                    <a:pt x="390" y="280"/>
                    <a:pt x="400" y="282"/>
                  </a:cubicBezTo>
                  <a:cubicBezTo>
                    <a:pt x="410" y="284"/>
                    <a:pt x="413" y="272"/>
                    <a:pt x="418" y="277"/>
                  </a:cubicBezTo>
                  <a:cubicBezTo>
                    <a:pt x="423" y="281"/>
                    <a:pt x="418" y="282"/>
                    <a:pt x="415" y="286"/>
                  </a:cubicBezTo>
                  <a:cubicBezTo>
                    <a:pt x="412" y="289"/>
                    <a:pt x="418" y="289"/>
                    <a:pt x="422" y="291"/>
                  </a:cubicBezTo>
                  <a:cubicBezTo>
                    <a:pt x="426" y="292"/>
                    <a:pt x="435" y="295"/>
                    <a:pt x="439" y="299"/>
                  </a:cubicBezTo>
                  <a:cubicBezTo>
                    <a:pt x="443" y="303"/>
                    <a:pt x="446" y="308"/>
                    <a:pt x="456" y="313"/>
                  </a:cubicBezTo>
                  <a:cubicBezTo>
                    <a:pt x="467" y="318"/>
                    <a:pt x="457" y="300"/>
                    <a:pt x="465" y="306"/>
                  </a:cubicBezTo>
                  <a:cubicBezTo>
                    <a:pt x="473" y="312"/>
                    <a:pt x="470" y="306"/>
                    <a:pt x="476" y="312"/>
                  </a:cubicBezTo>
                  <a:cubicBezTo>
                    <a:pt x="483" y="318"/>
                    <a:pt x="480" y="310"/>
                    <a:pt x="478" y="300"/>
                  </a:cubicBezTo>
                  <a:cubicBezTo>
                    <a:pt x="475" y="290"/>
                    <a:pt x="480" y="297"/>
                    <a:pt x="483" y="301"/>
                  </a:cubicBezTo>
                  <a:cubicBezTo>
                    <a:pt x="486" y="306"/>
                    <a:pt x="486" y="314"/>
                    <a:pt x="484" y="320"/>
                  </a:cubicBezTo>
                  <a:cubicBezTo>
                    <a:pt x="482" y="326"/>
                    <a:pt x="473" y="321"/>
                    <a:pt x="474" y="318"/>
                  </a:cubicBezTo>
                  <a:cubicBezTo>
                    <a:pt x="475" y="315"/>
                    <a:pt x="464" y="316"/>
                    <a:pt x="464" y="320"/>
                  </a:cubicBezTo>
                  <a:cubicBezTo>
                    <a:pt x="463" y="325"/>
                    <a:pt x="470" y="334"/>
                    <a:pt x="476" y="335"/>
                  </a:cubicBezTo>
                  <a:cubicBezTo>
                    <a:pt x="481" y="336"/>
                    <a:pt x="477" y="344"/>
                    <a:pt x="480" y="345"/>
                  </a:cubicBezTo>
                  <a:cubicBezTo>
                    <a:pt x="485" y="346"/>
                    <a:pt x="484" y="354"/>
                    <a:pt x="487" y="353"/>
                  </a:cubicBezTo>
                  <a:cubicBezTo>
                    <a:pt x="489" y="352"/>
                    <a:pt x="488" y="342"/>
                    <a:pt x="486" y="337"/>
                  </a:cubicBezTo>
                  <a:cubicBezTo>
                    <a:pt x="483" y="333"/>
                    <a:pt x="484" y="326"/>
                    <a:pt x="488" y="328"/>
                  </a:cubicBezTo>
                  <a:cubicBezTo>
                    <a:pt x="492" y="329"/>
                    <a:pt x="488" y="336"/>
                    <a:pt x="490" y="338"/>
                  </a:cubicBezTo>
                  <a:cubicBezTo>
                    <a:pt x="492" y="340"/>
                    <a:pt x="494" y="336"/>
                    <a:pt x="498" y="333"/>
                  </a:cubicBezTo>
                  <a:cubicBezTo>
                    <a:pt x="503" y="330"/>
                    <a:pt x="497" y="323"/>
                    <a:pt x="498" y="319"/>
                  </a:cubicBezTo>
                  <a:cubicBezTo>
                    <a:pt x="500" y="315"/>
                    <a:pt x="505" y="322"/>
                    <a:pt x="507" y="329"/>
                  </a:cubicBezTo>
                  <a:cubicBezTo>
                    <a:pt x="509" y="336"/>
                    <a:pt x="502" y="336"/>
                    <a:pt x="502" y="339"/>
                  </a:cubicBezTo>
                  <a:cubicBezTo>
                    <a:pt x="502" y="343"/>
                    <a:pt x="496" y="341"/>
                    <a:pt x="494" y="343"/>
                  </a:cubicBezTo>
                  <a:cubicBezTo>
                    <a:pt x="492" y="345"/>
                    <a:pt x="493" y="358"/>
                    <a:pt x="496" y="358"/>
                  </a:cubicBezTo>
                  <a:cubicBezTo>
                    <a:pt x="498" y="359"/>
                    <a:pt x="500" y="348"/>
                    <a:pt x="501" y="353"/>
                  </a:cubicBezTo>
                  <a:cubicBezTo>
                    <a:pt x="503" y="359"/>
                    <a:pt x="509" y="346"/>
                    <a:pt x="511" y="351"/>
                  </a:cubicBezTo>
                  <a:cubicBezTo>
                    <a:pt x="512" y="356"/>
                    <a:pt x="520" y="362"/>
                    <a:pt x="523" y="361"/>
                  </a:cubicBezTo>
                  <a:cubicBezTo>
                    <a:pt x="526" y="360"/>
                    <a:pt x="522" y="354"/>
                    <a:pt x="517" y="354"/>
                  </a:cubicBezTo>
                  <a:cubicBezTo>
                    <a:pt x="513" y="353"/>
                    <a:pt x="513" y="346"/>
                    <a:pt x="518" y="346"/>
                  </a:cubicBezTo>
                  <a:cubicBezTo>
                    <a:pt x="522" y="345"/>
                    <a:pt x="529" y="356"/>
                    <a:pt x="529" y="360"/>
                  </a:cubicBezTo>
                  <a:cubicBezTo>
                    <a:pt x="528" y="364"/>
                    <a:pt x="525" y="364"/>
                    <a:pt x="521" y="368"/>
                  </a:cubicBezTo>
                  <a:cubicBezTo>
                    <a:pt x="518" y="371"/>
                    <a:pt x="513" y="361"/>
                    <a:pt x="509" y="361"/>
                  </a:cubicBezTo>
                  <a:cubicBezTo>
                    <a:pt x="505" y="362"/>
                    <a:pt x="509" y="368"/>
                    <a:pt x="511" y="373"/>
                  </a:cubicBezTo>
                  <a:cubicBezTo>
                    <a:pt x="513" y="377"/>
                    <a:pt x="506" y="383"/>
                    <a:pt x="511" y="387"/>
                  </a:cubicBezTo>
                  <a:cubicBezTo>
                    <a:pt x="517" y="390"/>
                    <a:pt x="515" y="385"/>
                    <a:pt x="516" y="382"/>
                  </a:cubicBezTo>
                  <a:cubicBezTo>
                    <a:pt x="517" y="380"/>
                    <a:pt x="521" y="383"/>
                    <a:pt x="524" y="385"/>
                  </a:cubicBezTo>
                  <a:cubicBezTo>
                    <a:pt x="527" y="387"/>
                    <a:pt x="527" y="380"/>
                    <a:pt x="527" y="377"/>
                  </a:cubicBezTo>
                  <a:cubicBezTo>
                    <a:pt x="527" y="374"/>
                    <a:pt x="532" y="376"/>
                    <a:pt x="535" y="380"/>
                  </a:cubicBezTo>
                  <a:cubicBezTo>
                    <a:pt x="537" y="383"/>
                    <a:pt x="538" y="375"/>
                    <a:pt x="541" y="376"/>
                  </a:cubicBezTo>
                  <a:cubicBezTo>
                    <a:pt x="545" y="377"/>
                    <a:pt x="543" y="383"/>
                    <a:pt x="543" y="386"/>
                  </a:cubicBezTo>
                  <a:cubicBezTo>
                    <a:pt x="543" y="390"/>
                    <a:pt x="549" y="383"/>
                    <a:pt x="549" y="387"/>
                  </a:cubicBezTo>
                  <a:cubicBezTo>
                    <a:pt x="549" y="388"/>
                    <a:pt x="549" y="388"/>
                    <a:pt x="549" y="389"/>
                  </a:cubicBezTo>
                  <a:cubicBezTo>
                    <a:pt x="552" y="386"/>
                    <a:pt x="556" y="384"/>
                    <a:pt x="559" y="382"/>
                  </a:cubicBezTo>
                  <a:cubicBezTo>
                    <a:pt x="566" y="377"/>
                    <a:pt x="554" y="374"/>
                    <a:pt x="556" y="36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79" name="Freeform 307"/>
            <p:cNvSpPr>
              <a:spLocks noEditPoints="1"/>
            </p:cNvSpPr>
            <p:nvPr/>
          </p:nvSpPr>
          <p:spPr>
            <a:xfrm>
              <a:off x="4549776" y="2646363"/>
              <a:ext cx="317500" cy="225425"/>
            </a:xfrm>
            <a:custGeom>
              <a:gdLst>
                <a:gd name="T0" fmla="*/ 185 w 187"/>
                <a:gd name="T1" fmla="*/ 23 h 133"/>
                <a:gd name="T2" fmla="*/ 170 w 187"/>
                <a:gd name="T3" fmla="*/ 23 h 133"/>
                <a:gd name="T4" fmla="*/ 153 w 187"/>
                <a:gd name="T5" fmla="*/ 19 h 133"/>
                <a:gd name="T6" fmla="*/ 146 w 187"/>
                <a:gd name="T7" fmla="*/ 17 h 133"/>
                <a:gd name="T8" fmla="*/ 134 w 187"/>
                <a:gd name="T9" fmla="*/ 18 h 133"/>
                <a:gd name="T10" fmla="*/ 120 w 187"/>
                <a:gd name="T11" fmla="*/ 11 h 133"/>
                <a:gd name="T12" fmla="*/ 112 w 187"/>
                <a:gd name="T13" fmla="*/ 7 h 133"/>
                <a:gd name="T14" fmla="*/ 87 w 187"/>
                <a:gd name="T15" fmla="*/ 5 h 133"/>
                <a:gd name="T16" fmla="*/ 39 w 187"/>
                <a:gd name="T17" fmla="*/ 4 h 133"/>
                <a:gd name="T18" fmla="*/ 21 w 187"/>
                <a:gd name="T19" fmla="*/ 0 h 133"/>
                <a:gd name="T20" fmla="*/ 9 w 187"/>
                <a:gd name="T21" fmla="*/ 7 h 133"/>
                <a:gd name="T22" fmla="*/ 6 w 187"/>
                <a:gd name="T23" fmla="*/ 18 h 133"/>
                <a:gd name="T24" fmla="*/ 9 w 187"/>
                <a:gd name="T25" fmla="*/ 32 h 133"/>
                <a:gd name="T26" fmla="*/ 13 w 187"/>
                <a:gd name="T27" fmla="*/ 30 h 133"/>
                <a:gd name="T28" fmla="*/ 18 w 187"/>
                <a:gd name="T29" fmla="*/ 31 h 133"/>
                <a:gd name="T30" fmla="*/ 27 w 187"/>
                <a:gd name="T31" fmla="*/ 33 h 133"/>
                <a:gd name="T32" fmla="*/ 32 w 187"/>
                <a:gd name="T33" fmla="*/ 33 h 133"/>
                <a:gd name="T34" fmla="*/ 41 w 187"/>
                <a:gd name="T35" fmla="*/ 34 h 133"/>
                <a:gd name="T36" fmla="*/ 45 w 187"/>
                <a:gd name="T37" fmla="*/ 40 h 133"/>
                <a:gd name="T38" fmla="*/ 36 w 187"/>
                <a:gd name="T39" fmla="*/ 49 h 133"/>
                <a:gd name="T40" fmla="*/ 37 w 187"/>
                <a:gd name="T41" fmla="*/ 62 h 133"/>
                <a:gd name="T42" fmla="*/ 34 w 187"/>
                <a:gd name="T43" fmla="*/ 72 h 133"/>
                <a:gd name="T44" fmla="*/ 30 w 187"/>
                <a:gd name="T45" fmla="*/ 78 h 133"/>
                <a:gd name="T46" fmla="*/ 35 w 187"/>
                <a:gd name="T47" fmla="*/ 86 h 133"/>
                <a:gd name="T48" fmla="*/ 31 w 187"/>
                <a:gd name="T49" fmla="*/ 94 h 133"/>
                <a:gd name="T50" fmla="*/ 34 w 187"/>
                <a:gd name="T51" fmla="*/ 101 h 133"/>
                <a:gd name="T52" fmla="*/ 28 w 187"/>
                <a:gd name="T53" fmla="*/ 110 h 133"/>
                <a:gd name="T54" fmla="*/ 30 w 187"/>
                <a:gd name="T55" fmla="*/ 115 h 133"/>
                <a:gd name="T56" fmla="*/ 38 w 187"/>
                <a:gd name="T57" fmla="*/ 115 h 133"/>
                <a:gd name="T58" fmla="*/ 56 w 187"/>
                <a:gd name="T59" fmla="*/ 132 h 133"/>
                <a:gd name="T60" fmla="*/ 59 w 187"/>
                <a:gd name="T61" fmla="*/ 127 h 133"/>
                <a:gd name="T62" fmla="*/ 68 w 187"/>
                <a:gd name="T63" fmla="*/ 127 h 133"/>
                <a:gd name="T64" fmla="*/ 81 w 187"/>
                <a:gd name="T65" fmla="*/ 122 h 133"/>
                <a:gd name="T66" fmla="*/ 99 w 187"/>
                <a:gd name="T67" fmla="*/ 121 h 133"/>
                <a:gd name="T68" fmla="*/ 110 w 187"/>
                <a:gd name="T69" fmla="*/ 116 h 133"/>
                <a:gd name="T70" fmla="*/ 121 w 187"/>
                <a:gd name="T71" fmla="*/ 108 h 133"/>
                <a:gd name="T72" fmla="*/ 127 w 187"/>
                <a:gd name="T73" fmla="*/ 98 h 133"/>
                <a:gd name="T74" fmla="*/ 137 w 187"/>
                <a:gd name="T75" fmla="*/ 86 h 133"/>
                <a:gd name="T76" fmla="*/ 138 w 187"/>
                <a:gd name="T77" fmla="*/ 65 h 133"/>
                <a:gd name="T78" fmla="*/ 150 w 187"/>
                <a:gd name="T79" fmla="*/ 51 h 133"/>
                <a:gd name="T80" fmla="*/ 163 w 187"/>
                <a:gd name="T81" fmla="*/ 44 h 133"/>
                <a:gd name="T82" fmla="*/ 179 w 187"/>
                <a:gd name="T83" fmla="*/ 35 h 133"/>
                <a:gd name="T84" fmla="*/ 185 w 187"/>
                <a:gd name="T85" fmla="*/ 23 h 133"/>
                <a:gd name="T86" fmla="*/ 186 w 187"/>
                <a:gd name="T87" fmla="*/ 70 h 133"/>
                <a:gd name="T88" fmla="*/ 174 w 187"/>
                <a:gd name="T89" fmla="*/ 75 h 133"/>
                <a:gd name="T90" fmla="*/ 186 w 187"/>
                <a:gd name="T91" fmla="*/ 70 h 1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33">
                  <a:moveTo>
                    <a:pt x="185" y="23"/>
                  </a:moveTo>
                  <a:cubicBezTo>
                    <a:pt x="180" y="23"/>
                    <a:pt x="174" y="24"/>
                    <a:pt x="170" y="23"/>
                  </a:cubicBezTo>
                  <a:cubicBezTo>
                    <a:pt x="165" y="22"/>
                    <a:pt x="155" y="21"/>
                    <a:pt x="153" y="19"/>
                  </a:cubicBezTo>
                  <a:cubicBezTo>
                    <a:pt x="150" y="16"/>
                    <a:pt x="146" y="14"/>
                    <a:pt x="146" y="17"/>
                  </a:cubicBezTo>
                  <a:cubicBezTo>
                    <a:pt x="146" y="20"/>
                    <a:pt x="139" y="21"/>
                    <a:pt x="134" y="18"/>
                  </a:cubicBezTo>
                  <a:cubicBezTo>
                    <a:pt x="130" y="16"/>
                    <a:pt x="123" y="13"/>
                    <a:pt x="120" y="11"/>
                  </a:cubicBezTo>
                  <a:cubicBezTo>
                    <a:pt x="119" y="10"/>
                    <a:pt x="115" y="9"/>
                    <a:pt x="112" y="7"/>
                  </a:cubicBezTo>
                  <a:cubicBezTo>
                    <a:pt x="108" y="8"/>
                    <a:pt x="95" y="4"/>
                    <a:pt x="87" y="5"/>
                  </a:cubicBezTo>
                  <a:cubicBezTo>
                    <a:pt x="78" y="6"/>
                    <a:pt x="50" y="3"/>
                    <a:pt x="39" y="4"/>
                  </a:cubicBezTo>
                  <a:cubicBezTo>
                    <a:pt x="28" y="5"/>
                    <a:pt x="27" y="0"/>
                    <a:pt x="21" y="0"/>
                  </a:cubicBezTo>
                  <a:cubicBezTo>
                    <a:pt x="15" y="0"/>
                    <a:pt x="18" y="7"/>
                    <a:pt x="9" y="7"/>
                  </a:cubicBezTo>
                  <a:cubicBezTo>
                    <a:pt x="1" y="7"/>
                    <a:pt x="0" y="13"/>
                    <a:pt x="6" y="18"/>
                  </a:cubicBezTo>
                  <a:cubicBezTo>
                    <a:pt x="10" y="20"/>
                    <a:pt x="9" y="26"/>
                    <a:pt x="9" y="32"/>
                  </a:cubicBezTo>
                  <a:cubicBezTo>
                    <a:pt x="10" y="32"/>
                    <a:pt x="12" y="31"/>
                    <a:pt x="13" y="30"/>
                  </a:cubicBezTo>
                  <a:cubicBezTo>
                    <a:pt x="15" y="27"/>
                    <a:pt x="18" y="28"/>
                    <a:pt x="18" y="31"/>
                  </a:cubicBezTo>
                  <a:cubicBezTo>
                    <a:pt x="18" y="34"/>
                    <a:pt x="24" y="33"/>
                    <a:pt x="27" y="33"/>
                  </a:cubicBezTo>
                  <a:cubicBezTo>
                    <a:pt x="30" y="33"/>
                    <a:pt x="29" y="35"/>
                    <a:pt x="32" y="33"/>
                  </a:cubicBezTo>
                  <a:cubicBezTo>
                    <a:pt x="36" y="30"/>
                    <a:pt x="41" y="31"/>
                    <a:pt x="41" y="34"/>
                  </a:cubicBezTo>
                  <a:cubicBezTo>
                    <a:pt x="41" y="38"/>
                    <a:pt x="49" y="36"/>
                    <a:pt x="45" y="40"/>
                  </a:cubicBezTo>
                  <a:cubicBezTo>
                    <a:pt x="41" y="44"/>
                    <a:pt x="36" y="45"/>
                    <a:pt x="36" y="49"/>
                  </a:cubicBezTo>
                  <a:cubicBezTo>
                    <a:pt x="36" y="52"/>
                    <a:pt x="40" y="58"/>
                    <a:pt x="37" y="62"/>
                  </a:cubicBezTo>
                  <a:cubicBezTo>
                    <a:pt x="33" y="66"/>
                    <a:pt x="38" y="72"/>
                    <a:pt x="34" y="72"/>
                  </a:cubicBezTo>
                  <a:cubicBezTo>
                    <a:pt x="30" y="72"/>
                    <a:pt x="26" y="74"/>
                    <a:pt x="30" y="78"/>
                  </a:cubicBezTo>
                  <a:cubicBezTo>
                    <a:pt x="35" y="82"/>
                    <a:pt x="38" y="86"/>
                    <a:pt x="35" y="86"/>
                  </a:cubicBezTo>
                  <a:cubicBezTo>
                    <a:pt x="31" y="86"/>
                    <a:pt x="29" y="92"/>
                    <a:pt x="31" y="94"/>
                  </a:cubicBezTo>
                  <a:cubicBezTo>
                    <a:pt x="32" y="95"/>
                    <a:pt x="40" y="100"/>
                    <a:pt x="34" y="101"/>
                  </a:cubicBezTo>
                  <a:cubicBezTo>
                    <a:pt x="28" y="102"/>
                    <a:pt x="28" y="107"/>
                    <a:pt x="28" y="110"/>
                  </a:cubicBezTo>
                  <a:cubicBezTo>
                    <a:pt x="28" y="111"/>
                    <a:pt x="29" y="113"/>
                    <a:pt x="30" y="115"/>
                  </a:cubicBezTo>
                  <a:cubicBezTo>
                    <a:pt x="33" y="114"/>
                    <a:pt x="36" y="114"/>
                    <a:pt x="38" y="115"/>
                  </a:cubicBezTo>
                  <a:cubicBezTo>
                    <a:pt x="44" y="118"/>
                    <a:pt x="48" y="133"/>
                    <a:pt x="56" y="132"/>
                  </a:cubicBezTo>
                  <a:cubicBezTo>
                    <a:pt x="59" y="131"/>
                    <a:pt x="57" y="129"/>
                    <a:pt x="59" y="127"/>
                  </a:cubicBezTo>
                  <a:cubicBezTo>
                    <a:pt x="61" y="125"/>
                    <a:pt x="64" y="127"/>
                    <a:pt x="68" y="127"/>
                  </a:cubicBezTo>
                  <a:cubicBezTo>
                    <a:pt x="71" y="127"/>
                    <a:pt x="73" y="122"/>
                    <a:pt x="81" y="122"/>
                  </a:cubicBezTo>
                  <a:cubicBezTo>
                    <a:pt x="89" y="121"/>
                    <a:pt x="94" y="121"/>
                    <a:pt x="99" y="121"/>
                  </a:cubicBezTo>
                  <a:cubicBezTo>
                    <a:pt x="105" y="121"/>
                    <a:pt x="109" y="119"/>
                    <a:pt x="110" y="116"/>
                  </a:cubicBezTo>
                  <a:cubicBezTo>
                    <a:pt x="111" y="112"/>
                    <a:pt x="116" y="109"/>
                    <a:pt x="121" y="108"/>
                  </a:cubicBezTo>
                  <a:cubicBezTo>
                    <a:pt x="127" y="107"/>
                    <a:pt x="126" y="101"/>
                    <a:pt x="127" y="98"/>
                  </a:cubicBezTo>
                  <a:cubicBezTo>
                    <a:pt x="127" y="94"/>
                    <a:pt x="137" y="89"/>
                    <a:pt x="137" y="86"/>
                  </a:cubicBezTo>
                  <a:cubicBezTo>
                    <a:pt x="138" y="84"/>
                    <a:pt x="132" y="74"/>
                    <a:pt x="138" y="65"/>
                  </a:cubicBezTo>
                  <a:cubicBezTo>
                    <a:pt x="143" y="56"/>
                    <a:pt x="150" y="56"/>
                    <a:pt x="150" y="51"/>
                  </a:cubicBezTo>
                  <a:cubicBezTo>
                    <a:pt x="150" y="46"/>
                    <a:pt x="156" y="45"/>
                    <a:pt x="163" y="44"/>
                  </a:cubicBezTo>
                  <a:cubicBezTo>
                    <a:pt x="170" y="43"/>
                    <a:pt x="173" y="38"/>
                    <a:pt x="179" y="35"/>
                  </a:cubicBezTo>
                  <a:cubicBezTo>
                    <a:pt x="184" y="33"/>
                    <a:pt x="186" y="29"/>
                    <a:pt x="185" y="23"/>
                  </a:cubicBezTo>
                  <a:close/>
                  <a:moveTo>
                    <a:pt x="186" y="70"/>
                  </a:moveTo>
                  <a:cubicBezTo>
                    <a:pt x="185" y="63"/>
                    <a:pt x="170" y="73"/>
                    <a:pt x="174" y="75"/>
                  </a:cubicBezTo>
                  <a:cubicBezTo>
                    <a:pt x="180" y="79"/>
                    <a:pt x="187" y="78"/>
                    <a:pt x="186" y="7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0" name="Freeform 308"/>
            <p:cNvSpPr/>
            <p:nvPr/>
          </p:nvSpPr>
          <p:spPr>
            <a:xfrm>
              <a:off x="5100638" y="2547938"/>
              <a:ext cx="84138" cy="46038"/>
            </a:xfrm>
            <a:custGeom>
              <a:gdLst>
                <a:gd name="T0" fmla="*/ 0 w 49"/>
                <a:gd name="T1" fmla="*/ 24 h 27"/>
                <a:gd name="T2" fmla="*/ 10 w 49"/>
                <a:gd name="T3" fmla="*/ 23 h 27"/>
                <a:gd name="T4" fmla="*/ 12 w 49"/>
                <a:gd name="T5" fmla="*/ 27 h 27"/>
                <a:gd name="T6" fmla="*/ 22 w 49"/>
                <a:gd name="T7" fmla="*/ 25 h 27"/>
                <a:gd name="T8" fmla="*/ 31 w 49"/>
                <a:gd name="T9" fmla="*/ 25 h 27"/>
                <a:gd name="T10" fmla="*/ 37 w 49"/>
                <a:gd name="T11" fmla="*/ 19 h 27"/>
                <a:gd name="T12" fmla="*/ 40 w 49"/>
                <a:gd name="T13" fmla="*/ 12 h 27"/>
                <a:gd name="T14" fmla="*/ 49 w 49"/>
                <a:gd name="T15" fmla="*/ 6 h 27"/>
                <a:gd name="T16" fmla="*/ 46 w 49"/>
                <a:gd name="T17" fmla="*/ 0 h 27"/>
                <a:gd name="T18" fmla="*/ 36 w 49"/>
                <a:gd name="T19" fmla="*/ 3 h 27"/>
                <a:gd name="T20" fmla="*/ 23 w 49"/>
                <a:gd name="T21" fmla="*/ 8 h 27"/>
                <a:gd name="T22" fmla="*/ 7 w 49"/>
                <a:gd name="T23" fmla="*/ 5 h 27"/>
                <a:gd name="T24" fmla="*/ 1 w 49"/>
                <a:gd name="T25" fmla="*/ 5 h 27"/>
                <a:gd name="T26" fmla="*/ 0 w 49"/>
                <a:gd name="T27" fmla="*/ 24 h 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27">
                  <a:moveTo>
                    <a:pt x="0" y="24"/>
                  </a:moveTo>
                  <a:cubicBezTo>
                    <a:pt x="4" y="23"/>
                    <a:pt x="8" y="22"/>
                    <a:pt x="10" y="23"/>
                  </a:cubicBezTo>
                  <a:cubicBezTo>
                    <a:pt x="11" y="23"/>
                    <a:pt x="12" y="25"/>
                    <a:pt x="12" y="27"/>
                  </a:cubicBezTo>
                  <a:cubicBezTo>
                    <a:pt x="15" y="27"/>
                    <a:pt x="21" y="26"/>
                    <a:pt x="22" y="25"/>
                  </a:cubicBezTo>
                  <a:cubicBezTo>
                    <a:pt x="25" y="24"/>
                    <a:pt x="31" y="27"/>
                    <a:pt x="31" y="25"/>
                  </a:cubicBezTo>
                  <a:cubicBezTo>
                    <a:pt x="32" y="23"/>
                    <a:pt x="34" y="19"/>
                    <a:pt x="37" y="19"/>
                  </a:cubicBezTo>
                  <a:cubicBezTo>
                    <a:pt x="39" y="19"/>
                    <a:pt x="38" y="12"/>
                    <a:pt x="40" y="12"/>
                  </a:cubicBezTo>
                  <a:cubicBezTo>
                    <a:pt x="43" y="12"/>
                    <a:pt x="49" y="6"/>
                    <a:pt x="49" y="6"/>
                  </a:cubicBezTo>
                  <a:cubicBezTo>
                    <a:pt x="49" y="6"/>
                    <a:pt x="47" y="1"/>
                    <a:pt x="46" y="0"/>
                  </a:cubicBezTo>
                  <a:cubicBezTo>
                    <a:pt x="45" y="0"/>
                    <a:pt x="41" y="3"/>
                    <a:pt x="36" y="3"/>
                  </a:cubicBezTo>
                  <a:cubicBezTo>
                    <a:pt x="30" y="3"/>
                    <a:pt x="26" y="8"/>
                    <a:pt x="23" y="8"/>
                  </a:cubicBezTo>
                  <a:cubicBezTo>
                    <a:pt x="21" y="8"/>
                    <a:pt x="12" y="5"/>
                    <a:pt x="7" y="5"/>
                  </a:cubicBezTo>
                  <a:cubicBezTo>
                    <a:pt x="5" y="5"/>
                    <a:pt x="3" y="5"/>
                    <a:pt x="1" y="5"/>
                  </a:cubicBezTo>
                  <a:cubicBezTo>
                    <a:pt x="1" y="10"/>
                    <a:pt x="0" y="17"/>
                    <a:pt x="0" y="2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1" name="Freeform 309"/>
            <p:cNvSpPr>
              <a:spLocks noEditPoints="1"/>
            </p:cNvSpPr>
            <p:nvPr/>
          </p:nvSpPr>
          <p:spPr>
            <a:xfrm>
              <a:off x="5272088" y="2703513"/>
              <a:ext cx="157163" cy="196850"/>
            </a:xfrm>
            <a:custGeom>
              <a:gdLst>
                <a:gd name="T0" fmla="*/ 91 w 92"/>
                <a:gd name="T1" fmla="*/ 0 h 116"/>
                <a:gd name="T2" fmla="*/ 84 w 92"/>
                <a:gd name="T3" fmla="*/ 4 h 116"/>
                <a:gd name="T4" fmla="*/ 78 w 92"/>
                <a:gd name="T5" fmla="*/ 7 h 116"/>
                <a:gd name="T6" fmla="*/ 63 w 92"/>
                <a:gd name="T7" fmla="*/ 5 h 116"/>
                <a:gd name="T8" fmla="*/ 43 w 92"/>
                <a:gd name="T9" fmla="*/ 4 h 116"/>
                <a:gd name="T10" fmla="*/ 43 w 92"/>
                <a:gd name="T11" fmla="*/ 5 h 116"/>
                <a:gd name="T12" fmla="*/ 30 w 92"/>
                <a:gd name="T13" fmla="*/ 11 h 116"/>
                <a:gd name="T14" fmla="*/ 23 w 92"/>
                <a:gd name="T15" fmla="*/ 15 h 116"/>
                <a:gd name="T16" fmla="*/ 13 w 92"/>
                <a:gd name="T17" fmla="*/ 17 h 116"/>
                <a:gd name="T18" fmla="*/ 8 w 92"/>
                <a:gd name="T19" fmla="*/ 25 h 116"/>
                <a:gd name="T20" fmla="*/ 4 w 92"/>
                <a:gd name="T21" fmla="*/ 31 h 116"/>
                <a:gd name="T22" fmla="*/ 0 w 92"/>
                <a:gd name="T23" fmla="*/ 38 h 116"/>
                <a:gd name="T24" fmla="*/ 0 w 92"/>
                <a:gd name="T25" fmla="*/ 39 h 116"/>
                <a:gd name="T26" fmla="*/ 8 w 92"/>
                <a:gd name="T27" fmla="*/ 51 h 116"/>
                <a:gd name="T28" fmla="*/ 19 w 92"/>
                <a:gd name="T29" fmla="*/ 55 h 116"/>
                <a:gd name="T30" fmla="*/ 32 w 92"/>
                <a:gd name="T31" fmla="*/ 59 h 116"/>
                <a:gd name="T32" fmla="*/ 16 w 92"/>
                <a:gd name="T33" fmla="*/ 61 h 116"/>
                <a:gd name="T34" fmla="*/ 19 w 92"/>
                <a:gd name="T35" fmla="*/ 73 h 116"/>
                <a:gd name="T36" fmla="*/ 27 w 92"/>
                <a:gd name="T37" fmla="*/ 83 h 116"/>
                <a:gd name="T38" fmla="*/ 40 w 92"/>
                <a:gd name="T39" fmla="*/ 89 h 116"/>
                <a:gd name="T40" fmla="*/ 38 w 92"/>
                <a:gd name="T41" fmla="*/ 75 h 116"/>
                <a:gd name="T42" fmla="*/ 48 w 92"/>
                <a:gd name="T43" fmla="*/ 74 h 116"/>
                <a:gd name="T44" fmla="*/ 41 w 92"/>
                <a:gd name="T45" fmla="*/ 69 h 116"/>
                <a:gd name="T46" fmla="*/ 46 w 92"/>
                <a:gd name="T47" fmla="*/ 66 h 116"/>
                <a:gd name="T48" fmla="*/ 57 w 92"/>
                <a:gd name="T49" fmla="*/ 65 h 116"/>
                <a:gd name="T50" fmla="*/ 52 w 92"/>
                <a:gd name="T51" fmla="*/ 53 h 116"/>
                <a:gd name="T52" fmla="*/ 40 w 92"/>
                <a:gd name="T53" fmla="*/ 53 h 116"/>
                <a:gd name="T54" fmla="*/ 45 w 92"/>
                <a:gd name="T55" fmla="*/ 45 h 116"/>
                <a:gd name="T56" fmla="*/ 33 w 92"/>
                <a:gd name="T57" fmla="*/ 29 h 116"/>
                <a:gd name="T58" fmla="*/ 40 w 92"/>
                <a:gd name="T59" fmla="*/ 25 h 116"/>
                <a:gd name="T60" fmla="*/ 52 w 92"/>
                <a:gd name="T61" fmla="*/ 27 h 116"/>
                <a:gd name="T62" fmla="*/ 55 w 92"/>
                <a:gd name="T63" fmla="*/ 16 h 116"/>
                <a:gd name="T64" fmla="*/ 64 w 92"/>
                <a:gd name="T65" fmla="*/ 18 h 116"/>
                <a:gd name="T66" fmla="*/ 75 w 92"/>
                <a:gd name="T67" fmla="*/ 13 h 116"/>
                <a:gd name="T68" fmla="*/ 85 w 92"/>
                <a:gd name="T69" fmla="*/ 18 h 116"/>
                <a:gd name="T70" fmla="*/ 88 w 92"/>
                <a:gd name="T71" fmla="*/ 13 h 116"/>
                <a:gd name="T72" fmla="*/ 92 w 92"/>
                <a:gd name="T73" fmla="*/ 6 h 116"/>
                <a:gd name="T74" fmla="*/ 91 w 92"/>
                <a:gd name="T75" fmla="*/ 0 h 116"/>
                <a:gd name="T76" fmla="*/ 79 w 92"/>
                <a:gd name="T77" fmla="*/ 109 h 116"/>
                <a:gd name="T78" fmla="*/ 56 w 92"/>
                <a:gd name="T79" fmla="*/ 106 h 116"/>
                <a:gd name="T80" fmla="*/ 47 w 92"/>
                <a:gd name="T81" fmla="*/ 110 h 116"/>
                <a:gd name="T82" fmla="*/ 68 w 92"/>
                <a:gd name="T83" fmla="*/ 115 h 116"/>
                <a:gd name="T84" fmla="*/ 88 w 92"/>
                <a:gd name="T85" fmla="*/ 109 h 116"/>
                <a:gd name="T86" fmla="*/ 79 w 92"/>
                <a:gd name="T87" fmla="*/ 109 h 1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 h="116">
                  <a:moveTo>
                    <a:pt x="91" y="0"/>
                  </a:moveTo>
                  <a:cubicBezTo>
                    <a:pt x="88" y="1"/>
                    <a:pt x="83" y="2"/>
                    <a:pt x="84" y="4"/>
                  </a:cubicBezTo>
                  <a:cubicBezTo>
                    <a:pt x="85" y="6"/>
                    <a:pt x="82" y="7"/>
                    <a:pt x="78" y="7"/>
                  </a:cubicBezTo>
                  <a:cubicBezTo>
                    <a:pt x="78" y="7"/>
                    <a:pt x="66" y="6"/>
                    <a:pt x="63" y="5"/>
                  </a:cubicBezTo>
                  <a:cubicBezTo>
                    <a:pt x="60" y="3"/>
                    <a:pt x="49" y="4"/>
                    <a:pt x="43" y="4"/>
                  </a:cubicBezTo>
                  <a:cubicBezTo>
                    <a:pt x="43" y="5"/>
                    <a:pt x="43" y="5"/>
                    <a:pt x="43" y="5"/>
                  </a:cubicBezTo>
                  <a:cubicBezTo>
                    <a:pt x="42" y="7"/>
                    <a:pt x="31" y="12"/>
                    <a:pt x="30" y="11"/>
                  </a:cubicBezTo>
                  <a:cubicBezTo>
                    <a:pt x="28" y="10"/>
                    <a:pt x="27" y="14"/>
                    <a:pt x="23" y="15"/>
                  </a:cubicBezTo>
                  <a:cubicBezTo>
                    <a:pt x="19" y="16"/>
                    <a:pt x="13" y="15"/>
                    <a:pt x="13" y="17"/>
                  </a:cubicBezTo>
                  <a:cubicBezTo>
                    <a:pt x="12" y="18"/>
                    <a:pt x="10" y="23"/>
                    <a:pt x="8" y="25"/>
                  </a:cubicBezTo>
                  <a:cubicBezTo>
                    <a:pt x="5" y="27"/>
                    <a:pt x="7" y="30"/>
                    <a:pt x="4" y="31"/>
                  </a:cubicBezTo>
                  <a:cubicBezTo>
                    <a:pt x="2" y="31"/>
                    <a:pt x="1" y="35"/>
                    <a:pt x="0" y="38"/>
                  </a:cubicBezTo>
                  <a:cubicBezTo>
                    <a:pt x="0" y="39"/>
                    <a:pt x="0" y="39"/>
                    <a:pt x="0" y="39"/>
                  </a:cubicBezTo>
                  <a:cubicBezTo>
                    <a:pt x="5" y="40"/>
                    <a:pt x="9" y="46"/>
                    <a:pt x="8" y="51"/>
                  </a:cubicBezTo>
                  <a:cubicBezTo>
                    <a:pt x="8" y="57"/>
                    <a:pt x="15" y="58"/>
                    <a:pt x="19" y="55"/>
                  </a:cubicBezTo>
                  <a:cubicBezTo>
                    <a:pt x="22" y="51"/>
                    <a:pt x="32" y="57"/>
                    <a:pt x="32" y="59"/>
                  </a:cubicBezTo>
                  <a:cubicBezTo>
                    <a:pt x="32" y="62"/>
                    <a:pt x="22" y="57"/>
                    <a:pt x="16" y="61"/>
                  </a:cubicBezTo>
                  <a:cubicBezTo>
                    <a:pt x="11" y="65"/>
                    <a:pt x="20" y="69"/>
                    <a:pt x="19" y="73"/>
                  </a:cubicBezTo>
                  <a:cubicBezTo>
                    <a:pt x="18" y="77"/>
                    <a:pt x="22" y="83"/>
                    <a:pt x="27" y="83"/>
                  </a:cubicBezTo>
                  <a:cubicBezTo>
                    <a:pt x="32" y="83"/>
                    <a:pt x="37" y="91"/>
                    <a:pt x="40" y="89"/>
                  </a:cubicBezTo>
                  <a:cubicBezTo>
                    <a:pt x="43" y="88"/>
                    <a:pt x="37" y="77"/>
                    <a:pt x="38" y="75"/>
                  </a:cubicBezTo>
                  <a:cubicBezTo>
                    <a:pt x="39" y="73"/>
                    <a:pt x="45" y="78"/>
                    <a:pt x="48" y="74"/>
                  </a:cubicBezTo>
                  <a:cubicBezTo>
                    <a:pt x="51" y="71"/>
                    <a:pt x="46" y="68"/>
                    <a:pt x="41" y="69"/>
                  </a:cubicBezTo>
                  <a:cubicBezTo>
                    <a:pt x="37" y="69"/>
                    <a:pt x="41" y="63"/>
                    <a:pt x="46" y="66"/>
                  </a:cubicBezTo>
                  <a:cubicBezTo>
                    <a:pt x="52" y="69"/>
                    <a:pt x="54" y="65"/>
                    <a:pt x="57" y="65"/>
                  </a:cubicBezTo>
                  <a:cubicBezTo>
                    <a:pt x="59" y="64"/>
                    <a:pt x="60" y="55"/>
                    <a:pt x="52" y="53"/>
                  </a:cubicBezTo>
                  <a:cubicBezTo>
                    <a:pt x="44" y="51"/>
                    <a:pt x="45" y="58"/>
                    <a:pt x="40" y="53"/>
                  </a:cubicBezTo>
                  <a:cubicBezTo>
                    <a:pt x="35" y="48"/>
                    <a:pt x="45" y="50"/>
                    <a:pt x="45" y="45"/>
                  </a:cubicBezTo>
                  <a:cubicBezTo>
                    <a:pt x="45" y="41"/>
                    <a:pt x="37" y="34"/>
                    <a:pt x="33" y="29"/>
                  </a:cubicBezTo>
                  <a:cubicBezTo>
                    <a:pt x="29" y="24"/>
                    <a:pt x="38" y="21"/>
                    <a:pt x="40" y="25"/>
                  </a:cubicBezTo>
                  <a:cubicBezTo>
                    <a:pt x="43" y="29"/>
                    <a:pt x="48" y="28"/>
                    <a:pt x="52" y="27"/>
                  </a:cubicBezTo>
                  <a:cubicBezTo>
                    <a:pt x="56" y="25"/>
                    <a:pt x="48" y="18"/>
                    <a:pt x="55" y="16"/>
                  </a:cubicBezTo>
                  <a:cubicBezTo>
                    <a:pt x="62" y="13"/>
                    <a:pt x="62" y="18"/>
                    <a:pt x="64" y="18"/>
                  </a:cubicBezTo>
                  <a:cubicBezTo>
                    <a:pt x="66" y="19"/>
                    <a:pt x="68" y="13"/>
                    <a:pt x="75" y="13"/>
                  </a:cubicBezTo>
                  <a:cubicBezTo>
                    <a:pt x="78" y="13"/>
                    <a:pt x="81" y="15"/>
                    <a:pt x="85" y="18"/>
                  </a:cubicBezTo>
                  <a:cubicBezTo>
                    <a:pt x="86" y="16"/>
                    <a:pt x="88" y="15"/>
                    <a:pt x="88" y="13"/>
                  </a:cubicBezTo>
                  <a:cubicBezTo>
                    <a:pt x="88" y="11"/>
                    <a:pt x="92" y="10"/>
                    <a:pt x="92" y="6"/>
                  </a:cubicBezTo>
                  <a:cubicBezTo>
                    <a:pt x="92" y="4"/>
                    <a:pt x="91" y="2"/>
                    <a:pt x="91" y="0"/>
                  </a:cubicBezTo>
                  <a:close/>
                  <a:moveTo>
                    <a:pt x="79" y="109"/>
                  </a:moveTo>
                  <a:cubicBezTo>
                    <a:pt x="75" y="107"/>
                    <a:pt x="60" y="110"/>
                    <a:pt x="56" y="106"/>
                  </a:cubicBezTo>
                  <a:cubicBezTo>
                    <a:pt x="52" y="102"/>
                    <a:pt x="43" y="109"/>
                    <a:pt x="47" y="110"/>
                  </a:cubicBezTo>
                  <a:cubicBezTo>
                    <a:pt x="52" y="111"/>
                    <a:pt x="60" y="115"/>
                    <a:pt x="68" y="115"/>
                  </a:cubicBezTo>
                  <a:cubicBezTo>
                    <a:pt x="77" y="116"/>
                    <a:pt x="88" y="112"/>
                    <a:pt x="88" y="109"/>
                  </a:cubicBezTo>
                  <a:cubicBezTo>
                    <a:pt x="88" y="107"/>
                    <a:pt x="82" y="111"/>
                    <a:pt x="79" y="1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2" name="Freeform 310"/>
            <p:cNvSpPr/>
            <p:nvPr/>
          </p:nvSpPr>
          <p:spPr>
            <a:xfrm>
              <a:off x="5562601" y="2873375"/>
              <a:ext cx="66675" cy="41275"/>
            </a:xfrm>
            <a:custGeom>
              <a:gdLst>
                <a:gd name="T0" fmla="*/ 26 w 39"/>
                <a:gd name="T1" fmla="*/ 15 h 24"/>
                <a:gd name="T2" fmla="*/ 34 w 39"/>
                <a:gd name="T3" fmla="*/ 6 h 24"/>
                <a:gd name="T4" fmla="*/ 33 w 39"/>
                <a:gd name="T5" fmla="*/ 3 h 24"/>
                <a:gd name="T6" fmla="*/ 13 w 39"/>
                <a:gd name="T7" fmla="*/ 9 h 24"/>
                <a:gd name="T8" fmla="*/ 6 w 39"/>
                <a:gd name="T9" fmla="*/ 19 h 24"/>
                <a:gd name="T10" fmla="*/ 26 w 39"/>
                <a:gd name="T11" fmla="*/ 15 h 24"/>
              </a:gdLst>
              <a:cxnLst>
                <a:cxn ang="0">
                  <a:pos x="T0" y="T1"/>
                </a:cxn>
                <a:cxn ang="0">
                  <a:pos x="T2" y="T3"/>
                </a:cxn>
                <a:cxn ang="0">
                  <a:pos x="T4" y="T5"/>
                </a:cxn>
                <a:cxn ang="0">
                  <a:pos x="T6" y="T7"/>
                </a:cxn>
                <a:cxn ang="0">
                  <a:pos x="T8" y="T9"/>
                </a:cxn>
                <a:cxn ang="0">
                  <a:pos x="T10" y="T11"/>
                </a:cxn>
              </a:cxnLst>
              <a:rect l="0" t="0" r="r" b="b"/>
              <a:pathLst>
                <a:path w="39" h="24">
                  <a:moveTo>
                    <a:pt x="26" y="15"/>
                  </a:moveTo>
                  <a:cubicBezTo>
                    <a:pt x="25" y="12"/>
                    <a:pt x="29" y="8"/>
                    <a:pt x="34" y="6"/>
                  </a:cubicBezTo>
                  <a:cubicBezTo>
                    <a:pt x="39" y="4"/>
                    <a:pt x="37" y="0"/>
                    <a:pt x="33" y="3"/>
                  </a:cubicBezTo>
                  <a:cubicBezTo>
                    <a:pt x="30" y="6"/>
                    <a:pt x="22" y="9"/>
                    <a:pt x="13" y="9"/>
                  </a:cubicBezTo>
                  <a:cubicBezTo>
                    <a:pt x="3" y="9"/>
                    <a:pt x="0" y="16"/>
                    <a:pt x="6" y="19"/>
                  </a:cubicBezTo>
                  <a:cubicBezTo>
                    <a:pt x="14" y="24"/>
                    <a:pt x="26" y="17"/>
                    <a:pt x="26"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3" name="Freeform 311"/>
            <p:cNvSpPr/>
            <p:nvPr/>
          </p:nvSpPr>
          <p:spPr>
            <a:xfrm>
              <a:off x="4183063" y="1843088"/>
              <a:ext cx="265113" cy="133350"/>
            </a:xfrm>
            <a:custGeom>
              <a:gdLst>
                <a:gd name="T0" fmla="*/ 131 w 156"/>
                <a:gd name="T1" fmla="*/ 56 h 78"/>
                <a:gd name="T2" fmla="*/ 143 w 156"/>
                <a:gd name="T3" fmla="*/ 46 h 78"/>
                <a:gd name="T4" fmla="*/ 154 w 156"/>
                <a:gd name="T5" fmla="*/ 36 h 78"/>
                <a:gd name="T6" fmla="*/ 146 w 156"/>
                <a:gd name="T7" fmla="*/ 24 h 78"/>
                <a:gd name="T8" fmla="*/ 138 w 156"/>
                <a:gd name="T9" fmla="*/ 16 h 78"/>
                <a:gd name="T10" fmla="*/ 136 w 156"/>
                <a:gd name="T11" fmla="*/ 7 h 78"/>
                <a:gd name="T12" fmla="*/ 126 w 156"/>
                <a:gd name="T13" fmla="*/ 8 h 78"/>
                <a:gd name="T14" fmla="*/ 112 w 156"/>
                <a:gd name="T15" fmla="*/ 1 h 78"/>
                <a:gd name="T16" fmla="*/ 110 w 156"/>
                <a:gd name="T17" fmla="*/ 10 h 78"/>
                <a:gd name="T18" fmla="*/ 102 w 156"/>
                <a:gd name="T19" fmla="*/ 11 h 78"/>
                <a:gd name="T20" fmla="*/ 96 w 156"/>
                <a:gd name="T21" fmla="*/ 11 h 78"/>
                <a:gd name="T22" fmla="*/ 87 w 156"/>
                <a:gd name="T23" fmla="*/ 12 h 78"/>
                <a:gd name="T24" fmla="*/ 80 w 156"/>
                <a:gd name="T25" fmla="*/ 10 h 78"/>
                <a:gd name="T26" fmla="*/ 70 w 156"/>
                <a:gd name="T27" fmla="*/ 16 h 78"/>
                <a:gd name="T28" fmla="*/ 64 w 156"/>
                <a:gd name="T29" fmla="*/ 13 h 78"/>
                <a:gd name="T30" fmla="*/ 58 w 156"/>
                <a:gd name="T31" fmla="*/ 18 h 78"/>
                <a:gd name="T32" fmla="*/ 56 w 156"/>
                <a:gd name="T33" fmla="*/ 25 h 78"/>
                <a:gd name="T34" fmla="*/ 46 w 156"/>
                <a:gd name="T35" fmla="*/ 29 h 78"/>
                <a:gd name="T36" fmla="*/ 42 w 156"/>
                <a:gd name="T37" fmla="*/ 17 h 78"/>
                <a:gd name="T38" fmla="*/ 20 w 156"/>
                <a:gd name="T39" fmla="*/ 3 h 78"/>
                <a:gd name="T40" fmla="*/ 22 w 156"/>
                <a:gd name="T41" fmla="*/ 11 h 78"/>
                <a:gd name="T42" fmla="*/ 17 w 156"/>
                <a:gd name="T43" fmla="*/ 10 h 78"/>
                <a:gd name="T44" fmla="*/ 8 w 156"/>
                <a:gd name="T45" fmla="*/ 14 h 78"/>
                <a:gd name="T46" fmla="*/ 0 w 156"/>
                <a:gd name="T47" fmla="*/ 24 h 78"/>
                <a:gd name="T48" fmla="*/ 14 w 156"/>
                <a:gd name="T49" fmla="*/ 27 h 78"/>
                <a:gd name="T50" fmla="*/ 32 w 156"/>
                <a:gd name="T51" fmla="*/ 27 h 78"/>
                <a:gd name="T52" fmla="*/ 29 w 156"/>
                <a:gd name="T53" fmla="*/ 34 h 78"/>
                <a:gd name="T54" fmla="*/ 22 w 156"/>
                <a:gd name="T55" fmla="*/ 38 h 78"/>
                <a:gd name="T56" fmla="*/ 5 w 156"/>
                <a:gd name="T57" fmla="*/ 43 h 78"/>
                <a:gd name="T58" fmla="*/ 26 w 156"/>
                <a:gd name="T59" fmla="*/ 43 h 78"/>
                <a:gd name="T60" fmla="*/ 31 w 156"/>
                <a:gd name="T61" fmla="*/ 49 h 78"/>
                <a:gd name="T62" fmla="*/ 36 w 156"/>
                <a:gd name="T63" fmla="*/ 54 h 78"/>
                <a:gd name="T64" fmla="*/ 31 w 156"/>
                <a:gd name="T65" fmla="*/ 60 h 78"/>
                <a:gd name="T66" fmla="*/ 23 w 156"/>
                <a:gd name="T67" fmla="*/ 65 h 78"/>
                <a:gd name="T68" fmla="*/ 42 w 156"/>
                <a:gd name="T69" fmla="*/ 64 h 78"/>
                <a:gd name="T70" fmla="*/ 68 w 156"/>
                <a:gd name="T71" fmla="*/ 75 h 78"/>
                <a:gd name="T72" fmla="*/ 93 w 156"/>
                <a:gd name="T73" fmla="*/ 69 h 78"/>
                <a:gd name="T74" fmla="*/ 111 w 156"/>
                <a:gd name="T75" fmla="*/ 63 h 78"/>
                <a:gd name="T76" fmla="*/ 131 w 156"/>
                <a:gd name="T77" fmla="*/ 56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78">
                  <a:moveTo>
                    <a:pt x="131" y="56"/>
                  </a:moveTo>
                  <a:cubicBezTo>
                    <a:pt x="139" y="55"/>
                    <a:pt x="139" y="46"/>
                    <a:pt x="143" y="46"/>
                  </a:cubicBezTo>
                  <a:cubicBezTo>
                    <a:pt x="146" y="47"/>
                    <a:pt x="152" y="40"/>
                    <a:pt x="154" y="36"/>
                  </a:cubicBezTo>
                  <a:cubicBezTo>
                    <a:pt x="156" y="31"/>
                    <a:pt x="151" y="24"/>
                    <a:pt x="146" y="24"/>
                  </a:cubicBezTo>
                  <a:cubicBezTo>
                    <a:pt x="141" y="24"/>
                    <a:pt x="137" y="19"/>
                    <a:pt x="138" y="16"/>
                  </a:cubicBezTo>
                  <a:cubicBezTo>
                    <a:pt x="139" y="13"/>
                    <a:pt x="136" y="10"/>
                    <a:pt x="136" y="7"/>
                  </a:cubicBezTo>
                  <a:cubicBezTo>
                    <a:pt x="136" y="5"/>
                    <a:pt x="129" y="7"/>
                    <a:pt x="126" y="8"/>
                  </a:cubicBezTo>
                  <a:cubicBezTo>
                    <a:pt x="122" y="9"/>
                    <a:pt x="115" y="0"/>
                    <a:pt x="112" y="1"/>
                  </a:cubicBezTo>
                  <a:cubicBezTo>
                    <a:pt x="109" y="3"/>
                    <a:pt x="111" y="8"/>
                    <a:pt x="110" y="10"/>
                  </a:cubicBezTo>
                  <a:cubicBezTo>
                    <a:pt x="109" y="13"/>
                    <a:pt x="102" y="8"/>
                    <a:pt x="102" y="11"/>
                  </a:cubicBezTo>
                  <a:cubicBezTo>
                    <a:pt x="102" y="14"/>
                    <a:pt x="98" y="14"/>
                    <a:pt x="96" y="11"/>
                  </a:cubicBezTo>
                  <a:cubicBezTo>
                    <a:pt x="93" y="8"/>
                    <a:pt x="87" y="10"/>
                    <a:pt x="87" y="12"/>
                  </a:cubicBezTo>
                  <a:cubicBezTo>
                    <a:pt x="88" y="15"/>
                    <a:pt x="85" y="13"/>
                    <a:pt x="80" y="10"/>
                  </a:cubicBezTo>
                  <a:cubicBezTo>
                    <a:pt x="75" y="7"/>
                    <a:pt x="70" y="13"/>
                    <a:pt x="70" y="16"/>
                  </a:cubicBezTo>
                  <a:cubicBezTo>
                    <a:pt x="71" y="20"/>
                    <a:pt x="68" y="21"/>
                    <a:pt x="64" y="13"/>
                  </a:cubicBezTo>
                  <a:cubicBezTo>
                    <a:pt x="60" y="6"/>
                    <a:pt x="56" y="14"/>
                    <a:pt x="58" y="18"/>
                  </a:cubicBezTo>
                  <a:cubicBezTo>
                    <a:pt x="60" y="22"/>
                    <a:pt x="59" y="27"/>
                    <a:pt x="56" y="25"/>
                  </a:cubicBezTo>
                  <a:cubicBezTo>
                    <a:pt x="53" y="23"/>
                    <a:pt x="48" y="26"/>
                    <a:pt x="46" y="29"/>
                  </a:cubicBezTo>
                  <a:cubicBezTo>
                    <a:pt x="44" y="32"/>
                    <a:pt x="38" y="20"/>
                    <a:pt x="42" y="17"/>
                  </a:cubicBezTo>
                  <a:cubicBezTo>
                    <a:pt x="47" y="15"/>
                    <a:pt x="27" y="3"/>
                    <a:pt x="20" y="3"/>
                  </a:cubicBezTo>
                  <a:cubicBezTo>
                    <a:pt x="14" y="3"/>
                    <a:pt x="18" y="7"/>
                    <a:pt x="22" y="11"/>
                  </a:cubicBezTo>
                  <a:cubicBezTo>
                    <a:pt x="27" y="14"/>
                    <a:pt x="19" y="13"/>
                    <a:pt x="17" y="10"/>
                  </a:cubicBezTo>
                  <a:cubicBezTo>
                    <a:pt x="15" y="7"/>
                    <a:pt x="10" y="10"/>
                    <a:pt x="8" y="14"/>
                  </a:cubicBezTo>
                  <a:cubicBezTo>
                    <a:pt x="5" y="18"/>
                    <a:pt x="1" y="21"/>
                    <a:pt x="0" y="24"/>
                  </a:cubicBezTo>
                  <a:cubicBezTo>
                    <a:pt x="0" y="27"/>
                    <a:pt x="8" y="30"/>
                    <a:pt x="14" y="27"/>
                  </a:cubicBezTo>
                  <a:cubicBezTo>
                    <a:pt x="21" y="24"/>
                    <a:pt x="28" y="24"/>
                    <a:pt x="32" y="27"/>
                  </a:cubicBezTo>
                  <a:cubicBezTo>
                    <a:pt x="35" y="30"/>
                    <a:pt x="26" y="32"/>
                    <a:pt x="29" y="34"/>
                  </a:cubicBezTo>
                  <a:cubicBezTo>
                    <a:pt x="33" y="37"/>
                    <a:pt x="30" y="39"/>
                    <a:pt x="22" y="38"/>
                  </a:cubicBezTo>
                  <a:cubicBezTo>
                    <a:pt x="13" y="38"/>
                    <a:pt x="4" y="40"/>
                    <a:pt x="5" y="43"/>
                  </a:cubicBezTo>
                  <a:cubicBezTo>
                    <a:pt x="7" y="46"/>
                    <a:pt x="26" y="41"/>
                    <a:pt x="26" y="43"/>
                  </a:cubicBezTo>
                  <a:cubicBezTo>
                    <a:pt x="26" y="46"/>
                    <a:pt x="26" y="51"/>
                    <a:pt x="31" y="49"/>
                  </a:cubicBezTo>
                  <a:cubicBezTo>
                    <a:pt x="36" y="47"/>
                    <a:pt x="33" y="53"/>
                    <a:pt x="36" y="54"/>
                  </a:cubicBezTo>
                  <a:cubicBezTo>
                    <a:pt x="38" y="55"/>
                    <a:pt x="38" y="60"/>
                    <a:pt x="31" y="60"/>
                  </a:cubicBezTo>
                  <a:cubicBezTo>
                    <a:pt x="24" y="61"/>
                    <a:pt x="20" y="62"/>
                    <a:pt x="23" y="65"/>
                  </a:cubicBezTo>
                  <a:cubicBezTo>
                    <a:pt x="27" y="69"/>
                    <a:pt x="35" y="66"/>
                    <a:pt x="42" y="64"/>
                  </a:cubicBezTo>
                  <a:cubicBezTo>
                    <a:pt x="49" y="63"/>
                    <a:pt x="60" y="71"/>
                    <a:pt x="68" y="75"/>
                  </a:cubicBezTo>
                  <a:cubicBezTo>
                    <a:pt x="77" y="78"/>
                    <a:pt x="92" y="74"/>
                    <a:pt x="93" y="69"/>
                  </a:cubicBezTo>
                  <a:cubicBezTo>
                    <a:pt x="95" y="65"/>
                    <a:pt x="107" y="66"/>
                    <a:pt x="111" y="63"/>
                  </a:cubicBezTo>
                  <a:cubicBezTo>
                    <a:pt x="116" y="60"/>
                    <a:pt x="123" y="56"/>
                    <a:pt x="131" y="5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4" name="Freeform 312"/>
            <p:cNvSpPr/>
            <p:nvPr/>
          </p:nvSpPr>
          <p:spPr>
            <a:xfrm>
              <a:off x="4522788" y="2274888"/>
              <a:ext cx="112713" cy="123825"/>
            </a:xfrm>
            <a:custGeom>
              <a:gdLst>
                <a:gd name="T0" fmla="*/ 59 w 66"/>
                <a:gd name="T1" fmla="*/ 23 h 73"/>
                <a:gd name="T2" fmla="*/ 54 w 66"/>
                <a:gd name="T3" fmla="*/ 19 h 73"/>
                <a:gd name="T4" fmla="*/ 46 w 66"/>
                <a:gd name="T5" fmla="*/ 22 h 73"/>
                <a:gd name="T6" fmla="*/ 37 w 66"/>
                <a:gd name="T7" fmla="*/ 20 h 73"/>
                <a:gd name="T8" fmla="*/ 40 w 66"/>
                <a:gd name="T9" fmla="*/ 11 h 73"/>
                <a:gd name="T10" fmla="*/ 44 w 66"/>
                <a:gd name="T11" fmla="*/ 3 h 73"/>
                <a:gd name="T12" fmla="*/ 42 w 66"/>
                <a:gd name="T13" fmla="*/ 3 h 73"/>
                <a:gd name="T14" fmla="*/ 28 w 66"/>
                <a:gd name="T15" fmla="*/ 6 h 73"/>
                <a:gd name="T16" fmla="*/ 35 w 66"/>
                <a:gd name="T17" fmla="*/ 13 h 73"/>
                <a:gd name="T18" fmla="*/ 23 w 66"/>
                <a:gd name="T19" fmla="*/ 19 h 73"/>
                <a:gd name="T20" fmla="*/ 7 w 66"/>
                <a:gd name="T21" fmla="*/ 19 h 73"/>
                <a:gd name="T22" fmla="*/ 9 w 66"/>
                <a:gd name="T23" fmla="*/ 30 h 73"/>
                <a:gd name="T24" fmla="*/ 16 w 66"/>
                <a:gd name="T25" fmla="*/ 40 h 73"/>
                <a:gd name="T26" fmla="*/ 12 w 66"/>
                <a:gd name="T27" fmla="*/ 52 h 73"/>
                <a:gd name="T28" fmla="*/ 2 w 66"/>
                <a:gd name="T29" fmla="*/ 62 h 73"/>
                <a:gd name="T30" fmla="*/ 16 w 66"/>
                <a:gd name="T31" fmla="*/ 73 h 73"/>
                <a:gd name="T32" fmla="*/ 42 w 66"/>
                <a:gd name="T33" fmla="*/ 63 h 73"/>
                <a:gd name="T34" fmla="*/ 59 w 66"/>
                <a:gd name="T35" fmla="*/ 59 h 73"/>
                <a:gd name="T36" fmla="*/ 59 w 66"/>
                <a:gd name="T37" fmla="*/ 26 h 73"/>
                <a:gd name="T38" fmla="*/ 59 w 66"/>
                <a:gd name="T39" fmla="*/ 23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73">
                  <a:moveTo>
                    <a:pt x="59" y="23"/>
                  </a:moveTo>
                  <a:cubicBezTo>
                    <a:pt x="57" y="22"/>
                    <a:pt x="56" y="21"/>
                    <a:pt x="54" y="19"/>
                  </a:cubicBezTo>
                  <a:cubicBezTo>
                    <a:pt x="49" y="13"/>
                    <a:pt x="47" y="18"/>
                    <a:pt x="46" y="22"/>
                  </a:cubicBezTo>
                  <a:cubicBezTo>
                    <a:pt x="45" y="26"/>
                    <a:pt x="40" y="20"/>
                    <a:pt x="37" y="20"/>
                  </a:cubicBezTo>
                  <a:cubicBezTo>
                    <a:pt x="34" y="19"/>
                    <a:pt x="38" y="13"/>
                    <a:pt x="40" y="11"/>
                  </a:cubicBezTo>
                  <a:cubicBezTo>
                    <a:pt x="42" y="10"/>
                    <a:pt x="43" y="7"/>
                    <a:pt x="44" y="3"/>
                  </a:cubicBezTo>
                  <a:cubicBezTo>
                    <a:pt x="43" y="3"/>
                    <a:pt x="43" y="3"/>
                    <a:pt x="42" y="3"/>
                  </a:cubicBezTo>
                  <a:cubicBezTo>
                    <a:pt x="36" y="0"/>
                    <a:pt x="28" y="0"/>
                    <a:pt x="28" y="6"/>
                  </a:cubicBezTo>
                  <a:cubicBezTo>
                    <a:pt x="27" y="11"/>
                    <a:pt x="34" y="9"/>
                    <a:pt x="35" y="13"/>
                  </a:cubicBezTo>
                  <a:cubicBezTo>
                    <a:pt x="35" y="16"/>
                    <a:pt x="28" y="15"/>
                    <a:pt x="23" y="19"/>
                  </a:cubicBezTo>
                  <a:cubicBezTo>
                    <a:pt x="18" y="22"/>
                    <a:pt x="12" y="16"/>
                    <a:pt x="7" y="19"/>
                  </a:cubicBezTo>
                  <a:cubicBezTo>
                    <a:pt x="2" y="21"/>
                    <a:pt x="13" y="24"/>
                    <a:pt x="9" y="30"/>
                  </a:cubicBezTo>
                  <a:cubicBezTo>
                    <a:pt x="5" y="35"/>
                    <a:pt x="9" y="35"/>
                    <a:pt x="16" y="40"/>
                  </a:cubicBezTo>
                  <a:cubicBezTo>
                    <a:pt x="22" y="45"/>
                    <a:pt x="12" y="47"/>
                    <a:pt x="12" y="52"/>
                  </a:cubicBezTo>
                  <a:cubicBezTo>
                    <a:pt x="12" y="58"/>
                    <a:pt x="4" y="58"/>
                    <a:pt x="2" y="62"/>
                  </a:cubicBezTo>
                  <a:cubicBezTo>
                    <a:pt x="0" y="66"/>
                    <a:pt x="9" y="73"/>
                    <a:pt x="16" y="73"/>
                  </a:cubicBezTo>
                  <a:cubicBezTo>
                    <a:pt x="22" y="73"/>
                    <a:pt x="34" y="70"/>
                    <a:pt x="42" y="63"/>
                  </a:cubicBezTo>
                  <a:cubicBezTo>
                    <a:pt x="49" y="56"/>
                    <a:pt x="53" y="63"/>
                    <a:pt x="59" y="59"/>
                  </a:cubicBezTo>
                  <a:cubicBezTo>
                    <a:pt x="66" y="56"/>
                    <a:pt x="62" y="31"/>
                    <a:pt x="59" y="26"/>
                  </a:cubicBezTo>
                  <a:cubicBezTo>
                    <a:pt x="59" y="25"/>
                    <a:pt x="59" y="24"/>
                    <a:pt x="59"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5" name="Freeform 313"/>
            <p:cNvSpPr>
              <a:spLocks noEditPoints="1"/>
            </p:cNvSpPr>
            <p:nvPr/>
          </p:nvSpPr>
          <p:spPr>
            <a:xfrm>
              <a:off x="4579938" y="2073275"/>
              <a:ext cx="247650" cy="379413"/>
            </a:xfrm>
            <a:custGeom>
              <a:gdLst>
                <a:gd name="T0" fmla="*/ 10 w 146"/>
                <a:gd name="T1" fmla="*/ 122 h 224"/>
                <a:gd name="T2" fmla="*/ 3 w 146"/>
                <a:gd name="T3" fmla="*/ 139 h 224"/>
                <a:gd name="T4" fmla="*/ 20 w 146"/>
                <a:gd name="T5" fmla="*/ 138 h 224"/>
                <a:gd name="T6" fmla="*/ 36 w 146"/>
                <a:gd name="T7" fmla="*/ 135 h 224"/>
                <a:gd name="T8" fmla="*/ 146 w 146"/>
                <a:gd name="T9" fmla="*/ 172 h 224"/>
                <a:gd name="T10" fmla="*/ 124 w 146"/>
                <a:gd name="T11" fmla="*/ 164 h 224"/>
                <a:gd name="T12" fmla="*/ 119 w 146"/>
                <a:gd name="T13" fmla="*/ 148 h 224"/>
                <a:gd name="T14" fmla="*/ 98 w 146"/>
                <a:gd name="T15" fmla="*/ 113 h 224"/>
                <a:gd name="T16" fmla="*/ 75 w 146"/>
                <a:gd name="T17" fmla="*/ 103 h 224"/>
                <a:gd name="T18" fmla="*/ 91 w 146"/>
                <a:gd name="T19" fmla="*/ 69 h 224"/>
                <a:gd name="T20" fmla="*/ 60 w 146"/>
                <a:gd name="T21" fmla="*/ 63 h 224"/>
                <a:gd name="T22" fmla="*/ 73 w 146"/>
                <a:gd name="T23" fmla="*/ 42 h 224"/>
                <a:gd name="T24" fmla="*/ 51 w 146"/>
                <a:gd name="T25" fmla="*/ 48 h 224"/>
                <a:gd name="T26" fmla="*/ 35 w 146"/>
                <a:gd name="T27" fmla="*/ 70 h 224"/>
                <a:gd name="T28" fmla="*/ 23 w 146"/>
                <a:gd name="T29" fmla="*/ 71 h 224"/>
                <a:gd name="T30" fmla="*/ 28 w 146"/>
                <a:gd name="T31" fmla="*/ 90 h 224"/>
                <a:gd name="T32" fmla="*/ 24 w 146"/>
                <a:gd name="T33" fmla="*/ 107 h 224"/>
                <a:gd name="T34" fmla="*/ 40 w 146"/>
                <a:gd name="T35" fmla="*/ 112 h 224"/>
                <a:gd name="T36" fmla="*/ 49 w 146"/>
                <a:gd name="T37" fmla="*/ 111 h 224"/>
                <a:gd name="T38" fmla="*/ 65 w 146"/>
                <a:gd name="T39" fmla="*/ 124 h 224"/>
                <a:gd name="T40" fmla="*/ 71 w 146"/>
                <a:gd name="T41" fmla="*/ 137 h 224"/>
                <a:gd name="T42" fmla="*/ 74 w 146"/>
                <a:gd name="T43" fmla="*/ 155 h 224"/>
                <a:gd name="T44" fmla="*/ 55 w 146"/>
                <a:gd name="T45" fmla="*/ 158 h 224"/>
                <a:gd name="T46" fmla="*/ 59 w 146"/>
                <a:gd name="T47" fmla="*/ 173 h 224"/>
                <a:gd name="T48" fmla="*/ 50 w 146"/>
                <a:gd name="T49" fmla="*/ 189 h 224"/>
                <a:gd name="T50" fmla="*/ 74 w 146"/>
                <a:gd name="T51" fmla="*/ 193 h 224"/>
                <a:gd name="T52" fmla="*/ 59 w 146"/>
                <a:gd name="T53" fmla="*/ 199 h 224"/>
                <a:gd name="T54" fmla="*/ 52 w 146"/>
                <a:gd name="T55" fmla="*/ 216 h 224"/>
                <a:gd name="T56" fmla="*/ 69 w 146"/>
                <a:gd name="T57" fmla="*/ 211 h 224"/>
                <a:gd name="T58" fmla="*/ 91 w 146"/>
                <a:gd name="T59" fmla="*/ 207 h 224"/>
                <a:gd name="T60" fmla="*/ 119 w 146"/>
                <a:gd name="T61" fmla="*/ 206 h 224"/>
                <a:gd name="T62" fmla="*/ 133 w 146"/>
                <a:gd name="T63" fmla="*/ 195 h 224"/>
                <a:gd name="T64" fmla="*/ 146 w 146"/>
                <a:gd name="T65" fmla="*/ 172 h 224"/>
                <a:gd name="T66" fmla="*/ 26 w 146"/>
                <a:gd name="T67" fmla="*/ 52 h 224"/>
                <a:gd name="T68" fmla="*/ 100 w 146"/>
                <a:gd name="T69" fmla="*/ 18 h 224"/>
                <a:gd name="T70" fmla="*/ 100 w 146"/>
                <a:gd name="T71" fmla="*/ 18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224">
                  <a:moveTo>
                    <a:pt x="28" y="119"/>
                  </a:moveTo>
                  <a:cubicBezTo>
                    <a:pt x="23" y="114"/>
                    <a:pt x="16" y="122"/>
                    <a:pt x="10" y="122"/>
                  </a:cubicBezTo>
                  <a:cubicBezTo>
                    <a:pt x="9" y="126"/>
                    <a:pt x="8" y="129"/>
                    <a:pt x="6" y="130"/>
                  </a:cubicBezTo>
                  <a:cubicBezTo>
                    <a:pt x="4" y="132"/>
                    <a:pt x="0" y="138"/>
                    <a:pt x="3" y="139"/>
                  </a:cubicBezTo>
                  <a:cubicBezTo>
                    <a:pt x="6" y="139"/>
                    <a:pt x="11" y="145"/>
                    <a:pt x="12" y="141"/>
                  </a:cubicBezTo>
                  <a:cubicBezTo>
                    <a:pt x="13" y="137"/>
                    <a:pt x="15" y="132"/>
                    <a:pt x="20" y="138"/>
                  </a:cubicBezTo>
                  <a:cubicBezTo>
                    <a:pt x="22" y="140"/>
                    <a:pt x="23" y="141"/>
                    <a:pt x="25" y="142"/>
                  </a:cubicBezTo>
                  <a:cubicBezTo>
                    <a:pt x="26" y="139"/>
                    <a:pt x="33" y="139"/>
                    <a:pt x="36" y="135"/>
                  </a:cubicBezTo>
                  <a:cubicBezTo>
                    <a:pt x="41" y="131"/>
                    <a:pt x="34" y="125"/>
                    <a:pt x="28" y="119"/>
                  </a:cubicBezTo>
                  <a:close/>
                  <a:moveTo>
                    <a:pt x="146" y="172"/>
                  </a:moveTo>
                  <a:cubicBezTo>
                    <a:pt x="146" y="166"/>
                    <a:pt x="132" y="161"/>
                    <a:pt x="131" y="165"/>
                  </a:cubicBezTo>
                  <a:cubicBezTo>
                    <a:pt x="129" y="168"/>
                    <a:pt x="126" y="168"/>
                    <a:pt x="124" y="164"/>
                  </a:cubicBezTo>
                  <a:cubicBezTo>
                    <a:pt x="121" y="160"/>
                    <a:pt x="126" y="156"/>
                    <a:pt x="123" y="156"/>
                  </a:cubicBezTo>
                  <a:cubicBezTo>
                    <a:pt x="121" y="156"/>
                    <a:pt x="118" y="150"/>
                    <a:pt x="119" y="148"/>
                  </a:cubicBezTo>
                  <a:cubicBezTo>
                    <a:pt x="119" y="146"/>
                    <a:pt x="115" y="132"/>
                    <a:pt x="108" y="130"/>
                  </a:cubicBezTo>
                  <a:cubicBezTo>
                    <a:pt x="100" y="129"/>
                    <a:pt x="99" y="118"/>
                    <a:pt x="98" y="113"/>
                  </a:cubicBezTo>
                  <a:cubicBezTo>
                    <a:pt x="97" y="107"/>
                    <a:pt x="92" y="110"/>
                    <a:pt x="88" y="106"/>
                  </a:cubicBezTo>
                  <a:cubicBezTo>
                    <a:pt x="85" y="101"/>
                    <a:pt x="78" y="103"/>
                    <a:pt x="75" y="103"/>
                  </a:cubicBezTo>
                  <a:cubicBezTo>
                    <a:pt x="72" y="104"/>
                    <a:pt x="75" y="97"/>
                    <a:pt x="80" y="94"/>
                  </a:cubicBezTo>
                  <a:cubicBezTo>
                    <a:pt x="85" y="90"/>
                    <a:pt x="91" y="72"/>
                    <a:pt x="91" y="69"/>
                  </a:cubicBezTo>
                  <a:cubicBezTo>
                    <a:pt x="91" y="65"/>
                    <a:pt x="69" y="65"/>
                    <a:pt x="65" y="67"/>
                  </a:cubicBezTo>
                  <a:cubicBezTo>
                    <a:pt x="60" y="69"/>
                    <a:pt x="56" y="64"/>
                    <a:pt x="60" y="63"/>
                  </a:cubicBezTo>
                  <a:cubicBezTo>
                    <a:pt x="63" y="61"/>
                    <a:pt x="71" y="53"/>
                    <a:pt x="71" y="50"/>
                  </a:cubicBezTo>
                  <a:cubicBezTo>
                    <a:pt x="70" y="47"/>
                    <a:pt x="76" y="45"/>
                    <a:pt x="73" y="42"/>
                  </a:cubicBezTo>
                  <a:cubicBezTo>
                    <a:pt x="70" y="39"/>
                    <a:pt x="69" y="46"/>
                    <a:pt x="66" y="48"/>
                  </a:cubicBezTo>
                  <a:cubicBezTo>
                    <a:pt x="64" y="50"/>
                    <a:pt x="57" y="49"/>
                    <a:pt x="51" y="48"/>
                  </a:cubicBezTo>
                  <a:cubicBezTo>
                    <a:pt x="44" y="47"/>
                    <a:pt x="41" y="56"/>
                    <a:pt x="42" y="60"/>
                  </a:cubicBezTo>
                  <a:cubicBezTo>
                    <a:pt x="42" y="64"/>
                    <a:pt x="34" y="67"/>
                    <a:pt x="35" y="70"/>
                  </a:cubicBezTo>
                  <a:cubicBezTo>
                    <a:pt x="36" y="73"/>
                    <a:pt x="34" y="76"/>
                    <a:pt x="31" y="74"/>
                  </a:cubicBezTo>
                  <a:cubicBezTo>
                    <a:pt x="29" y="72"/>
                    <a:pt x="27" y="67"/>
                    <a:pt x="23" y="71"/>
                  </a:cubicBezTo>
                  <a:cubicBezTo>
                    <a:pt x="18" y="74"/>
                    <a:pt x="28" y="79"/>
                    <a:pt x="33" y="80"/>
                  </a:cubicBezTo>
                  <a:cubicBezTo>
                    <a:pt x="39" y="80"/>
                    <a:pt x="29" y="84"/>
                    <a:pt x="28" y="90"/>
                  </a:cubicBezTo>
                  <a:cubicBezTo>
                    <a:pt x="27" y="96"/>
                    <a:pt x="35" y="94"/>
                    <a:pt x="36" y="98"/>
                  </a:cubicBezTo>
                  <a:cubicBezTo>
                    <a:pt x="36" y="102"/>
                    <a:pt x="24" y="103"/>
                    <a:pt x="24" y="107"/>
                  </a:cubicBezTo>
                  <a:cubicBezTo>
                    <a:pt x="24" y="111"/>
                    <a:pt x="31" y="105"/>
                    <a:pt x="34" y="103"/>
                  </a:cubicBezTo>
                  <a:cubicBezTo>
                    <a:pt x="37" y="102"/>
                    <a:pt x="32" y="113"/>
                    <a:pt x="40" y="112"/>
                  </a:cubicBezTo>
                  <a:cubicBezTo>
                    <a:pt x="48" y="111"/>
                    <a:pt x="45" y="100"/>
                    <a:pt x="48" y="101"/>
                  </a:cubicBezTo>
                  <a:cubicBezTo>
                    <a:pt x="51" y="101"/>
                    <a:pt x="47" y="106"/>
                    <a:pt x="49" y="111"/>
                  </a:cubicBezTo>
                  <a:cubicBezTo>
                    <a:pt x="52" y="115"/>
                    <a:pt x="44" y="122"/>
                    <a:pt x="44" y="126"/>
                  </a:cubicBezTo>
                  <a:cubicBezTo>
                    <a:pt x="45" y="129"/>
                    <a:pt x="60" y="129"/>
                    <a:pt x="65" y="124"/>
                  </a:cubicBezTo>
                  <a:cubicBezTo>
                    <a:pt x="70" y="118"/>
                    <a:pt x="72" y="124"/>
                    <a:pt x="69" y="128"/>
                  </a:cubicBezTo>
                  <a:cubicBezTo>
                    <a:pt x="65" y="132"/>
                    <a:pt x="67" y="135"/>
                    <a:pt x="71" y="137"/>
                  </a:cubicBezTo>
                  <a:cubicBezTo>
                    <a:pt x="76" y="138"/>
                    <a:pt x="77" y="139"/>
                    <a:pt x="75" y="142"/>
                  </a:cubicBezTo>
                  <a:cubicBezTo>
                    <a:pt x="73" y="146"/>
                    <a:pt x="75" y="152"/>
                    <a:pt x="74" y="155"/>
                  </a:cubicBezTo>
                  <a:cubicBezTo>
                    <a:pt x="73" y="159"/>
                    <a:pt x="59" y="158"/>
                    <a:pt x="59" y="156"/>
                  </a:cubicBezTo>
                  <a:cubicBezTo>
                    <a:pt x="59" y="154"/>
                    <a:pt x="53" y="155"/>
                    <a:pt x="55" y="158"/>
                  </a:cubicBezTo>
                  <a:cubicBezTo>
                    <a:pt x="56" y="161"/>
                    <a:pt x="50" y="165"/>
                    <a:pt x="50" y="167"/>
                  </a:cubicBezTo>
                  <a:cubicBezTo>
                    <a:pt x="51" y="170"/>
                    <a:pt x="59" y="170"/>
                    <a:pt x="59" y="173"/>
                  </a:cubicBezTo>
                  <a:cubicBezTo>
                    <a:pt x="59" y="176"/>
                    <a:pt x="53" y="181"/>
                    <a:pt x="45" y="183"/>
                  </a:cubicBezTo>
                  <a:cubicBezTo>
                    <a:pt x="37" y="185"/>
                    <a:pt x="47" y="192"/>
                    <a:pt x="50" y="189"/>
                  </a:cubicBezTo>
                  <a:cubicBezTo>
                    <a:pt x="54" y="186"/>
                    <a:pt x="53" y="191"/>
                    <a:pt x="59" y="191"/>
                  </a:cubicBezTo>
                  <a:cubicBezTo>
                    <a:pt x="65" y="191"/>
                    <a:pt x="68" y="195"/>
                    <a:pt x="74" y="193"/>
                  </a:cubicBezTo>
                  <a:cubicBezTo>
                    <a:pt x="81" y="191"/>
                    <a:pt x="80" y="193"/>
                    <a:pt x="76" y="197"/>
                  </a:cubicBezTo>
                  <a:cubicBezTo>
                    <a:pt x="71" y="200"/>
                    <a:pt x="64" y="197"/>
                    <a:pt x="59" y="199"/>
                  </a:cubicBezTo>
                  <a:cubicBezTo>
                    <a:pt x="55" y="201"/>
                    <a:pt x="38" y="218"/>
                    <a:pt x="41" y="222"/>
                  </a:cubicBezTo>
                  <a:cubicBezTo>
                    <a:pt x="43" y="224"/>
                    <a:pt x="45" y="218"/>
                    <a:pt x="52" y="216"/>
                  </a:cubicBezTo>
                  <a:cubicBezTo>
                    <a:pt x="58" y="213"/>
                    <a:pt x="59" y="217"/>
                    <a:pt x="62" y="218"/>
                  </a:cubicBezTo>
                  <a:cubicBezTo>
                    <a:pt x="66" y="218"/>
                    <a:pt x="66" y="211"/>
                    <a:pt x="69" y="211"/>
                  </a:cubicBezTo>
                  <a:cubicBezTo>
                    <a:pt x="72" y="212"/>
                    <a:pt x="74" y="209"/>
                    <a:pt x="79" y="210"/>
                  </a:cubicBezTo>
                  <a:cubicBezTo>
                    <a:pt x="85" y="211"/>
                    <a:pt x="88" y="209"/>
                    <a:pt x="91" y="207"/>
                  </a:cubicBezTo>
                  <a:cubicBezTo>
                    <a:pt x="93" y="204"/>
                    <a:pt x="100" y="211"/>
                    <a:pt x="102" y="209"/>
                  </a:cubicBezTo>
                  <a:cubicBezTo>
                    <a:pt x="105" y="208"/>
                    <a:pt x="114" y="206"/>
                    <a:pt x="119" y="206"/>
                  </a:cubicBezTo>
                  <a:cubicBezTo>
                    <a:pt x="124" y="207"/>
                    <a:pt x="136" y="201"/>
                    <a:pt x="139" y="198"/>
                  </a:cubicBezTo>
                  <a:cubicBezTo>
                    <a:pt x="142" y="195"/>
                    <a:pt x="137" y="194"/>
                    <a:pt x="133" y="195"/>
                  </a:cubicBezTo>
                  <a:cubicBezTo>
                    <a:pt x="128" y="196"/>
                    <a:pt x="129" y="191"/>
                    <a:pt x="134" y="186"/>
                  </a:cubicBezTo>
                  <a:cubicBezTo>
                    <a:pt x="138" y="182"/>
                    <a:pt x="145" y="179"/>
                    <a:pt x="146" y="172"/>
                  </a:cubicBezTo>
                  <a:close/>
                  <a:moveTo>
                    <a:pt x="17" y="64"/>
                  </a:moveTo>
                  <a:cubicBezTo>
                    <a:pt x="22" y="64"/>
                    <a:pt x="29" y="54"/>
                    <a:pt x="26" y="52"/>
                  </a:cubicBezTo>
                  <a:cubicBezTo>
                    <a:pt x="24" y="49"/>
                    <a:pt x="12" y="65"/>
                    <a:pt x="17" y="64"/>
                  </a:cubicBezTo>
                  <a:close/>
                  <a:moveTo>
                    <a:pt x="100" y="18"/>
                  </a:moveTo>
                  <a:cubicBezTo>
                    <a:pt x="104" y="14"/>
                    <a:pt x="108" y="0"/>
                    <a:pt x="102" y="2"/>
                  </a:cubicBezTo>
                  <a:cubicBezTo>
                    <a:pt x="97" y="3"/>
                    <a:pt x="98" y="19"/>
                    <a:pt x="100" y="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6" name="Freeform 314"/>
            <p:cNvSpPr>
              <a:spLocks noEditPoints="1"/>
            </p:cNvSpPr>
            <p:nvPr/>
          </p:nvSpPr>
          <p:spPr>
            <a:xfrm>
              <a:off x="4583113" y="2074863"/>
              <a:ext cx="247650" cy="376238"/>
            </a:xfrm>
            <a:custGeom>
              <a:gdLst>
                <a:gd name="T0" fmla="*/ 66 w 146"/>
                <a:gd name="T1" fmla="*/ 197 h 222"/>
                <a:gd name="T2" fmla="*/ 70 w 146"/>
                <a:gd name="T3" fmla="*/ 193 h 222"/>
                <a:gd name="T4" fmla="*/ 47 w 146"/>
                <a:gd name="T5" fmla="*/ 189 h 222"/>
                <a:gd name="T6" fmla="*/ 51 w 146"/>
                <a:gd name="T7" fmla="*/ 162 h 222"/>
                <a:gd name="T8" fmla="*/ 72 w 146"/>
                <a:gd name="T9" fmla="*/ 154 h 222"/>
                <a:gd name="T10" fmla="*/ 66 w 146"/>
                <a:gd name="T11" fmla="*/ 132 h 222"/>
                <a:gd name="T12" fmla="*/ 43 w 146"/>
                <a:gd name="T13" fmla="*/ 125 h 222"/>
                <a:gd name="T14" fmla="*/ 47 w 146"/>
                <a:gd name="T15" fmla="*/ 100 h 222"/>
                <a:gd name="T16" fmla="*/ 33 w 146"/>
                <a:gd name="T17" fmla="*/ 103 h 222"/>
                <a:gd name="T18" fmla="*/ 31 w 146"/>
                <a:gd name="T19" fmla="*/ 94 h 222"/>
                <a:gd name="T20" fmla="*/ 21 w 146"/>
                <a:gd name="T21" fmla="*/ 70 h 222"/>
                <a:gd name="T22" fmla="*/ 37 w 146"/>
                <a:gd name="T23" fmla="*/ 64 h 222"/>
                <a:gd name="T24" fmla="*/ 67 w 146"/>
                <a:gd name="T25" fmla="*/ 43 h 222"/>
                <a:gd name="T26" fmla="*/ 58 w 146"/>
                <a:gd name="T27" fmla="*/ 64 h 222"/>
                <a:gd name="T28" fmla="*/ 73 w 146"/>
                <a:gd name="T29" fmla="*/ 102 h 222"/>
                <a:gd name="T30" fmla="*/ 97 w 146"/>
                <a:gd name="T31" fmla="*/ 112 h 222"/>
                <a:gd name="T32" fmla="*/ 122 w 146"/>
                <a:gd name="T33" fmla="*/ 155 h 222"/>
                <a:gd name="T34" fmla="*/ 132 w 146"/>
                <a:gd name="T35" fmla="*/ 162 h 222"/>
                <a:gd name="T36" fmla="*/ 132 w 146"/>
                <a:gd name="T37" fmla="*/ 194 h 222"/>
                <a:gd name="T38" fmla="*/ 102 w 146"/>
                <a:gd name="T39" fmla="*/ 209 h 222"/>
                <a:gd name="T40" fmla="*/ 72 w 146"/>
                <a:gd name="T41" fmla="*/ 210 h 222"/>
                <a:gd name="T42" fmla="*/ 51 w 146"/>
                <a:gd name="T43" fmla="*/ 215 h 222"/>
                <a:gd name="T44" fmla="*/ 40 w 146"/>
                <a:gd name="T45" fmla="*/ 220 h 222"/>
                <a:gd name="T46" fmla="*/ 62 w 146"/>
                <a:gd name="T47" fmla="*/ 216 h 222"/>
                <a:gd name="T48" fmla="*/ 79 w 146"/>
                <a:gd name="T49" fmla="*/ 208 h 222"/>
                <a:gd name="T50" fmla="*/ 118 w 146"/>
                <a:gd name="T51" fmla="*/ 205 h 222"/>
                <a:gd name="T52" fmla="*/ 129 w 146"/>
                <a:gd name="T53" fmla="*/ 193 h 222"/>
                <a:gd name="T54" fmla="*/ 130 w 146"/>
                <a:gd name="T55" fmla="*/ 164 h 222"/>
                <a:gd name="T56" fmla="*/ 119 w 146"/>
                <a:gd name="T57" fmla="*/ 152 h 222"/>
                <a:gd name="T58" fmla="*/ 92 w 146"/>
                <a:gd name="T59" fmla="*/ 108 h 222"/>
                <a:gd name="T60" fmla="*/ 72 w 146"/>
                <a:gd name="T61" fmla="*/ 102 h 222"/>
                <a:gd name="T62" fmla="*/ 57 w 146"/>
                <a:gd name="T63" fmla="*/ 64 h 222"/>
                <a:gd name="T64" fmla="*/ 68 w 146"/>
                <a:gd name="T65" fmla="*/ 43 h 222"/>
                <a:gd name="T66" fmla="*/ 37 w 146"/>
                <a:gd name="T67" fmla="*/ 65 h 222"/>
                <a:gd name="T68" fmla="*/ 22 w 146"/>
                <a:gd name="T69" fmla="*/ 70 h 222"/>
                <a:gd name="T70" fmla="*/ 31 w 146"/>
                <a:gd name="T71" fmla="*/ 93 h 222"/>
                <a:gd name="T72" fmla="*/ 33 w 146"/>
                <a:gd name="T73" fmla="*/ 102 h 222"/>
                <a:gd name="T74" fmla="*/ 47 w 146"/>
                <a:gd name="T75" fmla="*/ 99 h 222"/>
                <a:gd name="T76" fmla="*/ 50 w 146"/>
                <a:gd name="T77" fmla="*/ 126 h 222"/>
                <a:gd name="T78" fmla="*/ 70 w 146"/>
                <a:gd name="T79" fmla="*/ 135 h 222"/>
                <a:gd name="T80" fmla="*/ 65 w 146"/>
                <a:gd name="T81" fmla="*/ 157 h 222"/>
                <a:gd name="T82" fmla="*/ 50 w 146"/>
                <a:gd name="T83" fmla="*/ 166 h 222"/>
                <a:gd name="T84" fmla="*/ 49 w 146"/>
                <a:gd name="T85" fmla="*/ 188 h 222"/>
                <a:gd name="T86" fmla="*/ 73 w 146"/>
                <a:gd name="T87" fmla="*/ 192 h 222"/>
                <a:gd name="T88" fmla="*/ 62 w 146"/>
                <a:gd name="T89" fmla="*/ 198 h 222"/>
                <a:gd name="T90" fmla="*/ 10 w 146"/>
                <a:gd name="T91" fmla="*/ 142 h 222"/>
                <a:gd name="T92" fmla="*/ 9 w 146"/>
                <a:gd name="T93" fmla="*/ 120 h 222"/>
                <a:gd name="T94" fmla="*/ 37 w 146"/>
                <a:gd name="T95" fmla="*/ 131 h 222"/>
                <a:gd name="T96" fmla="*/ 20 w 146"/>
                <a:gd name="T97" fmla="*/ 137 h 222"/>
                <a:gd name="T98" fmla="*/ 23 w 146"/>
                <a:gd name="T99" fmla="*/ 117 h 222"/>
                <a:gd name="T100" fmla="*/ 6 w 146"/>
                <a:gd name="T101" fmla="*/ 139 h 222"/>
                <a:gd name="T102" fmla="*/ 18 w 146"/>
                <a:gd name="T103" fmla="*/ 55 h 222"/>
                <a:gd name="T104" fmla="*/ 16 w 146"/>
                <a:gd name="T105" fmla="*/ 64 h 222"/>
                <a:gd name="T106" fmla="*/ 99 w 146"/>
                <a:gd name="T107" fmla="*/ 17 h 222"/>
                <a:gd name="T108" fmla="*/ 103 w 146"/>
                <a:gd name="T109" fmla="*/ 2 h 2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222">
                  <a:moveTo>
                    <a:pt x="41" y="222"/>
                  </a:moveTo>
                  <a:cubicBezTo>
                    <a:pt x="40" y="222"/>
                    <a:pt x="40" y="221"/>
                    <a:pt x="40" y="221"/>
                  </a:cubicBezTo>
                  <a:cubicBezTo>
                    <a:pt x="39" y="220"/>
                    <a:pt x="39" y="220"/>
                    <a:pt x="39" y="219"/>
                  </a:cubicBezTo>
                  <a:cubicBezTo>
                    <a:pt x="40" y="212"/>
                    <a:pt x="54" y="199"/>
                    <a:pt x="58" y="197"/>
                  </a:cubicBezTo>
                  <a:cubicBezTo>
                    <a:pt x="59" y="197"/>
                    <a:pt x="61" y="197"/>
                    <a:pt x="62" y="197"/>
                  </a:cubicBezTo>
                  <a:cubicBezTo>
                    <a:pt x="63" y="197"/>
                    <a:pt x="65" y="197"/>
                    <a:pt x="66" y="197"/>
                  </a:cubicBezTo>
                  <a:cubicBezTo>
                    <a:pt x="67" y="197"/>
                    <a:pt x="68" y="197"/>
                    <a:pt x="69" y="197"/>
                  </a:cubicBezTo>
                  <a:cubicBezTo>
                    <a:pt x="71" y="197"/>
                    <a:pt x="73" y="196"/>
                    <a:pt x="74" y="195"/>
                  </a:cubicBezTo>
                  <a:cubicBezTo>
                    <a:pt x="77" y="193"/>
                    <a:pt x="78" y="192"/>
                    <a:pt x="78" y="192"/>
                  </a:cubicBezTo>
                  <a:cubicBezTo>
                    <a:pt x="78" y="192"/>
                    <a:pt x="78" y="192"/>
                    <a:pt x="78" y="192"/>
                  </a:cubicBezTo>
                  <a:cubicBezTo>
                    <a:pt x="78" y="192"/>
                    <a:pt x="77" y="191"/>
                    <a:pt x="73" y="193"/>
                  </a:cubicBezTo>
                  <a:cubicBezTo>
                    <a:pt x="72" y="193"/>
                    <a:pt x="71" y="193"/>
                    <a:pt x="70" y="193"/>
                  </a:cubicBezTo>
                  <a:cubicBezTo>
                    <a:pt x="68" y="193"/>
                    <a:pt x="66" y="193"/>
                    <a:pt x="64" y="192"/>
                  </a:cubicBezTo>
                  <a:cubicBezTo>
                    <a:pt x="62" y="191"/>
                    <a:pt x="60" y="190"/>
                    <a:pt x="58" y="190"/>
                  </a:cubicBezTo>
                  <a:cubicBezTo>
                    <a:pt x="55" y="190"/>
                    <a:pt x="54" y="189"/>
                    <a:pt x="53" y="188"/>
                  </a:cubicBezTo>
                  <a:cubicBezTo>
                    <a:pt x="52" y="188"/>
                    <a:pt x="52" y="188"/>
                    <a:pt x="51" y="188"/>
                  </a:cubicBezTo>
                  <a:cubicBezTo>
                    <a:pt x="50" y="188"/>
                    <a:pt x="50" y="188"/>
                    <a:pt x="50" y="188"/>
                  </a:cubicBezTo>
                  <a:cubicBezTo>
                    <a:pt x="49" y="189"/>
                    <a:pt x="48" y="189"/>
                    <a:pt x="47" y="189"/>
                  </a:cubicBezTo>
                  <a:cubicBezTo>
                    <a:pt x="44" y="189"/>
                    <a:pt x="41" y="187"/>
                    <a:pt x="40" y="185"/>
                  </a:cubicBezTo>
                  <a:cubicBezTo>
                    <a:pt x="40" y="184"/>
                    <a:pt x="40" y="182"/>
                    <a:pt x="44" y="181"/>
                  </a:cubicBezTo>
                  <a:cubicBezTo>
                    <a:pt x="52" y="179"/>
                    <a:pt x="57" y="175"/>
                    <a:pt x="57" y="172"/>
                  </a:cubicBezTo>
                  <a:cubicBezTo>
                    <a:pt x="57" y="171"/>
                    <a:pt x="55" y="170"/>
                    <a:pt x="53" y="169"/>
                  </a:cubicBezTo>
                  <a:cubicBezTo>
                    <a:pt x="51" y="169"/>
                    <a:pt x="49" y="168"/>
                    <a:pt x="49" y="167"/>
                  </a:cubicBezTo>
                  <a:cubicBezTo>
                    <a:pt x="48" y="165"/>
                    <a:pt x="50" y="164"/>
                    <a:pt x="51" y="162"/>
                  </a:cubicBezTo>
                  <a:cubicBezTo>
                    <a:pt x="52" y="161"/>
                    <a:pt x="54" y="159"/>
                    <a:pt x="53" y="158"/>
                  </a:cubicBezTo>
                  <a:cubicBezTo>
                    <a:pt x="53" y="157"/>
                    <a:pt x="53" y="156"/>
                    <a:pt x="53" y="155"/>
                  </a:cubicBezTo>
                  <a:cubicBezTo>
                    <a:pt x="54" y="154"/>
                    <a:pt x="55" y="154"/>
                    <a:pt x="56" y="154"/>
                  </a:cubicBezTo>
                  <a:cubicBezTo>
                    <a:pt x="58" y="154"/>
                    <a:pt x="58" y="154"/>
                    <a:pt x="59" y="155"/>
                  </a:cubicBezTo>
                  <a:cubicBezTo>
                    <a:pt x="59" y="155"/>
                    <a:pt x="61" y="156"/>
                    <a:pt x="65" y="156"/>
                  </a:cubicBezTo>
                  <a:cubicBezTo>
                    <a:pt x="69" y="156"/>
                    <a:pt x="72" y="155"/>
                    <a:pt x="72" y="154"/>
                  </a:cubicBezTo>
                  <a:cubicBezTo>
                    <a:pt x="73" y="153"/>
                    <a:pt x="73" y="151"/>
                    <a:pt x="73" y="149"/>
                  </a:cubicBezTo>
                  <a:cubicBezTo>
                    <a:pt x="73" y="146"/>
                    <a:pt x="73" y="143"/>
                    <a:pt x="74" y="141"/>
                  </a:cubicBezTo>
                  <a:cubicBezTo>
                    <a:pt x="74" y="140"/>
                    <a:pt x="75" y="139"/>
                    <a:pt x="74" y="139"/>
                  </a:cubicBezTo>
                  <a:cubicBezTo>
                    <a:pt x="74" y="138"/>
                    <a:pt x="73" y="137"/>
                    <a:pt x="70" y="137"/>
                  </a:cubicBezTo>
                  <a:cubicBezTo>
                    <a:pt x="70" y="136"/>
                    <a:pt x="70" y="136"/>
                    <a:pt x="70" y="136"/>
                  </a:cubicBezTo>
                  <a:cubicBezTo>
                    <a:pt x="68" y="136"/>
                    <a:pt x="66" y="134"/>
                    <a:pt x="66" y="132"/>
                  </a:cubicBezTo>
                  <a:cubicBezTo>
                    <a:pt x="65" y="131"/>
                    <a:pt x="65" y="129"/>
                    <a:pt x="68" y="127"/>
                  </a:cubicBezTo>
                  <a:cubicBezTo>
                    <a:pt x="69" y="125"/>
                    <a:pt x="69" y="123"/>
                    <a:pt x="69" y="122"/>
                  </a:cubicBezTo>
                  <a:cubicBezTo>
                    <a:pt x="69" y="121"/>
                    <a:pt x="68" y="121"/>
                    <a:pt x="68" y="121"/>
                  </a:cubicBezTo>
                  <a:cubicBezTo>
                    <a:pt x="67" y="121"/>
                    <a:pt x="66" y="122"/>
                    <a:pt x="64" y="123"/>
                  </a:cubicBezTo>
                  <a:cubicBezTo>
                    <a:pt x="61" y="126"/>
                    <a:pt x="55" y="127"/>
                    <a:pt x="50" y="127"/>
                  </a:cubicBezTo>
                  <a:cubicBezTo>
                    <a:pt x="49" y="127"/>
                    <a:pt x="43" y="127"/>
                    <a:pt x="43" y="125"/>
                  </a:cubicBezTo>
                  <a:cubicBezTo>
                    <a:pt x="42" y="123"/>
                    <a:pt x="44" y="121"/>
                    <a:pt x="45" y="119"/>
                  </a:cubicBezTo>
                  <a:cubicBezTo>
                    <a:pt x="47" y="116"/>
                    <a:pt x="49" y="113"/>
                    <a:pt x="48" y="110"/>
                  </a:cubicBezTo>
                  <a:cubicBezTo>
                    <a:pt x="47" y="108"/>
                    <a:pt x="47" y="105"/>
                    <a:pt x="48" y="103"/>
                  </a:cubicBezTo>
                  <a:cubicBezTo>
                    <a:pt x="48" y="102"/>
                    <a:pt x="48" y="101"/>
                    <a:pt x="48" y="101"/>
                  </a:cubicBezTo>
                  <a:cubicBezTo>
                    <a:pt x="48" y="100"/>
                    <a:pt x="47" y="100"/>
                    <a:pt x="47" y="100"/>
                  </a:cubicBezTo>
                  <a:cubicBezTo>
                    <a:pt x="47" y="100"/>
                    <a:pt x="47" y="100"/>
                    <a:pt x="47" y="100"/>
                  </a:cubicBezTo>
                  <a:cubicBezTo>
                    <a:pt x="47" y="100"/>
                    <a:pt x="46" y="102"/>
                    <a:pt x="46" y="103"/>
                  </a:cubicBezTo>
                  <a:cubicBezTo>
                    <a:pt x="45" y="106"/>
                    <a:pt x="44" y="111"/>
                    <a:pt x="39" y="112"/>
                  </a:cubicBezTo>
                  <a:cubicBezTo>
                    <a:pt x="38" y="112"/>
                    <a:pt x="38" y="112"/>
                    <a:pt x="38" y="112"/>
                  </a:cubicBezTo>
                  <a:cubicBezTo>
                    <a:pt x="34" y="112"/>
                    <a:pt x="34" y="108"/>
                    <a:pt x="34" y="105"/>
                  </a:cubicBezTo>
                  <a:cubicBezTo>
                    <a:pt x="34" y="104"/>
                    <a:pt x="34" y="103"/>
                    <a:pt x="33" y="103"/>
                  </a:cubicBezTo>
                  <a:cubicBezTo>
                    <a:pt x="33" y="103"/>
                    <a:pt x="33" y="103"/>
                    <a:pt x="33" y="103"/>
                  </a:cubicBezTo>
                  <a:cubicBezTo>
                    <a:pt x="32" y="103"/>
                    <a:pt x="31" y="104"/>
                    <a:pt x="30" y="105"/>
                  </a:cubicBezTo>
                  <a:cubicBezTo>
                    <a:pt x="28" y="106"/>
                    <a:pt x="25" y="108"/>
                    <a:pt x="24" y="108"/>
                  </a:cubicBezTo>
                  <a:cubicBezTo>
                    <a:pt x="23" y="108"/>
                    <a:pt x="22" y="108"/>
                    <a:pt x="22" y="106"/>
                  </a:cubicBezTo>
                  <a:cubicBezTo>
                    <a:pt x="22" y="104"/>
                    <a:pt x="25" y="102"/>
                    <a:pt x="28" y="101"/>
                  </a:cubicBezTo>
                  <a:cubicBezTo>
                    <a:pt x="31" y="100"/>
                    <a:pt x="34" y="99"/>
                    <a:pt x="34" y="97"/>
                  </a:cubicBezTo>
                  <a:cubicBezTo>
                    <a:pt x="34" y="96"/>
                    <a:pt x="33" y="95"/>
                    <a:pt x="31" y="94"/>
                  </a:cubicBezTo>
                  <a:cubicBezTo>
                    <a:pt x="28" y="94"/>
                    <a:pt x="26" y="93"/>
                    <a:pt x="26" y="89"/>
                  </a:cubicBezTo>
                  <a:cubicBezTo>
                    <a:pt x="27" y="86"/>
                    <a:pt x="29" y="84"/>
                    <a:pt x="31" y="82"/>
                  </a:cubicBezTo>
                  <a:cubicBezTo>
                    <a:pt x="32" y="81"/>
                    <a:pt x="34" y="80"/>
                    <a:pt x="33" y="79"/>
                  </a:cubicBezTo>
                  <a:cubicBezTo>
                    <a:pt x="33" y="79"/>
                    <a:pt x="33" y="79"/>
                    <a:pt x="32" y="79"/>
                  </a:cubicBezTo>
                  <a:cubicBezTo>
                    <a:pt x="28" y="79"/>
                    <a:pt x="21" y="76"/>
                    <a:pt x="20" y="73"/>
                  </a:cubicBezTo>
                  <a:cubicBezTo>
                    <a:pt x="20" y="72"/>
                    <a:pt x="20" y="71"/>
                    <a:pt x="21" y="70"/>
                  </a:cubicBezTo>
                  <a:cubicBezTo>
                    <a:pt x="22" y="69"/>
                    <a:pt x="24" y="68"/>
                    <a:pt x="25" y="68"/>
                  </a:cubicBezTo>
                  <a:cubicBezTo>
                    <a:pt x="27" y="68"/>
                    <a:pt x="28" y="70"/>
                    <a:pt x="30" y="71"/>
                  </a:cubicBezTo>
                  <a:cubicBezTo>
                    <a:pt x="30" y="72"/>
                    <a:pt x="30" y="72"/>
                    <a:pt x="31" y="73"/>
                  </a:cubicBezTo>
                  <a:cubicBezTo>
                    <a:pt x="32" y="74"/>
                    <a:pt x="33" y="73"/>
                    <a:pt x="33" y="72"/>
                  </a:cubicBezTo>
                  <a:cubicBezTo>
                    <a:pt x="34" y="72"/>
                    <a:pt x="34" y="70"/>
                    <a:pt x="34" y="69"/>
                  </a:cubicBezTo>
                  <a:cubicBezTo>
                    <a:pt x="33" y="67"/>
                    <a:pt x="35" y="65"/>
                    <a:pt x="37" y="64"/>
                  </a:cubicBezTo>
                  <a:cubicBezTo>
                    <a:pt x="38" y="62"/>
                    <a:pt x="40" y="61"/>
                    <a:pt x="40" y="59"/>
                  </a:cubicBezTo>
                  <a:cubicBezTo>
                    <a:pt x="40" y="56"/>
                    <a:pt x="41" y="51"/>
                    <a:pt x="44" y="48"/>
                  </a:cubicBezTo>
                  <a:cubicBezTo>
                    <a:pt x="45" y="47"/>
                    <a:pt x="47" y="46"/>
                    <a:pt x="50" y="46"/>
                  </a:cubicBezTo>
                  <a:cubicBezTo>
                    <a:pt x="54" y="47"/>
                    <a:pt x="57" y="48"/>
                    <a:pt x="59" y="48"/>
                  </a:cubicBezTo>
                  <a:cubicBezTo>
                    <a:pt x="62" y="48"/>
                    <a:pt x="64" y="47"/>
                    <a:pt x="65" y="46"/>
                  </a:cubicBezTo>
                  <a:cubicBezTo>
                    <a:pt x="66" y="46"/>
                    <a:pt x="67" y="44"/>
                    <a:pt x="67" y="43"/>
                  </a:cubicBezTo>
                  <a:cubicBezTo>
                    <a:pt x="68" y="41"/>
                    <a:pt x="69" y="40"/>
                    <a:pt x="70" y="40"/>
                  </a:cubicBezTo>
                  <a:cubicBezTo>
                    <a:pt x="71" y="40"/>
                    <a:pt x="71" y="40"/>
                    <a:pt x="72" y="40"/>
                  </a:cubicBezTo>
                  <a:cubicBezTo>
                    <a:pt x="74" y="42"/>
                    <a:pt x="73" y="44"/>
                    <a:pt x="72" y="46"/>
                  </a:cubicBezTo>
                  <a:cubicBezTo>
                    <a:pt x="71" y="47"/>
                    <a:pt x="70" y="48"/>
                    <a:pt x="70" y="49"/>
                  </a:cubicBezTo>
                  <a:cubicBezTo>
                    <a:pt x="71" y="53"/>
                    <a:pt x="62" y="61"/>
                    <a:pt x="59" y="62"/>
                  </a:cubicBezTo>
                  <a:cubicBezTo>
                    <a:pt x="58" y="62"/>
                    <a:pt x="58" y="63"/>
                    <a:pt x="58" y="64"/>
                  </a:cubicBezTo>
                  <a:cubicBezTo>
                    <a:pt x="58" y="65"/>
                    <a:pt x="60" y="66"/>
                    <a:pt x="62" y="66"/>
                  </a:cubicBezTo>
                  <a:cubicBezTo>
                    <a:pt x="63" y="66"/>
                    <a:pt x="63" y="66"/>
                    <a:pt x="63" y="66"/>
                  </a:cubicBezTo>
                  <a:cubicBezTo>
                    <a:pt x="66" y="65"/>
                    <a:pt x="72" y="64"/>
                    <a:pt x="77" y="64"/>
                  </a:cubicBezTo>
                  <a:cubicBezTo>
                    <a:pt x="81" y="64"/>
                    <a:pt x="91" y="65"/>
                    <a:pt x="91" y="68"/>
                  </a:cubicBezTo>
                  <a:cubicBezTo>
                    <a:pt x="91" y="71"/>
                    <a:pt x="85" y="90"/>
                    <a:pt x="80" y="93"/>
                  </a:cubicBezTo>
                  <a:cubicBezTo>
                    <a:pt x="76" y="96"/>
                    <a:pt x="73" y="100"/>
                    <a:pt x="73" y="102"/>
                  </a:cubicBezTo>
                  <a:cubicBezTo>
                    <a:pt x="73" y="102"/>
                    <a:pt x="73" y="102"/>
                    <a:pt x="74" y="102"/>
                  </a:cubicBezTo>
                  <a:cubicBezTo>
                    <a:pt x="75" y="102"/>
                    <a:pt x="75" y="102"/>
                    <a:pt x="76" y="102"/>
                  </a:cubicBezTo>
                  <a:cubicBezTo>
                    <a:pt x="78" y="101"/>
                    <a:pt x="79" y="101"/>
                    <a:pt x="81" y="101"/>
                  </a:cubicBezTo>
                  <a:cubicBezTo>
                    <a:pt x="84" y="101"/>
                    <a:pt x="86" y="102"/>
                    <a:pt x="88" y="104"/>
                  </a:cubicBezTo>
                  <a:cubicBezTo>
                    <a:pt x="89" y="106"/>
                    <a:pt x="91" y="107"/>
                    <a:pt x="93" y="107"/>
                  </a:cubicBezTo>
                  <a:cubicBezTo>
                    <a:pt x="95" y="108"/>
                    <a:pt x="97" y="108"/>
                    <a:pt x="97" y="112"/>
                  </a:cubicBezTo>
                  <a:cubicBezTo>
                    <a:pt x="98" y="112"/>
                    <a:pt x="98" y="113"/>
                    <a:pt x="98" y="114"/>
                  </a:cubicBezTo>
                  <a:cubicBezTo>
                    <a:pt x="99" y="120"/>
                    <a:pt x="101" y="128"/>
                    <a:pt x="107" y="129"/>
                  </a:cubicBezTo>
                  <a:cubicBezTo>
                    <a:pt x="110" y="130"/>
                    <a:pt x="113" y="133"/>
                    <a:pt x="115" y="136"/>
                  </a:cubicBezTo>
                  <a:cubicBezTo>
                    <a:pt x="117" y="140"/>
                    <a:pt x="119" y="146"/>
                    <a:pt x="118" y="147"/>
                  </a:cubicBezTo>
                  <a:cubicBezTo>
                    <a:pt x="118" y="148"/>
                    <a:pt x="118" y="150"/>
                    <a:pt x="119" y="152"/>
                  </a:cubicBezTo>
                  <a:cubicBezTo>
                    <a:pt x="120" y="153"/>
                    <a:pt x="122" y="154"/>
                    <a:pt x="122" y="155"/>
                  </a:cubicBezTo>
                  <a:cubicBezTo>
                    <a:pt x="123" y="155"/>
                    <a:pt x="123" y="155"/>
                    <a:pt x="123" y="155"/>
                  </a:cubicBezTo>
                  <a:cubicBezTo>
                    <a:pt x="124" y="156"/>
                    <a:pt x="123" y="157"/>
                    <a:pt x="123" y="157"/>
                  </a:cubicBezTo>
                  <a:cubicBezTo>
                    <a:pt x="122" y="159"/>
                    <a:pt x="122" y="161"/>
                    <a:pt x="123" y="163"/>
                  </a:cubicBezTo>
                  <a:cubicBezTo>
                    <a:pt x="124" y="165"/>
                    <a:pt x="125" y="166"/>
                    <a:pt x="127" y="166"/>
                  </a:cubicBezTo>
                  <a:cubicBezTo>
                    <a:pt x="128" y="166"/>
                    <a:pt x="129" y="165"/>
                    <a:pt x="129" y="164"/>
                  </a:cubicBezTo>
                  <a:cubicBezTo>
                    <a:pt x="129" y="163"/>
                    <a:pt x="130" y="162"/>
                    <a:pt x="132" y="162"/>
                  </a:cubicBezTo>
                  <a:cubicBezTo>
                    <a:pt x="136" y="162"/>
                    <a:pt x="141" y="164"/>
                    <a:pt x="144" y="167"/>
                  </a:cubicBezTo>
                  <a:cubicBezTo>
                    <a:pt x="145" y="168"/>
                    <a:pt x="146" y="170"/>
                    <a:pt x="145" y="171"/>
                  </a:cubicBezTo>
                  <a:cubicBezTo>
                    <a:pt x="145" y="176"/>
                    <a:pt x="141" y="179"/>
                    <a:pt x="137" y="182"/>
                  </a:cubicBezTo>
                  <a:cubicBezTo>
                    <a:pt x="136" y="184"/>
                    <a:pt x="134" y="185"/>
                    <a:pt x="133" y="186"/>
                  </a:cubicBezTo>
                  <a:cubicBezTo>
                    <a:pt x="130" y="189"/>
                    <a:pt x="129" y="192"/>
                    <a:pt x="130" y="193"/>
                  </a:cubicBezTo>
                  <a:cubicBezTo>
                    <a:pt x="130" y="193"/>
                    <a:pt x="131" y="194"/>
                    <a:pt x="132" y="194"/>
                  </a:cubicBezTo>
                  <a:cubicBezTo>
                    <a:pt x="133" y="193"/>
                    <a:pt x="134" y="193"/>
                    <a:pt x="135" y="193"/>
                  </a:cubicBezTo>
                  <a:cubicBezTo>
                    <a:pt x="137" y="193"/>
                    <a:pt x="139" y="194"/>
                    <a:pt x="139" y="195"/>
                  </a:cubicBezTo>
                  <a:cubicBezTo>
                    <a:pt x="140" y="196"/>
                    <a:pt x="139" y="196"/>
                    <a:pt x="138" y="197"/>
                  </a:cubicBezTo>
                  <a:cubicBezTo>
                    <a:pt x="135" y="200"/>
                    <a:pt x="123" y="206"/>
                    <a:pt x="118" y="206"/>
                  </a:cubicBezTo>
                  <a:cubicBezTo>
                    <a:pt x="118" y="206"/>
                    <a:pt x="118" y="206"/>
                    <a:pt x="118" y="206"/>
                  </a:cubicBezTo>
                  <a:cubicBezTo>
                    <a:pt x="113" y="206"/>
                    <a:pt x="104" y="207"/>
                    <a:pt x="102" y="209"/>
                  </a:cubicBezTo>
                  <a:cubicBezTo>
                    <a:pt x="101" y="209"/>
                    <a:pt x="101" y="209"/>
                    <a:pt x="101" y="209"/>
                  </a:cubicBezTo>
                  <a:cubicBezTo>
                    <a:pt x="99" y="209"/>
                    <a:pt x="98" y="208"/>
                    <a:pt x="96" y="207"/>
                  </a:cubicBezTo>
                  <a:cubicBezTo>
                    <a:pt x="94" y="206"/>
                    <a:pt x="91" y="205"/>
                    <a:pt x="90" y="206"/>
                  </a:cubicBezTo>
                  <a:cubicBezTo>
                    <a:pt x="87" y="209"/>
                    <a:pt x="83" y="210"/>
                    <a:pt x="78" y="209"/>
                  </a:cubicBezTo>
                  <a:cubicBezTo>
                    <a:pt x="77" y="209"/>
                    <a:pt x="77" y="209"/>
                    <a:pt x="77" y="209"/>
                  </a:cubicBezTo>
                  <a:cubicBezTo>
                    <a:pt x="75" y="209"/>
                    <a:pt x="73" y="210"/>
                    <a:pt x="72" y="210"/>
                  </a:cubicBezTo>
                  <a:cubicBezTo>
                    <a:pt x="70" y="211"/>
                    <a:pt x="69" y="211"/>
                    <a:pt x="68" y="211"/>
                  </a:cubicBezTo>
                  <a:cubicBezTo>
                    <a:pt x="67" y="211"/>
                    <a:pt x="66" y="212"/>
                    <a:pt x="65" y="213"/>
                  </a:cubicBezTo>
                  <a:cubicBezTo>
                    <a:pt x="65" y="215"/>
                    <a:pt x="64" y="218"/>
                    <a:pt x="61" y="217"/>
                  </a:cubicBezTo>
                  <a:cubicBezTo>
                    <a:pt x="60" y="217"/>
                    <a:pt x="59" y="216"/>
                    <a:pt x="58" y="216"/>
                  </a:cubicBezTo>
                  <a:cubicBezTo>
                    <a:pt x="57" y="215"/>
                    <a:pt x="56" y="214"/>
                    <a:pt x="54" y="214"/>
                  </a:cubicBezTo>
                  <a:cubicBezTo>
                    <a:pt x="53" y="214"/>
                    <a:pt x="52" y="215"/>
                    <a:pt x="51" y="215"/>
                  </a:cubicBezTo>
                  <a:cubicBezTo>
                    <a:pt x="48" y="216"/>
                    <a:pt x="46" y="218"/>
                    <a:pt x="44" y="220"/>
                  </a:cubicBezTo>
                  <a:cubicBezTo>
                    <a:pt x="43" y="221"/>
                    <a:pt x="42" y="222"/>
                    <a:pt x="41" y="222"/>
                  </a:cubicBezTo>
                  <a:close/>
                  <a:moveTo>
                    <a:pt x="62" y="198"/>
                  </a:moveTo>
                  <a:cubicBezTo>
                    <a:pt x="61" y="198"/>
                    <a:pt x="60" y="198"/>
                    <a:pt x="59" y="198"/>
                  </a:cubicBezTo>
                  <a:cubicBezTo>
                    <a:pt x="55" y="200"/>
                    <a:pt x="41" y="213"/>
                    <a:pt x="40" y="219"/>
                  </a:cubicBezTo>
                  <a:cubicBezTo>
                    <a:pt x="40" y="220"/>
                    <a:pt x="40" y="220"/>
                    <a:pt x="40" y="220"/>
                  </a:cubicBezTo>
                  <a:cubicBezTo>
                    <a:pt x="41" y="221"/>
                    <a:pt x="41" y="221"/>
                    <a:pt x="41" y="221"/>
                  </a:cubicBezTo>
                  <a:cubicBezTo>
                    <a:pt x="42" y="221"/>
                    <a:pt x="43" y="220"/>
                    <a:pt x="44" y="219"/>
                  </a:cubicBezTo>
                  <a:cubicBezTo>
                    <a:pt x="45" y="217"/>
                    <a:pt x="48" y="215"/>
                    <a:pt x="51" y="214"/>
                  </a:cubicBezTo>
                  <a:cubicBezTo>
                    <a:pt x="52" y="214"/>
                    <a:pt x="53" y="213"/>
                    <a:pt x="54" y="213"/>
                  </a:cubicBezTo>
                  <a:cubicBezTo>
                    <a:pt x="56" y="213"/>
                    <a:pt x="58" y="214"/>
                    <a:pt x="59" y="215"/>
                  </a:cubicBezTo>
                  <a:cubicBezTo>
                    <a:pt x="60" y="216"/>
                    <a:pt x="60" y="216"/>
                    <a:pt x="62" y="216"/>
                  </a:cubicBezTo>
                  <a:cubicBezTo>
                    <a:pt x="63" y="216"/>
                    <a:pt x="64" y="215"/>
                    <a:pt x="65" y="213"/>
                  </a:cubicBezTo>
                  <a:cubicBezTo>
                    <a:pt x="65" y="211"/>
                    <a:pt x="66" y="210"/>
                    <a:pt x="68" y="210"/>
                  </a:cubicBezTo>
                  <a:cubicBezTo>
                    <a:pt x="68" y="210"/>
                    <a:pt x="68" y="210"/>
                    <a:pt x="68" y="210"/>
                  </a:cubicBezTo>
                  <a:cubicBezTo>
                    <a:pt x="69" y="210"/>
                    <a:pt x="70" y="210"/>
                    <a:pt x="72" y="209"/>
                  </a:cubicBezTo>
                  <a:cubicBezTo>
                    <a:pt x="73" y="209"/>
                    <a:pt x="75" y="208"/>
                    <a:pt x="77" y="208"/>
                  </a:cubicBezTo>
                  <a:cubicBezTo>
                    <a:pt x="77" y="208"/>
                    <a:pt x="78" y="208"/>
                    <a:pt x="79" y="208"/>
                  </a:cubicBezTo>
                  <a:cubicBezTo>
                    <a:pt x="83" y="209"/>
                    <a:pt x="86" y="208"/>
                    <a:pt x="90" y="205"/>
                  </a:cubicBezTo>
                  <a:cubicBezTo>
                    <a:pt x="91" y="205"/>
                    <a:pt x="91" y="205"/>
                    <a:pt x="91" y="205"/>
                  </a:cubicBezTo>
                  <a:cubicBezTo>
                    <a:pt x="93" y="205"/>
                    <a:pt x="95" y="206"/>
                    <a:pt x="97" y="207"/>
                  </a:cubicBezTo>
                  <a:cubicBezTo>
                    <a:pt x="98" y="208"/>
                    <a:pt x="100" y="208"/>
                    <a:pt x="101" y="208"/>
                  </a:cubicBezTo>
                  <a:cubicBezTo>
                    <a:pt x="103" y="206"/>
                    <a:pt x="112" y="205"/>
                    <a:pt x="117" y="205"/>
                  </a:cubicBezTo>
                  <a:cubicBezTo>
                    <a:pt x="118" y="205"/>
                    <a:pt x="118" y="205"/>
                    <a:pt x="118" y="205"/>
                  </a:cubicBezTo>
                  <a:cubicBezTo>
                    <a:pt x="118" y="205"/>
                    <a:pt x="118" y="205"/>
                    <a:pt x="118" y="205"/>
                  </a:cubicBezTo>
                  <a:cubicBezTo>
                    <a:pt x="123" y="205"/>
                    <a:pt x="135" y="199"/>
                    <a:pt x="138" y="197"/>
                  </a:cubicBezTo>
                  <a:cubicBezTo>
                    <a:pt x="138" y="196"/>
                    <a:pt x="139" y="196"/>
                    <a:pt x="138" y="195"/>
                  </a:cubicBezTo>
                  <a:cubicBezTo>
                    <a:pt x="138" y="195"/>
                    <a:pt x="137" y="194"/>
                    <a:pt x="135" y="194"/>
                  </a:cubicBezTo>
                  <a:cubicBezTo>
                    <a:pt x="134" y="194"/>
                    <a:pt x="133" y="194"/>
                    <a:pt x="132" y="194"/>
                  </a:cubicBezTo>
                  <a:cubicBezTo>
                    <a:pt x="130" y="195"/>
                    <a:pt x="129" y="194"/>
                    <a:pt x="129" y="193"/>
                  </a:cubicBezTo>
                  <a:cubicBezTo>
                    <a:pt x="128" y="191"/>
                    <a:pt x="129" y="188"/>
                    <a:pt x="133" y="185"/>
                  </a:cubicBezTo>
                  <a:cubicBezTo>
                    <a:pt x="134" y="184"/>
                    <a:pt x="135" y="183"/>
                    <a:pt x="137" y="182"/>
                  </a:cubicBezTo>
                  <a:cubicBezTo>
                    <a:pt x="140" y="179"/>
                    <a:pt x="144" y="176"/>
                    <a:pt x="144" y="171"/>
                  </a:cubicBezTo>
                  <a:cubicBezTo>
                    <a:pt x="144" y="170"/>
                    <a:pt x="144" y="169"/>
                    <a:pt x="143" y="168"/>
                  </a:cubicBezTo>
                  <a:cubicBezTo>
                    <a:pt x="140" y="165"/>
                    <a:pt x="135" y="163"/>
                    <a:pt x="132" y="163"/>
                  </a:cubicBezTo>
                  <a:cubicBezTo>
                    <a:pt x="131" y="163"/>
                    <a:pt x="130" y="164"/>
                    <a:pt x="130" y="164"/>
                  </a:cubicBezTo>
                  <a:cubicBezTo>
                    <a:pt x="129" y="166"/>
                    <a:pt x="128" y="167"/>
                    <a:pt x="127" y="167"/>
                  </a:cubicBezTo>
                  <a:cubicBezTo>
                    <a:pt x="125" y="167"/>
                    <a:pt x="123" y="165"/>
                    <a:pt x="122" y="163"/>
                  </a:cubicBezTo>
                  <a:cubicBezTo>
                    <a:pt x="121" y="161"/>
                    <a:pt x="122" y="159"/>
                    <a:pt x="122" y="157"/>
                  </a:cubicBezTo>
                  <a:cubicBezTo>
                    <a:pt x="123" y="156"/>
                    <a:pt x="123" y="156"/>
                    <a:pt x="123" y="156"/>
                  </a:cubicBezTo>
                  <a:cubicBezTo>
                    <a:pt x="122" y="156"/>
                    <a:pt x="122" y="156"/>
                    <a:pt x="122" y="156"/>
                  </a:cubicBezTo>
                  <a:cubicBezTo>
                    <a:pt x="121" y="155"/>
                    <a:pt x="119" y="153"/>
                    <a:pt x="119" y="152"/>
                  </a:cubicBezTo>
                  <a:cubicBezTo>
                    <a:pt x="118" y="151"/>
                    <a:pt x="117" y="148"/>
                    <a:pt x="117" y="147"/>
                  </a:cubicBezTo>
                  <a:cubicBezTo>
                    <a:pt x="117" y="146"/>
                    <a:pt x="116" y="141"/>
                    <a:pt x="114" y="137"/>
                  </a:cubicBezTo>
                  <a:cubicBezTo>
                    <a:pt x="112" y="134"/>
                    <a:pt x="110" y="131"/>
                    <a:pt x="107" y="130"/>
                  </a:cubicBezTo>
                  <a:cubicBezTo>
                    <a:pt x="100" y="128"/>
                    <a:pt x="98" y="120"/>
                    <a:pt x="97" y="114"/>
                  </a:cubicBezTo>
                  <a:cubicBezTo>
                    <a:pt x="97" y="113"/>
                    <a:pt x="97" y="113"/>
                    <a:pt x="96" y="112"/>
                  </a:cubicBezTo>
                  <a:cubicBezTo>
                    <a:pt x="96" y="109"/>
                    <a:pt x="94" y="109"/>
                    <a:pt x="92" y="108"/>
                  </a:cubicBezTo>
                  <a:cubicBezTo>
                    <a:pt x="91" y="108"/>
                    <a:pt x="89" y="107"/>
                    <a:pt x="87" y="105"/>
                  </a:cubicBezTo>
                  <a:cubicBezTo>
                    <a:pt x="85" y="103"/>
                    <a:pt x="83" y="102"/>
                    <a:pt x="81" y="102"/>
                  </a:cubicBezTo>
                  <a:cubicBezTo>
                    <a:pt x="79" y="102"/>
                    <a:pt x="78" y="102"/>
                    <a:pt x="76" y="103"/>
                  </a:cubicBezTo>
                  <a:cubicBezTo>
                    <a:pt x="76" y="103"/>
                    <a:pt x="75" y="103"/>
                    <a:pt x="74" y="103"/>
                  </a:cubicBezTo>
                  <a:cubicBezTo>
                    <a:pt x="74" y="103"/>
                    <a:pt x="74" y="103"/>
                    <a:pt x="74" y="103"/>
                  </a:cubicBezTo>
                  <a:cubicBezTo>
                    <a:pt x="73" y="103"/>
                    <a:pt x="73" y="102"/>
                    <a:pt x="72" y="102"/>
                  </a:cubicBezTo>
                  <a:cubicBezTo>
                    <a:pt x="72" y="100"/>
                    <a:pt x="75" y="95"/>
                    <a:pt x="79" y="93"/>
                  </a:cubicBezTo>
                  <a:cubicBezTo>
                    <a:pt x="84" y="89"/>
                    <a:pt x="90" y="71"/>
                    <a:pt x="90" y="68"/>
                  </a:cubicBezTo>
                  <a:cubicBezTo>
                    <a:pt x="90" y="66"/>
                    <a:pt x="85" y="65"/>
                    <a:pt x="77" y="65"/>
                  </a:cubicBezTo>
                  <a:cubicBezTo>
                    <a:pt x="71" y="65"/>
                    <a:pt x="66" y="66"/>
                    <a:pt x="64" y="67"/>
                  </a:cubicBezTo>
                  <a:cubicBezTo>
                    <a:pt x="63" y="67"/>
                    <a:pt x="62" y="67"/>
                    <a:pt x="62" y="67"/>
                  </a:cubicBezTo>
                  <a:cubicBezTo>
                    <a:pt x="59" y="67"/>
                    <a:pt x="57" y="65"/>
                    <a:pt x="57" y="64"/>
                  </a:cubicBezTo>
                  <a:cubicBezTo>
                    <a:pt x="57" y="63"/>
                    <a:pt x="57" y="62"/>
                    <a:pt x="58" y="61"/>
                  </a:cubicBezTo>
                  <a:cubicBezTo>
                    <a:pt x="62" y="59"/>
                    <a:pt x="69" y="52"/>
                    <a:pt x="69" y="50"/>
                  </a:cubicBezTo>
                  <a:cubicBezTo>
                    <a:pt x="69" y="48"/>
                    <a:pt x="70" y="47"/>
                    <a:pt x="71" y="46"/>
                  </a:cubicBezTo>
                  <a:cubicBezTo>
                    <a:pt x="72" y="44"/>
                    <a:pt x="73" y="43"/>
                    <a:pt x="71" y="41"/>
                  </a:cubicBezTo>
                  <a:cubicBezTo>
                    <a:pt x="71" y="41"/>
                    <a:pt x="71" y="41"/>
                    <a:pt x="70" y="41"/>
                  </a:cubicBezTo>
                  <a:cubicBezTo>
                    <a:pt x="70" y="41"/>
                    <a:pt x="69" y="42"/>
                    <a:pt x="68" y="43"/>
                  </a:cubicBezTo>
                  <a:cubicBezTo>
                    <a:pt x="68" y="45"/>
                    <a:pt x="67" y="46"/>
                    <a:pt x="66" y="47"/>
                  </a:cubicBezTo>
                  <a:cubicBezTo>
                    <a:pt x="64" y="48"/>
                    <a:pt x="62" y="49"/>
                    <a:pt x="59" y="49"/>
                  </a:cubicBezTo>
                  <a:cubicBezTo>
                    <a:pt x="57" y="49"/>
                    <a:pt x="54" y="48"/>
                    <a:pt x="50" y="47"/>
                  </a:cubicBezTo>
                  <a:cubicBezTo>
                    <a:pt x="48" y="47"/>
                    <a:pt x="46" y="48"/>
                    <a:pt x="44" y="49"/>
                  </a:cubicBezTo>
                  <a:cubicBezTo>
                    <a:pt x="42" y="52"/>
                    <a:pt x="41" y="57"/>
                    <a:pt x="41" y="59"/>
                  </a:cubicBezTo>
                  <a:cubicBezTo>
                    <a:pt x="41" y="61"/>
                    <a:pt x="39" y="63"/>
                    <a:pt x="37" y="65"/>
                  </a:cubicBezTo>
                  <a:cubicBezTo>
                    <a:pt x="36" y="66"/>
                    <a:pt x="34" y="67"/>
                    <a:pt x="35" y="69"/>
                  </a:cubicBezTo>
                  <a:cubicBezTo>
                    <a:pt x="35" y="70"/>
                    <a:pt x="35" y="72"/>
                    <a:pt x="34" y="73"/>
                  </a:cubicBezTo>
                  <a:cubicBezTo>
                    <a:pt x="33" y="74"/>
                    <a:pt x="31" y="75"/>
                    <a:pt x="30" y="73"/>
                  </a:cubicBezTo>
                  <a:cubicBezTo>
                    <a:pt x="30" y="73"/>
                    <a:pt x="29" y="73"/>
                    <a:pt x="29" y="72"/>
                  </a:cubicBezTo>
                  <a:cubicBezTo>
                    <a:pt x="28" y="71"/>
                    <a:pt x="26" y="69"/>
                    <a:pt x="25" y="69"/>
                  </a:cubicBezTo>
                  <a:cubicBezTo>
                    <a:pt x="24" y="69"/>
                    <a:pt x="23" y="70"/>
                    <a:pt x="22" y="70"/>
                  </a:cubicBezTo>
                  <a:cubicBezTo>
                    <a:pt x="21" y="71"/>
                    <a:pt x="21" y="72"/>
                    <a:pt x="21" y="72"/>
                  </a:cubicBezTo>
                  <a:cubicBezTo>
                    <a:pt x="22" y="75"/>
                    <a:pt x="28" y="78"/>
                    <a:pt x="32" y="78"/>
                  </a:cubicBezTo>
                  <a:cubicBezTo>
                    <a:pt x="33" y="78"/>
                    <a:pt x="34" y="78"/>
                    <a:pt x="34" y="79"/>
                  </a:cubicBezTo>
                  <a:cubicBezTo>
                    <a:pt x="35" y="80"/>
                    <a:pt x="34" y="81"/>
                    <a:pt x="32" y="83"/>
                  </a:cubicBezTo>
                  <a:cubicBezTo>
                    <a:pt x="30" y="84"/>
                    <a:pt x="28" y="87"/>
                    <a:pt x="27" y="89"/>
                  </a:cubicBezTo>
                  <a:cubicBezTo>
                    <a:pt x="27" y="92"/>
                    <a:pt x="28" y="93"/>
                    <a:pt x="31" y="93"/>
                  </a:cubicBezTo>
                  <a:cubicBezTo>
                    <a:pt x="33" y="94"/>
                    <a:pt x="35" y="95"/>
                    <a:pt x="35" y="97"/>
                  </a:cubicBezTo>
                  <a:cubicBezTo>
                    <a:pt x="35" y="100"/>
                    <a:pt x="32" y="101"/>
                    <a:pt x="29" y="102"/>
                  </a:cubicBezTo>
                  <a:cubicBezTo>
                    <a:pt x="26" y="103"/>
                    <a:pt x="23" y="104"/>
                    <a:pt x="23" y="106"/>
                  </a:cubicBezTo>
                  <a:cubicBezTo>
                    <a:pt x="23" y="107"/>
                    <a:pt x="23" y="107"/>
                    <a:pt x="24" y="107"/>
                  </a:cubicBezTo>
                  <a:cubicBezTo>
                    <a:pt x="25" y="107"/>
                    <a:pt x="28" y="105"/>
                    <a:pt x="30" y="104"/>
                  </a:cubicBezTo>
                  <a:cubicBezTo>
                    <a:pt x="31" y="103"/>
                    <a:pt x="32" y="102"/>
                    <a:pt x="33" y="102"/>
                  </a:cubicBezTo>
                  <a:cubicBezTo>
                    <a:pt x="33" y="102"/>
                    <a:pt x="33" y="102"/>
                    <a:pt x="33" y="102"/>
                  </a:cubicBezTo>
                  <a:cubicBezTo>
                    <a:pt x="35" y="102"/>
                    <a:pt x="35" y="103"/>
                    <a:pt x="35" y="105"/>
                  </a:cubicBezTo>
                  <a:cubicBezTo>
                    <a:pt x="35" y="108"/>
                    <a:pt x="35" y="111"/>
                    <a:pt x="38" y="111"/>
                  </a:cubicBezTo>
                  <a:cubicBezTo>
                    <a:pt x="38" y="111"/>
                    <a:pt x="38" y="111"/>
                    <a:pt x="39" y="111"/>
                  </a:cubicBezTo>
                  <a:cubicBezTo>
                    <a:pt x="43" y="110"/>
                    <a:pt x="44" y="106"/>
                    <a:pt x="45" y="103"/>
                  </a:cubicBezTo>
                  <a:cubicBezTo>
                    <a:pt x="45" y="101"/>
                    <a:pt x="46" y="99"/>
                    <a:pt x="47" y="99"/>
                  </a:cubicBezTo>
                  <a:cubicBezTo>
                    <a:pt x="48" y="99"/>
                    <a:pt x="48" y="100"/>
                    <a:pt x="48" y="100"/>
                  </a:cubicBezTo>
                  <a:cubicBezTo>
                    <a:pt x="49" y="101"/>
                    <a:pt x="49" y="102"/>
                    <a:pt x="48" y="103"/>
                  </a:cubicBezTo>
                  <a:cubicBezTo>
                    <a:pt x="48" y="105"/>
                    <a:pt x="48" y="107"/>
                    <a:pt x="49" y="110"/>
                  </a:cubicBezTo>
                  <a:cubicBezTo>
                    <a:pt x="50" y="113"/>
                    <a:pt x="48" y="116"/>
                    <a:pt x="46" y="119"/>
                  </a:cubicBezTo>
                  <a:cubicBezTo>
                    <a:pt x="45" y="121"/>
                    <a:pt x="44" y="123"/>
                    <a:pt x="44" y="124"/>
                  </a:cubicBezTo>
                  <a:cubicBezTo>
                    <a:pt x="44" y="125"/>
                    <a:pt x="46" y="126"/>
                    <a:pt x="50" y="126"/>
                  </a:cubicBezTo>
                  <a:cubicBezTo>
                    <a:pt x="55" y="126"/>
                    <a:pt x="61" y="125"/>
                    <a:pt x="64" y="122"/>
                  </a:cubicBezTo>
                  <a:cubicBezTo>
                    <a:pt x="65" y="121"/>
                    <a:pt x="66" y="120"/>
                    <a:pt x="68" y="120"/>
                  </a:cubicBezTo>
                  <a:cubicBezTo>
                    <a:pt x="69" y="120"/>
                    <a:pt x="69" y="121"/>
                    <a:pt x="70" y="121"/>
                  </a:cubicBezTo>
                  <a:cubicBezTo>
                    <a:pt x="70" y="123"/>
                    <a:pt x="70" y="125"/>
                    <a:pt x="68" y="127"/>
                  </a:cubicBezTo>
                  <a:cubicBezTo>
                    <a:pt x="67" y="129"/>
                    <a:pt x="66" y="131"/>
                    <a:pt x="67" y="132"/>
                  </a:cubicBezTo>
                  <a:cubicBezTo>
                    <a:pt x="67" y="134"/>
                    <a:pt x="68" y="135"/>
                    <a:pt x="70" y="135"/>
                  </a:cubicBezTo>
                  <a:cubicBezTo>
                    <a:pt x="71" y="136"/>
                    <a:pt x="71" y="136"/>
                    <a:pt x="71" y="136"/>
                  </a:cubicBezTo>
                  <a:cubicBezTo>
                    <a:pt x="73" y="136"/>
                    <a:pt x="75" y="137"/>
                    <a:pt x="75" y="138"/>
                  </a:cubicBezTo>
                  <a:cubicBezTo>
                    <a:pt x="76" y="139"/>
                    <a:pt x="75" y="140"/>
                    <a:pt x="75" y="142"/>
                  </a:cubicBezTo>
                  <a:cubicBezTo>
                    <a:pt x="74" y="143"/>
                    <a:pt x="74" y="146"/>
                    <a:pt x="74" y="149"/>
                  </a:cubicBezTo>
                  <a:cubicBezTo>
                    <a:pt x="74" y="151"/>
                    <a:pt x="74" y="153"/>
                    <a:pt x="73" y="155"/>
                  </a:cubicBezTo>
                  <a:cubicBezTo>
                    <a:pt x="73" y="157"/>
                    <a:pt x="67" y="157"/>
                    <a:pt x="65" y="157"/>
                  </a:cubicBezTo>
                  <a:cubicBezTo>
                    <a:pt x="64" y="157"/>
                    <a:pt x="58" y="157"/>
                    <a:pt x="58" y="155"/>
                  </a:cubicBezTo>
                  <a:cubicBezTo>
                    <a:pt x="57" y="155"/>
                    <a:pt x="57" y="155"/>
                    <a:pt x="56" y="155"/>
                  </a:cubicBezTo>
                  <a:cubicBezTo>
                    <a:pt x="55" y="155"/>
                    <a:pt x="54" y="155"/>
                    <a:pt x="54" y="156"/>
                  </a:cubicBezTo>
                  <a:cubicBezTo>
                    <a:pt x="54" y="157"/>
                    <a:pt x="54" y="157"/>
                    <a:pt x="54" y="157"/>
                  </a:cubicBezTo>
                  <a:cubicBezTo>
                    <a:pt x="55" y="159"/>
                    <a:pt x="53" y="161"/>
                    <a:pt x="52" y="163"/>
                  </a:cubicBezTo>
                  <a:cubicBezTo>
                    <a:pt x="51" y="164"/>
                    <a:pt x="50" y="165"/>
                    <a:pt x="50" y="166"/>
                  </a:cubicBezTo>
                  <a:cubicBezTo>
                    <a:pt x="50" y="167"/>
                    <a:pt x="52" y="168"/>
                    <a:pt x="53" y="168"/>
                  </a:cubicBezTo>
                  <a:cubicBezTo>
                    <a:pt x="56" y="169"/>
                    <a:pt x="58" y="170"/>
                    <a:pt x="58" y="172"/>
                  </a:cubicBezTo>
                  <a:cubicBezTo>
                    <a:pt x="59" y="176"/>
                    <a:pt x="53" y="180"/>
                    <a:pt x="44" y="182"/>
                  </a:cubicBezTo>
                  <a:cubicBezTo>
                    <a:pt x="43" y="183"/>
                    <a:pt x="41" y="183"/>
                    <a:pt x="41" y="185"/>
                  </a:cubicBezTo>
                  <a:cubicBezTo>
                    <a:pt x="41" y="186"/>
                    <a:pt x="44" y="188"/>
                    <a:pt x="47" y="188"/>
                  </a:cubicBezTo>
                  <a:cubicBezTo>
                    <a:pt x="48" y="188"/>
                    <a:pt x="49" y="188"/>
                    <a:pt x="49" y="188"/>
                  </a:cubicBezTo>
                  <a:cubicBezTo>
                    <a:pt x="50" y="187"/>
                    <a:pt x="51" y="187"/>
                    <a:pt x="51" y="187"/>
                  </a:cubicBezTo>
                  <a:cubicBezTo>
                    <a:pt x="52" y="187"/>
                    <a:pt x="53" y="187"/>
                    <a:pt x="54" y="188"/>
                  </a:cubicBezTo>
                  <a:cubicBezTo>
                    <a:pt x="54" y="188"/>
                    <a:pt x="56" y="189"/>
                    <a:pt x="58" y="189"/>
                  </a:cubicBezTo>
                  <a:cubicBezTo>
                    <a:pt x="60" y="189"/>
                    <a:pt x="62" y="190"/>
                    <a:pt x="64" y="191"/>
                  </a:cubicBezTo>
                  <a:cubicBezTo>
                    <a:pt x="66" y="192"/>
                    <a:pt x="68" y="192"/>
                    <a:pt x="70" y="192"/>
                  </a:cubicBezTo>
                  <a:cubicBezTo>
                    <a:pt x="71" y="192"/>
                    <a:pt x="72" y="192"/>
                    <a:pt x="73" y="192"/>
                  </a:cubicBezTo>
                  <a:cubicBezTo>
                    <a:pt x="75" y="191"/>
                    <a:pt x="76" y="191"/>
                    <a:pt x="77" y="191"/>
                  </a:cubicBezTo>
                  <a:cubicBezTo>
                    <a:pt x="78" y="191"/>
                    <a:pt x="78" y="191"/>
                    <a:pt x="78" y="191"/>
                  </a:cubicBezTo>
                  <a:cubicBezTo>
                    <a:pt x="79" y="193"/>
                    <a:pt x="77" y="195"/>
                    <a:pt x="75" y="196"/>
                  </a:cubicBezTo>
                  <a:cubicBezTo>
                    <a:pt x="73" y="198"/>
                    <a:pt x="70" y="198"/>
                    <a:pt x="69" y="198"/>
                  </a:cubicBezTo>
                  <a:cubicBezTo>
                    <a:pt x="68" y="198"/>
                    <a:pt x="67" y="198"/>
                    <a:pt x="65" y="198"/>
                  </a:cubicBezTo>
                  <a:cubicBezTo>
                    <a:pt x="64" y="198"/>
                    <a:pt x="63" y="198"/>
                    <a:pt x="62" y="198"/>
                  </a:cubicBezTo>
                  <a:close/>
                  <a:moveTo>
                    <a:pt x="24" y="142"/>
                  </a:moveTo>
                  <a:cubicBezTo>
                    <a:pt x="24" y="142"/>
                    <a:pt x="24" y="142"/>
                    <a:pt x="24" y="142"/>
                  </a:cubicBezTo>
                  <a:cubicBezTo>
                    <a:pt x="22" y="140"/>
                    <a:pt x="20" y="139"/>
                    <a:pt x="19" y="137"/>
                  </a:cubicBezTo>
                  <a:cubicBezTo>
                    <a:pt x="17" y="135"/>
                    <a:pt x="16" y="134"/>
                    <a:pt x="15" y="134"/>
                  </a:cubicBezTo>
                  <a:cubicBezTo>
                    <a:pt x="12" y="134"/>
                    <a:pt x="12" y="139"/>
                    <a:pt x="11" y="140"/>
                  </a:cubicBezTo>
                  <a:cubicBezTo>
                    <a:pt x="11" y="141"/>
                    <a:pt x="10" y="142"/>
                    <a:pt x="10" y="142"/>
                  </a:cubicBezTo>
                  <a:cubicBezTo>
                    <a:pt x="8" y="142"/>
                    <a:pt x="7" y="141"/>
                    <a:pt x="5" y="140"/>
                  </a:cubicBezTo>
                  <a:cubicBezTo>
                    <a:pt x="4" y="139"/>
                    <a:pt x="3" y="138"/>
                    <a:pt x="2" y="138"/>
                  </a:cubicBezTo>
                  <a:cubicBezTo>
                    <a:pt x="1" y="138"/>
                    <a:pt x="0" y="137"/>
                    <a:pt x="0" y="137"/>
                  </a:cubicBezTo>
                  <a:cubicBezTo>
                    <a:pt x="0" y="134"/>
                    <a:pt x="3" y="130"/>
                    <a:pt x="5" y="129"/>
                  </a:cubicBezTo>
                  <a:cubicBezTo>
                    <a:pt x="6" y="128"/>
                    <a:pt x="8" y="125"/>
                    <a:pt x="9" y="121"/>
                  </a:cubicBezTo>
                  <a:cubicBezTo>
                    <a:pt x="9" y="120"/>
                    <a:pt x="9" y="120"/>
                    <a:pt x="9" y="120"/>
                  </a:cubicBezTo>
                  <a:cubicBezTo>
                    <a:pt x="9" y="120"/>
                    <a:pt x="9" y="120"/>
                    <a:pt x="9" y="120"/>
                  </a:cubicBezTo>
                  <a:cubicBezTo>
                    <a:pt x="9" y="120"/>
                    <a:pt x="9" y="120"/>
                    <a:pt x="9" y="120"/>
                  </a:cubicBezTo>
                  <a:cubicBezTo>
                    <a:pt x="11" y="120"/>
                    <a:pt x="13" y="119"/>
                    <a:pt x="16" y="118"/>
                  </a:cubicBezTo>
                  <a:cubicBezTo>
                    <a:pt x="18" y="117"/>
                    <a:pt x="21" y="116"/>
                    <a:pt x="23" y="116"/>
                  </a:cubicBezTo>
                  <a:cubicBezTo>
                    <a:pt x="25" y="116"/>
                    <a:pt x="26" y="116"/>
                    <a:pt x="28" y="118"/>
                  </a:cubicBezTo>
                  <a:cubicBezTo>
                    <a:pt x="32" y="122"/>
                    <a:pt x="37" y="127"/>
                    <a:pt x="37" y="131"/>
                  </a:cubicBezTo>
                  <a:cubicBezTo>
                    <a:pt x="37" y="133"/>
                    <a:pt x="37" y="134"/>
                    <a:pt x="36" y="135"/>
                  </a:cubicBezTo>
                  <a:cubicBezTo>
                    <a:pt x="34" y="137"/>
                    <a:pt x="32" y="138"/>
                    <a:pt x="29" y="138"/>
                  </a:cubicBezTo>
                  <a:cubicBezTo>
                    <a:pt x="27" y="139"/>
                    <a:pt x="25" y="140"/>
                    <a:pt x="25" y="142"/>
                  </a:cubicBezTo>
                  <a:lnTo>
                    <a:pt x="24" y="142"/>
                  </a:lnTo>
                  <a:close/>
                  <a:moveTo>
                    <a:pt x="15" y="133"/>
                  </a:moveTo>
                  <a:cubicBezTo>
                    <a:pt x="16" y="133"/>
                    <a:pt x="18" y="135"/>
                    <a:pt x="20" y="137"/>
                  </a:cubicBezTo>
                  <a:cubicBezTo>
                    <a:pt x="21" y="138"/>
                    <a:pt x="22" y="139"/>
                    <a:pt x="24" y="141"/>
                  </a:cubicBezTo>
                  <a:cubicBezTo>
                    <a:pt x="25" y="139"/>
                    <a:pt x="27" y="138"/>
                    <a:pt x="29" y="138"/>
                  </a:cubicBezTo>
                  <a:cubicBezTo>
                    <a:pt x="31" y="137"/>
                    <a:pt x="33" y="136"/>
                    <a:pt x="35" y="134"/>
                  </a:cubicBezTo>
                  <a:cubicBezTo>
                    <a:pt x="36" y="133"/>
                    <a:pt x="36" y="132"/>
                    <a:pt x="36" y="131"/>
                  </a:cubicBezTo>
                  <a:cubicBezTo>
                    <a:pt x="36" y="127"/>
                    <a:pt x="31" y="123"/>
                    <a:pt x="27" y="118"/>
                  </a:cubicBezTo>
                  <a:cubicBezTo>
                    <a:pt x="26" y="117"/>
                    <a:pt x="25" y="117"/>
                    <a:pt x="23" y="117"/>
                  </a:cubicBezTo>
                  <a:cubicBezTo>
                    <a:pt x="21" y="117"/>
                    <a:pt x="18" y="118"/>
                    <a:pt x="16" y="119"/>
                  </a:cubicBezTo>
                  <a:cubicBezTo>
                    <a:pt x="14" y="120"/>
                    <a:pt x="12" y="121"/>
                    <a:pt x="9" y="121"/>
                  </a:cubicBezTo>
                  <a:cubicBezTo>
                    <a:pt x="9" y="125"/>
                    <a:pt x="7" y="129"/>
                    <a:pt x="5" y="130"/>
                  </a:cubicBezTo>
                  <a:cubicBezTo>
                    <a:pt x="4" y="131"/>
                    <a:pt x="1" y="135"/>
                    <a:pt x="1" y="137"/>
                  </a:cubicBezTo>
                  <a:cubicBezTo>
                    <a:pt x="1" y="137"/>
                    <a:pt x="1" y="137"/>
                    <a:pt x="2" y="137"/>
                  </a:cubicBezTo>
                  <a:cubicBezTo>
                    <a:pt x="3" y="137"/>
                    <a:pt x="5" y="138"/>
                    <a:pt x="6" y="139"/>
                  </a:cubicBezTo>
                  <a:cubicBezTo>
                    <a:pt x="7" y="140"/>
                    <a:pt x="9" y="141"/>
                    <a:pt x="10" y="141"/>
                  </a:cubicBezTo>
                  <a:cubicBezTo>
                    <a:pt x="10" y="140"/>
                    <a:pt x="10" y="140"/>
                    <a:pt x="10" y="140"/>
                  </a:cubicBezTo>
                  <a:cubicBezTo>
                    <a:pt x="11" y="138"/>
                    <a:pt x="12" y="133"/>
                    <a:pt x="15" y="133"/>
                  </a:cubicBezTo>
                  <a:close/>
                  <a:moveTo>
                    <a:pt x="16" y="64"/>
                  </a:moveTo>
                  <a:cubicBezTo>
                    <a:pt x="15" y="64"/>
                    <a:pt x="14" y="63"/>
                    <a:pt x="14" y="62"/>
                  </a:cubicBezTo>
                  <a:cubicBezTo>
                    <a:pt x="14" y="61"/>
                    <a:pt x="16" y="57"/>
                    <a:pt x="18" y="55"/>
                  </a:cubicBezTo>
                  <a:cubicBezTo>
                    <a:pt x="19" y="54"/>
                    <a:pt x="22" y="50"/>
                    <a:pt x="24" y="50"/>
                  </a:cubicBezTo>
                  <a:cubicBezTo>
                    <a:pt x="24" y="51"/>
                    <a:pt x="24" y="51"/>
                    <a:pt x="24" y="51"/>
                  </a:cubicBezTo>
                  <a:cubicBezTo>
                    <a:pt x="23" y="51"/>
                    <a:pt x="21" y="53"/>
                    <a:pt x="19" y="55"/>
                  </a:cubicBezTo>
                  <a:cubicBezTo>
                    <a:pt x="17" y="58"/>
                    <a:pt x="15" y="61"/>
                    <a:pt x="15" y="62"/>
                  </a:cubicBezTo>
                  <a:cubicBezTo>
                    <a:pt x="15" y="63"/>
                    <a:pt x="15" y="63"/>
                    <a:pt x="16" y="63"/>
                  </a:cubicBezTo>
                  <a:lnTo>
                    <a:pt x="16" y="64"/>
                  </a:lnTo>
                  <a:close/>
                  <a:moveTo>
                    <a:pt x="99" y="17"/>
                  </a:moveTo>
                  <a:cubicBezTo>
                    <a:pt x="99" y="17"/>
                    <a:pt x="99" y="17"/>
                    <a:pt x="99" y="17"/>
                  </a:cubicBezTo>
                  <a:cubicBezTo>
                    <a:pt x="98" y="17"/>
                    <a:pt x="98" y="17"/>
                    <a:pt x="97" y="14"/>
                  </a:cubicBezTo>
                  <a:cubicBezTo>
                    <a:pt x="96" y="9"/>
                    <a:pt x="97" y="1"/>
                    <a:pt x="101" y="0"/>
                  </a:cubicBezTo>
                  <a:cubicBezTo>
                    <a:pt x="103" y="0"/>
                    <a:pt x="104" y="0"/>
                    <a:pt x="104" y="1"/>
                  </a:cubicBezTo>
                  <a:cubicBezTo>
                    <a:pt x="105" y="5"/>
                    <a:pt x="102" y="14"/>
                    <a:pt x="99" y="17"/>
                  </a:cubicBezTo>
                  <a:cubicBezTo>
                    <a:pt x="99" y="17"/>
                    <a:pt x="99" y="17"/>
                    <a:pt x="99" y="17"/>
                  </a:cubicBezTo>
                  <a:close/>
                  <a:moveTo>
                    <a:pt x="102" y="1"/>
                  </a:moveTo>
                  <a:cubicBezTo>
                    <a:pt x="102" y="1"/>
                    <a:pt x="102" y="1"/>
                    <a:pt x="101" y="1"/>
                  </a:cubicBezTo>
                  <a:cubicBezTo>
                    <a:pt x="100" y="2"/>
                    <a:pt x="99" y="4"/>
                    <a:pt x="98" y="6"/>
                  </a:cubicBezTo>
                  <a:cubicBezTo>
                    <a:pt x="97" y="10"/>
                    <a:pt x="98" y="15"/>
                    <a:pt x="99" y="16"/>
                  </a:cubicBezTo>
                  <a:cubicBezTo>
                    <a:pt x="101" y="13"/>
                    <a:pt x="104" y="5"/>
                    <a:pt x="103" y="2"/>
                  </a:cubicBezTo>
                  <a:cubicBezTo>
                    <a:pt x="103" y="1"/>
                    <a:pt x="103" y="1"/>
                    <a:pt x="102"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7" name="Freeform 315"/>
            <p:cNvSpPr>
              <a:spLocks noEditPoints="1"/>
            </p:cNvSpPr>
            <p:nvPr/>
          </p:nvSpPr>
          <p:spPr>
            <a:xfrm>
              <a:off x="4579938" y="2073275"/>
              <a:ext cx="247650" cy="379413"/>
            </a:xfrm>
            <a:custGeom>
              <a:gdLst>
                <a:gd name="T0" fmla="*/ 10 w 146"/>
                <a:gd name="T1" fmla="*/ 122 h 224"/>
                <a:gd name="T2" fmla="*/ 3 w 146"/>
                <a:gd name="T3" fmla="*/ 139 h 224"/>
                <a:gd name="T4" fmla="*/ 20 w 146"/>
                <a:gd name="T5" fmla="*/ 138 h 224"/>
                <a:gd name="T6" fmla="*/ 36 w 146"/>
                <a:gd name="T7" fmla="*/ 135 h 224"/>
                <a:gd name="T8" fmla="*/ 146 w 146"/>
                <a:gd name="T9" fmla="*/ 172 h 224"/>
                <a:gd name="T10" fmla="*/ 124 w 146"/>
                <a:gd name="T11" fmla="*/ 164 h 224"/>
                <a:gd name="T12" fmla="*/ 119 w 146"/>
                <a:gd name="T13" fmla="*/ 148 h 224"/>
                <a:gd name="T14" fmla="*/ 98 w 146"/>
                <a:gd name="T15" fmla="*/ 113 h 224"/>
                <a:gd name="T16" fmla="*/ 75 w 146"/>
                <a:gd name="T17" fmla="*/ 103 h 224"/>
                <a:gd name="T18" fmla="*/ 91 w 146"/>
                <a:gd name="T19" fmla="*/ 69 h 224"/>
                <a:gd name="T20" fmla="*/ 60 w 146"/>
                <a:gd name="T21" fmla="*/ 63 h 224"/>
                <a:gd name="T22" fmla="*/ 73 w 146"/>
                <a:gd name="T23" fmla="*/ 42 h 224"/>
                <a:gd name="T24" fmla="*/ 51 w 146"/>
                <a:gd name="T25" fmla="*/ 48 h 224"/>
                <a:gd name="T26" fmla="*/ 35 w 146"/>
                <a:gd name="T27" fmla="*/ 70 h 224"/>
                <a:gd name="T28" fmla="*/ 23 w 146"/>
                <a:gd name="T29" fmla="*/ 71 h 224"/>
                <a:gd name="T30" fmla="*/ 28 w 146"/>
                <a:gd name="T31" fmla="*/ 90 h 224"/>
                <a:gd name="T32" fmla="*/ 24 w 146"/>
                <a:gd name="T33" fmla="*/ 107 h 224"/>
                <a:gd name="T34" fmla="*/ 40 w 146"/>
                <a:gd name="T35" fmla="*/ 112 h 224"/>
                <a:gd name="T36" fmla="*/ 49 w 146"/>
                <a:gd name="T37" fmla="*/ 111 h 224"/>
                <a:gd name="T38" fmla="*/ 65 w 146"/>
                <a:gd name="T39" fmla="*/ 124 h 224"/>
                <a:gd name="T40" fmla="*/ 71 w 146"/>
                <a:gd name="T41" fmla="*/ 137 h 224"/>
                <a:gd name="T42" fmla="*/ 74 w 146"/>
                <a:gd name="T43" fmla="*/ 155 h 224"/>
                <a:gd name="T44" fmla="*/ 55 w 146"/>
                <a:gd name="T45" fmla="*/ 158 h 224"/>
                <a:gd name="T46" fmla="*/ 59 w 146"/>
                <a:gd name="T47" fmla="*/ 173 h 224"/>
                <a:gd name="T48" fmla="*/ 50 w 146"/>
                <a:gd name="T49" fmla="*/ 189 h 224"/>
                <a:gd name="T50" fmla="*/ 74 w 146"/>
                <a:gd name="T51" fmla="*/ 193 h 224"/>
                <a:gd name="T52" fmla="*/ 59 w 146"/>
                <a:gd name="T53" fmla="*/ 199 h 224"/>
                <a:gd name="T54" fmla="*/ 52 w 146"/>
                <a:gd name="T55" fmla="*/ 216 h 224"/>
                <a:gd name="T56" fmla="*/ 69 w 146"/>
                <a:gd name="T57" fmla="*/ 211 h 224"/>
                <a:gd name="T58" fmla="*/ 91 w 146"/>
                <a:gd name="T59" fmla="*/ 207 h 224"/>
                <a:gd name="T60" fmla="*/ 119 w 146"/>
                <a:gd name="T61" fmla="*/ 206 h 224"/>
                <a:gd name="T62" fmla="*/ 133 w 146"/>
                <a:gd name="T63" fmla="*/ 195 h 224"/>
                <a:gd name="T64" fmla="*/ 146 w 146"/>
                <a:gd name="T65" fmla="*/ 172 h 224"/>
                <a:gd name="T66" fmla="*/ 26 w 146"/>
                <a:gd name="T67" fmla="*/ 52 h 224"/>
                <a:gd name="T68" fmla="*/ 100 w 146"/>
                <a:gd name="T69" fmla="*/ 18 h 224"/>
                <a:gd name="T70" fmla="*/ 100 w 146"/>
                <a:gd name="T71" fmla="*/ 18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224">
                  <a:moveTo>
                    <a:pt x="28" y="119"/>
                  </a:moveTo>
                  <a:cubicBezTo>
                    <a:pt x="23" y="114"/>
                    <a:pt x="16" y="122"/>
                    <a:pt x="10" y="122"/>
                  </a:cubicBezTo>
                  <a:cubicBezTo>
                    <a:pt x="9" y="126"/>
                    <a:pt x="8" y="129"/>
                    <a:pt x="6" y="130"/>
                  </a:cubicBezTo>
                  <a:cubicBezTo>
                    <a:pt x="4" y="132"/>
                    <a:pt x="0" y="138"/>
                    <a:pt x="3" y="139"/>
                  </a:cubicBezTo>
                  <a:cubicBezTo>
                    <a:pt x="6" y="139"/>
                    <a:pt x="11" y="145"/>
                    <a:pt x="12" y="141"/>
                  </a:cubicBezTo>
                  <a:cubicBezTo>
                    <a:pt x="13" y="137"/>
                    <a:pt x="15" y="132"/>
                    <a:pt x="20" y="138"/>
                  </a:cubicBezTo>
                  <a:cubicBezTo>
                    <a:pt x="22" y="140"/>
                    <a:pt x="23" y="141"/>
                    <a:pt x="25" y="142"/>
                  </a:cubicBezTo>
                  <a:cubicBezTo>
                    <a:pt x="26" y="139"/>
                    <a:pt x="33" y="139"/>
                    <a:pt x="36" y="135"/>
                  </a:cubicBezTo>
                  <a:cubicBezTo>
                    <a:pt x="41" y="131"/>
                    <a:pt x="34" y="125"/>
                    <a:pt x="28" y="119"/>
                  </a:cubicBezTo>
                  <a:close/>
                  <a:moveTo>
                    <a:pt x="146" y="172"/>
                  </a:moveTo>
                  <a:cubicBezTo>
                    <a:pt x="146" y="166"/>
                    <a:pt x="132" y="161"/>
                    <a:pt x="131" y="165"/>
                  </a:cubicBezTo>
                  <a:cubicBezTo>
                    <a:pt x="129" y="168"/>
                    <a:pt x="126" y="168"/>
                    <a:pt x="124" y="164"/>
                  </a:cubicBezTo>
                  <a:cubicBezTo>
                    <a:pt x="121" y="160"/>
                    <a:pt x="126" y="156"/>
                    <a:pt x="123" y="156"/>
                  </a:cubicBezTo>
                  <a:cubicBezTo>
                    <a:pt x="121" y="156"/>
                    <a:pt x="118" y="150"/>
                    <a:pt x="119" y="148"/>
                  </a:cubicBezTo>
                  <a:cubicBezTo>
                    <a:pt x="119" y="146"/>
                    <a:pt x="115" y="132"/>
                    <a:pt x="108" y="130"/>
                  </a:cubicBezTo>
                  <a:cubicBezTo>
                    <a:pt x="100" y="129"/>
                    <a:pt x="99" y="118"/>
                    <a:pt x="98" y="113"/>
                  </a:cubicBezTo>
                  <a:cubicBezTo>
                    <a:pt x="97" y="107"/>
                    <a:pt x="92" y="110"/>
                    <a:pt x="88" y="106"/>
                  </a:cubicBezTo>
                  <a:cubicBezTo>
                    <a:pt x="85" y="101"/>
                    <a:pt x="78" y="103"/>
                    <a:pt x="75" y="103"/>
                  </a:cubicBezTo>
                  <a:cubicBezTo>
                    <a:pt x="72" y="104"/>
                    <a:pt x="75" y="97"/>
                    <a:pt x="80" y="94"/>
                  </a:cubicBezTo>
                  <a:cubicBezTo>
                    <a:pt x="85" y="90"/>
                    <a:pt x="91" y="72"/>
                    <a:pt x="91" y="69"/>
                  </a:cubicBezTo>
                  <a:cubicBezTo>
                    <a:pt x="91" y="65"/>
                    <a:pt x="69" y="65"/>
                    <a:pt x="65" y="67"/>
                  </a:cubicBezTo>
                  <a:cubicBezTo>
                    <a:pt x="60" y="69"/>
                    <a:pt x="56" y="64"/>
                    <a:pt x="60" y="63"/>
                  </a:cubicBezTo>
                  <a:cubicBezTo>
                    <a:pt x="63" y="61"/>
                    <a:pt x="71" y="53"/>
                    <a:pt x="71" y="50"/>
                  </a:cubicBezTo>
                  <a:cubicBezTo>
                    <a:pt x="70" y="47"/>
                    <a:pt x="76" y="45"/>
                    <a:pt x="73" y="42"/>
                  </a:cubicBezTo>
                  <a:cubicBezTo>
                    <a:pt x="70" y="39"/>
                    <a:pt x="69" y="46"/>
                    <a:pt x="66" y="48"/>
                  </a:cubicBezTo>
                  <a:cubicBezTo>
                    <a:pt x="64" y="50"/>
                    <a:pt x="57" y="49"/>
                    <a:pt x="51" y="48"/>
                  </a:cubicBezTo>
                  <a:cubicBezTo>
                    <a:pt x="44" y="47"/>
                    <a:pt x="41" y="56"/>
                    <a:pt x="42" y="60"/>
                  </a:cubicBezTo>
                  <a:cubicBezTo>
                    <a:pt x="42" y="64"/>
                    <a:pt x="34" y="67"/>
                    <a:pt x="35" y="70"/>
                  </a:cubicBezTo>
                  <a:cubicBezTo>
                    <a:pt x="36" y="73"/>
                    <a:pt x="34" y="76"/>
                    <a:pt x="31" y="74"/>
                  </a:cubicBezTo>
                  <a:cubicBezTo>
                    <a:pt x="29" y="72"/>
                    <a:pt x="27" y="67"/>
                    <a:pt x="23" y="71"/>
                  </a:cubicBezTo>
                  <a:cubicBezTo>
                    <a:pt x="18" y="74"/>
                    <a:pt x="28" y="79"/>
                    <a:pt x="33" y="80"/>
                  </a:cubicBezTo>
                  <a:cubicBezTo>
                    <a:pt x="39" y="80"/>
                    <a:pt x="29" y="84"/>
                    <a:pt x="28" y="90"/>
                  </a:cubicBezTo>
                  <a:cubicBezTo>
                    <a:pt x="27" y="96"/>
                    <a:pt x="35" y="94"/>
                    <a:pt x="36" y="98"/>
                  </a:cubicBezTo>
                  <a:cubicBezTo>
                    <a:pt x="36" y="102"/>
                    <a:pt x="24" y="103"/>
                    <a:pt x="24" y="107"/>
                  </a:cubicBezTo>
                  <a:cubicBezTo>
                    <a:pt x="24" y="111"/>
                    <a:pt x="31" y="105"/>
                    <a:pt x="34" y="103"/>
                  </a:cubicBezTo>
                  <a:cubicBezTo>
                    <a:pt x="37" y="102"/>
                    <a:pt x="32" y="113"/>
                    <a:pt x="40" y="112"/>
                  </a:cubicBezTo>
                  <a:cubicBezTo>
                    <a:pt x="48" y="111"/>
                    <a:pt x="45" y="100"/>
                    <a:pt x="48" y="101"/>
                  </a:cubicBezTo>
                  <a:cubicBezTo>
                    <a:pt x="51" y="101"/>
                    <a:pt x="47" y="106"/>
                    <a:pt x="49" y="111"/>
                  </a:cubicBezTo>
                  <a:cubicBezTo>
                    <a:pt x="52" y="115"/>
                    <a:pt x="44" y="122"/>
                    <a:pt x="44" y="126"/>
                  </a:cubicBezTo>
                  <a:cubicBezTo>
                    <a:pt x="45" y="129"/>
                    <a:pt x="60" y="129"/>
                    <a:pt x="65" y="124"/>
                  </a:cubicBezTo>
                  <a:cubicBezTo>
                    <a:pt x="70" y="118"/>
                    <a:pt x="72" y="124"/>
                    <a:pt x="69" y="128"/>
                  </a:cubicBezTo>
                  <a:cubicBezTo>
                    <a:pt x="65" y="132"/>
                    <a:pt x="67" y="135"/>
                    <a:pt x="71" y="137"/>
                  </a:cubicBezTo>
                  <a:cubicBezTo>
                    <a:pt x="76" y="138"/>
                    <a:pt x="77" y="139"/>
                    <a:pt x="75" y="142"/>
                  </a:cubicBezTo>
                  <a:cubicBezTo>
                    <a:pt x="73" y="146"/>
                    <a:pt x="75" y="152"/>
                    <a:pt x="74" y="155"/>
                  </a:cubicBezTo>
                  <a:cubicBezTo>
                    <a:pt x="73" y="159"/>
                    <a:pt x="59" y="158"/>
                    <a:pt x="59" y="156"/>
                  </a:cubicBezTo>
                  <a:cubicBezTo>
                    <a:pt x="59" y="154"/>
                    <a:pt x="53" y="155"/>
                    <a:pt x="55" y="158"/>
                  </a:cubicBezTo>
                  <a:cubicBezTo>
                    <a:pt x="56" y="161"/>
                    <a:pt x="50" y="165"/>
                    <a:pt x="50" y="167"/>
                  </a:cubicBezTo>
                  <a:cubicBezTo>
                    <a:pt x="51" y="170"/>
                    <a:pt x="59" y="170"/>
                    <a:pt x="59" y="173"/>
                  </a:cubicBezTo>
                  <a:cubicBezTo>
                    <a:pt x="59" y="176"/>
                    <a:pt x="53" y="181"/>
                    <a:pt x="45" y="183"/>
                  </a:cubicBezTo>
                  <a:cubicBezTo>
                    <a:pt x="37" y="185"/>
                    <a:pt x="47" y="192"/>
                    <a:pt x="50" y="189"/>
                  </a:cubicBezTo>
                  <a:cubicBezTo>
                    <a:pt x="54" y="186"/>
                    <a:pt x="53" y="191"/>
                    <a:pt x="59" y="191"/>
                  </a:cubicBezTo>
                  <a:cubicBezTo>
                    <a:pt x="65" y="191"/>
                    <a:pt x="68" y="195"/>
                    <a:pt x="74" y="193"/>
                  </a:cubicBezTo>
                  <a:cubicBezTo>
                    <a:pt x="81" y="191"/>
                    <a:pt x="80" y="193"/>
                    <a:pt x="76" y="197"/>
                  </a:cubicBezTo>
                  <a:cubicBezTo>
                    <a:pt x="71" y="200"/>
                    <a:pt x="64" y="197"/>
                    <a:pt x="59" y="199"/>
                  </a:cubicBezTo>
                  <a:cubicBezTo>
                    <a:pt x="55" y="201"/>
                    <a:pt x="38" y="218"/>
                    <a:pt x="41" y="222"/>
                  </a:cubicBezTo>
                  <a:cubicBezTo>
                    <a:pt x="43" y="224"/>
                    <a:pt x="45" y="218"/>
                    <a:pt x="52" y="216"/>
                  </a:cubicBezTo>
                  <a:cubicBezTo>
                    <a:pt x="58" y="213"/>
                    <a:pt x="59" y="217"/>
                    <a:pt x="62" y="218"/>
                  </a:cubicBezTo>
                  <a:cubicBezTo>
                    <a:pt x="66" y="218"/>
                    <a:pt x="66" y="211"/>
                    <a:pt x="69" y="211"/>
                  </a:cubicBezTo>
                  <a:cubicBezTo>
                    <a:pt x="72" y="212"/>
                    <a:pt x="74" y="209"/>
                    <a:pt x="79" y="210"/>
                  </a:cubicBezTo>
                  <a:cubicBezTo>
                    <a:pt x="85" y="211"/>
                    <a:pt x="88" y="209"/>
                    <a:pt x="91" y="207"/>
                  </a:cubicBezTo>
                  <a:cubicBezTo>
                    <a:pt x="93" y="204"/>
                    <a:pt x="100" y="211"/>
                    <a:pt x="102" y="209"/>
                  </a:cubicBezTo>
                  <a:cubicBezTo>
                    <a:pt x="105" y="208"/>
                    <a:pt x="114" y="206"/>
                    <a:pt x="119" y="206"/>
                  </a:cubicBezTo>
                  <a:cubicBezTo>
                    <a:pt x="124" y="207"/>
                    <a:pt x="136" y="201"/>
                    <a:pt x="139" y="198"/>
                  </a:cubicBezTo>
                  <a:cubicBezTo>
                    <a:pt x="142" y="195"/>
                    <a:pt x="137" y="194"/>
                    <a:pt x="133" y="195"/>
                  </a:cubicBezTo>
                  <a:cubicBezTo>
                    <a:pt x="128" y="196"/>
                    <a:pt x="129" y="191"/>
                    <a:pt x="134" y="186"/>
                  </a:cubicBezTo>
                  <a:cubicBezTo>
                    <a:pt x="138" y="182"/>
                    <a:pt x="145" y="179"/>
                    <a:pt x="146" y="172"/>
                  </a:cubicBezTo>
                  <a:close/>
                  <a:moveTo>
                    <a:pt x="17" y="64"/>
                  </a:moveTo>
                  <a:cubicBezTo>
                    <a:pt x="22" y="64"/>
                    <a:pt x="29" y="54"/>
                    <a:pt x="26" y="52"/>
                  </a:cubicBezTo>
                  <a:cubicBezTo>
                    <a:pt x="24" y="49"/>
                    <a:pt x="12" y="65"/>
                    <a:pt x="17" y="64"/>
                  </a:cubicBezTo>
                  <a:close/>
                  <a:moveTo>
                    <a:pt x="100" y="18"/>
                  </a:moveTo>
                  <a:cubicBezTo>
                    <a:pt x="104" y="14"/>
                    <a:pt x="108" y="0"/>
                    <a:pt x="102" y="2"/>
                  </a:cubicBezTo>
                  <a:cubicBezTo>
                    <a:pt x="97" y="3"/>
                    <a:pt x="98" y="19"/>
                    <a:pt x="100" y="1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8" name="Freeform 316"/>
            <p:cNvSpPr>
              <a:spLocks noEditPoints="1"/>
            </p:cNvSpPr>
            <p:nvPr/>
          </p:nvSpPr>
          <p:spPr>
            <a:xfrm>
              <a:off x="4583113" y="2074863"/>
              <a:ext cx="247650" cy="376238"/>
            </a:xfrm>
            <a:custGeom>
              <a:gdLst>
                <a:gd name="T0" fmla="*/ 66 w 146"/>
                <a:gd name="T1" fmla="*/ 197 h 222"/>
                <a:gd name="T2" fmla="*/ 70 w 146"/>
                <a:gd name="T3" fmla="*/ 193 h 222"/>
                <a:gd name="T4" fmla="*/ 47 w 146"/>
                <a:gd name="T5" fmla="*/ 189 h 222"/>
                <a:gd name="T6" fmla="*/ 51 w 146"/>
                <a:gd name="T7" fmla="*/ 162 h 222"/>
                <a:gd name="T8" fmla="*/ 72 w 146"/>
                <a:gd name="T9" fmla="*/ 154 h 222"/>
                <a:gd name="T10" fmla="*/ 66 w 146"/>
                <a:gd name="T11" fmla="*/ 132 h 222"/>
                <a:gd name="T12" fmla="*/ 43 w 146"/>
                <a:gd name="T13" fmla="*/ 125 h 222"/>
                <a:gd name="T14" fmla="*/ 47 w 146"/>
                <a:gd name="T15" fmla="*/ 100 h 222"/>
                <a:gd name="T16" fmla="*/ 33 w 146"/>
                <a:gd name="T17" fmla="*/ 103 h 222"/>
                <a:gd name="T18" fmla="*/ 31 w 146"/>
                <a:gd name="T19" fmla="*/ 94 h 222"/>
                <a:gd name="T20" fmla="*/ 21 w 146"/>
                <a:gd name="T21" fmla="*/ 70 h 222"/>
                <a:gd name="T22" fmla="*/ 37 w 146"/>
                <a:gd name="T23" fmla="*/ 64 h 222"/>
                <a:gd name="T24" fmla="*/ 67 w 146"/>
                <a:gd name="T25" fmla="*/ 43 h 222"/>
                <a:gd name="T26" fmla="*/ 58 w 146"/>
                <a:gd name="T27" fmla="*/ 64 h 222"/>
                <a:gd name="T28" fmla="*/ 73 w 146"/>
                <a:gd name="T29" fmla="*/ 102 h 222"/>
                <a:gd name="T30" fmla="*/ 97 w 146"/>
                <a:gd name="T31" fmla="*/ 112 h 222"/>
                <a:gd name="T32" fmla="*/ 122 w 146"/>
                <a:gd name="T33" fmla="*/ 155 h 222"/>
                <a:gd name="T34" fmla="*/ 132 w 146"/>
                <a:gd name="T35" fmla="*/ 162 h 222"/>
                <a:gd name="T36" fmla="*/ 132 w 146"/>
                <a:gd name="T37" fmla="*/ 194 h 222"/>
                <a:gd name="T38" fmla="*/ 102 w 146"/>
                <a:gd name="T39" fmla="*/ 209 h 222"/>
                <a:gd name="T40" fmla="*/ 72 w 146"/>
                <a:gd name="T41" fmla="*/ 210 h 222"/>
                <a:gd name="T42" fmla="*/ 51 w 146"/>
                <a:gd name="T43" fmla="*/ 215 h 222"/>
                <a:gd name="T44" fmla="*/ 40 w 146"/>
                <a:gd name="T45" fmla="*/ 220 h 222"/>
                <a:gd name="T46" fmla="*/ 62 w 146"/>
                <a:gd name="T47" fmla="*/ 216 h 222"/>
                <a:gd name="T48" fmla="*/ 79 w 146"/>
                <a:gd name="T49" fmla="*/ 208 h 222"/>
                <a:gd name="T50" fmla="*/ 118 w 146"/>
                <a:gd name="T51" fmla="*/ 205 h 222"/>
                <a:gd name="T52" fmla="*/ 129 w 146"/>
                <a:gd name="T53" fmla="*/ 193 h 222"/>
                <a:gd name="T54" fmla="*/ 130 w 146"/>
                <a:gd name="T55" fmla="*/ 164 h 222"/>
                <a:gd name="T56" fmla="*/ 119 w 146"/>
                <a:gd name="T57" fmla="*/ 152 h 222"/>
                <a:gd name="T58" fmla="*/ 92 w 146"/>
                <a:gd name="T59" fmla="*/ 108 h 222"/>
                <a:gd name="T60" fmla="*/ 72 w 146"/>
                <a:gd name="T61" fmla="*/ 102 h 222"/>
                <a:gd name="T62" fmla="*/ 57 w 146"/>
                <a:gd name="T63" fmla="*/ 64 h 222"/>
                <a:gd name="T64" fmla="*/ 68 w 146"/>
                <a:gd name="T65" fmla="*/ 43 h 222"/>
                <a:gd name="T66" fmla="*/ 37 w 146"/>
                <a:gd name="T67" fmla="*/ 65 h 222"/>
                <a:gd name="T68" fmla="*/ 22 w 146"/>
                <a:gd name="T69" fmla="*/ 70 h 222"/>
                <a:gd name="T70" fmla="*/ 31 w 146"/>
                <a:gd name="T71" fmla="*/ 93 h 222"/>
                <a:gd name="T72" fmla="*/ 33 w 146"/>
                <a:gd name="T73" fmla="*/ 102 h 222"/>
                <a:gd name="T74" fmla="*/ 47 w 146"/>
                <a:gd name="T75" fmla="*/ 99 h 222"/>
                <a:gd name="T76" fmla="*/ 50 w 146"/>
                <a:gd name="T77" fmla="*/ 126 h 222"/>
                <a:gd name="T78" fmla="*/ 70 w 146"/>
                <a:gd name="T79" fmla="*/ 135 h 222"/>
                <a:gd name="T80" fmla="*/ 65 w 146"/>
                <a:gd name="T81" fmla="*/ 157 h 222"/>
                <a:gd name="T82" fmla="*/ 50 w 146"/>
                <a:gd name="T83" fmla="*/ 166 h 222"/>
                <a:gd name="T84" fmla="*/ 49 w 146"/>
                <a:gd name="T85" fmla="*/ 188 h 222"/>
                <a:gd name="T86" fmla="*/ 73 w 146"/>
                <a:gd name="T87" fmla="*/ 192 h 222"/>
                <a:gd name="T88" fmla="*/ 62 w 146"/>
                <a:gd name="T89" fmla="*/ 198 h 222"/>
                <a:gd name="T90" fmla="*/ 10 w 146"/>
                <a:gd name="T91" fmla="*/ 142 h 222"/>
                <a:gd name="T92" fmla="*/ 9 w 146"/>
                <a:gd name="T93" fmla="*/ 120 h 222"/>
                <a:gd name="T94" fmla="*/ 37 w 146"/>
                <a:gd name="T95" fmla="*/ 131 h 222"/>
                <a:gd name="T96" fmla="*/ 20 w 146"/>
                <a:gd name="T97" fmla="*/ 137 h 222"/>
                <a:gd name="T98" fmla="*/ 23 w 146"/>
                <a:gd name="T99" fmla="*/ 117 h 222"/>
                <a:gd name="T100" fmla="*/ 6 w 146"/>
                <a:gd name="T101" fmla="*/ 139 h 222"/>
                <a:gd name="T102" fmla="*/ 18 w 146"/>
                <a:gd name="T103" fmla="*/ 55 h 222"/>
                <a:gd name="T104" fmla="*/ 16 w 146"/>
                <a:gd name="T105" fmla="*/ 64 h 222"/>
                <a:gd name="T106" fmla="*/ 99 w 146"/>
                <a:gd name="T107" fmla="*/ 17 h 222"/>
                <a:gd name="T108" fmla="*/ 103 w 146"/>
                <a:gd name="T109" fmla="*/ 2 h 2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222">
                  <a:moveTo>
                    <a:pt x="41" y="222"/>
                  </a:moveTo>
                  <a:cubicBezTo>
                    <a:pt x="40" y="222"/>
                    <a:pt x="40" y="221"/>
                    <a:pt x="40" y="221"/>
                  </a:cubicBezTo>
                  <a:cubicBezTo>
                    <a:pt x="39" y="220"/>
                    <a:pt x="39" y="220"/>
                    <a:pt x="39" y="219"/>
                  </a:cubicBezTo>
                  <a:cubicBezTo>
                    <a:pt x="40" y="212"/>
                    <a:pt x="54" y="199"/>
                    <a:pt x="58" y="197"/>
                  </a:cubicBezTo>
                  <a:cubicBezTo>
                    <a:pt x="59" y="197"/>
                    <a:pt x="61" y="197"/>
                    <a:pt x="62" y="197"/>
                  </a:cubicBezTo>
                  <a:cubicBezTo>
                    <a:pt x="63" y="197"/>
                    <a:pt x="65" y="197"/>
                    <a:pt x="66" y="197"/>
                  </a:cubicBezTo>
                  <a:cubicBezTo>
                    <a:pt x="67" y="197"/>
                    <a:pt x="68" y="197"/>
                    <a:pt x="69" y="197"/>
                  </a:cubicBezTo>
                  <a:cubicBezTo>
                    <a:pt x="71" y="197"/>
                    <a:pt x="73" y="196"/>
                    <a:pt x="74" y="195"/>
                  </a:cubicBezTo>
                  <a:cubicBezTo>
                    <a:pt x="77" y="193"/>
                    <a:pt x="78" y="192"/>
                    <a:pt x="78" y="192"/>
                  </a:cubicBezTo>
                  <a:cubicBezTo>
                    <a:pt x="78" y="192"/>
                    <a:pt x="78" y="192"/>
                    <a:pt x="78" y="192"/>
                  </a:cubicBezTo>
                  <a:cubicBezTo>
                    <a:pt x="78" y="192"/>
                    <a:pt x="77" y="191"/>
                    <a:pt x="73" y="193"/>
                  </a:cubicBezTo>
                  <a:cubicBezTo>
                    <a:pt x="72" y="193"/>
                    <a:pt x="71" y="193"/>
                    <a:pt x="70" y="193"/>
                  </a:cubicBezTo>
                  <a:cubicBezTo>
                    <a:pt x="68" y="193"/>
                    <a:pt x="66" y="193"/>
                    <a:pt x="64" y="192"/>
                  </a:cubicBezTo>
                  <a:cubicBezTo>
                    <a:pt x="62" y="191"/>
                    <a:pt x="60" y="190"/>
                    <a:pt x="58" y="190"/>
                  </a:cubicBezTo>
                  <a:cubicBezTo>
                    <a:pt x="55" y="190"/>
                    <a:pt x="54" y="189"/>
                    <a:pt x="53" y="188"/>
                  </a:cubicBezTo>
                  <a:cubicBezTo>
                    <a:pt x="52" y="188"/>
                    <a:pt x="52" y="188"/>
                    <a:pt x="51" y="188"/>
                  </a:cubicBezTo>
                  <a:cubicBezTo>
                    <a:pt x="50" y="188"/>
                    <a:pt x="50" y="188"/>
                    <a:pt x="50" y="188"/>
                  </a:cubicBezTo>
                  <a:cubicBezTo>
                    <a:pt x="49" y="189"/>
                    <a:pt x="48" y="189"/>
                    <a:pt x="47" y="189"/>
                  </a:cubicBezTo>
                  <a:cubicBezTo>
                    <a:pt x="44" y="189"/>
                    <a:pt x="41" y="187"/>
                    <a:pt x="40" y="185"/>
                  </a:cubicBezTo>
                  <a:cubicBezTo>
                    <a:pt x="40" y="184"/>
                    <a:pt x="40" y="182"/>
                    <a:pt x="44" y="181"/>
                  </a:cubicBezTo>
                  <a:cubicBezTo>
                    <a:pt x="52" y="179"/>
                    <a:pt x="57" y="175"/>
                    <a:pt x="57" y="172"/>
                  </a:cubicBezTo>
                  <a:cubicBezTo>
                    <a:pt x="57" y="171"/>
                    <a:pt x="55" y="170"/>
                    <a:pt x="53" y="169"/>
                  </a:cubicBezTo>
                  <a:cubicBezTo>
                    <a:pt x="51" y="169"/>
                    <a:pt x="49" y="168"/>
                    <a:pt x="49" y="167"/>
                  </a:cubicBezTo>
                  <a:cubicBezTo>
                    <a:pt x="48" y="165"/>
                    <a:pt x="50" y="164"/>
                    <a:pt x="51" y="162"/>
                  </a:cubicBezTo>
                  <a:cubicBezTo>
                    <a:pt x="52" y="161"/>
                    <a:pt x="54" y="159"/>
                    <a:pt x="53" y="158"/>
                  </a:cubicBezTo>
                  <a:cubicBezTo>
                    <a:pt x="53" y="157"/>
                    <a:pt x="53" y="156"/>
                    <a:pt x="53" y="155"/>
                  </a:cubicBezTo>
                  <a:cubicBezTo>
                    <a:pt x="54" y="154"/>
                    <a:pt x="55" y="154"/>
                    <a:pt x="56" y="154"/>
                  </a:cubicBezTo>
                  <a:cubicBezTo>
                    <a:pt x="58" y="154"/>
                    <a:pt x="58" y="154"/>
                    <a:pt x="59" y="155"/>
                  </a:cubicBezTo>
                  <a:cubicBezTo>
                    <a:pt x="59" y="155"/>
                    <a:pt x="61" y="156"/>
                    <a:pt x="65" y="156"/>
                  </a:cubicBezTo>
                  <a:cubicBezTo>
                    <a:pt x="69" y="156"/>
                    <a:pt x="72" y="155"/>
                    <a:pt x="72" y="154"/>
                  </a:cubicBezTo>
                  <a:cubicBezTo>
                    <a:pt x="73" y="153"/>
                    <a:pt x="73" y="151"/>
                    <a:pt x="73" y="149"/>
                  </a:cubicBezTo>
                  <a:cubicBezTo>
                    <a:pt x="73" y="146"/>
                    <a:pt x="73" y="143"/>
                    <a:pt x="74" y="141"/>
                  </a:cubicBezTo>
                  <a:cubicBezTo>
                    <a:pt x="74" y="140"/>
                    <a:pt x="75" y="139"/>
                    <a:pt x="74" y="139"/>
                  </a:cubicBezTo>
                  <a:cubicBezTo>
                    <a:pt x="74" y="138"/>
                    <a:pt x="73" y="137"/>
                    <a:pt x="70" y="137"/>
                  </a:cubicBezTo>
                  <a:cubicBezTo>
                    <a:pt x="70" y="136"/>
                    <a:pt x="70" y="136"/>
                    <a:pt x="70" y="136"/>
                  </a:cubicBezTo>
                  <a:cubicBezTo>
                    <a:pt x="68" y="136"/>
                    <a:pt x="66" y="134"/>
                    <a:pt x="66" y="132"/>
                  </a:cubicBezTo>
                  <a:cubicBezTo>
                    <a:pt x="65" y="131"/>
                    <a:pt x="65" y="129"/>
                    <a:pt x="68" y="127"/>
                  </a:cubicBezTo>
                  <a:cubicBezTo>
                    <a:pt x="69" y="125"/>
                    <a:pt x="69" y="123"/>
                    <a:pt x="69" y="122"/>
                  </a:cubicBezTo>
                  <a:cubicBezTo>
                    <a:pt x="69" y="121"/>
                    <a:pt x="68" y="121"/>
                    <a:pt x="68" y="121"/>
                  </a:cubicBezTo>
                  <a:cubicBezTo>
                    <a:pt x="67" y="121"/>
                    <a:pt x="66" y="122"/>
                    <a:pt x="64" y="123"/>
                  </a:cubicBezTo>
                  <a:cubicBezTo>
                    <a:pt x="61" y="126"/>
                    <a:pt x="55" y="127"/>
                    <a:pt x="50" y="127"/>
                  </a:cubicBezTo>
                  <a:cubicBezTo>
                    <a:pt x="49" y="127"/>
                    <a:pt x="43" y="127"/>
                    <a:pt x="43" y="125"/>
                  </a:cubicBezTo>
                  <a:cubicBezTo>
                    <a:pt x="42" y="123"/>
                    <a:pt x="44" y="121"/>
                    <a:pt x="45" y="119"/>
                  </a:cubicBezTo>
                  <a:cubicBezTo>
                    <a:pt x="47" y="116"/>
                    <a:pt x="49" y="113"/>
                    <a:pt x="48" y="110"/>
                  </a:cubicBezTo>
                  <a:cubicBezTo>
                    <a:pt x="47" y="108"/>
                    <a:pt x="47" y="105"/>
                    <a:pt x="48" y="103"/>
                  </a:cubicBezTo>
                  <a:cubicBezTo>
                    <a:pt x="48" y="102"/>
                    <a:pt x="48" y="101"/>
                    <a:pt x="48" y="101"/>
                  </a:cubicBezTo>
                  <a:cubicBezTo>
                    <a:pt x="48" y="100"/>
                    <a:pt x="47" y="100"/>
                    <a:pt x="47" y="100"/>
                  </a:cubicBezTo>
                  <a:cubicBezTo>
                    <a:pt x="47" y="100"/>
                    <a:pt x="47" y="100"/>
                    <a:pt x="47" y="100"/>
                  </a:cubicBezTo>
                  <a:cubicBezTo>
                    <a:pt x="47" y="100"/>
                    <a:pt x="46" y="102"/>
                    <a:pt x="46" y="103"/>
                  </a:cubicBezTo>
                  <a:cubicBezTo>
                    <a:pt x="45" y="106"/>
                    <a:pt x="44" y="111"/>
                    <a:pt x="39" y="112"/>
                  </a:cubicBezTo>
                  <a:cubicBezTo>
                    <a:pt x="38" y="112"/>
                    <a:pt x="38" y="112"/>
                    <a:pt x="38" y="112"/>
                  </a:cubicBezTo>
                  <a:cubicBezTo>
                    <a:pt x="34" y="112"/>
                    <a:pt x="34" y="108"/>
                    <a:pt x="34" y="105"/>
                  </a:cubicBezTo>
                  <a:cubicBezTo>
                    <a:pt x="34" y="104"/>
                    <a:pt x="34" y="103"/>
                    <a:pt x="33" y="103"/>
                  </a:cubicBezTo>
                  <a:cubicBezTo>
                    <a:pt x="33" y="103"/>
                    <a:pt x="33" y="103"/>
                    <a:pt x="33" y="103"/>
                  </a:cubicBezTo>
                  <a:cubicBezTo>
                    <a:pt x="32" y="103"/>
                    <a:pt x="31" y="104"/>
                    <a:pt x="30" y="105"/>
                  </a:cubicBezTo>
                  <a:cubicBezTo>
                    <a:pt x="28" y="106"/>
                    <a:pt x="25" y="108"/>
                    <a:pt x="24" y="108"/>
                  </a:cubicBezTo>
                  <a:cubicBezTo>
                    <a:pt x="23" y="108"/>
                    <a:pt x="22" y="108"/>
                    <a:pt x="22" y="106"/>
                  </a:cubicBezTo>
                  <a:cubicBezTo>
                    <a:pt x="22" y="104"/>
                    <a:pt x="25" y="102"/>
                    <a:pt x="28" y="101"/>
                  </a:cubicBezTo>
                  <a:cubicBezTo>
                    <a:pt x="31" y="100"/>
                    <a:pt x="34" y="99"/>
                    <a:pt x="34" y="97"/>
                  </a:cubicBezTo>
                  <a:cubicBezTo>
                    <a:pt x="34" y="96"/>
                    <a:pt x="33" y="95"/>
                    <a:pt x="31" y="94"/>
                  </a:cubicBezTo>
                  <a:cubicBezTo>
                    <a:pt x="28" y="94"/>
                    <a:pt x="26" y="93"/>
                    <a:pt x="26" y="89"/>
                  </a:cubicBezTo>
                  <a:cubicBezTo>
                    <a:pt x="27" y="86"/>
                    <a:pt x="29" y="84"/>
                    <a:pt x="31" y="82"/>
                  </a:cubicBezTo>
                  <a:cubicBezTo>
                    <a:pt x="32" y="81"/>
                    <a:pt x="34" y="80"/>
                    <a:pt x="33" y="79"/>
                  </a:cubicBezTo>
                  <a:cubicBezTo>
                    <a:pt x="33" y="79"/>
                    <a:pt x="33" y="79"/>
                    <a:pt x="32" y="79"/>
                  </a:cubicBezTo>
                  <a:cubicBezTo>
                    <a:pt x="28" y="79"/>
                    <a:pt x="21" y="76"/>
                    <a:pt x="20" y="73"/>
                  </a:cubicBezTo>
                  <a:cubicBezTo>
                    <a:pt x="20" y="72"/>
                    <a:pt x="20" y="71"/>
                    <a:pt x="21" y="70"/>
                  </a:cubicBezTo>
                  <a:cubicBezTo>
                    <a:pt x="22" y="69"/>
                    <a:pt x="24" y="68"/>
                    <a:pt x="25" y="68"/>
                  </a:cubicBezTo>
                  <a:cubicBezTo>
                    <a:pt x="27" y="68"/>
                    <a:pt x="28" y="70"/>
                    <a:pt x="30" y="71"/>
                  </a:cubicBezTo>
                  <a:cubicBezTo>
                    <a:pt x="30" y="72"/>
                    <a:pt x="30" y="72"/>
                    <a:pt x="31" y="73"/>
                  </a:cubicBezTo>
                  <a:cubicBezTo>
                    <a:pt x="32" y="74"/>
                    <a:pt x="33" y="73"/>
                    <a:pt x="33" y="72"/>
                  </a:cubicBezTo>
                  <a:cubicBezTo>
                    <a:pt x="34" y="72"/>
                    <a:pt x="34" y="70"/>
                    <a:pt x="34" y="69"/>
                  </a:cubicBezTo>
                  <a:cubicBezTo>
                    <a:pt x="33" y="67"/>
                    <a:pt x="35" y="65"/>
                    <a:pt x="37" y="64"/>
                  </a:cubicBezTo>
                  <a:cubicBezTo>
                    <a:pt x="38" y="62"/>
                    <a:pt x="40" y="61"/>
                    <a:pt x="40" y="59"/>
                  </a:cubicBezTo>
                  <a:cubicBezTo>
                    <a:pt x="40" y="56"/>
                    <a:pt x="41" y="51"/>
                    <a:pt x="44" y="48"/>
                  </a:cubicBezTo>
                  <a:cubicBezTo>
                    <a:pt x="45" y="47"/>
                    <a:pt x="47" y="46"/>
                    <a:pt x="50" y="46"/>
                  </a:cubicBezTo>
                  <a:cubicBezTo>
                    <a:pt x="54" y="47"/>
                    <a:pt x="57" y="48"/>
                    <a:pt x="59" y="48"/>
                  </a:cubicBezTo>
                  <a:cubicBezTo>
                    <a:pt x="62" y="48"/>
                    <a:pt x="64" y="47"/>
                    <a:pt x="65" y="46"/>
                  </a:cubicBezTo>
                  <a:cubicBezTo>
                    <a:pt x="66" y="46"/>
                    <a:pt x="67" y="44"/>
                    <a:pt x="67" y="43"/>
                  </a:cubicBezTo>
                  <a:cubicBezTo>
                    <a:pt x="68" y="41"/>
                    <a:pt x="69" y="40"/>
                    <a:pt x="70" y="40"/>
                  </a:cubicBezTo>
                  <a:cubicBezTo>
                    <a:pt x="71" y="40"/>
                    <a:pt x="71" y="40"/>
                    <a:pt x="72" y="40"/>
                  </a:cubicBezTo>
                  <a:cubicBezTo>
                    <a:pt x="74" y="42"/>
                    <a:pt x="73" y="44"/>
                    <a:pt x="72" y="46"/>
                  </a:cubicBezTo>
                  <a:cubicBezTo>
                    <a:pt x="71" y="47"/>
                    <a:pt x="70" y="48"/>
                    <a:pt x="70" y="49"/>
                  </a:cubicBezTo>
                  <a:cubicBezTo>
                    <a:pt x="71" y="53"/>
                    <a:pt x="62" y="61"/>
                    <a:pt x="59" y="62"/>
                  </a:cubicBezTo>
                  <a:cubicBezTo>
                    <a:pt x="58" y="62"/>
                    <a:pt x="58" y="63"/>
                    <a:pt x="58" y="64"/>
                  </a:cubicBezTo>
                  <a:cubicBezTo>
                    <a:pt x="58" y="65"/>
                    <a:pt x="60" y="66"/>
                    <a:pt x="62" y="66"/>
                  </a:cubicBezTo>
                  <a:cubicBezTo>
                    <a:pt x="63" y="66"/>
                    <a:pt x="63" y="66"/>
                    <a:pt x="63" y="66"/>
                  </a:cubicBezTo>
                  <a:cubicBezTo>
                    <a:pt x="66" y="65"/>
                    <a:pt x="72" y="64"/>
                    <a:pt x="77" y="64"/>
                  </a:cubicBezTo>
                  <a:cubicBezTo>
                    <a:pt x="81" y="64"/>
                    <a:pt x="91" y="65"/>
                    <a:pt x="91" y="68"/>
                  </a:cubicBezTo>
                  <a:cubicBezTo>
                    <a:pt x="91" y="71"/>
                    <a:pt x="85" y="90"/>
                    <a:pt x="80" y="93"/>
                  </a:cubicBezTo>
                  <a:cubicBezTo>
                    <a:pt x="76" y="96"/>
                    <a:pt x="73" y="100"/>
                    <a:pt x="73" y="102"/>
                  </a:cubicBezTo>
                  <a:cubicBezTo>
                    <a:pt x="73" y="102"/>
                    <a:pt x="73" y="102"/>
                    <a:pt x="74" y="102"/>
                  </a:cubicBezTo>
                  <a:cubicBezTo>
                    <a:pt x="75" y="102"/>
                    <a:pt x="75" y="102"/>
                    <a:pt x="76" y="102"/>
                  </a:cubicBezTo>
                  <a:cubicBezTo>
                    <a:pt x="78" y="101"/>
                    <a:pt x="79" y="101"/>
                    <a:pt x="81" y="101"/>
                  </a:cubicBezTo>
                  <a:cubicBezTo>
                    <a:pt x="84" y="101"/>
                    <a:pt x="86" y="102"/>
                    <a:pt x="88" y="104"/>
                  </a:cubicBezTo>
                  <a:cubicBezTo>
                    <a:pt x="89" y="106"/>
                    <a:pt x="91" y="107"/>
                    <a:pt x="93" y="107"/>
                  </a:cubicBezTo>
                  <a:cubicBezTo>
                    <a:pt x="95" y="108"/>
                    <a:pt x="97" y="108"/>
                    <a:pt x="97" y="112"/>
                  </a:cubicBezTo>
                  <a:cubicBezTo>
                    <a:pt x="98" y="112"/>
                    <a:pt x="98" y="113"/>
                    <a:pt x="98" y="114"/>
                  </a:cubicBezTo>
                  <a:cubicBezTo>
                    <a:pt x="99" y="120"/>
                    <a:pt x="101" y="128"/>
                    <a:pt x="107" y="129"/>
                  </a:cubicBezTo>
                  <a:cubicBezTo>
                    <a:pt x="110" y="130"/>
                    <a:pt x="113" y="133"/>
                    <a:pt x="115" y="136"/>
                  </a:cubicBezTo>
                  <a:cubicBezTo>
                    <a:pt x="117" y="140"/>
                    <a:pt x="119" y="146"/>
                    <a:pt x="118" y="147"/>
                  </a:cubicBezTo>
                  <a:cubicBezTo>
                    <a:pt x="118" y="148"/>
                    <a:pt x="118" y="150"/>
                    <a:pt x="119" y="152"/>
                  </a:cubicBezTo>
                  <a:cubicBezTo>
                    <a:pt x="120" y="153"/>
                    <a:pt x="122" y="154"/>
                    <a:pt x="122" y="155"/>
                  </a:cubicBezTo>
                  <a:cubicBezTo>
                    <a:pt x="123" y="155"/>
                    <a:pt x="123" y="155"/>
                    <a:pt x="123" y="155"/>
                  </a:cubicBezTo>
                  <a:cubicBezTo>
                    <a:pt x="124" y="156"/>
                    <a:pt x="123" y="157"/>
                    <a:pt x="123" y="157"/>
                  </a:cubicBezTo>
                  <a:cubicBezTo>
                    <a:pt x="122" y="159"/>
                    <a:pt x="122" y="161"/>
                    <a:pt x="123" y="163"/>
                  </a:cubicBezTo>
                  <a:cubicBezTo>
                    <a:pt x="124" y="165"/>
                    <a:pt x="125" y="166"/>
                    <a:pt x="127" y="166"/>
                  </a:cubicBezTo>
                  <a:cubicBezTo>
                    <a:pt x="128" y="166"/>
                    <a:pt x="129" y="165"/>
                    <a:pt x="129" y="164"/>
                  </a:cubicBezTo>
                  <a:cubicBezTo>
                    <a:pt x="129" y="163"/>
                    <a:pt x="130" y="162"/>
                    <a:pt x="132" y="162"/>
                  </a:cubicBezTo>
                  <a:cubicBezTo>
                    <a:pt x="136" y="162"/>
                    <a:pt x="141" y="164"/>
                    <a:pt x="144" y="167"/>
                  </a:cubicBezTo>
                  <a:cubicBezTo>
                    <a:pt x="145" y="168"/>
                    <a:pt x="146" y="170"/>
                    <a:pt x="145" y="171"/>
                  </a:cubicBezTo>
                  <a:cubicBezTo>
                    <a:pt x="145" y="176"/>
                    <a:pt x="141" y="179"/>
                    <a:pt x="137" y="182"/>
                  </a:cubicBezTo>
                  <a:cubicBezTo>
                    <a:pt x="136" y="184"/>
                    <a:pt x="134" y="185"/>
                    <a:pt x="133" y="186"/>
                  </a:cubicBezTo>
                  <a:cubicBezTo>
                    <a:pt x="130" y="189"/>
                    <a:pt x="129" y="192"/>
                    <a:pt x="130" y="193"/>
                  </a:cubicBezTo>
                  <a:cubicBezTo>
                    <a:pt x="130" y="193"/>
                    <a:pt x="131" y="194"/>
                    <a:pt x="132" y="194"/>
                  </a:cubicBezTo>
                  <a:cubicBezTo>
                    <a:pt x="133" y="193"/>
                    <a:pt x="134" y="193"/>
                    <a:pt x="135" y="193"/>
                  </a:cubicBezTo>
                  <a:cubicBezTo>
                    <a:pt x="137" y="193"/>
                    <a:pt x="139" y="194"/>
                    <a:pt x="139" y="195"/>
                  </a:cubicBezTo>
                  <a:cubicBezTo>
                    <a:pt x="140" y="196"/>
                    <a:pt x="139" y="196"/>
                    <a:pt x="138" y="197"/>
                  </a:cubicBezTo>
                  <a:cubicBezTo>
                    <a:pt x="135" y="200"/>
                    <a:pt x="123" y="206"/>
                    <a:pt x="118" y="206"/>
                  </a:cubicBezTo>
                  <a:cubicBezTo>
                    <a:pt x="118" y="206"/>
                    <a:pt x="118" y="206"/>
                    <a:pt x="118" y="206"/>
                  </a:cubicBezTo>
                  <a:cubicBezTo>
                    <a:pt x="113" y="206"/>
                    <a:pt x="104" y="207"/>
                    <a:pt x="102" y="209"/>
                  </a:cubicBezTo>
                  <a:cubicBezTo>
                    <a:pt x="101" y="209"/>
                    <a:pt x="101" y="209"/>
                    <a:pt x="101" y="209"/>
                  </a:cubicBezTo>
                  <a:cubicBezTo>
                    <a:pt x="99" y="209"/>
                    <a:pt x="98" y="208"/>
                    <a:pt x="96" y="207"/>
                  </a:cubicBezTo>
                  <a:cubicBezTo>
                    <a:pt x="94" y="206"/>
                    <a:pt x="91" y="205"/>
                    <a:pt x="90" y="206"/>
                  </a:cubicBezTo>
                  <a:cubicBezTo>
                    <a:pt x="87" y="209"/>
                    <a:pt x="83" y="210"/>
                    <a:pt x="78" y="209"/>
                  </a:cubicBezTo>
                  <a:cubicBezTo>
                    <a:pt x="77" y="209"/>
                    <a:pt x="77" y="209"/>
                    <a:pt x="77" y="209"/>
                  </a:cubicBezTo>
                  <a:cubicBezTo>
                    <a:pt x="75" y="209"/>
                    <a:pt x="73" y="210"/>
                    <a:pt x="72" y="210"/>
                  </a:cubicBezTo>
                  <a:cubicBezTo>
                    <a:pt x="70" y="211"/>
                    <a:pt x="69" y="211"/>
                    <a:pt x="68" y="211"/>
                  </a:cubicBezTo>
                  <a:cubicBezTo>
                    <a:pt x="67" y="211"/>
                    <a:pt x="66" y="212"/>
                    <a:pt x="65" y="213"/>
                  </a:cubicBezTo>
                  <a:cubicBezTo>
                    <a:pt x="65" y="215"/>
                    <a:pt x="64" y="218"/>
                    <a:pt x="61" y="217"/>
                  </a:cubicBezTo>
                  <a:cubicBezTo>
                    <a:pt x="60" y="217"/>
                    <a:pt x="59" y="216"/>
                    <a:pt x="58" y="216"/>
                  </a:cubicBezTo>
                  <a:cubicBezTo>
                    <a:pt x="57" y="215"/>
                    <a:pt x="56" y="214"/>
                    <a:pt x="54" y="214"/>
                  </a:cubicBezTo>
                  <a:cubicBezTo>
                    <a:pt x="53" y="214"/>
                    <a:pt x="52" y="215"/>
                    <a:pt x="51" y="215"/>
                  </a:cubicBezTo>
                  <a:cubicBezTo>
                    <a:pt x="48" y="216"/>
                    <a:pt x="46" y="218"/>
                    <a:pt x="44" y="220"/>
                  </a:cubicBezTo>
                  <a:cubicBezTo>
                    <a:pt x="43" y="221"/>
                    <a:pt x="42" y="222"/>
                    <a:pt x="41" y="222"/>
                  </a:cubicBezTo>
                  <a:close/>
                  <a:moveTo>
                    <a:pt x="62" y="198"/>
                  </a:moveTo>
                  <a:cubicBezTo>
                    <a:pt x="61" y="198"/>
                    <a:pt x="60" y="198"/>
                    <a:pt x="59" y="198"/>
                  </a:cubicBezTo>
                  <a:cubicBezTo>
                    <a:pt x="55" y="200"/>
                    <a:pt x="41" y="213"/>
                    <a:pt x="40" y="219"/>
                  </a:cubicBezTo>
                  <a:cubicBezTo>
                    <a:pt x="40" y="220"/>
                    <a:pt x="40" y="220"/>
                    <a:pt x="40" y="220"/>
                  </a:cubicBezTo>
                  <a:cubicBezTo>
                    <a:pt x="41" y="221"/>
                    <a:pt x="41" y="221"/>
                    <a:pt x="41" y="221"/>
                  </a:cubicBezTo>
                  <a:cubicBezTo>
                    <a:pt x="42" y="221"/>
                    <a:pt x="43" y="220"/>
                    <a:pt x="44" y="219"/>
                  </a:cubicBezTo>
                  <a:cubicBezTo>
                    <a:pt x="45" y="217"/>
                    <a:pt x="48" y="215"/>
                    <a:pt x="51" y="214"/>
                  </a:cubicBezTo>
                  <a:cubicBezTo>
                    <a:pt x="52" y="214"/>
                    <a:pt x="53" y="213"/>
                    <a:pt x="54" y="213"/>
                  </a:cubicBezTo>
                  <a:cubicBezTo>
                    <a:pt x="56" y="213"/>
                    <a:pt x="58" y="214"/>
                    <a:pt x="59" y="215"/>
                  </a:cubicBezTo>
                  <a:cubicBezTo>
                    <a:pt x="60" y="216"/>
                    <a:pt x="60" y="216"/>
                    <a:pt x="62" y="216"/>
                  </a:cubicBezTo>
                  <a:cubicBezTo>
                    <a:pt x="63" y="216"/>
                    <a:pt x="64" y="215"/>
                    <a:pt x="65" y="213"/>
                  </a:cubicBezTo>
                  <a:cubicBezTo>
                    <a:pt x="65" y="211"/>
                    <a:pt x="66" y="210"/>
                    <a:pt x="68" y="210"/>
                  </a:cubicBezTo>
                  <a:cubicBezTo>
                    <a:pt x="68" y="210"/>
                    <a:pt x="68" y="210"/>
                    <a:pt x="68" y="210"/>
                  </a:cubicBezTo>
                  <a:cubicBezTo>
                    <a:pt x="69" y="210"/>
                    <a:pt x="70" y="210"/>
                    <a:pt x="72" y="209"/>
                  </a:cubicBezTo>
                  <a:cubicBezTo>
                    <a:pt x="73" y="209"/>
                    <a:pt x="75" y="208"/>
                    <a:pt x="77" y="208"/>
                  </a:cubicBezTo>
                  <a:cubicBezTo>
                    <a:pt x="77" y="208"/>
                    <a:pt x="78" y="208"/>
                    <a:pt x="79" y="208"/>
                  </a:cubicBezTo>
                  <a:cubicBezTo>
                    <a:pt x="83" y="209"/>
                    <a:pt x="86" y="208"/>
                    <a:pt x="90" y="205"/>
                  </a:cubicBezTo>
                  <a:cubicBezTo>
                    <a:pt x="91" y="205"/>
                    <a:pt x="91" y="205"/>
                    <a:pt x="91" y="205"/>
                  </a:cubicBezTo>
                  <a:cubicBezTo>
                    <a:pt x="93" y="205"/>
                    <a:pt x="95" y="206"/>
                    <a:pt x="97" y="207"/>
                  </a:cubicBezTo>
                  <a:cubicBezTo>
                    <a:pt x="98" y="208"/>
                    <a:pt x="100" y="208"/>
                    <a:pt x="101" y="208"/>
                  </a:cubicBezTo>
                  <a:cubicBezTo>
                    <a:pt x="103" y="206"/>
                    <a:pt x="112" y="205"/>
                    <a:pt x="117" y="205"/>
                  </a:cubicBezTo>
                  <a:cubicBezTo>
                    <a:pt x="118" y="205"/>
                    <a:pt x="118" y="205"/>
                    <a:pt x="118" y="205"/>
                  </a:cubicBezTo>
                  <a:cubicBezTo>
                    <a:pt x="118" y="205"/>
                    <a:pt x="118" y="205"/>
                    <a:pt x="118" y="205"/>
                  </a:cubicBezTo>
                  <a:cubicBezTo>
                    <a:pt x="123" y="205"/>
                    <a:pt x="135" y="199"/>
                    <a:pt x="138" y="197"/>
                  </a:cubicBezTo>
                  <a:cubicBezTo>
                    <a:pt x="138" y="196"/>
                    <a:pt x="139" y="196"/>
                    <a:pt x="138" y="195"/>
                  </a:cubicBezTo>
                  <a:cubicBezTo>
                    <a:pt x="138" y="195"/>
                    <a:pt x="137" y="194"/>
                    <a:pt x="135" y="194"/>
                  </a:cubicBezTo>
                  <a:cubicBezTo>
                    <a:pt x="134" y="194"/>
                    <a:pt x="133" y="194"/>
                    <a:pt x="132" y="194"/>
                  </a:cubicBezTo>
                  <a:cubicBezTo>
                    <a:pt x="130" y="195"/>
                    <a:pt x="129" y="194"/>
                    <a:pt x="129" y="193"/>
                  </a:cubicBezTo>
                  <a:cubicBezTo>
                    <a:pt x="128" y="191"/>
                    <a:pt x="129" y="188"/>
                    <a:pt x="133" y="185"/>
                  </a:cubicBezTo>
                  <a:cubicBezTo>
                    <a:pt x="134" y="184"/>
                    <a:pt x="135" y="183"/>
                    <a:pt x="137" y="182"/>
                  </a:cubicBezTo>
                  <a:cubicBezTo>
                    <a:pt x="140" y="179"/>
                    <a:pt x="144" y="176"/>
                    <a:pt x="144" y="171"/>
                  </a:cubicBezTo>
                  <a:cubicBezTo>
                    <a:pt x="144" y="170"/>
                    <a:pt x="144" y="169"/>
                    <a:pt x="143" y="168"/>
                  </a:cubicBezTo>
                  <a:cubicBezTo>
                    <a:pt x="140" y="165"/>
                    <a:pt x="135" y="163"/>
                    <a:pt x="132" y="163"/>
                  </a:cubicBezTo>
                  <a:cubicBezTo>
                    <a:pt x="131" y="163"/>
                    <a:pt x="130" y="164"/>
                    <a:pt x="130" y="164"/>
                  </a:cubicBezTo>
                  <a:cubicBezTo>
                    <a:pt x="129" y="166"/>
                    <a:pt x="128" y="167"/>
                    <a:pt x="127" y="167"/>
                  </a:cubicBezTo>
                  <a:cubicBezTo>
                    <a:pt x="125" y="167"/>
                    <a:pt x="123" y="165"/>
                    <a:pt x="122" y="163"/>
                  </a:cubicBezTo>
                  <a:cubicBezTo>
                    <a:pt x="121" y="161"/>
                    <a:pt x="122" y="159"/>
                    <a:pt x="122" y="157"/>
                  </a:cubicBezTo>
                  <a:cubicBezTo>
                    <a:pt x="123" y="156"/>
                    <a:pt x="123" y="156"/>
                    <a:pt x="123" y="156"/>
                  </a:cubicBezTo>
                  <a:cubicBezTo>
                    <a:pt x="122" y="156"/>
                    <a:pt x="122" y="156"/>
                    <a:pt x="122" y="156"/>
                  </a:cubicBezTo>
                  <a:cubicBezTo>
                    <a:pt x="121" y="155"/>
                    <a:pt x="119" y="153"/>
                    <a:pt x="119" y="152"/>
                  </a:cubicBezTo>
                  <a:cubicBezTo>
                    <a:pt x="118" y="151"/>
                    <a:pt x="117" y="148"/>
                    <a:pt x="117" y="147"/>
                  </a:cubicBezTo>
                  <a:cubicBezTo>
                    <a:pt x="117" y="146"/>
                    <a:pt x="116" y="141"/>
                    <a:pt x="114" y="137"/>
                  </a:cubicBezTo>
                  <a:cubicBezTo>
                    <a:pt x="112" y="134"/>
                    <a:pt x="110" y="131"/>
                    <a:pt x="107" y="130"/>
                  </a:cubicBezTo>
                  <a:cubicBezTo>
                    <a:pt x="100" y="128"/>
                    <a:pt x="98" y="120"/>
                    <a:pt x="97" y="114"/>
                  </a:cubicBezTo>
                  <a:cubicBezTo>
                    <a:pt x="97" y="113"/>
                    <a:pt x="97" y="113"/>
                    <a:pt x="96" y="112"/>
                  </a:cubicBezTo>
                  <a:cubicBezTo>
                    <a:pt x="96" y="109"/>
                    <a:pt x="94" y="109"/>
                    <a:pt x="92" y="108"/>
                  </a:cubicBezTo>
                  <a:cubicBezTo>
                    <a:pt x="91" y="108"/>
                    <a:pt x="89" y="107"/>
                    <a:pt x="87" y="105"/>
                  </a:cubicBezTo>
                  <a:cubicBezTo>
                    <a:pt x="85" y="103"/>
                    <a:pt x="83" y="102"/>
                    <a:pt x="81" y="102"/>
                  </a:cubicBezTo>
                  <a:cubicBezTo>
                    <a:pt x="79" y="102"/>
                    <a:pt x="78" y="102"/>
                    <a:pt x="76" y="103"/>
                  </a:cubicBezTo>
                  <a:cubicBezTo>
                    <a:pt x="76" y="103"/>
                    <a:pt x="75" y="103"/>
                    <a:pt x="74" y="103"/>
                  </a:cubicBezTo>
                  <a:cubicBezTo>
                    <a:pt x="74" y="103"/>
                    <a:pt x="74" y="103"/>
                    <a:pt x="74" y="103"/>
                  </a:cubicBezTo>
                  <a:cubicBezTo>
                    <a:pt x="73" y="103"/>
                    <a:pt x="73" y="102"/>
                    <a:pt x="72" y="102"/>
                  </a:cubicBezTo>
                  <a:cubicBezTo>
                    <a:pt x="72" y="100"/>
                    <a:pt x="75" y="95"/>
                    <a:pt x="79" y="93"/>
                  </a:cubicBezTo>
                  <a:cubicBezTo>
                    <a:pt x="84" y="89"/>
                    <a:pt x="90" y="71"/>
                    <a:pt x="90" y="68"/>
                  </a:cubicBezTo>
                  <a:cubicBezTo>
                    <a:pt x="90" y="66"/>
                    <a:pt x="85" y="65"/>
                    <a:pt x="77" y="65"/>
                  </a:cubicBezTo>
                  <a:cubicBezTo>
                    <a:pt x="71" y="65"/>
                    <a:pt x="66" y="66"/>
                    <a:pt x="64" y="67"/>
                  </a:cubicBezTo>
                  <a:cubicBezTo>
                    <a:pt x="63" y="67"/>
                    <a:pt x="62" y="67"/>
                    <a:pt x="62" y="67"/>
                  </a:cubicBezTo>
                  <a:cubicBezTo>
                    <a:pt x="59" y="67"/>
                    <a:pt x="57" y="65"/>
                    <a:pt x="57" y="64"/>
                  </a:cubicBezTo>
                  <a:cubicBezTo>
                    <a:pt x="57" y="63"/>
                    <a:pt x="57" y="62"/>
                    <a:pt x="58" y="61"/>
                  </a:cubicBezTo>
                  <a:cubicBezTo>
                    <a:pt x="62" y="59"/>
                    <a:pt x="69" y="52"/>
                    <a:pt x="69" y="50"/>
                  </a:cubicBezTo>
                  <a:cubicBezTo>
                    <a:pt x="69" y="48"/>
                    <a:pt x="70" y="47"/>
                    <a:pt x="71" y="46"/>
                  </a:cubicBezTo>
                  <a:cubicBezTo>
                    <a:pt x="72" y="44"/>
                    <a:pt x="73" y="43"/>
                    <a:pt x="71" y="41"/>
                  </a:cubicBezTo>
                  <a:cubicBezTo>
                    <a:pt x="71" y="41"/>
                    <a:pt x="71" y="41"/>
                    <a:pt x="70" y="41"/>
                  </a:cubicBezTo>
                  <a:cubicBezTo>
                    <a:pt x="70" y="41"/>
                    <a:pt x="69" y="42"/>
                    <a:pt x="68" y="43"/>
                  </a:cubicBezTo>
                  <a:cubicBezTo>
                    <a:pt x="68" y="45"/>
                    <a:pt x="67" y="46"/>
                    <a:pt x="66" y="47"/>
                  </a:cubicBezTo>
                  <a:cubicBezTo>
                    <a:pt x="64" y="48"/>
                    <a:pt x="62" y="49"/>
                    <a:pt x="59" y="49"/>
                  </a:cubicBezTo>
                  <a:cubicBezTo>
                    <a:pt x="57" y="49"/>
                    <a:pt x="54" y="48"/>
                    <a:pt x="50" y="47"/>
                  </a:cubicBezTo>
                  <a:cubicBezTo>
                    <a:pt x="48" y="47"/>
                    <a:pt x="46" y="48"/>
                    <a:pt x="44" y="49"/>
                  </a:cubicBezTo>
                  <a:cubicBezTo>
                    <a:pt x="42" y="52"/>
                    <a:pt x="41" y="57"/>
                    <a:pt x="41" y="59"/>
                  </a:cubicBezTo>
                  <a:cubicBezTo>
                    <a:pt x="41" y="61"/>
                    <a:pt x="39" y="63"/>
                    <a:pt x="37" y="65"/>
                  </a:cubicBezTo>
                  <a:cubicBezTo>
                    <a:pt x="36" y="66"/>
                    <a:pt x="34" y="67"/>
                    <a:pt x="35" y="69"/>
                  </a:cubicBezTo>
                  <a:cubicBezTo>
                    <a:pt x="35" y="70"/>
                    <a:pt x="35" y="72"/>
                    <a:pt x="34" y="73"/>
                  </a:cubicBezTo>
                  <a:cubicBezTo>
                    <a:pt x="33" y="74"/>
                    <a:pt x="31" y="75"/>
                    <a:pt x="30" y="73"/>
                  </a:cubicBezTo>
                  <a:cubicBezTo>
                    <a:pt x="30" y="73"/>
                    <a:pt x="29" y="73"/>
                    <a:pt x="29" y="72"/>
                  </a:cubicBezTo>
                  <a:cubicBezTo>
                    <a:pt x="28" y="71"/>
                    <a:pt x="26" y="69"/>
                    <a:pt x="25" y="69"/>
                  </a:cubicBezTo>
                  <a:cubicBezTo>
                    <a:pt x="24" y="69"/>
                    <a:pt x="23" y="70"/>
                    <a:pt x="22" y="70"/>
                  </a:cubicBezTo>
                  <a:cubicBezTo>
                    <a:pt x="21" y="71"/>
                    <a:pt x="21" y="72"/>
                    <a:pt x="21" y="72"/>
                  </a:cubicBezTo>
                  <a:cubicBezTo>
                    <a:pt x="22" y="75"/>
                    <a:pt x="28" y="78"/>
                    <a:pt x="32" y="78"/>
                  </a:cubicBezTo>
                  <a:cubicBezTo>
                    <a:pt x="33" y="78"/>
                    <a:pt x="34" y="78"/>
                    <a:pt x="34" y="79"/>
                  </a:cubicBezTo>
                  <a:cubicBezTo>
                    <a:pt x="35" y="80"/>
                    <a:pt x="34" y="81"/>
                    <a:pt x="32" y="83"/>
                  </a:cubicBezTo>
                  <a:cubicBezTo>
                    <a:pt x="30" y="84"/>
                    <a:pt x="28" y="87"/>
                    <a:pt x="27" y="89"/>
                  </a:cubicBezTo>
                  <a:cubicBezTo>
                    <a:pt x="27" y="92"/>
                    <a:pt x="28" y="93"/>
                    <a:pt x="31" y="93"/>
                  </a:cubicBezTo>
                  <a:cubicBezTo>
                    <a:pt x="33" y="94"/>
                    <a:pt x="35" y="95"/>
                    <a:pt x="35" y="97"/>
                  </a:cubicBezTo>
                  <a:cubicBezTo>
                    <a:pt x="35" y="100"/>
                    <a:pt x="32" y="101"/>
                    <a:pt x="29" y="102"/>
                  </a:cubicBezTo>
                  <a:cubicBezTo>
                    <a:pt x="26" y="103"/>
                    <a:pt x="23" y="104"/>
                    <a:pt x="23" y="106"/>
                  </a:cubicBezTo>
                  <a:cubicBezTo>
                    <a:pt x="23" y="107"/>
                    <a:pt x="23" y="107"/>
                    <a:pt x="24" y="107"/>
                  </a:cubicBezTo>
                  <a:cubicBezTo>
                    <a:pt x="25" y="107"/>
                    <a:pt x="28" y="105"/>
                    <a:pt x="30" y="104"/>
                  </a:cubicBezTo>
                  <a:cubicBezTo>
                    <a:pt x="31" y="103"/>
                    <a:pt x="32" y="102"/>
                    <a:pt x="33" y="102"/>
                  </a:cubicBezTo>
                  <a:cubicBezTo>
                    <a:pt x="33" y="102"/>
                    <a:pt x="33" y="102"/>
                    <a:pt x="33" y="102"/>
                  </a:cubicBezTo>
                  <a:cubicBezTo>
                    <a:pt x="35" y="102"/>
                    <a:pt x="35" y="103"/>
                    <a:pt x="35" y="105"/>
                  </a:cubicBezTo>
                  <a:cubicBezTo>
                    <a:pt x="35" y="108"/>
                    <a:pt x="35" y="111"/>
                    <a:pt x="38" y="111"/>
                  </a:cubicBezTo>
                  <a:cubicBezTo>
                    <a:pt x="38" y="111"/>
                    <a:pt x="38" y="111"/>
                    <a:pt x="39" y="111"/>
                  </a:cubicBezTo>
                  <a:cubicBezTo>
                    <a:pt x="43" y="110"/>
                    <a:pt x="44" y="106"/>
                    <a:pt x="45" y="103"/>
                  </a:cubicBezTo>
                  <a:cubicBezTo>
                    <a:pt x="45" y="101"/>
                    <a:pt x="46" y="99"/>
                    <a:pt x="47" y="99"/>
                  </a:cubicBezTo>
                  <a:cubicBezTo>
                    <a:pt x="48" y="99"/>
                    <a:pt x="48" y="100"/>
                    <a:pt x="48" y="100"/>
                  </a:cubicBezTo>
                  <a:cubicBezTo>
                    <a:pt x="49" y="101"/>
                    <a:pt x="49" y="102"/>
                    <a:pt x="48" y="103"/>
                  </a:cubicBezTo>
                  <a:cubicBezTo>
                    <a:pt x="48" y="105"/>
                    <a:pt x="48" y="107"/>
                    <a:pt x="49" y="110"/>
                  </a:cubicBezTo>
                  <a:cubicBezTo>
                    <a:pt x="50" y="113"/>
                    <a:pt x="48" y="116"/>
                    <a:pt x="46" y="119"/>
                  </a:cubicBezTo>
                  <a:cubicBezTo>
                    <a:pt x="45" y="121"/>
                    <a:pt x="44" y="123"/>
                    <a:pt x="44" y="124"/>
                  </a:cubicBezTo>
                  <a:cubicBezTo>
                    <a:pt x="44" y="125"/>
                    <a:pt x="46" y="126"/>
                    <a:pt x="50" y="126"/>
                  </a:cubicBezTo>
                  <a:cubicBezTo>
                    <a:pt x="55" y="126"/>
                    <a:pt x="61" y="125"/>
                    <a:pt x="64" y="122"/>
                  </a:cubicBezTo>
                  <a:cubicBezTo>
                    <a:pt x="65" y="121"/>
                    <a:pt x="66" y="120"/>
                    <a:pt x="68" y="120"/>
                  </a:cubicBezTo>
                  <a:cubicBezTo>
                    <a:pt x="69" y="120"/>
                    <a:pt x="69" y="121"/>
                    <a:pt x="70" y="121"/>
                  </a:cubicBezTo>
                  <a:cubicBezTo>
                    <a:pt x="70" y="123"/>
                    <a:pt x="70" y="125"/>
                    <a:pt x="68" y="127"/>
                  </a:cubicBezTo>
                  <a:cubicBezTo>
                    <a:pt x="67" y="129"/>
                    <a:pt x="66" y="131"/>
                    <a:pt x="67" y="132"/>
                  </a:cubicBezTo>
                  <a:cubicBezTo>
                    <a:pt x="67" y="134"/>
                    <a:pt x="68" y="135"/>
                    <a:pt x="70" y="135"/>
                  </a:cubicBezTo>
                  <a:cubicBezTo>
                    <a:pt x="71" y="136"/>
                    <a:pt x="71" y="136"/>
                    <a:pt x="71" y="136"/>
                  </a:cubicBezTo>
                  <a:cubicBezTo>
                    <a:pt x="73" y="136"/>
                    <a:pt x="75" y="137"/>
                    <a:pt x="75" y="138"/>
                  </a:cubicBezTo>
                  <a:cubicBezTo>
                    <a:pt x="76" y="139"/>
                    <a:pt x="75" y="140"/>
                    <a:pt x="75" y="142"/>
                  </a:cubicBezTo>
                  <a:cubicBezTo>
                    <a:pt x="74" y="143"/>
                    <a:pt x="74" y="146"/>
                    <a:pt x="74" y="149"/>
                  </a:cubicBezTo>
                  <a:cubicBezTo>
                    <a:pt x="74" y="151"/>
                    <a:pt x="74" y="153"/>
                    <a:pt x="73" y="155"/>
                  </a:cubicBezTo>
                  <a:cubicBezTo>
                    <a:pt x="73" y="157"/>
                    <a:pt x="67" y="157"/>
                    <a:pt x="65" y="157"/>
                  </a:cubicBezTo>
                  <a:cubicBezTo>
                    <a:pt x="64" y="157"/>
                    <a:pt x="58" y="157"/>
                    <a:pt x="58" y="155"/>
                  </a:cubicBezTo>
                  <a:cubicBezTo>
                    <a:pt x="57" y="155"/>
                    <a:pt x="57" y="155"/>
                    <a:pt x="56" y="155"/>
                  </a:cubicBezTo>
                  <a:cubicBezTo>
                    <a:pt x="55" y="155"/>
                    <a:pt x="54" y="155"/>
                    <a:pt x="54" y="156"/>
                  </a:cubicBezTo>
                  <a:cubicBezTo>
                    <a:pt x="54" y="157"/>
                    <a:pt x="54" y="157"/>
                    <a:pt x="54" y="157"/>
                  </a:cubicBezTo>
                  <a:cubicBezTo>
                    <a:pt x="55" y="159"/>
                    <a:pt x="53" y="161"/>
                    <a:pt x="52" y="163"/>
                  </a:cubicBezTo>
                  <a:cubicBezTo>
                    <a:pt x="51" y="164"/>
                    <a:pt x="50" y="165"/>
                    <a:pt x="50" y="166"/>
                  </a:cubicBezTo>
                  <a:cubicBezTo>
                    <a:pt x="50" y="167"/>
                    <a:pt x="52" y="168"/>
                    <a:pt x="53" y="168"/>
                  </a:cubicBezTo>
                  <a:cubicBezTo>
                    <a:pt x="56" y="169"/>
                    <a:pt x="58" y="170"/>
                    <a:pt x="58" y="172"/>
                  </a:cubicBezTo>
                  <a:cubicBezTo>
                    <a:pt x="59" y="176"/>
                    <a:pt x="53" y="180"/>
                    <a:pt x="44" y="182"/>
                  </a:cubicBezTo>
                  <a:cubicBezTo>
                    <a:pt x="43" y="183"/>
                    <a:pt x="41" y="183"/>
                    <a:pt x="41" y="185"/>
                  </a:cubicBezTo>
                  <a:cubicBezTo>
                    <a:pt x="41" y="186"/>
                    <a:pt x="44" y="188"/>
                    <a:pt x="47" y="188"/>
                  </a:cubicBezTo>
                  <a:cubicBezTo>
                    <a:pt x="48" y="188"/>
                    <a:pt x="49" y="188"/>
                    <a:pt x="49" y="188"/>
                  </a:cubicBezTo>
                  <a:cubicBezTo>
                    <a:pt x="50" y="187"/>
                    <a:pt x="51" y="187"/>
                    <a:pt x="51" y="187"/>
                  </a:cubicBezTo>
                  <a:cubicBezTo>
                    <a:pt x="52" y="187"/>
                    <a:pt x="53" y="187"/>
                    <a:pt x="54" y="188"/>
                  </a:cubicBezTo>
                  <a:cubicBezTo>
                    <a:pt x="54" y="188"/>
                    <a:pt x="56" y="189"/>
                    <a:pt x="58" y="189"/>
                  </a:cubicBezTo>
                  <a:cubicBezTo>
                    <a:pt x="60" y="189"/>
                    <a:pt x="62" y="190"/>
                    <a:pt x="64" y="191"/>
                  </a:cubicBezTo>
                  <a:cubicBezTo>
                    <a:pt x="66" y="192"/>
                    <a:pt x="68" y="192"/>
                    <a:pt x="70" y="192"/>
                  </a:cubicBezTo>
                  <a:cubicBezTo>
                    <a:pt x="71" y="192"/>
                    <a:pt x="72" y="192"/>
                    <a:pt x="73" y="192"/>
                  </a:cubicBezTo>
                  <a:cubicBezTo>
                    <a:pt x="75" y="191"/>
                    <a:pt x="76" y="191"/>
                    <a:pt x="77" y="191"/>
                  </a:cubicBezTo>
                  <a:cubicBezTo>
                    <a:pt x="78" y="191"/>
                    <a:pt x="78" y="191"/>
                    <a:pt x="78" y="191"/>
                  </a:cubicBezTo>
                  <a:cubicBezTo>
                    <a:pt x="79" y="193"/>
                    <a:pt x="77" y="195"/>
                    <a:pt x="75" y="196"/>
                  </a:cubicBezTo>
                  <a:cubicBezTo>
                    <a:pt x="73" y="198"/>
                    <a:pt x="70" y="198"/>
                    <a:pt x="69" y="198"/>
                  </a:cubicBezTo>
                  <a:cubicBezTo>
                    <a:pt x="68" y="198"/>
                    <a:pt x="67" y="198"/>
                    <a:pt x="65" y="198"/>
                  </a:cubicBezTo>
                  <a:cubicBezTo>
                    <a:pt x="64" y="198"/>
                    <a:pt x="63" y="198"/>
                    <a:pt x="62" y="198"/>
                  </a:cubicBezTo>
                  <a:close/>
                  <a:moveTo>
                    <a:pt x="24" y="142"/>
                  </a:moveTo>
                  <a:cubicBezTo>
                    <a:pt x="24" y="142"/>
                    <a:pt x="24" y="142"/>
                    <a:pt x="24" y="142"/>
                  </a:cubicBezTo>
                  <a:cubicBezTo>
                    <a:pt x="22" y="140"/>
                    <a:pt x="20" y="139"/>
                    <a:pt x="19" y="137"/>
                  </a:cubicBezTo>
                  <a:cubicBezTo>
                    <a:pt x="17" y="135"/>
                    <a:pt x="16" y="134"/>
                    <a:pt x="15" y="134"/>
                  </a:cubicBezTo>
                  <a:cubicBezTo>
                    <a:pt x="12" y="134"/>
                    <a:pt x="12" y="139"/>
                    <a:pt x="11" y="140"/>
                  </a:cubicBezTo>
                  <a:cubicBezTo>
                    <a:pt x="11" y="141"/>
                    <a:pt x="10" y="142"/>
                    <a:pt x="10" y="142"/>
                  </a:cubicBezTo>
                  <a:cubicBezTo>
                    <a:pt x="8" y="142"/>
                    <a:pt x="7" y="141"/>
                    <a:pt x="5" y="140"/>
                  </a:cubicBezTo>
                  <a:cubicBezTo>
                    <a:pt x="4" y="139"/>
                    <a:pt x="3" y="138"/>
                    <a:pt x="2" y="138"/>
                  </a:cubicBezTo>
                  <a:cubicBezTo>
                    <a:pt x="1" y="138"/>
                    <a:pt x="0" y="137"/>
                    <a:pt x="0" y="137"/>
                  </a:cubicBezTo>
                  <a:cubicBezTo>
                    <a:pt x="0" y="134"/>
                    <a:pt x="3" y="130"/>
                    <a:pt x="5" y="129"/>
                  </a:cubicBezTo>
                  <a:cubicBezTo>
                    <a:pt x="6" y="128"/>
                    <a:pt x="8" y="125"/>
                    <a:pt x="9" y="121"/>
                  </a:cubicBezTo>
                  <a:cubicBezTo>
                    <a:pt x="9" y="120"/>
                    <a:pt x="9" y="120"/>
                    <a:pt x="9" y="120"/>
                  </a:cubicBezTo>
                  <a:cubicBezTo>
                    <a:pt x="9" y="120"/>
                    <a:pt x="9" y="120"/>
                    <a:pt x="9" y="120"/>
                  </a:cubicBezTo>
                  <a:cubicBezTo>
                    <a:pt x="9" y="120"/>
                    <a:pt x="9" y="120"/>
                    <a:pt x="9" y="120"/>
                  </a:cubicBezTo>
                  <a:cubicBezTo>
                    <a:pt x="11" y="120"/>
                    <a:pt x="13" y="119"/>
                    <a:pt x="16" y="118"/>
                  </a:cubicBezTo>
                  <a:cubicBezTo>
                    <a:pt x="18" y="117"/>
                    <a:pt x="21" y="116"/>
                    <a:pt x="23" y="116"/>
                  </a:cubicBezTo>
                  <a:cubicBezTo>
                    <a:pt x="25" y="116"/>
                    <a:pt x="26" y="116"/>
                    <a:pt x="28" y="118"/>
                  </a:cubicBezTo>
                  <a:cubicBezTo>
                    <a:pt x="32" y="122"/>
                    <a:pt x="37" y="127"/>
                    <a:pt x="37" y="131"/>
                  </a:cubicBezTo>
                  <a:cubicBezTo>
                    <a:pt x="37" y="133"/>
                    <a:pt x="37" y="134"/>
                    <a:pt x="36" y="135"/>
                  </a:cubicBezTo>
                  <a:cubicBezTo>
                    <a:pt x="34" y="137"/>
                    <a:pt x="32" y="138"/>
                    <a:pt x="29" y="138"/>
                  </a:cubicBezTo>
                  <a:cubicBezTo>
                    <a:pt x="27" y="139"/>
                    <a:pt x="25" y="140"/>
                    <a:pt x="25" y="142"/>
                  </a:cubicBezTo>
                  <a:lnTo>
                    <a:pt x="24" y="142"/>
                  </a:lnTo>
                  <a:close/>
                  <a:moveTo>
                    <a:pt x="15" y="133"/>
                  </a:moveTo>
                  <a:cubicBezTo>
                    <a:pt x="16" y="133"/>
                    <a:pt x="18" y="135"/>
                    <a:pt x="20" y="137"/>
                  </a:cubicBezTo>
                  <a:cubicBezTo>
                    <a:pt x="21" y="138"/>
                    <a:pt x="22" y="139"/>
                    <a:pt x="24" y="141"/>
                  </a:cubicBezTo>
                  <a:cubicBezTo>
                    <a:pt x="25" y="139"/>
                    <a:pt x="27" y="138"/>
                    <a:pt x="29" y="138"/>
                  </a:cubicBezTo>
                  <a:cubicBezTo>
                    <a:pt x="31" y="137"/>
                    <a:pt x="33" y="136"/>
                    <a:pt x="35" y="134"/>
                  </a:cubicBezTo>
                  <a:cubicBezTo>
                    <a:pt x="36" y="133"/>
                    <a:pt x="36" y="132"/>
                    <a:pt x="36" y="131"/>
                  </a:cubicBezTo>
                  <a:cubicBezTo>
                    <a:pt x="36" y="127"/>
                    <a:pt x="31" y="123"/>
                    <a:pt x="27" y="118"/>
                  </a:cubicBezTo>
                  <a:cubicBezTo>
                    <a:pt x="26" y="117"/>
                    <a:pt x="25" y="117"/>
                    <a:pt x="23" y="117"/>
                  </a:cubicBezTo>
                  <a:cubicBezTo>
                    <a:pt x="21" y="117"/>
                    <a:pt x="18" y="118"/>
                    <a:pt x="16" y="119"/>
                  </a:cubicBezTo>
                  <a:cubicBezTo>
                    <a:pt x="14" y="120"/>
                    <a:pt x="12" y="121"/>
                    <a:pt x="9" y="121"/>
                  </a:cubicBezTo>
                  <a:cubicBezTo>
                    <a:pt x="9" y="125"/>
                    <a:pt x="7" y="129"/>
                    <a:pt x="5" y="130"/>
                  </a:cubicBezTo>
                  <a:cubicBezTo>
                    <a:pt x="4" y="131"/>
                    <a:pt x="1" y="135"/>
                    <a:pt x="1" y="137"/>
                  </a:cubicBezTo>
                  <a:cubicBezTo>
                    <a:pt x="1" y="137"/>
                    <a:pt x="1" y="137"/>
                    <a:pt x="2" y="137"/>
                  </a:cubicBezTo>
                  <a:cubicBezTo>
                    <a:pt x="3" y="137"/>
                    <a:pt x="5" y="138"/>
                    <a:pt x="6" y="139"/>
                  </a:cubicBezTo>
                  <a:cubicBezTo>
                    <a:pt x="7" y="140"/>
                    <a:pt x="9" y="141"/>
                    <a:pt x="10" y="141"/>
                  </a:cubicBezTo>
                  <a:cubicBezTo>
                    <a:pt x="10" y="140"/>
                    <a:pt x="10" y="140"/>
                    <a:pt x="10" y="140"/>
                  </a:cubicBezTo>
                  <a:cubicBezTo>
                    <a:pt x="11" y="138"/>
                    <a:pt x="12" y="133"/>
                    <a:pt x="15" y="133"/>
                  </a:cubicBezTo>
                  <a:close/>
                  <a:moveTo>
                    <a:pt x="16" y="64"/>
                  </a:moveTo>
                  <a:cubicBezTo>
                    <a:pt x="15" y="64"/>
                    <a:pt x="14" y="63"/>
                    <a:pt x="14" y="62"/>
                  </a:cubicBezTo>
                  <a:cubicBezTo>
                    <a:pt x="14" y="61"/>
                    <a:pt x="16" y="57"/>
                    <a:pt x="18" y="55"/>
                  </a:cubicBezTo>
                  <a:cubicBezTo>
                    <a:pt x="19" y="54"/>
                    <a:pt x="22" y="50"/>
                    <a:pt x="24" y="50"/>
                  </a:cubicBezTo>
                  <a:cubicBezTo>
                    <a:pt x="24" y="51"/>
                    <a:pt x="24" y="51"/>
                    <a:pt x="24" y="51"/>
                  </a:cubicBezTo>
                  <a:cubicBezTo>
                    <a:pt x="23" y="51"/>
                    <a:pt x="21" y="53"/>
                    <a:pt x="19" y="55"/>
                  </a:cubicBezTo>
                  <a:cubicBezTo>
                    <a:pt x="17" y="58"/>
                    <a:pt x="15" y="61"/>
                    <a:pt x="15" y="62"/>
                  </a:cubicBezTo>
                  <a:cubicBezTo>
                    <a:pt x="15" y="63"/>
                    <a:pt x="15" y="63"/>
                    <a:pt x="16" y="63"/>
                  </a:cubicBezTo>
                  <a:lnTo>
                    <a:pt x="16" y="64"/>
                  </a:lnTo>
                  <a:close/>
                  <a:moveTo>
                    <a:pt x="99" y="17"/>
                  </a:moveTo>
                  <a:cubicBezTo>
                    <a:pt x="99" y="17"/>
                    <a:pt x="99" y="17"/>
                    <a:pt x="99" y="17"/>
                  </a:cubicBezTo>
                  <a:cubicBezTo>
                    <a:pt x="98" y="17"/>
                    <a:pt x="98" y="17"/>
                    <a:pt x="97" y="14"/>
                  </a:cubicBezTo>
                  <a:cubicBezTo>
                    <a:pt x="96" y="9"/>
                    <a:pt x="97" y="1"/>
                    <a:pt x="101" y="0"/>
                  </a:cubicBezTo>
                  <a:cubicBezTo>
                    <a:pt x="103" y="0"/>
                    <a:pt x="104" y="0"/>
                    <a:pt x="104" y="1"/>
                  </a:cubicBezTo>
                  <a:cubicBezTo>
                    <a:pt x="105" y="5"/>
                    <a:pt x="102" y="14"/>
                    <a:pt x="99" y="17"/>
                  </a:cubicBezTo>
                  <a:cubicBezTo>
                    <a:pt x="99" y="17"/>
                    <a:pt x="99" y="17"/>
                    <a:pt x="99" y="17"/>
                  </a:cubicBezTo>
                  <a:close/>
                  <a:moveTo>
                    <a:pt x="102" y="1"/>
                  </a:moveTo>
                  <a:cubicBezTo>
                    <a:pt x="102" y="1"/>
                    <a:pt x="102" y="1"/>
                    <a:pt x="101" y="1"/>
                  </a:cubicBezTo>
                  <a:cubicBezTo>
                    <a:pt x="100" y="2"/>
                    <a:pt x="99" y="4"/>
                    <a:pt x="98" y="6"/>
                  </a:cubicBezTo>
                  <a:cubicBezTo>
                    <a:pt x="97" y="10"/>
                    <a:pt x="98" y="15"/>
                    <a:pt x="99" y="16"/>
                  </a:cubicBezTo>
                  <a:cubicBezTo>
                    <a:pt x="101" y="13"/>
                    <a:pt x="104" y="5"/>
                    <a:pt x="103" y="2"/>
                  </a:cubicBezTo>
                  <a:cubicBezTo>
                    <a:pt x="103" y="1"/>
                    <a:pt x="103" y="1"/>
                    <a:pt x="102"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89" name="Freeform 317"/>
            <p:cNvSpPr>
              <a:spLocks noEditPoints="1"/>
            </p:cNvSpPr>
            <p:nvPr/>
          </p:nvSpPr>
          <p:spPr>
            <a:xfrm>
              <a:off x="4981576" y="2182813"/>
              <a:ext cx="117475" cy="112713"/>
            </a:xfrm>
            <a:custGeom>
              <a:gdLst>
                <a:gd name="T0" fmla="*/ 36 w 70"/>
                <a:gd name="T1" fmla="*/ 25 h 66"/>
                <a:gd name="T2" fmla="*/ 35 w 70"/>
                <a:gd name="T3" fmla="*/ 15 h 66"/>
                <a:gd name="T4" fmla="*/ 37 w 70"/>
                <a:gd name="T5" fmla="*/ 2 h 66"/>
                <a:gd name="T6" fmla="*/ 26 w 70"/>
                <a:gd name="T7" fmla="*/ 8 h 66"/>
                <a:gd name="T8" fmla="*/ 18 w 70"/>
                <a:gd name="T9" fmla="*/ 12 h 66"/>
                <a:gd name="T10" fmla="*/ 18 w 70"/>
                <a:gd name="T11" fmla="*/ 19 h 66"/>
                <a:gd name="T12" fmla="*/ 10 w 70"/>
                <a:gd name="T13" fmla="*/ 15 h 66"/>
                <a:gd name="T14" fmla="*/ 3 w 70"/>
                <a:gd name="T15" fmla="*/ 25 h 66"/>
                <a:gd name="T16" fmla="*/ 3 w 70"/>
                <a:gd name="T17" fmla="*/ 42 h 66"/>
                <a:gd name="T18" fmla="*/ 8 w 70"/>
                <a:gd name="T19" fmla="*/ 54 h 66"/>
                <a:gd name="T20" fmla="*/ 10 w 70"/>
                <a:gd name="T21" fmla="*/ 61 h 66"/>
                <a:gd name="T22" fmla="*/ 24 w 70"/>
                <a:gd name="T23" fmla="*/ 62 h 66"/>
                <a:gd name="T24" fmla="*/ 29 w 70"/>
                <a:gd name="T25" fmla="*/ 62 h 66"/>
                <a:gd name="T26" fmla="*/ 23 w 70"/>
                <a:gd name="T27" fmla="*/ 54 h 66"/>
                <a:gd name="T28" fmla="*/ 31 w 70"/>
                <a:gd name="T29" fmla="*/ 56 h 66"/>
                <a:gd name="T30" fmla="*/ 41 w 70"/>
                <a:gd name="T31" fmla="*/ 55 h 66"/>
                <a:gd name="T32" fmla="*/ 36 w 70"/>
                <a:gd name="T33" fmla="*/ 46 h 66"/>
                <a:gd name="T34" fmla="*/ 29 w 70"/>
                <a:gd name="T35" fmla="*/ 45 h 66"/>
                <a:gd name="T36" fmla="*/ 33 w 70"/>
                <a:gd name="T37" fmla="*/ 36 h 66"/>
                <a:gd name="T38" fmla="*/ 43 w 70"/>
                <a:gd name="T39" fmla="*/ 31 h 66"/>
                <a:gd name="T40" fmla="*/ 36 w 70"/>
                <a:gd name="T41" fmla="*/ 25 h 66"/>
                <a:gd name="T42" fmla="*/ 68 w 70"/>
                <a:gd name="T43" fmla="*/ 38 h 66"/>
                <a:gd name="T44" fmla="*/ 63 w 70"/>
                <a:gd name="T45" fmla="*/ 41 h 66"/>
                <a:gd name="T46" fmla="*/ 58 w 70"/>
                <a:gd name="T47" fmla="*/ 38 h 66"/>
                <a:gd name="T48" fmla="*/ 49 w 70"/>
                <a:gd name="T49" fmla="*/ 42 h 66"/>
                <a:gd name="T50" fmla="*/ 54 w 70"/>
                <a:gd name="T51" fmla="*/ 55 h 66"/>
                <a:gd name="T52" fmla="*/ 50 w 70"/>
                <a:gd name="T53" fmla="*/ 59 h 66"/>
                <a:gd name="T54" fmla="*/ 54 w 70"/>
                <a:gd name="T55" fmla="*/ 65 h 66"/>
                <a:gd name="T56" fmla="*/ 65 w 70"/>
                <a:gd name="T57" fmla="*/ 53 h 66"/>
                <a:gd name="T58" fmla="*/ 68 w 70"/>
                <a:gd name="T59" fmla="*/ 38 h 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 h="66">
                  <a:moveTo>
                    <a:pt x="36" y="25"/>
                  </a:moveTo>
                  <a:cubicBezTo>
                    <a:pt x="34" y="24"/>
                    <a:pt x="33" y="17"/>
                    <a:pt x="35" y="15"/>
                  </a:cubicBezTo>
                  <a:cubicBezTo>
                    <a:pt x="38" y="12"/>
                    <a:pt x="39" y="4"/>
                    <a:pt x="37" y="2"/>
                  </a:cubicBezTo>
                  <a:cubicBezTo>
                    <a:pt x="35" y="0"/>
                    <a:pt x="27" y="2"/>
                    <a:pt x="26" y="8"/>
                  </a:cubicBezTo>
                  <a:cubicBezTo>
                    <a:pt x="26" y="14"/>
                    <a:pt x="19" y="11"/>
                    <a:pt x="18" y="12"/>
                  </a:cubicBezTo>
                  <a:cubicBezTo>
                    <a:pt x="16" y="14"/>
                    <a:pt x="21" y="16"/>
                    <a:pt x="18" y="19"/>
                  </a:cubicBezTo>
                  <a:cubicBezTo>
                    <a:pt x="15" y="21"/>
                    <a:pt x="14" y="15"/>
                    <a:pt x="10" y="15"/>
                  </a:cubicBezTo>
                  <a:cubicBezTo>
                    <a:pt x="5" y="14"/>
                    <a:pt x="5" y="21"/>
                    <a:pt x="3" y="25"/>
                  </a:cubicBezTo>
                  <a:cubicBezTo>
                    <a:pt x="0" y="29"/>
                    <a:pt x="2" y="36"/>
                    <a:pt x="3" y="42"/>
                  </a:cubicBezTo>
                  <a:cubicBezTo>
                    <a:pt x="3" y="47"/>
                    <a:pt x="10" y="50"/>
                    <a:pt x="8" y="54"/>
                  </a:cubicBezTo>
                  <a:cubicBezTo>
                    <a:pt x="7" y="56"/>
                    <a:pt x="9" y="59"/>
                    <a:pt x="10" y="61"/>
                  </a:cubicBezTo>
                  <a:cubicBezTo>
                    <a:pt x="16" y="61"/>
                    <a:pt x="21" y="61"/>
                    <a:pt x="24" y="62"/>
                  </a:cubicBezTo>
                  <a:cubicBezTo>
                    <a:pt x="25" y="62"/>
                    <a:pt x="27" y="62"/>
                    <a:pt x="29" y="62"/>
                  </a:cubicBezTo>
                  <a:cubicBezTo>
                    <a:pt x="27" y="59"/>
                    <a:pt x="23" y="56"/>
                    <a:pt x="23" y="54"/>
                  </a:cubicBezTo>
                  <a:cubicBezTo>
                    <a:pt x="24" y="51"/>
                    <a:pt x="28" y="53"/>
                    <a:pt x="31" y="56"/>
                  </a:cubicBezTo>
                  <a:cubicBezTo>
                    <a:pt x="34" y="58"/>
                    <a:pt x="40" y="59"/>
                    <a:pt x="41" y="55"/>
                  </a:cubicBezTo>
                  <a:cubicBezTo>
                    <a:pt x="41" y="53"/>
                    <a:pt x="40" y="44"/>
                    <a:pt x="36" y="46"/>
                  </a:cubicBezTo>
                  <a:cubicBezTo>
                    <a:pt x="32" y="48"/>
                    <a:pt x="31" y="48"/>
                    <a:pt x="29" y="45"/>
                  </a:cubicBezTo>
                  <a:cubicBezTo>
                    <a:pt x="28" y="43"/>
                    <a:pt x="32" y="40"/>
                    <a:pt x="33" y="36"/>
                  </a:cubicBezTo>
                  <a:cubicBezTo>
                    <a:pt x="34" y="33"/>
                    <a:pt x="42" y="34"/>
                    <a:pt x="43" y="31"/>
                  </a:cubicBezTo>
                  <a:cubicBezTo>
                    <a:pt x="44" y="29"/>
                    <a:pt x="38" y="26"/>
                    <a:pt x="36" y="25"/>
                  </a:cubicBezTo>
                  <a:close/>
                  <a:moveTo>
                    <a:pt x="68" y="38"/>
                  </a:moveTo>
                  <a:cubicBezTo>
                    <a:pt x="66" y="37"/>
                    <a:pt x="65" y="41"/>
                    <a:pt x="63" y="41"/>
                  </a:cubicBezTo>
                  <a:cubicBezTo>
                    <a:pt x="61" y="42"/>
                    <a:pt x="59" y="33"/>
                    <a:pt x="58" y="38"/>
                  </a:cubicBezTo>
                  <a:cubicBezTo>
                    <a:pt x="57" y="42"/>
                    <a:pt x="53" y="36"/>
                    <a:pt x="49" y="42"/>
                  </a:cubicBezTo>
                  <a:cubicBezTo>
                    <a:pt x="45" y="48"/>
                    <a:pt x="51" y="53"/>
                    <a:pt x="54" y="55"/>
                  </a:cubicBezTo>
                  <a:cubicBezTo>
                    <a:pt x="57" y="57"/>
                    <a:pt x="54" y="60"/>
                    <a:pt x="50" y="59"/>
                  </a:cubicBezTo>
                  <a:cubicBezTo>
                    <a:pt x="46" y="58"/>
                    <a:pt x="49" y="65"/>
                    <a:pt x="54" y="65"/>
                  </a:cubicBezTo>
                  <a:cubicBezTo>
                    <a:pt x="60" y="66"/>
                    <a:pt x="65" y="56"/>
                    <a:pt x="65" y="53"/>
                  </a:cubicBezTo>
                  <a:cubicBezTo>
                    <a:pt x="64" y="51"/>
                    <a:pt x="70" y="39"/>
                    <a:pt x="68" y="3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0" name="Freeform 318"/>
            <p:cNvSpPr>
              <a:spLocks noEditPoints="1"/>
            </p:cNvSpPr>
            <p:nvPr/>
          </p:nvSpPr>
          <p:spPr>
            <a:xfrm>
              <a:off x="5062538" y="1731963"/>
              <a:ext cx="306388" cy="539750"/>
            </a:xfrm>
            <a:custGeom>
              <a:gdLst>
                <a:gd name="T0" fmla="*/ 177 w 181"/>
                <a:gd name="T1" fmla="*/ 67 h 318"/>
                <a:gd name="T2" fmla="*/ 174 w 181"/>
                <a:gd name="T3" fmla="*/ 42 h 318"/>
                <a:gd name="T4" fmla="*/ 152 w 181"/>
                <a:gd name="T5" fmla="*/ 16 h 318"/>
                <a:gd name="T6" fmla="*/ 127 w 181"/>
                <a:gd name="T7" fmla="*/ 14 h 318"/>
                <a:gd name="T8" fmla="*/ 102 w 181"/>
                <a:gd name="T9" fmla="*/ 14 h 318"/>
                <a:gd name="T10" fmla="*/ 87 w 181"/>
                <a:gd name="T11" fmla="*/ 29 h 318"/>
                <a:gd name="T12" fmla="*/ 72 w 181"/>
                <a:gd name="T13" fmla="*/ 47 h 318"/>
                <a:gd name="T14" fmla="*/ 61 w 181"/>
                <a:gd name="T15" fmla="*/ 66 h 318"/>
                <a:gd name="T16" fmla="*/ 47 w 181"/>
                <a:gd name="T17" fmla="*/ 77 h 318"/>
                <a:gd name="T18" fmla="*/ 37 w 181"/>
                <a:gd name="T19" fmla="*/ 109 h 318"/>
                <a:gd name="T20" fmla="*/ 40 w 181"/>
                <a:gd name="T21" fmla="*/ 125 h 318"/>
                <a:gd name="T22" fmla="*/ 16 w 181"/>
                <a:gd name="T23" fmla="*/ 135 h 318"/>
                <a:gd name="T24" fmla="*/ 15 w 181"/>
                <a:gd name="T25" fmla="*/ 164 h 318"/>
                <a:gd name="T26" fmla="*/ 24 w 181"/>
                <a:gd name="T27" fmla="*/ 188 h 318"/>
                <a:gd name="T28" fmla="*/ 19 w 181"/>
                <a:gd name="T29" fmla="*/ 203 h 318"/>
                <a:gd name="T30" fmla="*/ 10 w 181"/>
                <a:gd name="T31" fmla="*/ 220 h 318"/>
                <a:gd name="T32" fmla="*/ 5 w 181"/>
                <a:gd name="T33" fmla="*/ 242 h 318"/>
                <a:gd name="T34" fmla="*/ 0 w 181"/>
                <a:gd name="T35" fmla="*/ 242 h 318"/>
                <a:gd name="T36" fmla="*/ 12 w 181"/>
                <a:gd name="T37" fmla="*/ 272 h 318"/>
                <a:gd name="T38" fmla="*/ 22 w 181"/>
                <a:gd name="T39" fmla="*/ 296 h 318"/>
                <a:gd name="T40" fmla="*/ 26 w 181"/>
                <a:gd name="T41" fmla="*/ 315 h 318"/>
                <a:gd name="T42" fmla="*/ 43 w 181"/>
                <a:gd name="T43" fmla="*/ 306 h 318"/>
                <a:gd name="T44" fmla="*/ 60 w 181"/>
                <a:gd name="T45" fmla="*/ 300 h 318"/>
                <a:gd name="T46" fmla="*/ 73 w 181"/>
                <a:gd name="T47" fmla="*/ 296 h 318"/>
                <a:gd name="T48" fmla="*/ 76 w 181"/>
                <a:gd name="T49" fmla="*/ 283 h 318"/>
                <a:gd name="T50" fmla="*/ 78 w 181"/>
                <a:gd name="T51" fmla="*/ 252 h 318"/>
                <a:gd name="T52" fmla="*/ 100 w 181"/>
                <a:gd name="T53" fmla="*/ 231 h 318"/>
                <a:gd name="T54" fmla="*/ 94 w 181"/>
                <a:gd name="T55" fmla="*/ 204 h 318"/>
                <a:gd name="T56" fmla="*/ 82 w 181"/>
                <a:gd name="T57" fmla="*/ 185 h 318"/>
                <a:gd name="T58" fmla="*/ 92 w 181"/>
                <a:gd name="T59" fmla="*/ 159 h 318"/>
                <a:gd name="T60" fmla="*/ 109 w 181"/>
                <a:gd name="T61" fmla="*/ 141 h 318"/>
                <a:gd name="T62" fmla="*/ 145 w 181"/>
                <a:gd name="T63" fmla="*/ 117 h 318"/>
                <a:gd name="T64" fmla="*/ 149 w 181"/>
                <a:gd name="T65" fmla="*/ 91 h 318"/>
                <a:gd name="T66" fmla="*/ 174 w 181"/>
                <a:gd name="T67" fmla="*/ 82 h 318"/>
                <a:gd name="T68" fmla="*/ 179 w 181"/>
                <a:gd name="T69" fmla="*/ 75 h 318"/>
                <a:gd name="T70" fmla="*/ 97 w 181"/>
                <a:gd name="T71" fmla="*/ 283 h 3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18">
                  <a:moveTo>
                    <a:pt x="179" y="75"/>
                  </a:moveTo>
                  <a:cubicBezTo>
                    <a:pt x="177" y="73"/>
                    <a:pt x="173" y="67"/>
                    <a:pt x="177" y="67"/>
                  </a:cubicBezTo>
                  <a:cubicBezTo>
                    <a:pt x="180" y="67"/>
                    <a:pt x="181" y="57"/>
                    <a:pt x="177" y="55"/>
                  </a:cubicBezTo>
                  <a:cubicBezTo>
                    <a:pt x="173" y="53"/>
                    <a:pt x="177" y="44"/>
                    <a:pt x="174" y="42"/>
                  </a:cubicBezTo>
                  <a:cubicBezTo>
                    <a:pt x="170" y="40"/>
                    <a:pt x="172" y="33"/>
                    <a:pt x="173" y="28"/>
                  </a:cubicBezTo>
                  <a:cubicBezTo>
                    <a:pt x="174" y="23"/>
                    <a:pt x="160" y="19"/>
                    <a:pt x="152" y="16"/>
                  </a:cubicBezTo>
                  <a:cubicBezTo>
                    <a:pt x="145" y="12"/>
                    <a:pt x="141" y="7"/>
                    <a:pt x="135" y="3"/>
                  </a:cubicBezTo>
                  <a:cubicBezTo>
                    <a:pt x="129" y="0"/>
                    <a:pt x="127" y="9"/>
                    <a:pt x="127" y="14"/>
                  </a:cubicBezTo>
                  <a:cubicBezTo>
                    <a:pt x="127" y="20"/>
                    <a:pt x="121" y="20"/>
                    <a:pt x="117" y="17"/>
                  </a:cubicBezTo>
                  <a:cubicBezTo>
                    <a:pt x="113" y="13"/>
                    <a:pt x="108" y="17"/>
                    <a:pt x="102" y="14"/>
                  </a:cubicBezTo>
                  <a:cubicBezTo>
                    <a:pt x="96" y="11"/>
                    <a:pt x="98" y="20"/>
                    <a:pt x="98" y="25"/>
                  </a:cubicBezTo>
                  <a:cubicBezTo>
                    <a:pt x="98" y="29"/>
                    <a:pt x="92" y="29"/>
                    <a:pt x="87" y="29"/>
                  </a:cubicBezTo>
                  <a:cubicBezTo>
                    <a:pt x="83" y="29"/>
                    <a:pt x="76" y="32"/>
                    <a:pt x="76" y="37"/>
                  </a:cubicBezTo>
                  <a:cubicBezTo>
                    <a:pt x="76" y="42"/>
                    <a:pt x="70" y="45"/>
                    <a:pt x="72" y="47"/>
                  </a:cubicBezTo>
                  <a:cubicBezTo>
                    <a:pt x="74" y="50"/>
                    <a:pt x="72" y="53"/>
                    <a:pt x="69" y="55"/>
                  </a:cubicBezTo>
                  <a:cubicBezTo>
                    <a:pt x="66" y="57"/>
                    <a:pt x="63" y="64"/>
                    <a:pt x="61" y="66"/>
                  </a:cubicBezTo>
                  <a:cubicBezTo>
                    <a:pt x="59" y="68"/>
                    <a:pt x="63" y="72"/>
                    <a:pt x="58" y="74"/>
                  </a:cubicBezTo>
                  <a:cubicBezTo>
                    <a:pt x="54" y="77"/>
                    <a:pt x="49" y="75"/>
                    <a:pt x="47" y="77"/>
                  </a:cubicBezTo>
                  <a:cubicBezTo>
                    <a:pt x="45" y="79"/>
                    <a:pt x="47" y="84"/>
                    <a:pt x="47" y="90"/>
                  </a:cubicBezTo>
                  <a:cubicBezTo>
                    <a:pt x="46" y="96"/>
                    <a:pt x="41" y="103"/>
                    <a:pt x="37" y="109"/>
                  </a:cubicBezTo>
                  <a:cubicBezTo>
                    <a:pt x="33" y="114"/>
                    <a:pt x="38" y="116"/>
                    <a:pt x="40" y="116"/>
                  </a:cubicBezTo>
                  <a:cubicBezTo>
                    <a:pt x="43" y="117"/>
                    <a:pt x="43" y="121"/>
                    <a:pt x="40" y="125"/>
                  </a:cubicBezTo>
                  <a:cubicBezTo>
                    <a:pt x="38" y="129"/>
                    <a:pt x="34" y="126"/>
                    <a:pt x="31" y="125"/>
                  </a:cubicBezTo>
                  <a:cubicBezTo>
                    <a:pt x="28" y="125"/>
                    <a:pt x="20" y="128"/>
                    <a:pt x="16" y="135"/>
                  </a:cubicBezTo>
                  <a:cubicBezTo>
                    <a:pt x="12" y="142"/>
                    <a:pt x="13" y="146"/>
                    <a:pt x="15" y="150"/>
                  </a:cubicBezTo>
                  <a:cubicBezTo>
                    <a:pt x="16" y="153"/>
                    <a:pt x="11" y="157"/>
                    <a:pt x="15" y="164"/>
                  </a:cubicBezTo>
                  <a:cubicBezTo>
                    <a:pt x="18" y="171"/>
                    <a:pt x="13" y="172"/>
                    <a:pt x="14" y="178"/>
                  </a:cubicBezTo>
                  <a:cubicBezTo>
                    <a:pt x="15" y="183"/>
                    <a:pt x="23" y="183"/>
                    <a:pt x="24" y="188"/>
                  </a:cubicBezTo>
                  <a:cubicBezTo>
                    <a:pt x="25" y="194"/>
                    <a:pt x="21" y="196"/>
                    <a:pt x="18" y="196"/>
                  </a:cubicBezTo>
                  <a:cubicBezTo>
                    <a:pt x="16" y="196"/>
                    <a:pt x="16" y="201"/>
                    <a:pt x="19" y="203"/>
                  </a:cubicBezTo>
                  <a:cubicBezTo>
                    <a:pt x="22" y="204"/>
                    <a:pt x="21" y="214"/>
                    <a:pt x="20" y="217"/>
                  </a:cubicBezTo>
                  <a:cubicBezTo>
                    <a:pt x="18" y="219"/>
                    <a:pt x="9" y="217"/>
                    <a:pt x="10" y="220"/>
                  </a:cubicBezTo>
                  <a:cubicBezTo>
                    <a:pt x="11" y="224"/>
                    <a:pt x="8" y="229"/>
                    <a:pt x="8" y="232"/>
                  </a:cubicBezTo>
                  <a:cubicBezTo>
                    <a:pt x="8" y="235"/>
                    <a:pt x="7" y="244"/>
                    <a:pt x="5" y="242"/>
                  </a:cubicBezTo>
                  <a:cubicBezTo>
                    <a:pt x="3" y="241"/>
                    <a:pt x="2" y="241"/>
                    <a:pt x="0" y="241"/>
                  </a:cubicBezTo>
                  <a:cubicBezTo>
                    <a:pt x="0" y="242"/>
                    <a:pt x="0" y="242"/>
                    <a:pt x="0" y="242"/>
                  </a:cubicBezTo>
                  <a:cubicBezTo>
                    <a:pt x="0" y="248"/>
                    <a:pt x="2" y="253"/>
                    <a:pt x="6" y="257"/>
                  </a:cubicBezTo>
                  <a:cubicBezTo>
                    <a:pt x="11" y="261"/>
                    <a:pt x="7" y="267"/>
                    <a:pt x="12" y="272"/>
                  </a:cubicBezTo>
                  <a:cubicBezTo>
                    <a:pt x="16" y="277"/>
                    <a:pt x="14" y="281"/>
                    <a:pt x="19" y="285"/>
                  </a:cubicBezTo>
                  <a:cubicBezTo>
                    <a:pt x="23" y="289"/>
                    <a:pt x="24" y="291"/>
                    <a:pt x="22" y="296"/>
                  </a:cubicBezTo>
                  <a:cubicBezTo>
                    <a:pt x="20" y="301"/>
                    <a:pt x="26" y="300"/>
                    <a:pt x="26" y="303"/>
                  </a:cubicBezTo>
                  <a:cubicBezTo>
                    <a:pt x="26" y="306"/>
                    <a:pt x="25" y="312"/>
                    <a:pt x="26" y="315"/>
                  </a:cubicBezTo>
                  <a:cubicBezTo>
                    <a:pt x="28" y="318"/>
                    <a:pt x="31" y="315"/>
                    <a:pt x="38" y="315"/>
                  </a:cubicBezTo>
                  <a:cubicBezTo>
                    <a:pt x="44" y="314"/>
                    <a:pt x="43" y="310"/>
                    <a:pt x="43" y="306"/>
                  </a:cubicBezTo>
                  <a:cubicBezTo>
                    <a:pt x="43" y="302"/>
                    <a:pt x="47" y="304"/>
                    <a:pt x="47" y="301"/>
                  </a:cubicBezTo>
                  <a:cubicBezTo>
                    <a:pt x="48" y="299"/>
                    <a:pt x="55" y="298"/>
                    <a:pt x="60" y="300"/>
                  </a:cubicBezTo>
                  <a:cubicBezTo>
                    <a:pt x="64" y="302"/>
                    <a:pt x="67" y="299"/>
                    <a:pt x="68" y="294"/>
                  </a:cubicBezTo>
                  <a:cubicBezTo>
                    <a:pt x="69" y="288"/>
                    <a:pt x="72" y="295"/>
                    <a:pt x="73" y="296"/>
                  </a:cubicBezTo>
                  <a:cubicBezTo>
                    <a:pt x="75" y="297"/>
                    <a:pt x="79" y="288"/>
                    <a:pt x="81" y="282"/>
                  </a:cubicBezTo>
                  <a:cubicBezTo>
                    <a:pt x="83" y="276"/>
                    <a:pt x="81" y="277"/>
                    <a:pt x="76" y="283"/>
                  </a:cubicBezTo>
                  <a:cubicBezTo>
                    <a:pt x="71" y="288"/>
                    <a:pt x="74" y="277"/>
                    <a:pt x="76" y="273"/>
                  </a:cubicBezTo>
                  <a:cubicBezTo>
                    <a:pt x="78" y="268"/>
                    <a:pt x="78" y="255"/>
                    <a:pt x="78" y="252"/>
                  </a:cubicBezTo>
                  <a:cubicBezTo>
                    <a:pt x="79" y="249"/>
                    <a:pt x="80" y="245"/>
                    <a:pt x="86" y="243"/>
                  </a:cubicBezTo>
                  <a:cubicBezTo>
                    <a:pt x="93" y="242"/>
                    <a:pt x="101" y="234"/>
                    <a:pt x="100" y="231"/>
                  </a:cubicBezTo>
                  <a:cubicBezTo>
                    <a:pt x="98" y="228"/>
                    <a:pt x="108" y="222"/>
                    <a:pt x="108" y="219"/>
                  </a:cubicBezTo>
                  <a:cubicBezTo>
                    <a:pt x="108" y="216"/>
                    <a:pt x="98" y="206"/>
                    <a:pt x="94" y="204"/>
                  </a:cubicBezTo>
                  <a:cubicBezTo>
                    <a:pt x="91" y="202"/>
                    <a:pt x="83" y="204"/>
                    <a:pt x="84" y="201"/>
                  </a:cubicBezTo>
                  <a:cubicBezTo>
                    <a:pt x="85" y="199"/>
                    <a:pt x="83" y="190"/>
                    <a:pt x="82" y="185"/>
                  </a:cubicBezTo>
                  <a:cubicBezTo>
                    <a:pt x="81" y="180"/>
                    <a:pt x="88" y="175"/>
                    <a:pt x="88" y="171"/>
                  </a:cubicBezTo>
                  <a:cubicBezTo>
                    <a:pt x="88" y="166"/>
                    <a:pt x="87" y="161"/>
                    <a:pt x="92" y="159"/>
                  </a:cubicBezTo>
                  <a:cubicBezTo>
                    <a:pt x="96" y="158"/>
                    <a:pt x="93" y="154"/>
                    <a:pt x="98" y="153"/>
                  </a:cubicBezTo>
                  <a:cubicBezTo>
                    <a:pt x="104" y="151"/>
                    <a:pt x="103" y="144"/>
                    <a:pt x="109" y="141"/>
                  </a:cubicBezTo>
                  <a:cubicBezTo>
                    <a:pt x="114" y="139"/>
                    <a:pt x="115" y="137"/>
                    <a:pt x="122" y="133"/>
                  </a:cubicBezTo>
                  <a:cubicBezTo>
                    <a:pt x="130" y="130"/>
                    <a:pt x="143" y="121"/>
                    <a:pt x="145" y="117"/>
                  </a:cubicBezTo>
                  <a:cubicBezTo>
                    <a:pt x="147" y="112"/>
                    <a:pt x="137" y="107"/>
                    <a:pt x="143" y="103"/>
                  </a:cubicBezTo>
                  <a:cubicBezTo>
                    <a:pt x="149" y="98"/>
                    <a:pt x="144" y="93"/>
                    <a:pt x="149" y="91"/>
                  </a:cubicBezTo>
                  <a:cubicBezTo>
                    <a:pt x="153" y="89"/>
                    <a:pt x="155" y="87"/>
                    <a:pt x="158" y="83"/>
                  </a:cubicBezTo>
                  <a:cubicBezTo>
                    <a:pt x="161" y="80"/>
                    <a:pt x="166" y="83"/>
                    <a:pt x="174" y="82"/>
                  </a:cubicBezTo>
                  <a:cubicBezTo>
                    <a:pt x="176" y="81"/>
                    <a:pt x="179" y="82"/>
                    <a:pt x="181" y="82"/>
                  </a:cubicBezTo>
                  <a:cubicBezTo>
                    <a:pt x="181" y="79"/>
                    <a:pt x="180" y="76"/>
                    <a:pt x="179" y="75"/>
                  </a:cubicBezTo>
                  <a:close/>
                  <a:moveTo>
                    <a:pt x="107" y="264"/>
                  </a:moveTo>
                  <a:cubicBezTo>
                    <a:pt x="98" y="264"/>
                    <a:pt x="95" y="280"/>
                    <a:pt x="97" y="283"/>
                  </a:cubicBezTo>
                  <a:cubicBezTo>
                    <a:pt x="98" y="285"/>
                    <a:pt x="115" y="264"/>
                    <a:pt x="107" y="26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1" name="Freeform 319"/>
            <p:cNvSpPr>
              <a:spLocks noEditPoints="1"/>
            </p:cNvSpPr>
            <p:nvPr/>
          </p:nvSpPr>
          <p:spPr>
            <a:xfrm>
              <a:off x="5314951" y="2111375"/>
              <a:ext cx="155575" cy="76200"/>
            </a:xfrm>
            <a:custGeom>
              <a:gdLst>
                <a:gd name="T0" fmla="*/ 85 w 92"/>
                <a:gd name="T1" fmla="*/ 13 h 45"/>
                <a:gd name="T2" fmla="*/ 88 w 92"/>
                <a:gd name="T3" fmla="*/ 3 h 45"/>
                <a:gd name="T4" fmla="*/ 85 w 92"/>
                <a:gd name="T5" fmla="*/ 5 h 45"/>
                <a:gd name="T6" fmla="*/ 57 w 92"/>
                <a:gd name="T7" fmla="*/ 2 h 45"/>
                <a:gd name="T8" fmla="*/ 30 w 92"/>
                <a:gd name="T9" fmla="*/ 7 h 45"/>
                <a:gd name="T10" fmla="*/ 22 w 92"/>
                <a:gd name="T11" fmla="*/ 16 h 45"/>
                <a:gd name="T12" fmla="*/ 25 w 92"/>
                <a:gd name="T13" fmla="*/ 25 h 45"/>
                <a:gd name="T14" fmla="*/ 33 w 92"/>
                <a:gd name="T15" fmla="*/ 30 h 45"/>
                <a:gd name="T16" fmla="*/ 36 w 92"/>
                <a:gd name="T17" fmla="*/ 36 h 45"/>
                <a:gd name="T18" fmla="*/ 36 w 92"/>
                <a:gd name="T19" fmla="*/ 36 h 45"/>
                <a:gd name="T20" fmla="*/ 52 w 92"/>
                <a:gd name="T21" fmla="*/ 36 h 45"/>
                <a:gd name="T22" fmla="*/ 66 w 92"/>
                <a:gd name="T23" fmla="*/ 44 h 45"/>
                <a:gd name="T24" fmla="*/ 80 w 92"/>
                <a:gd name="T25" fmla="*/ 45 h 45"/>
                <a:gd name="T26" fmla="*/ 81 w 92"/>
                <a:gd name="T27" fmla="*/ 41 h 45"/>
                <a:gd name="T28" fmla="*/ 85 w 92"/>
                <a:gd name="T29" fmla="*/ 36 h 45"/>
                <a:gd name="T30" fmla="*/ 81 w 92"/>
                <a:gd name="T31" fmla="*/ 29 h 45"/>
                <a:gd name="T32" fmla="*/ 80 w 92"/>
                <a:gd name="T33" fmla="*/ 20 h 45"/>
                <a:gd name="T34" fmla="*/ 85 w 92"/>
                <a:gd name="T35" fmla="*/ 13 h 45"/>
                <a:gd name="T36" fmla="*/ 9 w 92"/>
                <a:gd name="T37" fmla="*/ 23 h 45"/>
                <a:gd name="T38" fmla="*/ 3 w 92"/>
                <a:gd name="T39" fmla="*/ 36 h 45"/>
                <a:gd name="T40" fmla="*/ 18 w 92"/>
                <a:gd name="T41" fmla="*/ 26 h 45"/>
                <a:gd name="T42" fmla="*/ 9 w 92"/>
                <a:gd name="T43" fmla="*/ 23 h 45"/>
                <a:gd name="T44" fmla="*/ 15 w 92"/>
                <a:gd name="T45" fmla="*/ 17 h 45"/>
                <a:gd name="T46" fmla="*/ 6 w 92"/>
                <a:gd name="T47" fmla="*/ 18 h 45"/>
                <a:gd name="T48" fmla="*/ 15 w 92"/>
                <a:gd name="T49" fmla="*/ 17 h 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45">
                  <a:moveTo>
                    <a:pt x="85" y="13"/>
                  </a:moveTo>
                  <a:cubicBezTo>
                    <a:pt x="87" y="9"/>
                    <a:pt x="92" y="8"/>
                    <a:pt x="88" y="3"/>
                  </a:cubicBezTo>
                  <a:cubicBezTo>
                    <a:pt x="87" y="4"/>
                    <a:pt x="87" y="4"/>
                    <a:pt x="85" y="5"/>
                  </a:cubicBezTo>
                  <a:cubicBezTo>
                    <a:pt x="79" y="6"/>
                    <a:pt x="65" y="0"/>
                    <a:pt x="57" y="2"/>
                  </a:cubicBezTo>
                  <a:cubicBezTo>
                    <a:pt x="50" y="3"/>
                    <a:pt x="34" y="3"/>
                    <a:pt x="30" y="7"/>
                  </a:cubicBezTo>
                  <a:cubicBezTo>
                    <a:pt x="27" y="11"/>
                    <a:pt x="17" y="12"/>
                    <a:pt x="22" y="16"/>
                  </a:cubicBezTo>
                  <a:cubicBezTo>
                    <a:pt x="26" y="19"/>
                    <a:pt x="22" y="21"/>
                    <a:pt x="25" y="25"/>
                  </a:cubicBezTo>
                  <a:cubicBezTo>
                    <a:pt x="28" y="29"/>
                    <a:pt x="29" y="31"/>
                    <a:pt x="33" y="30"/>
                  </a:cubicBezTo>
                  <a:cubicBezTo>
                    <a:pt x="37" y="29"/>
                    <a:pt x="40" y="31"/>
                    <a:pt x="36" y="36"/>
                  </a:cubicBezTo>
                  <a:cubicBezTo>
                    <a:pt x="36" y="36"/>
                    <a:pt x="36" y="36"/>
                    <a:pt x="36" y="36"/>
                  </a:cubicBezTo>
                  <a:cubicBezTo>
                    <a:pt x="43" y="35"/>
                    <a:pt x="50" y="35"/>
                    <a:pt x="52" y="36"/>
                  </a:cubicBezTo>
                  <a:cubicBezTo>
                    <a:pt x="53" y="37"/>
                    <a:pt x="64" y="45"/>
                    <a:pt x="66" y="44"/>
                  </a:cubicBezTo>
                  <a:cubicBezTo>
                    <a:pt x="68" y="44"/>
                    <a:pt x="75" y="44"/>
                    <a:pt x="80" y="45"/>
                  </a:cubicBezTo>
                  <a:cubicBezTo>
                    <a:pt x="80" y="44"/>
                    <a:pt x="80" y="42"/>
                    <a:pt x="81" y="41"/>
                  </a:cubicBezTo>
                  <a:cubicBezTo>
                    <a:pt x="83" y="40"/>
                    <a:pt x="87" y="40"/>
                    <a:pt x="85" y="36"/>
                  </a:cubicBezTo>
                  <a:cubicBezTo>
                    <a:pt x="82" y="33"/>
                    <a:pt x="82" y="32"/>
                    <a:pt x="81" y="29"/>
                  </a:cubicBezTo>
                  <a:cubicBezTo>
                    <a:pt x="81" y="25"/>
                    <a:pt x="80" y="23"/>
                    <a:pt x="80" y="20"/>
                  </a:cubicBezTo>
                  <a:cubicBezTo>
                    <a:pt x="81" y="18"/>
                    <a:pt x="83" y="17"/>
                    <a:pt x="85" y="13"/>
                  </a:cubicBezTo>
                  <a:close/>
                  <a:moveTo>
                    <a:pt x="9" y="23"/>
                  </a:moveTo>
                  <a:cubicBezTo>
                    <a:pt x="1" y="25"/>
                    <a:pt x="0" y="36"/>
                    <a:pt x="3" y="36"/>
                  </a:cubicBezTo>
                  <a:cubicBezTo>
                    <a:pt x="7" y="36"/>
                    <a:pt x="16" y="28"/>
                    <a:pt x="18" y="26"/>
                  </a:cubicBezTo>
                  <a:cubicBezTo>
                    <a:pt x="21" y="24"/>
                    <a:pt x="17" y="21"/>
                    <a:pt x="9" y="23"/>
                  </a:cubicBezTo>
                  <a:close/>
                  <a:moveTo>
                    <a:pt x="15" y="17"/>
                  </a:moveTo>
                  <a:cubicBezTo>
                    <a:pt x="17" y="14"/>
                    <a:pt x="3" y="15"/>
                    <a:pt x="6" y="18"/>
                  </a:cubicBezTo>
                  <a:cubicBezTo>
                    <a:pt x="9" y="20"/>
                    <a:pt x="14" y="20"/>
                    <a:pt x="15" y="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2" name="Freeform 320"/>
            <p:cNvSpPr/>
            <p:nvPr/>
          </p:nvSpPr>
          <p:spPr>
            <a:xfrm>
              <a:off x="5602288" y="3684588"/>
              <a:ext cx="198438" cy="242888"/>
            </a:xfrm>
            <a:custGeom>
              <a:gdLst>
                <a:gd name="T0" fmla="*/ 103 w 117"/>
                <a:gd name="T1" fmla="*/ 33 h 143"/>
                <a:gd name="T2" fmla="*/ 110 w 117"/>
                <a:gd name="T3" fmla="*/ 23 h 143"/>
                <a:gd name="T4" fmla="*/ 117 w 117"/>
                <a:gd name="T5" fmla="*/ 12 h 143"/>
                <a:gd name="T6" fmla="*/ 109 w 117"/>
                <a:gd name="T7" fmla="*/ 14 h 143"/>
                <a:gd name="T8" fmla="*/ 102 w 117"/>
                <a:gd name="T9" fmla="*/ 12 h 143"/>
                <a:gd name="T10" fmla="*/ 90 w 117"/>
                <a:gd name="T11" fmla="*/ 14 h 143"/>
                <a:gd name="T12" fmla="*/ 80 w 117"/>
                <a:gd name="T13" fmla="*/ 22 h 143"/>
                <a:gd name="T14" fmla="*/ 63 w 117"/>
                <a:gd name="T15" fmla="*/ 19 h 143"/>
                <a:gd name="T16" fmla="*/ 47 w 117"/>
                <a:gd name="T17" fmla="*/ 9 h 143"/>
                <a:gd name="T18" fmla="*/ 32 w 117"/>
                <a:gd name="T19" fmla="*/ 6 h 143"/>
                <a:gd name="T20" fmla="*/ 23 w 117"/>
                <a:gd name="T21" fmla="*/ 2 h 143"/>
                <a:gd name="T22" fmla="*/ 15 w 117"/>
                <a:gd name="T23" fmla="*/ 1 h 143"/>
                <a:gd name="T24" fmla="*/ 3 w 117"/>
                <a:gd name="T25" fmla="*/ 9 h 143"/>
                <a:gd name="T26" fmla="*/ 1 w 117"/>
                <a:gd name="T27" fmla="*/ 11 h 143"/>
                <a:gd name="T28" fmla="*/ 8 w 117"/>
                <a:gd name="T29" fmla="*/ 17 h 143"/>
                <a:gd name="T30" fmla="*/ 9 w 117"/>
                <a:gd name="T31" fmla="*/ 28 h 143"/>
                <a:gd name="T32" fmla="*/ 15 w 117"/>
                <a:gd name="T33" fmla="*/ 33 h 143"/>
                <a:gd name="T34" fmla="*/ 14 w 117"/>
                <a:gd name="T35" fmla="*/ 45 h 143"/>
                <a:gd name="T36" fmla="*/ 5 w 117"/>
                <a:gd name="T37" fmla="*/ 62 h 143"/>
                <a:gd name="T38" fmla="*/ 0 w 117"/>
                <a:gd name="T39" fmla="*/ 71 h 143"/>
                <a:gd name="T40" fmla="*/ 10 w 117"/>
                <a:gd name="T41" fmla="*/ 76 h 143"/>
                <a:gd name="T42" fmla="*/ 0 w 117"/>
                <a:gd name="T43" fmla="*/ 86 h 143"/>
                <a:gd name="T44" fmla="*/ 0 w 117"/>
                <a:gd name="T45" fmla="*/ 87 h 143"/>
                <a:gd name="T46" fmla="*/ 55 w 117"/>
                <a:gd name="T47" fmla="*/ 116 h 143"/>
                <a:gd name="T48" fmla="*/ 54 w 117"/>
                <a:gd name="T49" fmla="*/ 125 h 143"/>
                <a:gd name="T50" fmla="*/ 78 w 117"/>
                <a:gd name="T51" fmla="*/ 143 h 143"/>
                <a:gd name="T52" fmla="*/ 93 w 117"/>
                <a:gd name="T53" fmla="*/ 111 h 143"/>
                <a:gd name="T54" fmla="*/ 102 w 117"/>
                <a:gd name="T55" fmla="*/ 104 h 143"/>
                <a:gd name="T56" fmla="*/ 110 w 117"/>
                <a:gd name="T57" fmla="*/ 98 h 143"/>
                <a:gd name="T58" fmla="*/ 111 w 117"/>
                <a:gd name="T59" fmla="*/ 97 h 143"/>
                <a:gd name="T60" fmla="*/ 104 w 117"/>
                <a:gd name="T61" fmla="*/ 85 h 143"/>
                <a:gd name="T62" fmla="*/ 103 w 117"/>
                <a:gd name="T63" fmla="*/ 33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143">
                  <a:moveTo>
                    <a:pt x="103" y="33"/>
                  </a:moveTo>
                  <a:cubicBezTo>
                    <a:pt x="110" y="23"/>
                    <a:pt x="110" y="23"/>
                    <a:pt x="110" y="23"/>
                  </a:cubicBezTo>
                  <a:cubicBezTo>
                    <a:pt x="117" y="12"/>
                    <a:pt x="117" y="12"/>
                    <a:pt x="117" y="12"/>
                  </a:cubicBezTo>
                  <a:cubicBezTo>
                    <a:pt x="113" y="13"/>
                    <a:pt x="110" y="14"/>
                    <a:pt x="109" y="14"/>
                  </a:cubicBezTo>
                  <a:cubicBezTo>
                    <a:pt x="107" y="16"/>
                    <a:pt x="103" y="14"/>
                    <a:pt x="102" y="12"/>
                  </a:cubicBezTo>
                  <a:cubicBezTo>
                    <a:pt x="101" y="9"/>
                    <a:pt x="95" y="11"/>
                    <a:pt x="90" y="14"/>
                  </a:cubicBezTo>
                  <a:cubicBezTo>
                    <a:pt x="85" y="17"/>
                    <a:pt x="82" y="23"/>
                    <a:pt x="80" y="22"/>
                  </a:cubicBezTo>
                  <a:cubicBezTo>
                    <a:pt x="78" y="21"/>
                    <a:pt x="67" y="19"/>
                    <a:pt x="63" y="19"/>
                  </a:cubicBezTo>
                  <a:cubicBezTo>
                    <a:pt x="60" y="19"/>
                    <a:pt x="50" y="12"/>
                    <a:pt x="47" y="9"/>
                  </a:cubicBezTo>
                  <a:cubicBezTo>
                    <a:pt x="43" y="6"/>
                    <a:pt x="34" y="8"/>
                    <a:pt x="32" y="6"/>
                  </a:cubicBezTo>
                  <a:cubicBezTo>
                    <a:pt x="29" y="5"/>
                    <a:pt x="25" y="4"/>
                    <a:pt x="23" y="2"/>
                  </a:cubicBezTo>
                  <a:cubicBezTo>
                    <a:pt x="22" y="0"/>
                    <a:pt x="18" y="1"/>
                    <a:pt x="15" y="1"/>
                  </a:cubicBezTo>
                  <a:cubicBezTo>
                    <a:pt x="11" y="2"/>
                    <a:pt x="4" y="6"/>
                    <a:pt x="3" y="9"/>
                  </a:cubicBezTo>
                  <a:cubicBezTo>
                    <a:pt x="3" y="10"/>
                    <a:pt x="2" y="11"/>
                    <a:pt x="1" y="11"/>
                  </a:cubicBezTo>
                  <a:cubicBezTo>
                    <a:pt x="8" y="17"/>
                    <a:pt x="8" y="17"/>
                    <a:pt x="8" y="17"/>
                  </a:cubicBezTo>
                  <a:cubicBezTo>
                    <a:pt x="9" y="28"/>
                    <a:pt x="9" y="28"/>
                    <a:pt x="9" y="28"/>
                  </a:cubicBezTo>
                  <a:cubicBezTo>
                    <a:pt x="15" y="33"/>
                    <a:pt x="15" y="33"/>
                    <a:pt x="15" y="33"/>
                  </a:cubicBezTo>
                  <a:cubicBezTo>
                    <a:pt x="15" y="33"/>
                    <a:pt x="15" y="39"/>
                    <a:pt x="14" y="45"/>
                  </a:cubicBezTo>
                  <a:cubicBezTo>
                    <a:pt x="14" y="51"/>
                    <a:pt x="8" y="58"/>
                    <a:pt x="5" y="62"/>
                  </a:cubicBezTo>
                  <a:cubicBezTo>
                    <a:pt x="4" y="63"/>
                    <a:pt x="2" y="67"/>
                    <a:pt x="0" y="71"/>
                  </a:cubicBezTo>
                  <a:cubicBezTo>
                    <a:pt x="6" y="73"/>
                    <a:pt x="10" y="75"/>
                    <a:pt x="10" y="76"/>
                  </a:cubicBezTo>
                  <a:cubicBezTo>
                    <a:pt x="9" y="80"/>
                    <a:pt x="0" y="78"/>
                    <a:pt x="0" y="86"/>
                  </a:cubicBezTo>
                  <a:cubicBezTo>
                    <a:pt x="0" y="87"/>
                    <a:pt x="0" y="87"/>
                    <a:pt x="0" y="87"/>
                  </a:cubicBezTo>
                  <a:cubicBezTo>
                    <a:pt x="55" y="116"/>
                    <a:pt x="55" y="116"/>
                    <a:pt x="55" y="116"/>
                  </a:cubicBezTo>
                  <a:cubicBezTo>
                    <a:pt x="54" y="125"/>
                    <a:pt x="54" y="125"/>
                    <a:pt x="54" y="125"/>
                  </a:cubicBezTo>
                  <a:cubicBezTo>
                    <a:pt x="54" y="125"/>
                    <a:pt x="66" y="134"/>
                    <a:pt x="78" y="143"/>
                  </a:cubicBezTo>
                  <a:cubicBezTo>
                    <a:pt x="84" y="129"/>
                    <a:pt x="91" y="114"/>
                    <a:pt x="93" y="111"/>
                  </a:cubicBezTo>
                  <a:cubicBezTo>
                    <a:pt x="96" y="106"/>
                    <a:pt x="99" y="107"/>
                    <a:pt x="102" y="104"/>
                  </a:cubicBezTo>
                  <a:cubicBezTo>
                    <a:pt x="105" y="100"/>
                    <a:pt x="105" y="105"/>
                    <a:pt x="110" y="98"/>
                  </a:cubicBezTo>
                  <a:cubicBezTo>
                    <a:pt x="110" y="98"/>
                    <a:pt x="110" y="97"/>
                    <a:pt x="111" y="97"/>
                  </a:cubicBezTo>
                  <a:cubicBezTo>
                    <a:pt x="104" y="85"/>
                    <a:pt x="104" y="85"/>
                    <a:pt x="104" y="85"/>
                  </a:cubicBezTo>
                  <a:lnTo>
                    <a:pt x="103" y="3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3" name="Freeform 321"/>
            <p:cNvSpPr/>
            <p:nvPr/>
          </p:nvSpPr>
          <p:spPr>
            <a:xfrm>
              <a:off x="5492751" y="3703638"/>
              <a:ext cx="134938" cy="141288"/>
            </a:xfrm>
            <a:custGeom>
              <a:gdLst>
                <a:gd name="T0" fmla="*/ 73 w 79"/>
                <a:gd name="T1" fmla="*/ 17 h 83"/>
                <a:gd name="T2" fmla="*/ 72 w 79"/>
                <a:gd name="T3" fmla="*/ 6 h 83"/>
                <a:gd name="T4" fmla="*/ 65 w 79"/>
                <a:gd name="T5" fmla="*/ 0 h 83"/>
                <a:gd name="T6" fmla="*/ 60 w 79"/>
                <a:gd name="T7" fmla="*/ 5 h 83"/>
                <a:gd name="T8" fmla="*/ 51 w 79"/>
                <a:gd name="T9" fmla="*/ 6 h 83"/>
                <a:gd name="T10" fmla="*/ 40 w 79"/>
                <a:gd name="T11" fmla="*/ 9 h 83"/>
                <a:gd name="T12" fmla="*/ 31 w 79"/>
                <a:gd name="T13" fmla="*/ 6 h 83"/>
                <a:gd name="T14" fmla="*/ 20 w 79"/>
                <a:gd name="T15" fmla="*/ 9 h 83"/>
                <a:gd name="T16" fmla="*/ 19 w 79"/>
                <a:gd name="T17" fmla="*/ 22 h 83"/>
                <a:gd name="T18" fmla="*/ 24 w 79"/>
                <a:gd name="T19" fmla="*/ 29 h 83"/>
                <a:gd name="T20" fmla="*/ 20 w 79"/>
                <a:gd name="T21" fmla="*/ 36 h 83"/>
                <a:gd name="T22" fmla="*/ 14 w 79"/>
                <a:gd name="T23" fmla="*/ 41 h 83"/>
                <a:gd name="T24" fmla="*/ 8 w 79"/>
                <a:gd name="T25" fmla="*/ 49 h 83"/>
                <a:gd name="T26" fmla="*/ 5 w 79"/>
                <a:gd name="T27" fmla="*/ 59 h 83"/>
                <a:gd name="T28" fmla="*/ 2 w 79"/>
                <a:gd name="T29" fmla="*/ 72 h 83"/>
                <a:gd name="T30" fmla="*/ 0 w 79"/>
                <a:gd name="T31" fmla="*/ 82 h 83"/>
                <a:gd name="T32" fmla="*/ 7 w 79"/>
                <a:gd name="T33" fmla="*/ 81 h 83"/>
                <a:gd name="T34" fmla="*/ 22 w 79"/>
                <a:gd name="T35" fmla="*/ 76 h 83"/>
                <a:gd name="T36" fmla="*/ 34 w 79"/>
                <a:gd name="T37" fmla="*/ 75 h 83"/>
                <a:gd name="T38" fmla="*/ 45 w 79"/>
                <a:gd name="T39" fmla="*/ 60 h 83"/>
                <a:gd name="T40" fmla="*/ 64 w 79"/>
                <a:gd name="T41" fmla="*/ 60 h 83"/>
                <a:gd name="T42" fmla="*/ 69 w 79"/>
                <a:gd name="T43" fmla="*/ 51 h 83"/>
                <a:gd name="T44" fmla="*/ 78 w 79"/>
                <a:gd name="T45" fmla="*/ 34 h 83"/>
                <a:gd name="T46" fmla="*/ 79 w 79"/>
                <a:gd name="T47" fmla="*/ 22 h 83"/>
                <a:gd name="T48" fmla="*/ 73 w 79"/>
                <a:gd name="T49" fmla="*/ 17 h 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83">
                  <a:moveTo>
                    <a:pt x="73" y="17"/>
                  </a:moveTo>
                  <a:cubicBezTo>
                    <a:pt x="72" y="6"/>
                    <a:pt x="72" y="6"/>
                    <a:pt x="72" y="6"/>
                  </a:cubicBezTo>
                  <a:cubicBezTo>
                    <a:pt x="65" y="0"/>
                    <a:pt x="65" y="0"/>
                    <a:pt x="65" y="0"/>
                  </a:cubicBezTo>
                  <a:cubicBezTo>
                    <a:pt x="63" y="2"/>
                    <a:pt x="60" y="4"/>
                    <a:pt x="60" y="5"/>
                  </a:cubicBezTo>
                  <a:cubicBezTo>
                    <a:pt x="60" y="7"/>
                    <a:pt x="54" y="7"/>
                    <a:pt x="51" y="6"/>
                  </a:cubicBezTo>
                  <a:cubicBezTo>
                    <a:pt x="49" y="4"/>
                    <a:pt x="42" y="7"/>
                    <a:pt x="40" y="9"/>
                  </a:cubicBezTo>
                  <a:cubicBezTo>
                    <a:pt x="39" y="11"/>
                    <a:pt x="35" y="6"/>
                    <a:pt x="31" y="6"/>
                  </a:cubicBezTo>
                  <a:cubicBezTo>
                    <a:pt x="28" y="6"/>
                    <a:pt x="20" y="9"/>
                    <a:pt x="20" y="9"/>
                  </a:cubicBezTo>
                  <a:cubicBezTo>
                    <a:pt x="20" y="9"/>
                    <a:pt x="19" y="18"/>
                    <a:pt x="19" y="22"/>
                  </a:cubicBezTo>
                  <a:cubicBezTo>
                    <a:pt x="19" y="25"/>
                    <a:pt x="24" y="26"/>
                    <a:pt x="24" y="29"/>
                  </a:cubicBezTo>
                  <a:cubicBezTo>
                    <a:pt x="24" y="32"/>
                    <a:pt x="20" y="34"/>
                    <a:pt x="20" y="36"/>
                  </a:cubicBezTo>
                  <a:cubicBezTo>
                    <a:pt x="20" y="38"/>
                    <a:pt x="17" y="40"/>
                    <a:pt x="14" y="41"/>
                  </a:cubicBezTo>
                  <a:cubicBezTo>
                    <a:pt x="11" y="42"/>
                    <a:pt x="11" y="47"/>
                    <a:pt x="8" y="49"/>
                  </a:cubicBezTo>
                  <a:cubicBezTo>
                    <a:pt x="6" y="51"/>
                    <a:pt x="6" y="55"/>
                    <a:pt x="5" y="59"/>
                  </a:cubicBezTo>
                  <a:cubicBezTo>
                    <a:pt x="3" y="63"/>
                    <a:pt x="2" y="67"/>
                    <a:pt x="2" y="72"/>
                  </a:cubicBezTo>
                  <a:cubicBezTo>
                    <a:pt x="2" y="75"/>
                    <a:pt x="2" y="80"/>
                    <a:pt x="0" y="82"/>
                  </a:cubicBezTo>
                  <a:cubicBezTo>
                    <a:pt x="4" y="83"/>
                    <a:pt x="5" y="82"/>
                    <a:pt x="7" y="81"/>
                  </a:cubicBezTo>
                  <a:cubicBezTo>
                    <a:pt x="10" y="79"/>
                    <a:pt x="22" y="76"/>
                    <a:pt x="22" y="76"/>
                  </a:cubicBezTo>
                  <a:cubicBezTo>
                    <a:pt x="34" y="75"/>
                    <a:pt x="34" y="75"/>
                    <a:pt x="34" y="75"/>
                  </a:cubicBezTo>
                  <a:cubicBezTo>
                    <a:pt x="37" y="68"/>
                    <a:pt x="41" y="61"/>
                    <a:pt x="45" y="60"/>
                  </a:cubicBezTo>
                  <a:cubicBezTo>
                    <a:pt x="51" y="58"/>
                    <a:pt x="58" y="59"/>
                    <a:pt x="64" y="60"/>
                  </a:cubicBezTo>
                  <a:cubicBezTo>
                    <a:pt x="66" y="56"/>
                    <a:pt x="68" y="52"/>
                    <a:pt x="69" y="51"/>
                  </a:cubicBezTo>
                  <a:cubicBezTo>
                    <a:pt x="72" y="47"/>
                    <a:pt x="78" y="40"/>
                    <a:pt x="78" y="34"/>
                  </a:cubicBezTo>
                  <a:cubicBezTo>
                    <a:pt x="79" y="28"/>
                    <a:pt x="79" y="22"/>
                    <a:pt x="79" y="22"/>
                  </a:cubicBezTo>
                  <a:lnTo>
                    <a:pt x="73" y="17"/>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4" name="Freeform 322"/>
            <p:cNvSpPr/>
            <p:nvPr/>
          </p:nvSpPr>
          <p:spPr>
            <a:xfrm>
              <a:off x="6156326" y="2590800"/>
              <a:ext cx="438150" cy="255588"/>
            </a:xfrm>
            <a:custGeom>
              <a:gdLst>
                <a:gd name="T0" fmla="*/ 251 w 258"/>
                <a:gd name="T1" fmla="*/ 85 h 151"/>
                <a:gd name="T2" fmla="*/ 231 w 258"/>
                <a:gd name="T3" fmla="*/ 76 h 151"/>
                <a:gd name="T4" fmla="*/ 219 w 258"/>
                <a:gd name="T5" fmla="*/ 76 h 151"/>
                <a:gd name="T6" fmla="*/ 206 w 258"/>
                <a:gd name="T7" fmla="*/ 72 h 151"/>
                <a:gd name="T8" fmla="*/ 191 w 258"/>
                <a:gd name="T9" fmla="*/ 84 h 151"/>
                <a:gd name="T10" fmla="*/ 184 w 258"/>
                <a:gd name="T11" fmla="*/ 86 h 151"/>
                <a:gd name="T12" fmla="*/ 172 w 258"/>
                <a:gd name="T13" fmla="*/ 79 h 151"/>
                <a:gd name="T14" fmla="*/ 159 w 258"/>
                <a:gd name="T15" fmla="*/ 75 h 151"/>
                <a:gd name="T16" fmla="*/ 151 w 258"/>
                <a:gd name="T17" fmla="*/ 60 h 151"/>
                <a:gd name="T18" fmla="*/ 148 w 258"/>
                <a:gd name="T19" fmla="*/ 46 h 151"/>
                <a:gd name="T20" fmla="*/ 136 w 258"/>
                <a:gd name="T21" fmla="*/ 38 h 151"/>
                <a:gd name="T22" fmla="*/ 107 w 258"/>
                <a:gd name="T23" fmla="*/ 37 h 151"/>
                <a:gd name="T24" fmla="*/ 88 w 258"/>
                <a:gd name="T25" fmla="*/ 38 h 151"/>
                <a:gd name="T26" fmla="*/ 71 w 258"/>
                <a:gd name="T27" fmla="*/ 19 h 151"/>
                <a:gd name="T28" fmla="*/ 67 w 258"/>
                <a:gd name="T29" fmla="*/ 25 h 151"/>
                <a:gd name="T30" fmla="*/ 49 w 258"/>
                <a:gd name="T31" fmla="*/ 22 h 151"/>
                <a:gd name="T32" fmla="*/ 47 w 258"/>
                <a:gd name="T33" fmla="*/ 2 h 151"/>
                <a:gd name="T34" fmla="*/ 41 w 258"/>
                <a:gd name="T35" fmla="*/ 23 h 151"/>
                <a:gd name="T36" fmla="*/ 39 w 258"/>
                <a:gd name="T37" fmla="*/ 0 h 151"/>
                <a:gd name="T38" fmla="*/ 2 w 258"/>
                <a:gd name="T39" fmla="*/ 10 h 151"/>
                <a:gd name="T40" fmla="*/ 1 w 258"/>
                <a:gd name="T41" fmla="*/ 75 h 151"/>
                <a:gd name="T42" fmla="*/ 0 w 258"/>
                <a:gd name="T43" fmla="*/ 75 h 151"/>
                <a:gd name="T44" fmla="*/ 11 w 258"/>
                <a:gd name="T45" fmla="*/ 77 h 151"/>
                <a:gd name="T46" fmla="*/ 16 w 258"/>
                <a:gd name="T47" fmla="*/ 70 h 151"/>
                <a:gd name="T48" fmla="*/ 26 w 258"/>
                <a:gd name="T49" fmla="*/ 62 h 151"/>
                <a:gd name="T50" fmla="*/ 31 w 258"/>
                <a:gd name="T51" fmla="*/ 57 h 151"/>
                <a:gd name="T52" fmla="*/ 37 w 258"/>
                <a:gd name="T53" fmla="*/ 54 h 151"/>
                <a:gd name="T54" fmla="*/ 48 w 258"/>
                <a:gd name="T55" fmla="*/ 56 h 151"/>
                <a:gd name="T56" fmla="*/ 59 w 258"/>
                <a:gd name="T57" fmla="*/ 60 h 151"/>
                <a:gd name="T58" fmla="*/ 64 w 258"/>
                <a:gd name="T59" fmla="*/ 76 h 151"/>
                <a:gd name="T60" fmla="*/ 86 w 258"/>
                <a:gd name="T61" fmla="*/ 78 h 151"/>
                <a:gd name="T62" fmla="*/ 92 w 258"/>
                <a:gd name="T63" fmla="*/ 88 h 151"/>
                <a:gd name="T64" fmla="*/ 98 w 258"/>
                <a:gd name="T65" fmla="*/ 100 h 151"/>
                <a:gd name="T66" fmla="*/ 113 w 258"/>
                <a:gd name="T67" fmla="*/ 111 h 151"/>
                <a:gd name="T68" fmla="*/ 129 w 258"/>
                <a:gd name="T69" fmla="*/ 121 h 151"/>
                <a:gd name="T70" fmla="*/ 144 w 258"/>
                <a:gd name="T71" fmla="*/ 130 h 151"/>
                <a:gd name="T72" fmla="*/ 157 w 258"/>
                <a:gd name="T73" fmla="*/ 135 h 151"/>
                <a:gd name="T74" fmla="*/ 158 w 258"/>
                <a:gd name="T75" fmla="*/ 144 h 151"/>
                <a:gd name="T76" fmla="*/ 160 w 258"/>
                <a:gd name="T77" fmla="*/ 144 h 151"/>
                <a:gd name="T78" fmla="*/ 172 w 258"/>
                <a:gd name="T79" fmla="*/ 148 h 151"/>
                <a:gd name="T80" fmla="*/ 178 w 258"/>
                <a:gd name="T81" fmla="*/ 151 h 151"/>
                <a:gd name="T82" fmla="*/ 184 w 258"/>
                <a:gd name="T83" fmla="*/ 136 h 151"/>
                <a:gd name="T84" fmla="*/ 182 w 258"/>
                <a:gd name="T85" fmla="*/ 123 h 151"/>
                <a:gd name="T86" fmla="*/ 173 w 258"/>
                <a:gd name="T87" fmla="*/ 112 h 151"/>
                <a:gd name="T88" fmla="*/ 187 w 258"/>
                <a:gd name="T89" fmla="*/ 106 h 151"/>
                <a:gd name="T90" fmla="*/ 191 w 258"/>
                <a:gd name="T91" fmla="*/ 98 h 151"/>
                <a:gd name="T92" fmla="*/ 198 w 258"/>
                <a:gd name="T93" fmla="*/ 90 h 151"/>
                <a:gd name="T94" fmla="*/ 209 w 258"/>
                <a:gd name="T95" fmla="*/ 88 h 151"/>
                <a:gd name="T96" fmla="*/ 219 w 258"/>
                <a:gd name="T97" fmla="*/ 86 h 151"/>
                <a:gd name="T98" fmla="*/ 214 w 258"/>
                <a:gd name="T99" fmla="*/ 98 h 151"/>
                <a:gd name="T100" fmla="*/ 231 w 258"/>
                <a:gd name="T101" fmla="*/ 95 h 151"/>
                <a:gd name="T102" fmla="*/ 245 w 258"/>
                <a:gd name="T103" fmla="*/ 92 h 151"/>
                <a:gd name="T104" fmla="*/ 251 w 258"/>
                <a:gd name="T105" fmla="*/ 85 h 1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151">
                  <a:moveTo>
                    <a:pt x="251" y="85"/>
                  </a:moveTo>
                  <a:cubicBezTo>
                    <a:pt x="244" y="79"/>
                    <a:pt x="232" y="72"/>
                    <a:pt x="231" y="76"/>
                  </a:cubicBezTo>
                  <a:cubicBezTo>
                    <a:pt x="230" y="79"/>
                    <a:pt x="222" y="80"/>
                    <a:pt x="219" y="76"/>
                  </a:cubicBezTo>
                  <a:cubicBezTo>
                    <a:pt x="217" y="73"/>
                    <a:pt x="214" y="69"/>
                    <a:pt x="206" y="72"/>
                  </a:cubicBezTo>
                  <a:cubicBezTo>
                    <a:pt x="197" y="76"/>
                    <a:pt x="191" y="80"/>
                    <a:pt x="191" y="84"/>
                  </a:cubicBezTo>
                  <a:cubicBezTo>
                    <a:pt x="190" y="87"/>
                    <a:pt x="184" y="91"/>
                    <a:pt x="184" y="86"/>
                  </a:cubicBezTo>
                  <a:cubicBezTo>
                    <a:pt x="183" y="81"/>
                    <a:pt x="176" y="80"/>
                    <a:pt x="172" y="79"/>
                  </a:cubicBezTo>
                  <a:cubicBezTo>
                    <a:pt x="167" y="77"/>
                    <a:pt x="160" y="80"/>
                    <a:pt x="159" y="75"/>
                  </a:cubicBezTo>
                  <a:cubicBezTo>
                    <a:pt x="159" y="71"/>
                    <a:pt x="152" y="65"/>
                    <a:pt x="151" y="60"/>
                  </a:cubicBezTo>
                  <a:cubicBezTo>
                    <a:pt x="151" y="55"/>
                    <a:pt x="152" y="48"/>
                    <a:pt x="148" y="46"/>
                  </a:cubicBezTo>
                  <a:cubicBezTo>
                    <a:pt x="143" y="45"/>
                    <a:pt x="140" y="38"/>
                    <a:pt x="136" y="38"/>
                  </a:cubicBezTo>
                  <a:cubicBezTo>
                    <a:pt x="132" y="38"/>
                    <a:pt x="110" y="38"/>
                    <a:pt x="107" y="37"/>
                  </a:cubicBezTo>
                  <a:cubicBezTo>
                    <a:pt x="104" y="35"/>
                    <a:pt x="89" y="41"/>
                    <a:pt x="88" y="38"/>
                  </a:cubicBezTo>
                  <a:cubicBezTo>
                    <a:pt x="87" y="35"/>
                    <a:pt x="77" y="24"/>
                    <a:pt x="71" y="19"/>
                  </a:cubicBezTo>
                  <a:cubicBezTo>
                    <a:pt x="70" y="22"/>
                    <a:pt x="69" y="24"/>
                    <a:pt x="67" y="25"/>
                  </a:cubicBezTo>
                  <a:cubicBezTo>
                    <a:pt x="56" y="33"/>
                    <a:pt x="46" y="32"/>
                    <a:pt x="49" y="22"/>
                  </a:cubicBezTo>
                  <a:cubicBezTo>
                    <a:pt x="52" y="13"/>
                    <a:pt x="53" y="2"/>
                    <a:pt x="47" y="2"/>
                  </a:cubicBezTo>
                  <a:cubicBezTo>
                    <a:pt x="42" y="2"/>
                    <a:pt x="46" y="22"/>
                    <a:pt x="41" y="23"/>
                  </a:cubicBezTo>
                  <a:cubicBezTo>
                    <a:pt x="37" y="24"/>
                    <a:pt x="36" y="9"/>
                    <a:pt x="39" y="0"/>
                  </a:cubicBezTo>
                  <a:cubicBezTo>
                    <a:pt x="2" y="10"/>
                    <a:pt x="2" y="10"/>
                    <a:pt x="2" y="10"/>
                  </a:cubicBezTo>
                  <a:cubicBezTo>
                    <a:pt x="1" y="75"/>
                    <a:pt x="1" y="75"/>
                    <a:pt x="1" y="75"/>
                  </a:cubicBezTo>
                  <a:cubicBezTo>
                    <a:pt x="1" y="75"/>
                    <a:pt x="1" y="75"/>
                    <a:pt x="0" y="75"/>
                  </a:cubicBezTo>
                  <a:cubicBezTo>
                    <a:pt x="4" y="76"/>
                    <a:pt x="8" y="77"/>
                    <a:pt x="11" y="77"/>
                  </a:cubicBezTo>
                  <a:cubicBezTo>
                    <a:pt x="16" y="78"/>
                    <a:pt x="16" y="73"/>
                    <a:pt x="16" y="70"/>
                  </a:cubicBezTo>
                  <a:cubicBezTo>
                    <a:pt x="16" y="67"/>
                    <a:pt x="22" y="62"/>
                    <a:pt x="26" y="62"/>
                  </a:cubicBezTo>
                  <a:cubicBezTo>
                    <a:pt x="30" y="63"/>
                    <a:pt x="30" y="57"/>
                    <a:pt x="31" y="57"/>
                  </a:cubicBezTo>
                  <a:cubicBezTo>
                    <a:pt x="33" y="57"/>
                    <a:pt x="36" y="56"/>
                    <a:pt x="37" y="54"/>
                  </a:cubicBezTo>
                  <a:cubicBezTo>
                    <a:pt x="39" y="52"/>
                    <a:pt x="46" y="54"/>
                    <a:pt x="48" y="56"/>
                  </a:cubicBezTo>
                  <a:cubicBezTo>
                    <a:pt x="50" y="59"/>
                    <a:pt x="55" y="59"/>
                    <a:pt x="59" y="60"/>
                  </a:cubicBezTo>
                  <a:cubicBezTo>
                    <a:pt x="63" y="61"/>
                    <a:pt x="64" y="73"/>
                    <a:pt x="64" y="76"/>
                  </a:cubicBezTo>
                  <a:cubicBezTo>
                    <a:pt x="64" y="78"/>
                    <a:pt x="83" y="78"/>
                    <a:pt x="86" y="78"/>
                  </a:cubicBezTo>
                  <a:cubicBezTo>
                    <a:pt x="89" y="79"/>
                    <a:pt x="89" y="84"/>
                    <a:pt x="92" y="88"/>
                  </a:cubicBezTo>
                  <a:cubicBezTo>
                    <a:pt x="95" y="92"/>
                    <a:pt x="97" y="97"/>
                    <a:pt x="98" y="100"/>
                  </a:cubicBezTo>
                  <a:cubicBezTo>
                    <a:pt x="99" y="103"/>
                    <a:pt x="110" y="107"/>
                    <a:pt x="113" y="111"/>
                  </a:cubicBezTo>
                  <a:cubicBezTo>
                    <a:pt x="115" y="115"/>
                    <a:pt x="123" y="118"/>
                    <a:pt x="129" y="121"/>
                  </a:cubicBezTo>
                  <a:cubicBezTo>
                    <a:pt x="135" y="123"/>
                    <a:pt x="141" y="131"/>
                    <a:pt x="144" y="130"/>
                  </a:cubicBezTo>
                  <a:cubicBezTo>
                    <a:pt x="148" y="130"/>
                    <a:pt x="157" y="135"/>
                    <a:pt x="157" y="135"/>
                  </a:cubicBezTo>
                  <a:cubicBezTo>
                    <a:pt x="158" y="144"/>
                    <a:pt x="158" y="144"/>
                    <a:pt x="158" y="144"/>
                  </a:cubicBezTo>
                  <a:cubicBezTo>
                    <a:pt x="159" y="144"/>
                    <a:pt x="159" y="144"/>
                    <a:pt x="160" y="144"/>
                  </a:cubicBezTo>
                  <a:cubicBezTo>
                    <a:pt x="165" y="142"/>
                    <a:pt x="168" y="148"/>
                    <a:pt x="172" y="148"/>
                  </a:cubicBezTo>
                  <a:cubicBezTo>
                    <a:pt x="173" y="148"/>
                    <a:pt x="176" y="149"/>
                    <a:pt x="178" y="151"/>
                  </a:cubicBezTo>
                  <a:cubicBezTo>
                    <a:pt x="177" y="142"/>
                    <a:pt x="180" y="138"/>
                    <a:pt x="184" y="136"/>
                  </a:cubicBezTo>
                  <a:cubicBezTo>
                    <a:pt x="187" y="133"/>
                    <a:pt x="181" y="127"/>
                    <a:pt x="182" y="123"/>
                  </a:cubicBezTo>
                  <a:cubicBezTo>
                    <a:pt x="183" y="118"/>
                    <a:pt x="172" y="115"/>
                    <a:pt x="173" y="112"/>
                  </a:cubicBezTo>
                  <a:cubicBezTo>
                    <a:pt x="174" y="108"/>
                    <a:pt x="183" y="108"/>
                    <a:pt x="187" y="106"/>
                  </a:cubicBezTo>
                  <a:cubicBezTo>
                    <a:pt x="190" y="105"/>
                    <a:pt x="187" y="98"/>
                    <a:pt x="191" y="98"/>
                  </a:cubicBezTo>
                  <a:cubicBezTo>
                    <a:pt x="195" y="98"/>
                    <a:pt x="197" y="94"/>
                    <a:pt x="198" y="90"/>
                  </a:cubicBezTo>
                  <a:cubicBezTo>
                    <a:pt x="200" y="87"/>
                    <a:pt x="206" y="90"/>
                    <a:pt x="209" y="88"/>
                  </a:cubicBezTo>
                  <a:cubicBezTo>
                    <a:pt x="213" y="85"/>
                    <a:pt x="218" y="84"/>
                    <a:pt x="219" y="86"/>
                  </a:cubicBezTo>
                  <a:cubicBezTo>
                    <a:pt x="220" y="87"/>
                    <a:pt x="216" y="95"/>
                    <a:pt x="214" y="98"/>
                  </a:cubicBezTo>
                  <a:cubicBezTo>
                    <a:pt x="220" y="97"/>
                    <a:pt x="229" y="96"/>
                    <a:pt x="231" y="95"/>
                  </a:cubicBezTo>
                  <a:cubicBezTo>
                    <a:pt x="233" y="92"/>
                    <a:pt x="242" y="98"/>
                    <a:pt x="245" y="92"/>
                  </a:cubicBezTo>
                  <a:cubicBezTo>
                    <a:pt x="248" y="87"/>
                    <a:pt x="258" y="91"/>
                    <a:pt x="251" y="8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5" name="Freeform 323"/>
            <p:cNvSpPr>
              <a:spLocks noEditPoints="1"/>
            </p:cNvSpPr>
            <p:nvPr/>
          </p:nvSpPr>
          <p:spPr>
            <a:xfrm>
              <a:off x="4905376" y="1162050"/>
              <a:ext cx="638175" cy="1011238"/>
            </a:xfrm>
            <a:custGeom>
              <a:gdLst>
                <a:gd name="T0" fmla="*/ 356 w 377"/>
                <a:gd name="T1" fmla="*/ 312 h 596"/>
                <a:gd name="T2" fmla="*/ 358 w 377"/>
                <a:gd name="T3" fmla="*/ 294 h 596"/>
                <a:gd name="T4" fmla="*/ 337 w 377"/>
                <a:gd name="T5" fmla="*/ 291 h 596"/>
                <a:gd name="T6" fmla="*/ 313 w 377"/>
                <a:gd name="T7" fmla="*/ 290 h 596"/>
                <a:gd name="T8" fmla="*/ 302 w 377"/>
                <a:gd name="T9" fmla="*/ 289 h 596"/>
                <a:gd name="T10" fmla="*/ 279 w 377"/>
                <a:gd name="T11" fmla="*/ 294 h 596"/>
                <a:gd name="T12" fmla="*/ 261 w 377"/>
                <a:gd name="T13" fmla="*/ 313 h 596"/>
                <a:gd name="T14" fmla="*/ 261 w 377"/>
                <a:gd name="T15" fmla="*/ 292 h 596"/>
                <a:gd name="T16" fmla="*/ 235 w 377"/>
                <a:gd name="T17" fmla="*/ 307 h 596"/>
                <a:gd name="T18" fmla="*/ 224 w 377"/>
                <a:gd name="T19" fmla="*/ 312 h 596"/>
                <a:gd name="T20" fmla="*/ 213 w 377"/>
                <a:gd name="T21" fmla="*/ 309 h 596"/>
                <a:gd name="T22" fmla="*/ 193 w 377"/>
                <a:gd name="T23" fmla="*/ 324 h 596"/>
                <a:gd name="T24" fmla="*/ 180 w 377"/>
                <a:gd name="T25" fmla="*/ 335 h 596"/>
                <a:gd name="T26" fmla="*/ 167 w 377"/>
                <a:gd name="T27" fmla="*/ 341 h 596"/>
                <a:gd name="T28" fmla="*/ 144 w 377"/>
                <a:gd name="T29" fmla="*/ 347 h 596"/>
                <a:gd name="T30" fmla="*/ 136 w 377"/>
                <a:gd name="T31" fmla="*/ 360 h 596"/>
                <a:gd name="T32" fmla="*/ 166 w 377"/>
                <a:gd name="T33" fmla="*/ 361 h 596"/>
                <a:gd name="T34" fmla="*/ 144 w 377"/>
                <a:gd name="T35" fmla="*/ 377 h 596"/>
                <a:gd name="T36" fmla="*/ 111 w 377"/>
                <a:gd name="T37" fmla="*/ 412 h 596"/>
                <a:gd name="T38" fmla="*/ 90 w 377"/>
                <a:gd name="T39" fmla="*/ 440 h 596"/>
                <a:gd name="T40" fmla="*/ 72 w 377"/>
                <a:gd name="T41" fmla="*/ 465 h 596"/>
                <a:gd name="T42" fmla="*/ 47 w 377"/>
                <a:gd name="T43" fmla="*/ 483 h 596"/>
                <a:gd name="T44" fmla="*/ 21 w 377"/>
                <a:gd name="T45" fmla="*/ 500 h 596"/>
                <a:gd name="T46" fmla="*/ 8 w 377"/>
                <a:gd name="T47" fmla="*/ 521 h 596"/>
                <a:gd name="T48" fmla="*/ 3 w 377"/>
                <a:gd name="T49" fmla="*/ 548 h 596"/>
                <a:gd name="T50" fmla="*/ 16 w 377"/>
                <a:gd name="T51" fmla="*/ 557 h 596"/>
                <a:gd name="T52" fmla="*/ 13 w 377"/>
                <a:gd name="T53" fmla="*/ 567 h 596"/>
                <a:gd name="T54" fmla="*/ 26 w 377"/>
                <a:gd name="T55" fmla="*/ 590 h 596"/>
                <a:gd name="T56" fmla="*/ 84 w 377"/>
                <a:gd name="T57" fmla="*/ 562 h 596"/>
                <a:gd name="T58" fmla="*/ 101 w 377"/>
                <a:gd name="T59" fmla="*/ 568 h 596"/>
                <a:gd name="T60" fmla="*/ 111 w 377"/>
                <a:gd name="T61" fmla="*/ 532 h 596"/>
                <a:gd name="T62" fmla="*/ 108 w 377"/>
                <a:gd name="T63" fmla="*/ 486 h 596"/>
                <a:gd name="T64" fmla="*/ 133 w 377"/>
                <a:gd name="T65" fmla="*/ 452 h 596"/>
                <a:gd name="T66" fmla="*/ 151 w 377"/>
                <a:gd name="T67" fmla="*/ 410 h 596"/>
                <a:gd name="T68" fmla="*/ 169 w 377"/>
                <a:gd name="T69" fmla="*/ 373 h 596"/>
                <a:gd name="T70" fmla="*/ 210 w 377"/>
                <a:gd name="T71" fmla="*/ 353 h 596"/>
                <a:gd name="T72" fmla="*/ 239 w 377"/>
                <a:gd name="T73" fmla="*/ 333 h 596"/>
                <a:gd name="T74" fmla="*/ 290 w 377"/>
                <a:gd name="T75" fmla="*/ 348 h 596"/>
                <a:gd name="T76" fmla="*/ 323 w 377"/>
                <a:gd name="T77" fmla="*/ 314 h 596"/>
                <a:gd name="T78" fmla="*/ 356 w 377"/>
                <a:gd name="T79" fmla="*/ 329 h 596"/>
                <a:gd name="T80" fmla="*/ 105 w 377"/>
                <a:gd name="T81" fmla="*/ 43 h 596"/>
                <a:gd name="T82" fmla="*/ 140 w 377"/>
                <a:gd name="T83" fmla="*/ 64 h 596"/>
                <a:gd name="T84" fmla="*/ 167 w 377"/>
                <a:gd name="T85" fmla="*/ 69 h 596"/>
                <a:gd name="T86" fmla="*/ 169 w 377"/>
                <a:gd name="T87" fmla="*/ 89 h 596"/>
                <a:gd name="T88" fmla="*/ 143 w 377"/>
                <a:gd name="T89" fmla="*/ 112 h 596"/>
                <a:gd name="T90" fmla="*/ 172 w 377"/>
                <a:gd name="T91" fmla="*/ 124 h 596"/>
                <a:gd name="T92" fmla="*/ 206 w 377"/>
                <a:gd name="T93" fmla="*/ 68 h 596"/>
                <a:gd name="T94" fmla="*/ 234 w 377"/>
                <a:gd name="T95" fmla="*/ 82 h 596"/>
                <a:gd name="T96" fmla="*/ 272 w 377"/>
                <a:gd name="T97" fmla="*/ 97 h 596"/>
                <a:gd name="T98" fmla="*/ 259 w 377"/>
                <a:gd name="T99" fmla="*/ 78 h 596"/>
                <a:gd name="T100" fmla="*/ 227 w 377"/>
                <a:gd name="T101" fmla="*/ 50 h 596"/>
                <a:gd name="T102" fmla="*/ 194 w 377"/>
                <a:gd name="T103" fmla="*/ 33 h 596"/>
                <a:gd name="T104" fmla="*/ 163 w 377"/>
                <a:gd name="T105" fmla="*/ 16 h 596"/>
                <a:gd name="T106" fmla="*/ 151 w 377"/>
                <a:gd name="T107" fmla="*/ 33 h 596"/>
                <a:gd name="T108" fmla="*/ 120 w 377"/>
                <a:gd name="T109" fmla="*/ 31 h 596"/>
                <a:gd name="T110" fmla="*/ 101 w 377"/>
                <a:gd name="T111" fmla="*/ 25 h 596"/>
                <a:gd name="T112" fmla="*/ 92 w 377"/>
                <a:gd name="T113" fmla="*/ 69 h 596"/>
                <a:gd name="T114" fmla="*/ 92 w 377"/>
                <a:gd name="T115" fmla="*/ 69 h 596"/>
                <a:gd name="T116" fmla="*/ 215 w 377"/>
                <a:gd name="T117" fmla="*/ 35 h 596"/>
                <a:gd name="T118" fmla="*/ 302 w 377"/>
                <a:gd name="T119" fmla="*/ 33 h 596"/>
                <a:gd name="T120" fmla="*/ 264 w 377"/>
                <a:gd name="T121" fmla="*/ 13 h 596"/>
                <a:gd name="T122" fmla="*/ 229 w 377"/>
                <a:gd name="T123" fmla="*/ 10 h 596"/>
                <a:gd name="T124" fmla="*/ 204 w 377"/>
                <a:gd name="T125" fmla="*/ 13 h 5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7" h="596">
                  <a:moveTo>
                    <a:pt x="365" y="319"/>
                  </a:moveTo>
                  <a:cubicBezTo>
                    <a:pt x="364" y="322"/>
                    <a:pt x="358" y="322"/>
                    <a:pt x="359" y="318"/>
                  </a:cubicBezTo>
                  <a:cubicBezTo>
                    <a:pt x="359" y="315"/>
                    <a:pt x="350" y="313"/>
                    <a:pt x="349" y="311"/>
                  </a:cubicBezTo>
                  <a:cubicBezTo>
                    <a:pt x="349" y="310"/>
                    <a:pt x="353" y="310"/>
                    <a:pt x="356" y="312"/>
                  </a:cubicBezTo>
                  <a:cubicBezTo>
                    <a:pt x="360" y="314"/>
                    <a:pt x="362" y="312"/>
                    <a:pt x="366" y="309"/>
                  </a:cubicBezTo>
                  <a:cubicBezTo>
                    <a:pt x="370" y="305"/>
                    <a:pt x="375" y="308"/>
                    <a:pt x="376" y="305"/>
                  </a:cubicBezTo>
                  <a:cubicBezTo>
                    <a:pt x="377" y="302"/>
                    <a:pt x="370" y="299"/>
                    <a:pt x="368" y="298"/>
                  </a:cubicBezTo>
                  <a:cubicBezTo>
                    <a:pt x="367" y="296"/>
                    <a:pt x="362" y="293"/>
                    <a:pt x="358" y="294"/>
                  </a:cubicBezTo>
                  <a:cubicBezTo>
                    <a:pt x="353" y="295"/>
                    <a:pt x="353" y="293"/>
                    <a:pt x="350" y="290"/>
                  </a:cubicBezTo>
                  <a:cubicBezTo>
                    <a:pt x="347" y="288"/>
                    <a:pt x="338" y="292"/>
                    <a:pt x="338" y="298"/>
                  </a:cubicBezTo>
                  <a:cubicBezTo>
                    <a:pt x="338" y="304"/>
                    <a:pt x="333" y="303"/>
                    <a:pt x="335" y="299"/>
                  </a:cubicBezTo>
                  <a:cubicBezTo>
                    <a:pt x="337" y="296"/>
                    <a:pt x="332" y="292"/>
                    <a:pt x="337" y="291"/>
                  </a:cubicBezTo>
                  <a:cubicBezTo>
                    <a:pt x="341" y="290"/>
                    <a:pt x="339" y="284"/>
                    <a:pt x="331" y="283"/>
                  </a:cubicBezTo>
                  <a:cubicBezTo>
                    <a:pt x="323" y="282"/>
                    <a:pt x="320" y="289"/>
                    <a:pt x="322" y="291"/>
                  </a:cubicBezTo>
                  <a:cubicBezTo>
                    <a:pt x="324" y="293"/>
                    <a:pt x="316" y="303"/>
                    <a:pt x="313" y="303"/>
                  </a:cubicBezTo>
                  <a:cubicBezTo>
                    <a:pt x="310" y="303"/>
                    <a:pt x="313" y="295"/>
                    <a:pt x="313" y="290"/>
                  </a:cubicBezTo>
                  <a:cubicBezTo>
                    <a:pt x="313" y="286"/>
                    <a:pt x="310" y="288"/>
                    <a:pt x="304" y="295"/>
                  </a:cubicBezTo>
                  <a:cubicBezTo>
                    <a:pt x="298" y="302"/>
                    <a:pt x="293" y="308"/>
                    <a:pt x="290" y="309"/>
                  </a:cubicBezTo>
                  <a:cubicBezTo>
                    <a:pt x="287" y="310"/>
                    <a:pt x="287" y="303"/>
                    <a:pt x="293" y="300"/>
                  </a:cubicBezTo>
                  <a:cubicBezTo>
                    <a:pt x="298" y="297"/>
                    <a:pt x="298" y="289"/>
                    <a:pt x="302" y="289"/>
                  </a:cubicBezTo>
                  <a:cubicBezTo>
                    <a:pt x="306" y="289"/>
                    <a:pt x="306" y="284"/>
                    <a:pt x="300" y="283"/>
                  </a:cubicBezTo>
                  <a:cubicBezTo>
                    <a:pt x="295" y="282"/>
                    <a:pt x="294" y="288"/>
                    <a:pt x="292" y="289"/>
                  </a:cubicBezTo>
                  <a:cubicBezTo>
                    <a:pt x="291" y="291"/>
                    <a:pt x="282" y="286"/>
                    <a:pt x="282" y="288"/>
                  </a:cubicBezTo>
                  <a:cubicBezTo>
                    <a:pt x="282" y="290"/>
                    <a:pt x="277" y="290"/>
                    <a:pt x="279" y="294"/>
                  </a:cubicBezTo>
                  <a:cubicBezTo>
                    <a:pt x="282" y="297"/>
                    <a:pt x="278" y="300"/>
                    <a:pt x="276" y="296"/>
                  </a:cubicBezTo>
                  <a:cubicBezTo>
                    <a:pt x="274" y="292"/>
                    <a:pt x="269" y="295"/>
                    <a:pt x="266" y="299"/>
                  </a:cubicBezTo>
                  <a:cubicBezTo>
                    <a:pt x="264" y="304"/>
                    <a:pt x="260" y="303"/>
                    <a:pt x="263" y="305"/>
                  </a:cubicBezTo>
                  <a:cubicBezTo>
                    <a:pt x="265" y="306"/>
                    <a:pt x="265" y="312"/>
                    <a:pt x="261" y="313"/>
                  </a:cubicBezTo>
                  <a:cubicBezTo>
                    <a:pt x="257" y="314"/>
                    <a:pt x="259" y="303"/>
                    <a:pt x="256" y="304"/>
                  </a:cubicBezTo>
                  <a:cubicBezTo>
                    <a:pt x="253" y="305"/>
                    <a:pt x="255" y="298"/>
                    <a:pt x="259" y="298"/>
                  </a:cubicBezTo>
                  <a:cubicBezTo>
                    <a:pt x="263" y="298"/>
                    <a:pt x="267" y="292"/>
                    <a:pt x="267" y="291"/>
                  </a:cubicBezTo>
                  <a:cubicBezTo>
                    <a:pt x="266" y="288"/>
                    <a:pt x="261" y="289"/>
                    <a:pt x="261" y="292"/>
                  </a:cubicBezTo>
                  <a:cubicBezTo>
                    <a:pt x="261" y="295"/>
                    <a:pt x="255" y="295"/>
                    <a:pt x="250" y="294"/>
                  </a:cubicBezTo>
                  <a:cubicBezTo>
                    <a:pt x="244" y="294"/>
                    <a:pt x="244" y="301"/>
                    <a:pt x="250" y="304"/>
                  </a:cubicBezTo>
                  <a:cubicBezTo>
                    <a:pt x="256" y="307"/>
                    <a:pt x="249" y="310"/>
                    <a:pt x="246" y="307"/>
                  </a:cubicBezTo>
                  <a:cubicBezTo>
                    <a:pt x="243" y="304"/>
                    <a:pt x="239" y="306"/>
                    <a:pt x="235" y="307"/>
                  </a:cubicBezTo>
                  <a:cubicBezTo>
                    <a:pt x="232" y="309"/>
                    <a:pt x="243" y="313"/>
                    <a:pt x="244" y="315"/>
                  </a:cubicBezTo>
                  <a:cubicBezTo>
                    <a:pt x="244" y="316"/>
                    <a:pt x="238" y="312"/>
                    <a:pt x="237" y="314"/>
                  </a:cubicBezTo>
                  <a:cubicBezTo>
                    <a:pt x="235" y="315"/>
                    <a:pt x="229" y="313"/>
                    <a:pt x="229" y="309"/>
                  </a:cubicBezTo>
                  <a:cubicBezTo>
                    <a:pt x="228" y="305"/>
                    <a:pt x="219" y="310"/>
                    <a:pt x="224" y="312"/>
                  </a:cubicBezTo>
                  <a:cubicBezTo>
                    <a:pt x="230" y="313"/>
                    <a:pt x="228" y="316"/>
                    <a:pt x="228" y="321"/>
                  </a:cubicBezTo>
                  <a:cubicBezTo>
                    <a:pt x="228" y="326"/>
                    <a:pt x="221" y="322"/>
                    <a:pt x="223" y="318"/>
                  </a:cubicBezTo>
                  <a:cubicBezTo>
                    <a:pt x="224" y="314"/>
                    <a:pt x="219" y="315"/>
                    <a:pt x="214" y="318"/>
                  </a:cubicBezTo>
                  <a:cubicBezTo>
                    <a:pt x="210" y="320"/>
                    <a:pt x="215" y="313"/>
                    <a:pt x="213" y="309"/>
                  </a:cubicBezTo>
                  <a:cubicBezTo>
                    <a:pt x="212" y="306"/>
                    <a:pt x="208" y="309"/>
                    <a:pt x="203" y="310"/>
                  </a:cubicBezTo>
                  <a:cubicBezTo>
                    <a:pt x="199" y="311"/>
                    <a:pt x="196" y="311"/>
                    <a:pt x="199" y="314"/>
                  </a:cubicBezTo>
                  <a:cubicBezTo>
                    <a:pt x="202" y="317"/>
                    <a:pt x="202" y="321"/>
                    <a:pt x="198" y="321"/>
                  </a:cubicBezTo>
                  <a:cubicBezTo>
                    <a:pt x="194" y="320"/>
                    <a:pt x="193" y="321"/>
                    <a:pt x="193" y="324"/>
                  </a:cubicBezTo>
                  <a:cubicBezTo>
                    <a:pt x="194" y="328"/>
                    <a:pt x="188" y="328"/>
                    <a:pt x="188" y="325"/>
                  </a:cubicBezTo>
                  <a:cubicBezTo>
                    <a:pt x="188" y="322"/>
                    <a:pt x="180" y="323"/>
                    <a:pt x="178" y="326"/>
                  </a:cubicBezTo>
                  <a:cubicBezTo>
                    <a:pt x="176" y="330"/>
                    <a:pt x="170" y="332"/>
                    <a:pt x="171" y="336"/>
                  </a:cubicBezTo>
                  <a:cubicBezTo>
                    <a:pt x="171" y="340"/>
                    <a:pt x="176" y="334"/>
                    <a:pt x="180" y="335"/>
                  </a:cubicBezTo>
                  <a:cubicBezTo>
                    <a:pt x="184" y="337"/>
                    <a:pt x="180" y="339"/>
                    <a:pt x="182" y="341"/>
                  </a:cubicBezTo>
                  <a:cubicBezTo>
                    <a:pt x="184" y="343"/>
                    <a:pt x="184" y="347"/>
                    <a:pt x="180" y="344"/>
                  </a:cubicBezTo>
                  <a:cubicBezTo>
                    <a:pt x="177" y="342"/>
                    <a:pt x="174" y="341"/>
                    <a:pt x="173" y="345"/>
                  </a:cubicBezTo>
                  <a:cubicBezTo>
                    <a:pt x="172" y="350"/>
                    <a:pt x="169" y="345"/>
                    <a:pt x="167" y="341"/>
                  </a:cubicBezTo>
                  <a:cubicBezTo>
                    <a:pt x="164" y="338"/>
                    <a:pt x="161" y="347"/>
                    <a:pt x="159" y="345"/>
                  </a:cubicBezTo>
                  <a:cubicBezTo>
                    <a:pt x="156" y="343"/>
                    <a:pt x="164" y="336"/>
                    <a:pt x="162" y="333"/>
                  </a:cubicBezTo>
                  <a:cubicBezTo>
                    <a:pt x="160" y="330"/>
                    <a:pt x="158" y="335"/>
                    <a:pt x="153" y="340"/>
                  </a:cubicBezTo>
                  <a:cubicBezTo>
                    <a:pt x="148" y="345"/>
                    <a:pt x="142" y="345"/>
                    <a:pt x="144" y="347"/>
                  </a:cubicBezTo>
                  <a:cubicBezTo>
                    <a:pt x="147" y="350"/>
                    <a:pt x="139" y="351"/>
                    <a:pt x="138" y="355"/>
                  </a:cubicBezTo>
                  <a:cubicBezTo>
                    <a:pt x="137" y="359"/>
                    <a:pt x="127" y="361"/>
                    <a:pt x="120" y="365"/>
                  </a:cubicBezTo>
                  <a:cubicBezTo>
                    <a:pt x="114" y="369"/>
                    <a:pt x="121" y="369"/>
                    <a:pt x="125" y="365"/>
                  </a:cubicBezTo>
                  <a:cubicBezTo>
                    <a:pt x="129" y="361"/>
                    <a:pt x="130" y="364"/>
                    <a:pt x="136" y="360"/>
                  </a:cubicBezTo>
                  <a:cubicBezTo>
                    <a:pt x="142" y="356"/>
                    <a:pt x="148" y="353"/>
                    <a:pt x="150" y="355"/>
                  </a:cubicBezTo>
                  <a:cubicBezTo>
                    <a:pt x="152" y="356"/>
                    <a:pt x="156" y="357"/>
                    <a:pt x="159" y="353"/>
                  </a:cubicBezTo>
                  <a:cubicBezTo>
                    <a:pt x="161" y="350"/>
                    <a:pt x="165" y="350"/>
                    <a:pt x="168" y="353"/>
                  </a:cubicBezTo>
                  <a:cubicBezTo>
                    <a:pt x="170" y="355"/>
                    <a:pt x="163" y="357"/>
                    <a:pt x="166" y="361"/>
                  </a:cubicBezTo>
                  <a:cubicBezTo>
                    <a:pt x="170" y="364"/>
                    <a:pt x="162" y="366"/>
                    <a:pt x="162" y="363"/>
                  </a:cubicBezTo>
                  <a:cubicBezTo>
                    <a:pt x="162" y="360"/>
                    <a:pt x="158" y="357"/>
                    <a:pt x="156" y="360"/>
                  </a:cubicBezTo>
                  <a:cubicBezTo>
                    <a:pt x="155" y="363"/>
                    <a:pt x="152" y="366"/>
                    <a:pt x="150" y="366"/>
                  </a:cubicBezTo>
                  <a:cubicBezTo>
                    <a:pt x="147" y="366"/>
                    <a:pt x="144" y="372"/>
                    <a:pt x="144" y="377"/>
                  </a:cubicBezTo>
                  <a:cubicBezTo>
                    <a:pt x="144" y="382"/>
                    <a:pt x="139" y="377"/>
                    <a:pt x="138" y="381"/>
                  </a:cubicBezTo>
                  <a:cubicBezTo>
                    <a:pt x="138" y="386"/>
                    <a:pt x="131" y="394"/>
                    <a:pt x="125" y="400"/>
                  </a:cubicBezTo>
                  <a:cubicBezTo>
                    <a:pt x="119" y="405"/>
                    <a:pt x="125" y="407"/>
                    <a:pt x="123" y="410"/>
                  </a:cubicBezTo>
                  <a:cubicBezTo>
                    <a:pt x="121" y="414"/>
                    <a:pt x="114" y="411"/>
                    <a:pt x="111" y="412"/>
                  </a:cubicBezTo>
                  <a:cubicBezTo>
                    <a:pt x="109" y="414"/>
                    <a:pt x="113" y="423"/>
                    <a:pt x="109" y="426"/>
                  </a:cubicBezTo>
                  <a:cubicBezTo>
                    <a:pt x="106" y="428"/>
                    <a:pt x="109" y="432"/>
                    <a:pt x="109" y="435"/>
                  </a:cubicBezTo>
                  <a:cubicBezTo>
                    <a:pt x="109" y="439"/>
                    <a:pt x="101" y="433"/>
                    <a:pt x="100" y="437"/>
                  </a:cubicBezTo>
                  <a:cubicBezTo>
                    <a:pt x="100" y="440"/>
                    <a:pt x="92" y="439"/>
                    <a:pt x="90" y="440"/>
                  </a:cubicBezTo>
                  <a:cubicBezTo>
                    <a:pt x="88" y="441"/>
                    <a:pt x="94" y="446"/>
                    <a:pt x="98" y="449"/>
                  </a:cubicBezTo>
                  <a:cubicBezTo>
                    <a:pt x="102" y="452"/>
                    <a:pt x="95" y="454"/>
                    <a:pt x="94" y="451"/>
                  </a:cubicBezTo>
                  <a:cubicBezTo>
                    <a:pt x="93" y="447"/>
                    <a:pt x="88" y="453"/>
                    <a:pt x="81" y="456"/>
                  </a:cubicBezTo>
                  <a:cubicBezTo>
                    <a:pt x="74" y="459"/>
                    <a:pt x="77" y="465"/>
                    <a:pt x="72" y="465"/>
                  </a:cubicBezTo>
                  <a:cubicBezTo>
                    <a:pt x="67" y="466"/>
                    <a:pt x="68" y="474"/>
                    <a:pt x="65" y="476"/>
                  </a:cubicBezTo>
                  <a:cubicBezTo>
                    <a:pt x="61" y="479"/>
                    <a:pt x="62" y="470"/>
                    <a:pt x="57" y="470"/>
                  </a:cubicBezTo>
                  <a:cubicBezTo>
                    <a:pt x="51" y="470"/>
                    <a:pt x="52" y="474"/>
                    <a:pt x="55" y="478"/>
                  </a:cubicBezTo>
                  <a:cubicBezTo>
                    <a:pt x="58" y="483"/>
                    <a:pt x="50" y="479"/>
                    <a:pt x="47" y="483"/>
                  </a:cubicBezTo>
                  <a:cubicBezTo>
                    <a:pt x="44" y="487"/>
                    <a:pt x="36" y="485"/>
                    <a:pt x="33" y="488"/>
                  </a:cubicBezTo>
                  <a:cubicBezTo>
                    <a:pt x="31" y="492"/>
                    <a:pt x="40" y="492"/>
                    <a:pt x="41" y="494"/>
                  </a:cubicBezTo>
                  <a:cubicBezTo>
                    <a:pt x="42" y="497"/>
                    <a:pt x="33" y="495"/>
                    <a:pt x="28" y="494"/>
                  </a:cubicBezTo>
                  <a:cubicBezTo>
                    <a:pt x="24" y="493"/>
                    <a:pt x="25" y="500"/>
                    <a:pt x="21" y="500"/>
                  </a:cubicBezTo>
                  <a:cubicBezTo>
                    <a:pt x="16" y="499"/>
                    <a:pt x="11" y="503"/>
                    <a:pt x="14" y="506"/>
                  </a:cubicBezTo>
                  <a:cubicBezTo>
                    <a:pt x="17" y="509"/>
                    <a:pt x="12" y="510"/>
                    <a:pt x="9" y="508"/>
                  </a:cubicBezTo>
                  <a:cubicBezTo>
                    <a:pt x="6" y="506"/>
                    <a:pt x="3" y="510"/>
                    <a:pt x="2" y="514"/>
                  </a:cubicBezTo>
                  <a:cubicBezTo>
                    <a:pt x="1" y="518"/>
                    <a:pt x="8" y="520"/>
                    <a:pt x="8" y="521"/>
                  </a:cubicBezTo>
                  <a:cubicBezTo>
                    <a:pt x="7" y="523"/>
                    <a:pt x="2" y="526"/>
                    <a:pt x="6" y="527"/>
                  </a:cubicBezTo>
                  <a:cubicBezTo>
                    <a:pt x="10" y="528"/>
                    <a:pt x="7" y="531"/>
                    <a:pt x="4" y="532"/>
                  </a:cubicBezTo>
                  <a:cubicBezTo>
                    <a:pt x="2" y="533"/>
                    <a:pt x="2" y="536"/>
                    <a:pt x="4" y="539"/>
                  </a:cubicBezTo>
                  <a:cubicBezTo>
                    <a:pt x="7" y="542"/>
                    <a:pt x="0" y="543"/>
                    <a:pt x="3" y="548"/>
                  </a:cubicBezTo>
                  <a:cubicBezTo>
                    <a:pt x="7" y="553"/>
                    <a:pt x="9" y="547"/>
                    <a:pt x="11" y="550"/>
                  </a:cubicBezTo>
                  <a:cubicBezTo>
                    <a:pt x="12" y="554"/>
                    <a:pt x="16" y="551"/>
                    <a:pt x="21" y="546"/>
                  </a:cubicBezTo>
                  <a:cubicBezTo>
                    <a:pt x="26" y="542"/>
                    <a:pt x="28" y="551"/>
                    <a:pt x="24" y="551"/>
                  </a:cubicBezTo>
                  <a:cubicBezTo>
                    <a:pt x="20" y="551"/>
                    <a:pt x="15" y="553"/>
                    <a:pt x="16" y="557"/>
                  </a:cubicBezTo>
                  <a:cubicBezTo>
                    <a:pt x="17" y="561"/>
                    <a:pt x="10" y="560"/>
                    <a:pt x="10" y="555"/>
                  </a:cubicBezTo>
                  <a:cubicBezTo>
                    <a:pt x="11" y="551"/>
                    <a:pt x="2" y="556"/>
                    <a:pt x="5" y="560"/>
                  </a:cubicBezTo>
                  <a:cubicBezTo>
                    <a:pt x="8" y="563"/>
                    <a:pt x="4" y="565"/>
                    <a:pt x="4" y="568"/>
                  </a:cubicBezTo>
                  <a:cubicBezTo>
                    <a:pt x="4" y="572"/>
                    <a:pt x="10" y="571"/>
                    <a:pt x="13" y="567"/>
                  </a:cubicBezTo>
                  <a:cubicBezTo>
                    <a:pt x="15" y="564"/>
                    <a:pt x="19" y="564"/>
                    <a:pt x="20" y="568"/>
                  </a:cubicBezTo>
                  <a:cubicBezTo>
                    <a:pt x="22" y="572"/>
                    <a:pt x="17" y="569"/>
                    <a:pt x="17" y="574"/>
                  </a:cubicBezTo>
                  <a:cubicBezTo>
                    <a:pt x="17" y="579"/>
                    <a:pt x="13" y="575"/>
                    <a:pt x="11" y="578"/>
                  </a:cubicBezTo>
                  <a:cubicBezTo>
                    <a:pt x="8" y="582"/>
                    <a:pt x="22" y="589"/>
                    <a:pt x="26" y="590"/>
                  </a:cubicBezTo>
                  <a:cubicBezTo>
                    <a:pt x="30" y="592"/>
                    <a:pt x="34" y="596"/>
                    <a:pt x="43" y="595"/>
                  </a:cubicBezTo>
                  <a:cubicBezTo>
                    <a:pt x="51" y="594"/>
                    <a:pt x="68" y="578"/>
                    <a:pt x="70" y="575"/>
                  </a:cubicBezTo>
                  <a:cubicBezTo>
                    <a:pt x="72" y="572"/>
                    <a:pt x="77" y="575"/>
                    <a:pt x="80" y="573"/>
                  </a:cubicBezTo>
                  <a:cubicBezTo>
                    <a:pt x="83" y="570"/>
                    <a:pt x="81" y="564"/>
                    <a:pt x="84" y="562"/>
                  </a:cubicBezTo>
                  <a:cubicBezTo>
                    <a:pt x="86" y="561"/>
                    <a:pt x="87" y="569"/>
                    <a:pt x="90" y="570"/>
                  </a:cubicBezTo>
                  <a:cubicBezTo>
                    <a:pt x="91" y="571"/>
                    <a:pt x="93" y="573"/>
                    <a:pt x="93" y="577"/>
                  </a:cubicBezTo>
                  <a:cubicBezTo>
                    <a:pt x="95" y="577"/>
                    <a:pt x="96" y="577"/>
                    <a:pt x="98" y="578"/>
                  </a:cubicBezTo>
                  <a:cubicBezTo>
                    <a:pt x="100" y="580"/>
                    <a:pt x="101" y="571"/>
                    <a:pt x="101" y="568"/>
                  </a:cubicBezTo>
                  <a:cubicBezTo>
                    <a:pt x="101" y="565"/>
                    <a:pt x="104" y="560"/>
                    <a:pt x="103" y="556"/>
                  </a:cubicBezTo>
                  <a:cubicBezTo>
                    <a:pt x="102" y="553"/>
                    <a:pt x="111" y="555"/>
                    <a:pt x="113" y="553"/>
                  </a:cubicBezTo>
                  <a:cubicBezTo>
                    <a:pt x="114" y="550"/>
                    <a:pt x="115" y="540"/>
                    <a:pt x="112" y="539"/>
                  </a:cubicBezTo>
                  <a:cubicBezTo>
                    <a:pt x="109" y="537"/>
                    <a:pt x="109" y="532"/>
                    <a:pt x="111" y="532"/>
                  </a:cubicBezTo>
                  <a:cubicBezTo>
                    <a:pt x="114" y="532"/>
                    <a:pt x="118" y="530"/>
                    <a:pt x="117" y="524"/>
                  </a:cubicBezTo>
                  <a:cubicBezTo>
                    <a:pt x="116" y="519"/>
                    <a:pt x="108" y="519"/>
                    <a:pt x="107" y="514"/>
                  </a:cubicBezTo>
                  <a:cubicBezTo>
                    <a:pt x="106" y="508"/>
                    <a:pt x="111" y="507"/>
                    <a:pt x="108" y="500"/>
                  </a:cubicBezTo>
                  <a:cubicBezTo>
                    <a:pt x="104" y="493"/>
                    <a:pt x="109" y="489"/>
                    <a:pt x="108" y="486"/>
                  </a:cubicBezTo>
                  <a:cubicBezTo>
                    <a:pt x="106" y="482"/>
                    <a:pt x="105" y="478"/>
                    <a:pt x="109" y="471"/>
                  </a:cubicBezTo>
                  <a:cubicBezTo>
                    <a:pt x="113" y="464"/>
                    <a:pt x="121" y="461"/>
                    <a:pt x="124" y="461"/>
                  </a:cubicBezTo>
                  <a:cubicBezTo>
                    <a:pt x="127" y="462"/>
                    <a:pt x="131" y="465"/>
                    <a:pt x="133" y="461"/>
                  </a:cubicBezTo>
                  <a:cubicBezTo>
                    <a:pt x="136" y="457"/>
                    <a:pt x="136" y="453"/>
                    <a:pt x="133" y="452"/>
                  </a:cubicBezTo>
                  <a:cubicBezTo>
                    <a:pt x="131" y="452"/>
                    <a:pt x="126" y="450"/>
                    <a:pt x="130" y="445"/>
                  </a:cubicBezTo>
                  <a:cubicBezTo>
                    <a:pt x="134" y="439"/>
                    <a:pt x="139" y="432"/>
                    <a:pt x="140" y="426"/>
                  </a:cubicBezTo>
                  <a:cubicBezTo>
                    <a:pt x="140" y="420"/>
                    <a:pt x="138" y="415"/>
                    <a:pt x="140" y="413"/>
                  </a:cubicBezTo>
                  <a:cubicBezTo>
                    <a:pt x="142" y="411"/>
                    <a:pt x="147" y="413"/>
                    <a:pt x="151" y="410"/>
                  </a:cubicBezTo>
                  <a:cubicBezTo>
                    <a:pt x="156" y="408"/>
                    <a:pt x="152" y="404"/>
                    <a:pt x="154" y="402"/>
                  </a:cubicBezTo>
                  <a:cubicBezTo>
                    <a:pt x="156" y="400"/>
                    <a:pt x="159" y="393"/>
                    <a:pt x="162" y="391"/>
                  </a:cubicBezTo>
                  <a:cubicBezTo>
                    <a:pt x="165" y="389"/>
                    <a:pt x="167" y="386"/>
                    <a:pt x="165" y="383"/>
                  </a:cubicBezTo>
                  <a:cubicBezTo>
                    <a:pt x="163" y="381"/>
                    <a:pt x="169" y="378"/>
                    <a:pt x="169" y="373"/>
                  </a:cubicBezTo>
                  <a:cubicBezTo>
                    <a:pt x="169" y="368"/>
                    <a:pt x="176" y="365"/>
                    <a:pt x="180" y="365"/>
                  </a:cubicBezTo>
                  <a:cubicBezTo>
                    <a:pt x="185" y="365"/>
                    <a:pt x="191" y="365"/>
                    <a:pt x="191" y="361"/>
                  </a:cubicBezTo>
                  <a:cubicBezTo>
                    <a:pt x="191" y="356"/>
                    <a:pt x="189" y="347"/>
                    <a:pt x="195" y="350"/>
                  </a:cubicBezTo>
                  <a:cubicBezTo>
                    <a:pt x="201" y="353"/>
                    <a:pt x="206" y="349"/>
                    <a:pt x="210" y="353"/>
                  </a:cubicBezTo>
                  <a:cubicBezTo>
                    <a:pt x="214" y="356"/>
                    <a:pt x="220" y="356"/>
                    <a:pt x="220" y="350"/>
                  </a:cubicBezTo>
                  <a:cubicBezTo>
                    <a:pt x="220" y="345"/>
                    <a:pt x="222" y="336"/>
                    <a:pt x="228" y="339"/>
                  </a:cubicBezTo>
                  <a:cubicBezTo>
                    <a:pt x="229" y="339"/>
                    <a:pt x="229" y="340"/>
                    <a:pt x="230" y="340"/>
                  </a:cubicBezTo>
                  <a:cubicBezTo>
                    <a:pt x="232" y="335"/>
                    <a:pt x="236" y="332"/>
                    <a:pt x="239" y="333"/>
                  </a:cubicBezTo>
                  <a:cubicBezTo>
                    <a:pt x="245" y="334"/>
                    <a:pt x="248" y="343"/>
                    <a:pt x="255" y="345"/>
                  </a:cubicBezTo>
                  <a:cubicBezTo>
                    <a:pt x="262" y="346"/>
                    <a:pt x="269" y="349"/>
                    <a:pt x="271" y="345"/>
                  </a:cubicBezTo>
                  <a:cubicBezTo>
                    <a:pt x="273" y="342"/>
                    <a:pt x="278" y="347"/>
                    <a:pt x="282" y="346"/>
                  </a:cubicBezTo>
                  <a:cubicBezTo>
                    <a:pt x="286" y="345"/>
                    <a:pt x="286" y="354"/>
                    <a:pt x="290" y="348"/>
                  </a:cubicBezTo>
                  <a:cubicBezTo>
                    <a:pt x="294" y="343"/>
                    <a:pt x="290" y="339"/>
                    <a:pt x="297" y="340"/>
                  </a:cubicBezTo>
                  <a:cubicBezTo>
                    <a:pt x="303" y="340"/>
                    <a:pt x="299" y="332"/>
                    <a:pt x="299" y="327"/>
                  </a:cubicBezTo>
                  <a:cubicBezTo>
                    <a:pt x="299" y="323"/>
                    <a:pt x="308" y="322"/>
                    <a:pt x="308" y="318"/>
                  </a:cubicBezTo>
                  <a:cubicBezTo>
                    <a:pt x="308" y="314"/>
                    <a:pt x="321" y="317"/>
                    <a:pt x="323" y="314"/>
                  </a:cubicBezTo>
                  <a:cubicBezTo>
                    <a:pt x="325" y="311"/>
                    <a:pt x="332" y="309"/>
                    <a:pt x="335" y="314"/>
                  </a:cubicBezTo>
                  <a:cubicBezTo>
                    <a:pt x="337" y="319"/>
                    <a:pt x="349" y="320"/>
                    <a:pt x="350" y="325"/>
                  </a:cubicBezTo>
                  <a:cubicBezTo>
                    <a:pt x="350" y="327"/>
                    <a:pt x="350" y="330"/>
                    <a:pt x="350" y="333"/>
                  </a:cubicBezTo>
                  <a:cubicBezTo>
                    <a:pt x="352" y="331"/>
                    <a:pt x="354" y="329"/>
                    <a:pt x="356" y="329"/>
                  </a:cubicBezTo>
                  <a:cubicBezTo>
                    <a:pt x="361" y="329"/>
                    <a:pt x="365" y="323"/>
                    <a:pt x="368" y="324"/>
                  </a:cubicBezTo>
                  <a:cubicBezTo>
                    <a:pt x="372" y="325"/>
                    <a:pt x="375" y="324"/>
                    <a:pt x="376" y="319"/>
                  </a:cubicBezTo>
                  <a:cubicBezTo>
                    <a:pt x="372" y="316"/>
                    <a:pt x="366" y="316"/>
                    <a:pt x="365" y="319"/>
                  </a:cubicBezTo>
                  <a:close/>
                  <a:moveTo>
                    <a:pt x="105" y="43"/>
                  </a:moveTo>
                  <a:cubicBezTo>
                    <a:pt x="111" y="45"/>
                    <a:pt x="98" y="51"/>
                    <a:pt x="97" y="58"/>
                  </a:cubicBezTo>
                  <a:cubicBezTo>
                    <a:pt x="95" y="64"/>
                    <a:pt x="106" y="69"/>
                    <a:pt x="111" y="74"/>
                  </a:cubicBezTo>
                  <a:cubicBezTo>
                    <a:pt x="116" y="78"/>
                    <a:pt x="127" y="78"/>
                    <a:pt x="132" y="75"/>
                  </a:cubicBezTo>
                  <a:cubicBezTo>
                    <a:pt x="136" y="72"/>
                    <a:pt x="135" y="63"/>
                    <a:pt x="140" y="64"/>
                  </a:cubicBezTo>
                  <a:cubicBezTo>
                    <a:pt x="146" y="64"/>
                    <a:pt x="143" y="59"/>
                    <a:pt x="147" y="57"/>
                  </a:cubicBezTo>
                  <a:cubicBezTo>
                    <a:pt x="152" y="56"/>
                    <a:pt x="152" y="61"/>
                    <a:pt x="148" y="66"/>
                  </a:cubicBezTo>
                  <a:cubicBezTo>
                    <a:pt x="145" y="70"/>
                    <a:pt x="155" y="70"/>
                    <a:pt x="161" y="65"/>
                  </a:cubicBezTo>
                  <a:cubicBezTo>
                    <a:pt x="167" y="59"/>
                    <a:pt x="168" y="64"/>
                    <a:pt x="167" y="69"/>
                  </a:cubicBezTo>
                  <a:cubicBezTo>
                    <a:pt x="166" y="75"/>
                    <a:pt x="154" y="72"/>
                    <a:pt x="149" y="78"/>
                  </a:cubicBezTo>
                  <a:cubicBezTo>
                    <a:pt x="145" y="83"/>
                    <a:pt x="132" y="79"/>
                    <a:pt x="127" y="85"/>
                  </a:cubicBezTo>
                  <a:cubicBezTo>
                    <a:pt x="121" y="92"/>
                    <a:pt x="132" y="92"/>
                    <a:pt x="140" y="90"/>
                  </a:cubicBezTo>
                  <a:cubicBezTo>
                    <a:pt x="148" y="89"/>
                    <a:pt x="163" y="88"/>
                    <a:pt x="169" y="89"/>
                  </a:cubicBezTo>
                  <a:cubicBezTo>
                    <a:pt x="175" y="90"/>
                    <a:pt x="165" y="92"/>
                    <a:pt x="156" y="92"/>
                  </a:cubicBezTo>
                  <a:cubicBezTo>
                    <a:pt x="146" y="92"/>
                    <a:pt x="143" y="95"/>
                    <a:pt x="143" y="98"/>
                  </a:cubicBezTo>
                  <a:cubicBezTo>
                    <a:pt x="143" y="100"/>
                    <a:pt x="129" y="95"/>
                    <a:pt x="129" y="101"/>
                  </a:cubicBezTo>
                  <a:cubicBezTo>
                    <a:pt x="128" y="107"/>
                    <a:pt x="142" y="109"/>
                    <a:pt x="143" y="112"/>
                  </a:cubicBezTo>
                  <a:cubicBezTo>
                    <a:pt x="145" y="116"/>
                    <a:pt x="154" y="113"/>
                    <a:pt x="157" y="114"/>
                  </a:cubicBezTo>
                  <a:cubicBezTo>
                    <a:pt x="161" y="115"/>
                    <a:pt x="152" y="118"/>
                    <a:pt x="150" y="119"/>
                  </a:cubicBezTo>
                  <a:cubicBezTo>
                    <a:pt x="149" y="121"/>
                    <a:pt x="160" y="123"/>
                    <a:pt x="162" y="127"/>
                  </a:cubicBezTo>
                  <a:cubicBezTo>
                    <a:pt x="164" y="130"/>
                    <a:pt x="172" y="128"/>
                    <a:pt x="172" y="124"/>
                  </a:cubicBezTo>
                  <a:cubicBezTo>
                    <a:pt x="172" y="118"/>
                    <a:pt x="179" y="101"/>
                    <a:pt x="189" y="98"/>
                  </a:cubicBezTo>
                  <a:cubicBezTo>
                    <a:pt x="198" y="94"/>
                    <a:pt x="193" y="91"/>
                    <a:pt x="194" y="85"/>
                  </a:cubicBezTo>
                  <a:cubicBezTo>
                    <a:pt x="196" y="80"/>
                    <a:pt x="203" y="84"/>
                    <a:pt x="201" y="80"/>
                  </a:cubicBezTo>
                  <a:cubicBezTo>
                    <a:pt x="199" y="75"/>
                    <a:pt x="200" y="73"/>
                    <a:pt x="206" y="68"/>
                  </a:cubicBezTo>
                  <a:cubicBezTo>
                    <a:pt x="212" y="62"/>
                    <a:pt x="216" y="66"/>
                    <a:pt x="224" y="62"/>
                  </a:cubicBezTo>
                  <a:cubicBezTo>
                    <a:pt x="231" y="59"/>
                    <a:pt x="235" y="65"/>
                    <a:pt x="227" y="66"/>
                  </a:cubicBezTo>
                  <a:cubicBezTo>
                    <a:pt x="219" y="66"/>
                    <a:pt x="223" y="74"/>
                    <a:pt x="229" y="77"/>
                  </a:cubicBezTo>
                  <a:cubicBezTo>
                    <a:pt x="235" y="79"/>
                    <a:pt x="229" y="81"/>
                    <a:pt x="234" y="82"/>
                  </a:cubicBezTo>
                  <a:cubicBezTo>
                    <a:pt x="238" y="83"/>
                    <a:pt x="237" y="89"/>
                    <a:pt x="231" y="96"/>
                  </a:cubicBezTo>
                  <a:cubicBezTo>
                    <a:pt x="226" y="102"/>
                    <a:pt x="233" y="103"/>
                    <a:pt x="245" y="99"/>
                  </a:cubicBezTo>
                  <a:cubicBezTo>
                    <a:pt x="257" y="94"/>
                    <a:pt x="250" y="102"/>
                    <a:pt x="253" y="106"/>
                  </a:cubicBezTo>
                  <a:cubicBezTo>
                    <a:pt x="257" y="109"/>
                    <a:pt x="267" y="103"/>
                    <a:pt x="272" y="97"/>
                  </a:cubicBezTo>
                  <a:cubicBezTo>
                    <a:pt x="277" y="91"/>
                    <a:pt x="285" y="92"/>
                    <a:pt x="284" y="89"/>
                  </a:cubicBezTo>
                  <a:cubicBezTo>
                    <a:pt x="284" y="85"/>
                    <a:pt x="278" y="84"/>
                    <a:pt x="274" y="86"/>
                  </a:cubicBezTo>
                  <a:cubicBezTo>
                    <a:pt x="269" y="88"/>
                    <a:pt x="258" y="87"/>
                    <a:pt x="262" y="83"/>
                  </a:cubicBezTo>
                  <a:cubicBezTo>
                    <a:pt x="266" y="80"/>
                    <a:pt x="265" y="77"/>
                    <a:pt x="259" y="78"/>
                  </a:cubicBezTo>
                  <a:cubicBezTo>
                    <a:pt x="254" y="78"/>
                    <a:pt x="243" y="75"/>
                    <a:pt x="248" y="73"/>
                  </a:cubicBezTo>
                  <a:cubicBezTo>
                    <a:pt x="253" y="71"/>
                    <a:pt x="245" y="65"/>
                    <a:pt x="240" y="65"/>
                  </a:cubicBezTo>
                  <a:cubicBezTo>
                    <a:pt x="236" y="66"/>
                    <a:pt x="237" y="60"/>
                    <a:pt x="237" y="57"/>
                  </a:cubicBezTo>
                  <a:cubicBezTo>
                    <a:pt x="237" y="53"/>
                    <a:pt x="224" y="52"/>
                    <a:pt x="227" y="50"/>
                  </a:cubicBezTo>
                  <a:cubicBezTo>
                    <a:pt x="229" y="49"/>
                    <a:pt x="221" y="46"/>
                    <a:pt x="219" y="49"/>
                  </a:cubicBezTo>
                  <a:cubicBezTo>
                    <a:pt x="217" y="51"/>
                    <a:pt x="214" y="51"/>
                    <a:pt x="214" y="47"/>
                  </a:cubicBezTo>
                  <a:cubicBezTo>
                    <a:pt x="214" y="43"/>
                    <a:pt x="204" y="44"/>
                    <a:pt x="200" y="44"/>
                  </a:cubicBezTo>
                  <a:cubicBezTo>
                    <a:pt x="196" y="45"/>
                    <a:pt x="198" y="36"/>
                    <a:pt x="194" y="33"/>
                  </a:cubicBezTo>
                  <a:cubicBezTo>
                    <a:pt x="190" y="30"/>
                    <a:pt x="185" y="39"/>
                    <a:pt x="182" y="38"/>
                  </a:cubicBezTo>
                  <a:cubicBezTo>
                    <a:pt x="179" y="38"/>
                    <a:pt x="185" y="32"/>
                    <a:pt x="186" y="28"/>
                  </a:cubicBezTo>
                  <a:cubicBezTo>
                    <a:pt x="188" y="24"/>
                    <a:pt x="173" y="19"/>
                    <a:pt x="171" y="23"/>
                  </a:cubicBezTo>
                  <a:cubicBezTo>
                    <a:pt x="169" y="27"/>
                    <a:pt x="167" y="17"/>
                    <a:pt x="163" y="16"/>
                  </a:cubicBezTo>
                  <a:cubicBezTo>
                    <a:pt x="160" y="15"/>
                    <a:pt x="163" y="22"/>
                    <a:pt x="160" y="23"/>
                  </a:cubicBezTo>
                  <a:cubicBezTo>
                    <a:pt x="157" y="24"/>
                    <a:pt x="153" y="27"/>
                    <a:pt x="158" y="30"/>
                  </a:cubicBezTo>
                  <a:cubicBezTo>
                    <a:pt x="163" y="33"/>
                    <a:pt x="167" y="49"/>
                    <a:pt x="167" y="52"/>
                  </a:cubicBezTo>
                  <a:cubicBezTo>
                    <a:pt x="166" y="54"/>
                    <a:pt x="151" y="40"/>
                    <a:pt x="151" y="33"/>
                  </a:cubicBezTo>
                  <a:cubicBezTo>
                    <a:pt x="150" y="27"/>
                    <a:pt x="143" y="21"/>
                    <a:pt x="141" y="26"/>
                  </a:cubicBezTo>
                  <a:cubicBezTo>
                    <a:pt x="139" y="31"/>
                    <a:pt x="133" y="33"/>
                    <a:pt x="135" y="38"/>
                  </a:cubicBezTo>
                  <a:cubicBezTo>
                    <a:pt x="137" y="42"/>
                    <a:pt x="131" y="44"/>
                    <a:pt x="131" y="40"/>
                  </a:cubicBezTo>
                  <a:cubicBezTo>
                    <a:pt x="131" y="36"/>
                    <a:pt x="123" y="32"/>
                    <a:pt x="120" y="31"/>
                  </a:cubicBezTo>
                  <a:cubicBezTo>
                    <a:pt x="117" y="31"/>
                    <a:pt x="127" y="29"/>
                    <a:pt x="132" y="27"/>
                  </a:cubicBezTo>
                  <a:cubicBezTo>
                    <a:pt x="137" y="25"/>
                    <a:pt x="128" y="21"/>
                    <a:pt x="124" y="24"/>
                  </a:cubicBezTo>
                  <a:cubicBezTo>
                    <a:pt x="120" y="27"/>
                    <a:pt x="114" y="22"/>
                    <a:pt x="112" y="26"/>
                  </a:cubicBezTo>
                  <a:cubicBezTo>
                    <a:pt x="109" y="29"/>
                    <a:pt x="106" y="26"/>
                    <a:pt x="101" y="25"/>
                  </a:cubicBezTo>
                  <a:cubicBezTo>
                    <a:pt x="97" y="24"/>
                    <a:pt x="93" y="31"/>
                    <a:pt x="90" y="30"/>
                  </a:cubicBezTo>
                  <a:cubicBezTo>
                    <a:pt x="87" y="29"/>
                    <a:pt x="85" y="37"/>
                    <a:pt x="90" y="45"/>
                  </a:cubicBezTo>
                  <a:cubicBezTo>
                    <a:pt x="95" y="53"/>
                    <a:pt x="99" y="42"/>
                    <a:pt x="105" y="43"/>
                  </a:cubicBezTo>
                  <a:close/>
                  <a:moveTo>
                    <a:pt x="92" y="69"/>
                  </a:moveTo>
                  <a:cubicBezTo>
                    <a:pt x="96" y="70"/>
                    <a:pt x="98" y="77"/>
                    <a:pt x="102" y="77"/>
                  </a:cubicBezTo>
                  <a:cubicBezTo>
                    <a:pt x="104" y="76"/>
                    <a:pt x="97" y="69"/>
                    <a:pt x="92" y="64"/>
                  </a:cubicBezTo>
                  <a:cubicBezTo>
                    <a:pt x="88" y="59"/>
                    <a:pt x="88" y="55"/>
                    <a:pt x="83" y="57"/>
                  </a:cubicBezTo>
                  <a:cubicBezTo>
                    <a:pt x="77" y="58"/>
                    <a:pt x="88" y="69"/>
                    <a:pt x="92" y="69"/>
                  </a:cubicBezTo>
                  <a:close/>
                  <a:moveTo>
                    <a:pt x="194" y="17"/>
                  </a:moveTo>
                  <a:cubicBezTo>
                    <a:pt x="197" y="19"/>
                    <a:pt x="189" y="20"/>
                    <a:pt x="193" y="23"/>
                  </a:cubicBezTo>
                  <a:cubicBezTo>
                    <a:pt x="202" y="32"/>
                    <a:pt x="240" y="21"/>
                    <a:pt x="246" y="24"/>
                  </a:cubicBezTo>
                  <a:cubicBezTo>
                    <a:pt x="251" y="27"/>
                    <a:pt x="214" y="31"/>
                    <a:pt x="215" y="35"/>
                  </a:cubicBezTo>
                  <a:cubicBezTo>
                    <a:pt x="217" y="39"/>
                    <a:pt x="247" y="42"/>
                    <a:pt x="249" y="39"/>
                  </a:cubicBezTo>
                  <a:cubicBezTo>
                    <a:pt x="252" y="37"/>
                    <a:pt x="257" y="44"/>
                    <a:pt x="267" y="45"/>
                  </a:cubicBezTo>
                  <a:cubicBezTo>
                    <a:pt x="277" y="46"/>
                    <a:pt x="276" y="41"/>
                    <a:pt x="283" y="41"/>
                  </a:cubicBezTo>
                  <a:cubicBezTo>
                    <a:pt x="291" y="40"/>
                    <a:pt x="302" y="37"/>
                    <a:pt x="302" y="33"/>
                  </a:cubicBezTo>
                  <a:cubicBezTo>
                    <a:pt x="302" y="29"/>
                    <a:pt x="324" y="23"/>
                    <a:pt x="322" y="16"/>
                  </a:cubicBezTo>
                  <a:cubicBezTo>
                    <a:pt x="320" y="9"/>
                    <a:pt x="299" y="14"/>
                    <a:pt x="293" y="11"/>
                  </a:cubicBezTo>
                  <a:cubicBezTo>
                    <a:pt x="287" y="8"/>
                    <a:pt x="274" y="4"/>
                    <a:pt x="272" y="9"/>
                  </a:cubicBezTo>
                  <a:cubicBezTo>
                    <a:pt x="269" y="13"/>
                    <a:pt x="266" y="15"/>
                    <a:pt x="264" y="13"/>
                  </a:cubicBezTo>
                  <a:cubicBezTo>
                    <a:pt x="262" y="11"/>
                    <a:pt x="265" y="0"/>
                    <a:pt x="255" y="3"/>
                  </a:cubicBezTo>
                  <a:cubicBezTo>
                    <a:pt x="246" y="6"/>
                    <a:pt x="255" y="16"/>
                    <a:pt x="253" y="18"/>
                  </a:cubicBezTo>
                  <a:cubicBezTo>
                    <a:pt x="251" y="19"/>
                    <a:pt x="242" y="16"/>
                    <a:pt x="241" y="11"/>
                  </a:cubicBezTo>
                  <a:cubicBezTo>
                    <a:pt x="240" y="7"/>
                    <a:pt x="230" y="16"/>
                    <a:pt x="229" y="10"/>
                  </a:cubicBezTo>
                  <a:cubicBezTo>
                    <a:pt x="228" y="5"/>
                    <a:pt x="216" y="1"/>
                    <a:pt x="213" y="1"/>
                  </a:cubicBezTo>
                  <a:cubicBezTo>
                    <a:pt x="211" y="2"/>
                    <a:pt x="216" y="5"/>
                    <a:pt x="214" y="8"/>
                  </a:cubicBezTo>
                  <a:cubicBezTo>
                    <a:pt x="213" y="10"/>
                    <a:pt x="206" y="5"/>
                    <a:pt x="204" y="5"/>
                  </a:cubicBezTo>
                  <a:cubicBezTo>
                    <a:pt x="201" y="5"/>
                    <a:pt x="205" y="10"/>
                    <a:pt x="204" y="13"/>
                  </a:cubicBezTo>
                  <a:cubicBezTo>
                    <a:pt x="203" y="16"/>
                    <a:pt x="197" y="5"/>
                    <a:pt x="193" y="5"/>
                  </a:cubicBezTo>
                  <a:cubicBezTo>
                    <a:pt x="188" y="5"/>
                    <a:pt x="190" y="10"/>
                    <a:pt x="187" y="11"/>
                  </a:cubicBezTo>
                  <a:cubicBezTo>
                    <a:pt x="184" y="11"/>
                    <a:pt x="191" y="15"/>
                    <a:pt x="194" y="1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6" name="Freeform 324"/>
            <p:cNvSpPr/>
            <p:nvPr/>
          </p:nvSpPr>
          <p:spPr>
            <a:xfrm>
              <a:off x="9417051" y="1970088"/>
              <a:ext cx="80963" cy="30163"/>
            </a:xfrm>
            <a:custGeom>
              <a:gdLst>
                <a:gd name="T0" fmla="*/ 22 w 48"/>
                <a:gd name="T1" fmla="*/ 2 h 18"/>
                <a:gd name="T2" fmla="*/ 4 w 48"/>
                <a:gd name="T3" fmla="*/ 8 h 18"/>
                <a:gd name="T4" fmla="*/ 31 w 48"/>
                <a:gd name="T5" fmla="*/ 14 h 18"/>
                <a:gd name="T6" fmla="*/ 48 w 48"/>
                <a:gd name="T7" fmla="*/ 11 h 18"/>
                <a:gd name="T8" fmla="*/ 22 w 48"/>
                <a:gd name="T9" fmla="*/ 2 h 18"/>
              </a:gdLst>
              <a:cxnLst>
                <a:cxn ang="0">
                  <a:pos x="T0" y="T1"/>
                </a:cxn>
                <a:cxn ang="0">
                  <a:pos x="T2" y="T3"/>
                </a:cxn>
                <a:cxn ang="0">
                  <a:pos x="T4" y="T5"/>
                </a:cxn>
                <a:cxn ang="0">
                  <a:pos x="T6" y="T7"/>
                </a:cxn>
                <a:cxn ang="0">
                  <a:pos x="T8" y="T9"/>
                </a:cxn>
              </a:cxnLst>
              <a:rect l="0" t="0" r="r" b="b"/>
              <a:pathLst>
                <a:path w="48" h="18">
                  <a:moveTo>
                    <a:pt x="22" y="2"/>
                  </a:moveTo>
                  <a:cubicBezTo>
                    <a:pt x="19" y="4"/>
                    <a:pt x="0" y="3"/>
                    <a:pt x="4" y="8"/>
                  </a:cubicBezTo>
                  <a:cubicBezTo>
                    <a:pt x="7" y="12"/>
                    <a:pt x="23" y="10"/>
                    <a:pt x="31" y="14"/>
                  </a:cubicBezTo>
                  <a:cubicBezTo>
                    <a:pt x="38" y="18"/>
                    <a:pt x="48" y="15"/>
                    <a:pt x="48" y="11"/>
                  </a:cubicBezTo>
                  <a:cubicBezTo>
                    <a:pt x="48" y="8"/>
                    <a:pt x="25" y="0"/>
                    <a:pt x="22" y="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7" name="Freeform 325"/>
            <p:cNvSpPr>
              <a:spLocks noEditPoints="1"/>
            </p:cNvSpPr>
            <p:nvPr/>
          </p:nvSpPr>
          <p:spPr>
            <a:xfrm>
              <a:off x="7954963" y="2592388"/>
              <a:ext cx="422275" cy="423863"/>
            </a:xfrm>
            <a:custGeom>
              <a:gdLst>
                <a:gd name="T0" fmla="*/ 220 w 249"/>
                <a:gd name="T1" fmla="*/ 31 h 250"/>
                <a:gd name="T2" fmla="*/ 179 w 249"/>
                <a:gd name="T3" fmla="*/ 12 h 250"/>
                <a:gd name="T4" fmla="*/ 174 w 249"/>
                <a:gd name="T5" fmla="*/ 40 h 250"/>
                <a:gd name="T6" fmla="*/ 156 w 249"/>
                <a:gd name="T7" fmla="*/ 54 h 250"/>
                <a:gd name="T8" fmla="*/ 154 w 249"/>
                <a:gd name="T9" fmla="*/ 74 h 250"/>
                <a:gd name="T10" fmla="*/ 169 w 249"/>
                <a:gd name="T11" fmla="*/ 69 h 250"/>
                <a:gd name="T12" fmla="*/ 172 w 249"/>
                <a:gd name="T13" fmla="*/ 57 h 250"/>
                <a:gd name="T14" fmla="*/ 204 w 249"/>
                <a:gd name="T15" fmla="*/ 59 h 250"/>
                <a:gd name="T16" fmla="*/ 232 w 249"/>
                <a:gd name="T17" fmla="*/ 42 h 250"/>
                <a:gd name="T18" fmla="*/ 235 w 249"/>
                <a:gd name="T19" fmla="*/ 28 h 250"/>
                <a:gd name="T20" fmla="*/ 153 w 249"/>
                <a:gd name="T21" fmla="*/ 106 h 250"/>
                <a:gd name="T22" fmla="*/ 137 w 249"/>
                <a:gd name="T23" fmla="*/ 140 h 250"/>
                <a:gd name="T24" fmla="*/ 114 w 249"/>
                <a:gd name="T25" fmla="*/ 145 h 250"/>
                <a:gd name="T26" fmla="*/ 94 w 249"/>
                <a:gd name="T27" fmla="*/ 172 h 250"/>
                <a:gd name="T28" fmla="*/ 68 w 249"/>
                <a:gd name="T29" fmla="*/ 177 h 250"/>
                <a:gd name="T30" fmla="*/ 24 w 249"/>
                <a:gd name="T31" fmla="*/ 195 h 250"/>
                <a:gd name="T32" fmla="*/ 40 w 249"/>
                <a:gd name="T33" fmla="*/ 200 h 250"/>
                <a:gd name="T34" fmla="*/ 82 w 249"/>
                <a:gd name="T35" fmla="*/ 203 h 250"/>
                <a:gd name="T36" fmla="*/ 105 w 249"/>
                <a:gd name="T37" fmla="*/ 193 h 250"/>
                <a:gd name="T38" fmla="*/ 128 w 249"/>
                <a:gd name="T39" fmla="*/ 189 h 250"/>
                <a:gd name="T40" fmla="*/ 147 w 249"/>
                <a:gd name="T41" fmla="*/ 181 h 250"/>
                <a:gd name="T42" fmla="*/ 165 w 249"/>
                <a:gd name="T43" fmla="*/ 159 h 250"/>
                <a:gd name="T44" fmla="*/ 181 w 249"/>
                <a:gd name="T45" fmla="*/ 120 h 250"/>
                <a:gd name="T46" fmla="*/ 156 w 249"/>
                <a:gd name="T47" fmla="*/ 87 h 250"/>
                <a:gd name="T48" fmla="*/ 48 w 249"/>
                <a:gd name="T49" fmla="*/ 203 h 250"/>
                <a:gd name="T50" fmla="*/ 54 w 249"/>
                <a:gd name="T51" fmla="*/ 218 h 250"/>
                <a:gd name="T52" fmla="*/ 76 w 249"/>
                <a:gd name="T53" fmla="*/ 200 h 250"/>
                <a:gd name="T54" fmla="*/ 32 w 249"/>
                <a:gd name="T55" fmla="*/ 215 h 250"/>
                <a:gd name="T56" fmla="*/ 8 w 249"/>
                <a:gd name="T57" fmla="*/ 211 h 250"/>
                <a:gd name="T58" fmla="*/ 11 w 249"/>
                <a:gd name="T59" fmla="*/ 217 h 250"/>
                <a:gd name="T60" fmla="*/ 18 w 249"/>
                <a:gd name="T61" fmla="*/ 249 h 250"/>
                <a:gd name="T62" fmla="*/ 32 w 249"/>
                <a:gd name="T63" fmla="*/ 215 h 2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9" h="250">
                  <a:moveTo>
                    <a:pt x="235" y="28"/>
                  </a:moveTo>
                  <a:cubicBezTo>
                    <a:pt x="232" y="24"/>
                    <a:pt x="227" y="30"/>
                    <a:pt x="220" y="31"/>
                  </a:cubicBezTo>
                  <a:cubicBezTo>
                    <a:pt x="214" y="33"/>
                    <a:pt x="194" y="16"/>
                    <a:pt x="189" y="8"/>
                  </a:cubicBezTo>
                  <a:cubicBezTo>
                    <a:pt x="183" y="0"/>
                    <a:pt x="175" y="7"/>
                    <a:pt x="179" y="12"/>
                  </a:cubicBezTo>
                  <a:cubicBezTo>
                    <a:pt x="183" y="18"/>
                    <a:pt x="178" y="20"/>
                    <a:pt x="178" y="27"/>
                  </a:cubicBezTo>
                  <a:cubicBezTo>
                    <a:pt x="178" y="35"/>
                    <a:pt x="173" y="35"/>
                    <a:pt x="174" y="40"/>
                  </a:cubicBezTo>
                  <a:cubicBezTo>
                    <a:pt x="175" y="46"/>
                    <a:pt x="167" y="45"/>
                    <a:pt x="162" y="46"/>
                  </a:cubicBezTo>
                  <a:cubicBezTo>
                    <a:pt x="157" y="46"/>
                    <a:pt x="162" y="52"/>
                    <a:pt x="156" y="54"/>
                  </a:cubicBezTo>
                  <a:cubicBezTo>
                    <a:pt x="150" y="57"/>
                    <a:pt x="151" y="61"/>
                    <a:pt x="154" y="63"/>
                  </a:cubicBezTo>
                  <a:cubicBezTo>
                    <a:pt x="157" y="64"/>
                    <a:pt x="155" y="70"/>
                    <a:pt x="154" y="74"/>
                  </a:cubicBezTo>
                  <a:cubicBezTo>
                    <a:pt x="153" y="78"/>
                    <a:pt x="158" y="75"/>
                    <a:pt x="161" y="71"/>
                  </a:cubicBezTo>
                  <a:cubicBezTo>
                    <a:pt x="165" y="67"/>
                    <a:pt x="168" y="73"/>
                    <a:pt x="169" y="69"/>
                  </a:cubicBezTo>
                  <a:cubicBezTo>
                    <a:pt x="170" y="65"/>
                    <a:pt x="160" y="63"/>
                    <a:pt x="160" y="58"/>
                  </a:cubicBezTo>
                  <a:cubicBezTo>
                    <a:pt x="161" y="54"/>
                    <a:pt x="167" y="60"/>
                    <a:pt x="172" y="57"/>
                  </a:cubicBezTo>
                  <a:cubicBezTo>
                    <a:pt x="177" y="55"/>
                    <a:pt x="188" y="57"/>
                    <a:pt x="194" y="62"/>
                  </a:cubicBezTo>
                  <a:cubicBezTo>
                    <a:pt x="201" y="68"/>
                    <a:pt x="202" y="66"/>
                    <a:pt x="204" y="59"/>
                  </a:cubicBezTo>
                  <a:cubicBezTo>
                    <a:pt x="205" y="52"/>
                    <a:pt x="215" y="49"/>
                    <a:pt x="225" y="49"/>
                  </a:cubicBezTo>
                  <a:cubicBezTo>
                    <a:pt x="235" y="49"/>
                    <a:pt x="235" y="44"/>
                    <a:pt x="232" y="42"/>
                  </a:cubicBezTo>
                  <a:cubicBezTo>
                    <a:pt x="229" y="40"/>
                    <a:pt x="249" y="27"/>
                    <a:pt x="248" y="24"/>
                  </a:cubicBezTo>
                  <a:cubicBezTo>
                    <a:pt x="248" y="21"/>
                    <a:pt x="238" y="32"/>
                    <a:pt x="235" y="28"/>
                  </a:cubicBezTo>
                  <a:close/>
                  <a:moveTo>
                    <a:pt x="156" y="87"/>
                  </a:moveTo>
                  <a:cubicBezTo>
                    <a:pt x="152" y="89"/>
                    <a:pt x="149" y="102"/>
                    <a:pt x="153" y="106"/>
                  </a:cubicBezTo>
                  <a:cubicBezTo>
                    <a:pt x="158" y="110"/>
                    <a:pt x="146" y="117"/>
                    <a:pt x="146" y="126"/>
                  </a:cubicBezTo>
                  <a:cubicBezTo>
                    <a:pt x="146" y="134"/>
                    <a:pt x="138" y="134"/>
                    <a:pt x="137" y="140"/>
                  </a:cubicBezTo>
                  <a:cubicBezTo>
                    <a:pt x="136" y="146"/>
                    <a:pt x="131" y="144"/>
                    <a:pt x="124" y="150"/>
                  </a:cubicBezTo>
                  <a:cubicBezTo>
                    <a:pt x="116" y="156"/>
                    <a:pt x="112" y="149"/>
                    <a:pt x="114" y="145"/>
                  </a:cubicBezTo>
                  <a:cubicBezTo>
                    <a:pt x="116" y="141"/>
                    <a:pt x="103" y="148"/>
                    <a:pt x="103" y="157"/>
                  </a:cubicBezTo>
                  <a:cubicBezTo>
                    <a:pt x="104" y="166"/>
                    <a:pt x="91" y="167"/>
                    <a:pt x="94" y="172"/>
                  </a:cubicBezTo>
                  <a:cubicBezTo>
                    <a:pt x="97" y="176"/>
                    <a:pt x="85" y="178"/>
                    <a:pt x="85" y="175"/>
                  </a:cubicBezTo>
                  <a:cubicBezTo>
                    <a:pt x="86" y="171"/>
                    <a:pt x="78" y="173"/>
                    <a:pt x="68" y="177"/>
                  </a:cubicBezTo>
                  <a:cubicBezTo>
                    <a:pt x="58" y="181"/>
                    <a:pt x="52" y="172"/>
                    <a:pt x="46" y="178"/>
                  </a:cubicBezTo>
                  <a:cubicBezTo>
                    <a:pt x="41" y="184"/>
                    <a:pt x="31" y="194"/>
                    <a:pt x="24" y="195"/>
                  </a:cubicBezTo>
                  <a:cubicBezTo>
                    <a:pt x="17" y="196"/>
                    <a:pt x="21" y="205"/>
                    <a:pt x="24" y="203"/>
                  </a:cubicBezTo>
                  <a:cubicBezTo>
                    <a:pt x="29" y="201"/>
                    <a:pt x="37" y="203"/>
                    <a:pt x="40" y="200"/>
                  </a:cubicBezTo>
                  <a:cubicBezTo>
                    <a:pt x="42" y="196"/>
                    <a:pt x="63" y="191"/>
                    <a:pt x="76" y="191"/>
                  </a:cubicBezTo>
                  <a:cubicBezTo>
                    <a:pt x="89" y="190"/>
                    <a:pt x="82" y="197"/>
                    <a:pt x="82" y="203"/>
                  </a:cubicBezTo>
                  <a:cubicBezTo>
                    <a:pt x="83" y="210"/>
                    <a:pt x="94" y="209"/>
                    <a:pt x="100" y="203"/>
                  </a:cubicBezTo>
                  <a:cubicBezTo>
                    <a:pt x="105" y="196"/>
                    <a:pt x="109" y="197"/>
                    <a:pt x="105" y="193"/>
                  </a:cubicBezTo>
                  <a:cubicBezTo>
                    <a:pt x="100" y="189"/>
                    <a:pt x="106" y="185"/>
                    <a:pt x="109" y="191"/>
                  </a:cubicBezTo>
                  <a:cubicBezTo>
                    <a:pt x="112" y="196"/>
                    <a:pt x="123" y="196"/>
                    <a:pt x="128" y="189"/>
                  </a:cubicBezTo>
                  <a:cubicBezTo>
                    <a:pt x="132" y="182"/>
                    <a:pt x="133" y="191"/>
                    <a:pt x="138" y="190"/>
                  </a:cubicBezTo>
                  <a:cubicBezTo>
                    <a:pt x="143" y="190"/>
                    <a:pt x="146" y="177"/>
                    <a:pt x="147" y="181"/>
                  </a:cubicBezTo>
                  <a:cubicBezTo>
                    <a:pt x="147" y="186"/>
                    <a:pt x="155" y="185"/>
                    <a:pt x="161" y="179"/>
                  </a:cubicBezTo>
                  <a:cubicBezTo>
                    <a:pt x="166" y="174"/>
                    <a:pt x="161" y="164"/>
                    <a:pt x="165" y="159"/>
                  </a:cubicBezTo>
                  <a:cubicBezTo>
                    <a:pt x="168" y="154"/>
                    <a:pt x="171" y="143"/>
                    <a:pt x="168" y="136"/>
                  </a:cubicBezTo>
                  <a:cubicBezTo>
                    <a:pt x="165" y="130"/>
                    <a:pt x="176" y="126"/>
                    <a:pt x="181" y="120"/>
                  </a:cubicBezTo>
                  <a:cubicBezTo>
                    <a:pt x="187" y="115"/>
                    <a:pt x="175" y="89"/>
                    <a:pt x="174" y="82"/>
                  </a:cubicBezTo>
                  <a:cubicBezTo>
                    <a:pt x="174" y="74"/>
                    <a:pt x="160" y="85"/>
                    <a:pt x="156" y="87"/>
                  </a:cubicBezTo>
                  <a:close/>
                  <a:moveTo>
                    <a:pt x="61" y="199"/>
                  </a:moveTo>
                  <a:cubicBezTo>
                    <a:pt x="60" y="203"/>
                    <a:pt x="54" y="201"/>
                    <a:pt x="48" y="203"/>
                  </a:cubicBezTo>
                  <a:cubicBezTo>
                    <a:pt x="41" y="204"/>
                    <a:pt x="40" y="220"/>
                    <a:pt x="45" y="222"/>
                  </a:cubicBezTo>
                  <a:cubicBezTo>
                    <a:pt x="49" y="223"/>
                    <a:pt x="52" y="223"/>
                    <a:pt x="54" y="218"/>
                  </a:cubicBezTo>
                  <a:cubicBezTo>
                    <a:pt x="55" y="213"/>
                    <a:pt x="62" y="211"/>
                    <a:pt x="66" y="213"/>
                  </a:cubicBezTo>
                  <a:cubicBezTo>
                    <a:pt x="70" y="215"/>
                    <a:pt x="76" y="207"/>
                    <a:pt x="76" y="200"/>
                  </a:cubicBezTo>
                  <a:cubicBezTo>
                    <a:pt x="76" y="194"/>
                    <a:pt x="63" y="194"/>
                    <a:pt x="61" y="199"/>
                  </a:cubicBezTo>
                  <a:close/>
                  <a:moveTo>
                    <a:pt x="32" y="215"/>
                  </a:moveTo>
                  <a:cubicBezTo>
                    <a:pt x="32" y="211"/>
                    <a:pt x="22" y="212"/>
                    <a:pt x="22" y="208"/>
                  </a:cubicBezTo>
                  <a:cubicBezTo>
                    <a:pt x="21" y="204"/>
                    <a:pt x="15" y="206"/>
                    <a:pt x="8" y="211"/>
                  </a:cubicBezTo>
                  <a:cubicBezTo>
                    <a:pt x="2" y="216"/>
                    <a:pt x="0" y="217"/>
                    <a:pt x="2" y="221"/>
                  </a:cubicBezTo>
                  <a:cubicBezTo>
                    <a:pt x="5" y="226"/>
                    <a:pt x="9" y="222"/>
                    <a:pt x="11" y="217"/>
                  </a:cubicBezTo>
                  <a:cubicBezTo>
                    <a:pt x="12" y="212"/>
                    <a:pt x="17" y="224"/>
                    <a:pt x="13" y="232"/>
                  </a:cubicBezTo>
                  <a:cubicBezTo>
                    <a:pt x="9" y="240"/>
                    <a:pt x="13" y="250"/>
                    <a:pt x="18" y="249"/>
                  </a:cubicBezTo>
                  <a:cubicBezTo>
                    <a:pt x="23" y="249"/>
                    <a:pt x="28" y="233"/>
                    <a:pt x="35" y="225"/>
                  </a:cubicBezTo>
                  <a:cubicBezTo>
                    <a:pt x="41" y="217"/>
                    <a:pt x="32" y="220"/>
                    <a:pt x="32" y="2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8" name="Freeform 326"/>
            <p:cNvSpPr>
              <a:spLocks noEditPoints="1"/>
            </p:cNvSpPr>
            <p:nvPr/>
          </p:nvSpPr>
          <p:spPr>
            <a:xfrm>
              <a:off x="6604001" y="2335213"/>
              <a:ext cx="1482725" cy="1028700"/>
            </a:xfrm>
            <a:custGeom>
              <a:gdLst>
                <a:gd name="T0" fmla="*/ 831 w 874"/>
                <a:gd name="T1" fmla="*/ 114 h 606"/>
                <a:gd name="T2" fmla="*/ 788 w 874"/>
                <a:gd name="T3" fmla="*/ 82 h 606"/>
                <a:gd name="T4" fmla="*/ 753 w 874"/>
                <a:gd name="T5" fmla="*/ 34 h 606"/>
                <a:gd name="T6" fmla="*/ 702 w 874"/>
                <a:gd name="T7" fmla="*/ 2 h 606"/>
                <a:gd name="T8" fmla="*/ 668 w 874"/>
                <a:gd name="T9" fmla="*/ 28 h 606"/>
                <a:gd name="T10" fmla="*/ 639 w 874"/>
                <a:gd name="T11" fmla="*/ 71 h 606"/>
                <a:gd name="T12" fmla="*/ 596 w 874"/>
                <a:gd name="T13" fmla="*/ 95 h 606"/>
                <a:gd name="T14" fmla="*/ 623 w 874"/>
                <a:gd name="T15" fmla="*/ 113 h 606"/>
                <a:gd name="T16" fmla="*/ 622 w 874"/>
                <a:gd name="T17" fmla="*/ 136 h 606"/>
                <a:gd name="T18" fmla="*/ 546 w 874"/>
                <a:gd name="T19" fmla="*/ 164 h 606"/>
                <a:gd name="T20" fmla="*/ 491 w 874"/>
                <a:gd name="T21" fmla="*/ 210 h 606"/>
                <a:gd name="T22" fmla="*/ 407 w 874"/>
                <a:gd name="T23" fmla="*/ 215 h 606"/>
                <a:gd name="T24" fmla="*/ 312 w 874"/>
                <a:gd name="T25" fmla="*/ 203 h 606"/>
                <a:gd name="T26" fmla="*/ 272 w 874"/>
                <a:gd name="T27" fmla="*/ 162 h 606"/>
                <a:gd name="T28" fmla="*/ 235 w 874"/>
                <a:gd name="T29" fmla="*/ 117 h 606"/>
                <a:gd name="T30" fmla="*/ 199 w 874"/>
                <a:gd name="T31" fmla="*/ 84 h 606"/>
                <a:gd name="T32" fmla="*/ 178 w 874"/>
                <a:gd name="T33" fmla="*/ 99 h 606"/>
                <a:gd name="T34" fmla="*/ 144 w 874"/>
                <a:gd name="T35" fmla="*/ 125 h 606"/>
                <a:gd name="T36" fmla="*/ 114 w 874"/>
                <a:gd name="T37" fmla="*/ 157 h 606"/>
                <a:gd name="T38" fmla="*/ 101 w 874"/>
                <a:gd name="T39" fmla="*/ 194 h 606"/>
                <a:gd name="T40" fmla="*/ 68 w 874"/>
                <a:gd name="T41" fmla="*/ 227 h 606"/>
                <a:gd name="T42" fmla="*/ 26 w 874"/>
                <a:gd name="T43" fmla="*/ 240 h 606"/>
                <a:gd name="T44" fmla="*/ 0 w 874"/>
                <a:gd name="T45" fmla="*/ 260 h 606"/>
                <a:gd name="T46" fmla="*/ 20 w 874"/>
                <a:gd name="T47" fmla="*/ 301 h 606"/>
                <a:gd name="T48" fmla="*/ 51 w 874"/>
                <a:gd name="T49" fmla="*/ 329 h 606"/>
                <a:gd name="T50" fmla="*/ 77 w 874"/>
                <a:gd name="T51" fmla="*/ 320 h 606"/>
                <a:gd name="T52" fmla="*/ 73 w 874"/>
                <a:gd name="T53" fmla="*/ 357 h 606"/>
                <a:gd name="T54" fmla="*/ 74 w 874"/>
                <a:gd name="T55" fmla="*/ 393 h 606"/>
                <a:gd name="T56" fmla="*/ 100 w 874"/>
                <a:gd name="T57" fmla="*/ 416 h 606"/>
                <a:gd name="T58" fmla="*/ 179 w 874"/>
                <a:gd name="T59" fmla="*/ 449 h 606"/>
                <a:gd name="T60" fmla="*/ 210 w 874"/>
                <a:gd name="T61" fmla="*/ 456 h 606"/>
                <a:gd name="T62" fmla="*/ 237 w 874"/>
                <a:gd name="T63" fmla="*/ 449 h 606"/>
                <a:gd name="T64" fmla="*/ 271 w 874"/>
                <a:gd name="T65" fmla="*/ 440 h 606"/>
                <a:gd name="T66" fmla="*/ 314 w 874"/>
                <a:gd name="T67" fmla="*/ 440 h 606"/>
                <a:gd name="T68" fmla="*/ 338 w 874"/>
                <a:gd name="T69" fmla="*/ 455 h 606"/>
                <a:gd name="T70" fmla="*/ 331 w 874"/>
                <a:gd name="T71" fmla="*/ 511 h 606"/>
                <a:gd name="T72" fmla="*/ 354 w 874"/>
                <a:gd name="T73" fmla="*/ 542 h 606"/>
                <a:gd name="T74" fmla="*/ 385 w 874"/>
                <a:gd name="T75" fmla="*/ 556 h 606"/>
                <a:gd name="T76" fmla="*/ 409 w 874"/>
                <a:gd name="T77" fmla="*/ 532 h 606"/>
                <a:gd name="T78" fmla="*/ 455 w 874"/>
                <a:gd name="T79" fmla="*/ 530 h 606"/>
                <a:gd name="T80" fmla="*/ 485 w 874"/>
                <a:gd name="T81" fmla="*/ 549 h 606"/>
                <a:gd name="T82" fmla="*/ 508 w 874"/>
                <a:gd name="T83" fmla="*/ 568 h 606"/>
                <a:gd name="T84" fmla="*/ 575 w 874"/>
                <a:gd name="T85" fmla="*/ 534 h 606"/>
                <a:gd name="T86" fmla="*/ 626 w 874"/>
                <a:gd name="T87" fmla="*/ 506 h 606"/>
                <a:gd name="T88" fmla="*/ 651 w 874"/>
                <a:gd name="T89" fmla="*/ 476 h 606"/>
                <a:gd name="T90" fmla="*/ 676 w 874"/>
                <a:gd name="T91" fmla="*/ 446 h 606"/>
                <a:gd name="T92" fmla="*/ 681 w 874"/>
                <a:gd name="T93" fmla="*/ 418 h 606"/>
                <a:gd name="T94" fmla="*/ 674 w 874"/>
                <a:gd name="T95" fmla="*/ 396 h 606"/>
                <a:gd name="T96" fmla="*/ 670 w 874"/>
                <a:gd name="T97" fmla="*/ 375 h 606"/>
                <a:gd name="T98" fmla="*/ 652 w 874"/>
                <a:gd name="T99" fmla="*/ 326 h 606"/>
                <a:gd name="T100" fmla="*/ 692 w 874"/>
                <a:gd name="T101" fmla="*/ 303 h 606"/>
                <a:gd name="T102" fmla="*/ 641 w 874"/>
                <a:gd name="T103" fmla="*/ 289 h 606"/>
                <a:gd name="T104" fmla="*/ 661 w 874"/>
                <a:gd name="T105" fmla="*/ 249 h 606"/>
                <a:gd name="T106" fmla="*/ 684 w 874"/>
                <a:gd name="T107" fmla="*/ 270 h 606"/>
                <a:gd name="T108" fmla="*/ 749 w 874"/>
                <a:gd name="T109" fmla="*/ 233 h 606"/>
                <a:gd name="T110" fmla="*/ 783 w 874"/>
                <a:gd name="T111" fmla="*/ 218 h 606"/>
                <a:gd name="T112" fmla="*/ 818 w 874"/>
                <a:gd name="T113" fmla="*/ 204 h 606"/>
                <a:gd name="T114" fmla="*/ 822 w 874"/>
                <a:gd name="T115" fmla="*/ 165 h 606"/>
                <a:gd name="T116" fmla="*/ 862 w 874"/>
                <a:gd name="T117" fmla="*/ 139 h 606"/>
                <a:gd name="T118" fmla="*/ 666 w 874"/>
                <a:gd name="T119" fmla="*/ 541 h 606"/>
                <a:gd name="T120" fmla="*/ 491 w 874"/>
                <a:gd name="T121" fmla="*/ 594 h 6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606">
                  <a:moveTo>
                    <a:pt x="869" y="108"/>
                  </a:moveTo>
                  <a:cubicBezTo>
                    <a:pt x="870" y="101"/>
                    <a:pt x="861" y="103"/>
                    <a:pt x="858" y="105"/>
                  </a:cubicBezTo>
                  <a:cubicBezTo>
                    <a:pt x="855" y="108"/>
                    <a:pt x="846" y="105"/>
                    <a:pt x="844" y="111"/>
                  </a:cubicBezTo>
                  <a:cubicBezTo>
                    <a:pt x="841" y="116"/>
                    <a:pt x="837" y="113"/>
                    <a:pt x="831" y="114"/>
                  </a:cubicBezTo>
                  <a:cubicBezTo>
                    <a:pt x="825" y="114"/>
                    <a:pt x="816" y="112"/>
                    <a:pt x="816" y="108"/>
                  </a:cubicBezTo>
                  <a:cubicBezTo>
                    <a:pt x="817" y="104"/>
                    <a:pt x="813" y="100"/>
                    <a:pt x="813" y="95"/>
                  </a:cubicBezTo>
                  <a:cubicBezTo>
                    <a:pt x="814" y="91"/>
                    <a:pt x="807" y="93"/>
                    <a:pt x="803" y="89"/>
                  </a:cubicBezTo>
                  <a:cubicBezTo>
                    <a:pt x="799" y="84"/>
                    <a:pt x="790" y="81"/>
                    <a:pt x="788" y="82"/>
                  </a:cubicBezTo>
                  <a:cubicBezTo>
                    <a:pt x="787" y="83"/>
                    <a:pt x="782" y="77"/>
                    <a:pt x="774" y="77"/>
                  </a:cubicBezTo>
                  <a:cubicBezTo>
                    <a:pt x="767" y="77"/>
                    <a:pt x="768" y="72"/>
                    <a:pt x="769" y="69"/>
                  </a:cubicBezTo>
                  <a:cubicBezTo>
                    <a:pt x="770" y="66"/>
                    <a:pt x="763" y="56"/>
                    <a:pt x="761" y="51"/>
                  </a:cubicBezTo>
                  <a:cubicBezTo>
                    <a:pt x="760" y="46"/>
                    <a:pt x="755" y="45"/>
                    <a:pt x="753" y="34"/>
                  </a:cubicBezTo>
                  <a:cubicBezTo>
                    <a:pt x="751" y="23"/>
                    <a:pt x="745" y="26"/>
                    <a:pt x="746" y="21"/>
                  </a:cubicBezTo>
                  <a:cubicBezTo>
                    <a:pt x="747" y="15"/>
                    <a:pt x="739" y="13"/>
                    <a:pt x="736" y="10"/>
                  </a:cubicBezTo>
                  <a:cubicBezTo>
                    <a:pt x="734" y="7"/>
                    <a:pt x="725" y="8"/>
                    <a:pt x="719" y="5"/>
                  </a:cubicBezTo>
                  <a:cubicBezTo>
                    <a:pt x="712" y="1"/>
                    <a:pt x="708" y="4"/>
                    <a:pt x="702" y="2"/>
                  </a:cubicBezTo>
                  <a:cubicBezTo>
                    <a:pt x="696" y="0"/>
                    <a:pt x="683" y="4"/>
                    <a:pt x="681" y="4"/>
                  </a:cubicBezTo>
                  <a:cubicBezTo>
                    <a:pt x="679" y="4"/>
                    <a:pt x="668" y="2"/>
                    <a:pt x="662" y="10"/>
                  </a:cubicBezTo>
                  <a:cubicBezTo>
                    <a:pt x="656" y="18"/>
                    <a:pt x="661" y="18"/>
                    <a:pt x="664" y="18"/>
                  </a:cubicBezTo>
                  <a:cubicBezTo>
                    <a:pt x="666" y="18"/>
                    <a:pt x="668" y="25"/>
                    <a:pt x="668" y="28"/>
                  </a:cubicBezTo>
                  <a:cubicBezTo>
                    <a:pt x="668" y="31"/>
                    <a:pt x="664" y="34"/>
                    <a:pt x="662" y="35"/>
                  </a:cubicBezTo>
                  <a:cubicBezTo>
                    <a:pt x="659" y="36"/>
                    <a:pt x="653" y="46"/>
                    <a:pt x="653" y="49"/>
                  </a:cubicBezTo>
                  <a:cubicBezTo>
                    <a:pt x="652" y="52"/>
                    <a:pt x="645" y="61"/>
                    <a:pt x="646" y="64"/>
                  </a:cubicBezTo>
                  <a:cubicBezTo>
                    <a:pt x="647" y="67"/>
                    <a:pt x="642" y="70"/>
                    <a:pt x="639" y="71"/>
                  </a:cubicBezTo>
                  <a:cubicBezTo>
                    <a:pt x="636" y="71"/>
                    <a:pt x="628" y="77"/>
                    <a:pt x="625" y="78"/>
                  </a:cubicBezTo>
                  <a:cubicBezTo>
                    <a:pt x="623" y="79"/>
                    <a:pt x="613" y="77"/>
                    <a:pt x="611" y="74"/>
                  </a:cubicBezTo>
                  <a:cubicBezTo>
                    <a:pt x="611" y="73"/>
                    <a:pt x="610" y="72"/>
                    <a:pt x="608" y="72"/>
                  </a:cubicBezTo>
                  <a:cubicBezTo>
                    <a:pt x="596" y="95"/>
                    <a:pt x="596" y="95"/>
                    <a:pt x="596" y="95"/>
                  </a:cubicBezTo>
                  <a:cubicBezTo>
                    <a:pt x="595" y="102"/>
                    <a:pt x="595" y="102"/>
                    <a:pt x="595" y="102"/>
                  </a:cubicBezTo>
                  <a:cubicBezTo>
                    <a:pt x="595" y="102"/>
                    <a:pt x="588" y="104"/>
                    <a:pt x="594" y="110"/>
                  </a:cubicBezTo>
                  <a:cubicBezTo>
                    <a:pt x="599" y="115"/>
                    <a:pt x="600" y="111"/>
                    <a:pt x="609" y="111"/>
                  </a:cubicBezTo>
                  <a:cubicBezTo>
                    <a:pt x="617" y="111"/>
                    <a:pt x="621" y="117"/>
                    <a:pt x="623" y="113"/>
                  </a:cubicBezTo>
                  <a:cubicBezTo>
                    <a:pt x="625" y="108"/>
                    <a:pt x="632" y="105"/>
                    <a:pt x="637" y="111"/>
                  </a:cubicBezTo>
                  <a:cubicBezTo>
                    <a:pt x="641" y="116"/>
                    <a:pt x="656" y="126"/>
                    <a:pt x="655" y="130"/>
                  </a:cubicBezTo>
                  <a:cubicBezTo>
                    <a:pt x="654" y="135"/>
                    <a:pt x="646" y="134"/>
                    <a:pt x="640" y="132"/>
                  </a:cubicBezTo>
                  <a:cubicBezTo>
                    <a:pt x="635" y="130"/>
                    <a:pt x="627" y="136"/>
                    <a:pt x="622" y="136"/>
                  </a:cubicBezTo>
                  <a:cubicBezTo>
                    <a:pt x="616" y="136"/>
                    <a:pt x="610" y="138"/>
                    <a:pt x="604" y="144"/>
                  </a:cubicBezTo>
                  <a:cubicBezTo>
                    <a:pt x="598" y="149"/>
                    <a:pt x="599" y="155"/>
                    <a:pt x="591" y="156"/>
                  </a:cubicBezTo>
                  <a:cubicBezTo>
                    <a:pt x="582" y="157"/>
                    <a:pt x="579" y="156"/>
                    <a:pt x="569" y="162"/>
                  </a:cubicBezTo>
                  <a:cubicBezTo>
                    <a:pt x="560" y="169"/>
                    <a:pt x="550" y="166"/>
                    <a:pt x="546" y="164"/>
                  </a:cubicBezTo>
                  <a:cubicBezTo>
                    <a:pt x="542" y="162"/>
                    <a:pt x="535" y="161"/>
                    <a:pt x="532" y="168"/>
                  </a:cubicBezTo>
                  <a:cubicBezTo>
                    <a:pt x="528" y="174"/>
                    <a:pt x="536" y="177"/>
                    <a:pt x="535" y="185"/>
                  </a:cubicBezTo>
                  <a:cubicBezTo>
                    <a:pt x="535" y="192"/>
                    <a:pt x="525" y="190"/>
                    <a:pt x="518" y="199"/>
                  </a:cubicBezTo>
                  <a:cubicBezTo>
                    <a:pt x="510" y="207"/>
                    <a:pt x="498" y="211"/>
                    <a:pt x="491" y="210"/>
                  </a:cubicBezTo>
                  <a:cubicBezTo>
                    <a:pt x="485" y="209"/>
                    <a:pt x="471" y="205"/>
                    <a:pt x="459" y="211"/>
                  </a:cubicBezTo>
                  <a:cubicBezTo>
                    <a:pt x="446" y="217"/>
                    <a:pt x="438" y="225"/>
                    <a:pt x="433" y="224"/>
                  </a:cubicBezTo>
                  <a:cubicBezTo>
                    <a:pt x="429" y="223"/>
                    <a:pt x="429" y="218"/>
                    <a:pt x="422" y="219"/>
                  </a:cubicBezTo>
                  <a:cubicBezTo>
                    <a:pt x="416" y="219"/>
                    <a:pt x="412" y="218"/>
                    <a:pt x="407" y="215"/>
                  </a:cubicBezTo>
                  <a:cubicBezTo>
                    <a:pt x="402" y="212"/>
                    <a:pt x="399" y="217"/>
                    <a:pt x="391" y="211"/>
                  </a:cubicBezTo>
                  <a:cubicBezTo>
                    <a:pt x="384" y="205"/>
                    <a:pt x="371" y="206"/>
                    <a:pt x="365" y="205"/>
                  </a:cubicBezTo>
                  <a:cubicBezTo>
                    <a:pt x="359" y="204"/>
                    <a:pt x="338" y="205"/>
                    <a:pt x="330" y="204"/>
                  </a:cubicBezTo>
                  <a:cubicBezTo>
                    <a:pt x="323" y="204"/>
                    <a:pt x="312" y="206"/>
                    <a:pt x="312" y="203"/>
                  </a:cubicBezTo>
                  <a:cubicBezTo>
                    <a:pt x="311" y="199"/>
                    <a:pt x="305" y="196"/>
                    <a:pt x="303" y="188"/>
                  </a:cubicBezTo>
                  <a:cubicBezTo>
                    <a:pt x="301" y="179"/>
                    <a:pt x="297" y="176"/>
                    <a:pt x="292" y="175"/>
                  </a:cubicBezTo>
                  <a:cubicBezTo>
                    <a:pt x="287" y="174"/>
                    <a:pt x="287" y="170"/>
                    <a:pt x="282" y="169"/>
                  </a:cubicBezTo>
                  <a:cubicBezTo>
                    <a:pt x="280" y="169"/>
                    <a:pt x="278" y="162"/>
                    <a:pt x="272" y="162"/>
                  </a:cubicBezTo>
                  <a:cubicBezTo>
                    <a:pt x="265" y="162"/>
                    <a:pt x="242" y="160"/>
                    <a:pt x="239" y="154"/>
                  </a:cubicBezTo>
                  <a:cubicBezTo>
                    <a:pt x="236" y="149"/>
                    <a:pt x="242" y="148"/>
                    <a:pt x="242" y="142"/>
                  </a:cubicBezTo>
                  <a:cubicBezTo>
                    <a:pt x="242" y="137"/>
                    <a:pt x="246" y="130"/>
                    <a:pt x="243" y="128"/>
                  </a:cubicBezTo>
                  <a:cubicBezTo>
                    <a:pt x="240" y="126"/>
                    <a:pt x="236" y="121"/>
                    <a:pt x="235" y="117"/>
                  </a:cubicBezTo>
                  <a:cubicBezTo>
                    <a:pt x="235" y="113"/>
                    <a:pt x="227" y="107"/>
                    <a:pt x="223" y="107"/>
                  </a:cubicBezTo>
                  <a:cubicBezTo>
                    <a:pt x="218" y="106"/>
                    <a:pt x="214" y="103"/>
                    <a:pt x="210" y="99"/>
                  </a:cubicBezTo>
                  <a:cubicBezTo>
                    <a:pt x="205" y="96"/>
                    <a:pt x="201" y="96"/>
                    <a:pt x="199" y="86"/>
                  </a:cubicBezTo>
                  <a:cubicBezTo>
                    <a:pt x="199" y="85"/>
                    <a:pt x="199" y="85"/>
                    <a:pt x="199" y="84"/>
                  </a:cubicBezTo>
                  <a:cubicBezTo>
                    <a:pt x="197" y="84"/>
                    <a:pt x="195" y="83"/>
                    <a:pt x="193" y="83"/>
                  </a:cubicBezTo>
                  <a:cubicBezTo>
                    <a:pt x="192" y="83"/>
                    <a:pt x="191" y="82"/>
                    <a:pt x="189" y="81"/>
                  </a:cubicBezTo>
                  <a:cubicBezTo>
                    <a:pt x="188" y="85"/>
                    <a:pt x="184" y="87"/>
                    <a:pt x="184" y="91"/>
                  </a:cubicBezTo>
                  <a:cubicBezTo>
                    <a:pt x="184" y="94"/>
                    <a:pt x="183" y="99"/>
                    <a:pt x="178" y="99"/>
                  </a:cubicBezTo>
                  <a:cubicBezTo>
                    <a:pt x="173" y="99"/>
                    <a:pt x="169" y="102"/>
                    <a:pt x="169" y="110"/>
                  </a:cubicBezTo>
                  <a:cubicBezTo>
                    <a:pt x="168" y="117"/>
                    <a:pt x="173" y="118"/>
                    <a:pt x="171" y="121"/>
                  </a:cubicBezTo>
                  <a:cubicBezTo>
                    <a:pt x="169" y="124"/>
                    <a:pt x="160" y="128"/>
                    <a:pt x="157" y="126"/>
                  </a:cubicBezTo>
                  <a:cubicBezTo>
                    <a:pt x="154" y="125"/>
                    <a:pt x="148" y="126"/>
                    <a:pt x="144" y="125"/>
                  </a:cubicBezTo>
                  <a:cubicBezTo>
                    <a:pt x="139" y="124"/>
                    <a:pt x="135" y="119"/>
                    <a:pt x="134" y="125"/>
                  </a:cubicBezTo>
                  <a:cubicBezTo>
                    <a:pt x="132" y="132"/>
                    <a:pt x="122" y="151"/>
                    <a:pt x="125" y="153"/>
                  </a:cubicBezTo>
                  <a:cubicBezTo>
                    <a:pt x="127" y="155"/>
                    <a:pt x="129" y="160"/>
                    <a:pt x="125" y="160"/>
                  </a:cubicBezTo>
                  <a:cubicBezTo>
                    <a:pt x="121" y="160"/>
                    <a:pt x="116" y="159"/>
                    <a:pt x="114" y="157"/>
                  </a:cubicBezTo>
                  <a:cubicBezTo>
                    <a:pt x="112" y="155"/>
                    <a:pt x="105" y="160"/>
                    <a:pt x="101" y="160"/>
                  </a:cubicBezTo>
                  <a:cubicBezTo>
                    <a:pt x="98" y="160"/>
                    <a:pt x="89" y="164"/>
                    <a:pt x="92" y="166"/>
                  </a:cubicBezTo>
                  <a:cubicBezTo>
                    <a:pt x="96" y="167"/>
                    <a:pt x="96" y="175"/>
                    <a:pt x="96" y="178"/>
                  </a:cubicBezTo>
                  <a:cubicBezTo>
                    <a:pt x="96" y="181"/>
                    <a:pt x="103" y="191"/>
                    <a:pt x="101" y="194"/>
                  </a:cubicBezTo>
                  <a:cubicBezTo>
                    <a:pt x="100" y="198"/>
                    <a:pt x="94" y="201"/>
                    <a:pt x="94" y="205"/>
                  </a:cubicBezTo>
                  <a:cubicBezTo>
                    <a:pt x="94" y="209"/>
                    <a:pt x="95" y="213"/>
                    <a:pt x="93" y="214"/>
                  </a:cubicBezTo>
                  <a:cubicBezTo>
                    <a:pt x="90" y="215"/>
                    <a:pt x="83" y="218"/>
                    <a:pt x="80" y="221"/>
                  </a:cubicBezTo>
                  <a:cubicBezTo>
                    <a:pt x="76" y="223"/>
                    <a:pt x="70" y="223"/>
                    <a:pt x="68" y="227"/>
                  </a:cubicBezTo>
                  <a:cubicBezTo>
                    <a:pt x="66" y="231"/>
                    <a:pt x="64" y="234"/>
                    <a:pt x="57" y="234"/>
                  </a:cubicBezTo>
                  <a:cubicBezTo>
                    <a:pt x="51" y="233"/>
                    <a:pt x="48" y="232"/>
                    <a:pt x="44" y="238"/>
                  </a:cubicBezTo>
                  <a:cubicBezTo>
                    <a:pt x="39" y="243"/>
                    <a:pt x="38" y="241"/>
                    <a:pt x="35" y="243"/>
                  </a:cubicBezTo>
                  <a:cubicBezTo>
                    <a:pt x="32" y="246"/>
                    <a:pt x="28" y="241"/>
                    <a:pt x="26" y="240"/>
                  </a:cubicBezTo>
                  <a:cubicBezTo>
                    <a:pt x="23" y="239"/>
                    <a:pt x="20" y="243"/>
                    <a:pt x="17" y="243"/>
                  </a:cubicBezTo>
                  <a:cubicBezTo>
                    <a:pt x="15" y="243"/>
                    <a:pt x="12" y="248"/>
                    <a:pt x="9" y="248"/>
                  </a:cubicBezTo>
                  <a:cubicBezTo>
                    <a:pt x="6" y="249"/>
                    <a:pt x="3" y="248"/>
                    <a:pt x="3" y="252"/>
                  </a:cubicBezTo>
                  <a:cubicBezTo>
                    <a:pt x="3" y="255"/>
                    <a:pt x="2" y="258"/>
                    <a:pt x="0" y="260"/>
                  </a:cubicBezTo>
                  <a:cubicBezTo>
                    <a:pt x="0" y="260"/>
                    <a:pt x="0" y="260"/>
                    <a:pt x="0" y="260"/>
                  </a:cubicBezTo>
                  <a:cubicBezTo>
                    <a:pt x="3" y="272"/>
                    <a:pt x="3" y="272"/>
                    <a:pt x="3" y="272"/>
                  </a:cubicBezTo>
                  <a:cubicBezTo>
                    <a:pt x="3" y="272"/>
                    <a:pt x="16" y="277"/>
                    <a:pt x="17" y="281"/>
                  </a:cubicBezTo>
                  <a:cubicBezTo>
                    <a:pt x="17" y="286"/>
                    <a:pt x="20" y="301"/>
                    <a:pt x="20" y="301"/>
                  </a:cubicBezTo>
                  <a:cubicBezTo>
                    <a:pt x="20" y="301"/>
                    <a:pt x="20" y="301"/>
                    <a:pt x="19" y="301"/>
                  </a:cubicBezTo>
                  <a:cubicBezTo>
                    <a:pt x="25" y="305"/>
                    <a:pt x="33" y="310"/>
                    <a:pt x="33" y="312"/>
                  </a:cubicBezTo>
                  <a:cubicBezTo>
                    <a:pt x="33" y="314"/>
                    <a:pt x="33" y="319"/>
                    <a:pt x="40" y="323"/>
                  </a:cubicBezTo>
                  <a:cubicBezTo>
                    <a:pt x="44" y="325"/>
                    <a:pt x="49" y="327"/>
                    <a:pt x="51" y="329"/>
                  </a:cubicBezTo>
                  <a:cubicBezTo>
                    <a:pt x="52" y="328"/>
                    <a:pt x="52" y="327"/>
                    <a:pt x="52" y="327"/>
                  </a:cubicBezTo>
                  <a:cubicBezTo>
                    <a:pt x="58" y="327"/>
                    <a:pt x="58" y="327"/>
                    <a:pt x="58" y="327"/>
                  </a:cubicBezTo>
                  <a:cubicBezTo>
                    <a:pt x="58" y="327"/>
                    <a:pt x="59" y="328"/>
                    <a:pt x="61" y="330"/>
                  </a:cubicBezTo>
                  <a:cubicBezTo>
                    <a:pt x="62" y="325"/>
                    <a:pt x="72" y="320"/>
                    <a:pt x="77" y="320"/>
                  </a:cubicBezTo>
                  <a:cubicBezTo>
                    <a:pt x="83" y="320"/>
                    <a:pt x="96" y="330"/>
                    <a:pt x="94" y="334"/>
                  </a:cubicBezTo>
                  <a:cubicBezTo>
                    <a:pt x="93" y="338"/>
                    <a:pt x="84" y="350"/>
                    <a:pt x="80" y="351"/>
                  </a:cubicBezTo>
                  <a:cubicBezTo>
                    <a:pt x="78" y="352"/>
                    <a:pt x="76" y="352"/>
                    <a:pt x="74" y="352"/>
                  </a:cubicBezTo>
                  <a:cubicBezTo>
                    <a:pt x="73" y="354"/>
                    <a:pt x="73" y="356"/>
                    <a:pt x="73" y="357"/>
                  </a:cubicBezTo>
                  <a:cubicBezTo>
                    <a:pt x="73" y="360"/>
                    <a:pt x="78" y="365"/>
                    <a:pt x="81" y="370"/>
                  </a:cubicBezTo>
                  <a:cubicBezTo>
                    <a:pt x="84" y="375"/>
                    <a:pt x="76" y="378"/>
                    <a:pt x="72" y="375"/>
                  </a:cubicBezTo>
                  <a:cubicBezTo>
                    <a:pt x="68" y="372"/>
                    <a:pt x="66" y="378"/>
                    <a:pt x="69" y="381"/>
                  </a:cubicBezTo>
                  <a:cubicBezTo>
                    <a:pt x="71" y="384"/>
                    <a:pt x="70" y="392"/>
                    <a:pt x="74" y="393"/>
                  </a:cubicBezTo>
                  <a:cubicBezTo>
                    <a:pt x="78" y="393"/>
                    <a:pt x="81" y="401"/>
                    <a:pt x="86" y="401"/>
                  </a:cubicBezTo>
                  <a:cubicBezTo>
                    <a:pt x="90" y="401"/>
                    <a:pt x="94" y="409"/>
                    <a:pt x="94" y="409"/>
                  </a:cubicBezTo>
                  <a:cubicBezTo>
                    <a:pt x="94" y="409"/>
                    <a:pt x="101" y="413"/>
                    <a:pt x="101" y="415"/>
                  </a:cubicBezTo>
                  <a:cubicBezTo>
                    <a:pt x="101" y="415"/>
                    <a:pt x="101" y="416"/>
                    <a:pt x="100" y="416"/>
                  </a:cubicBezTo>
                  <a:cubicBezTo>
                    <a:pt x="105" y="416"/>
                    <a:pt x="109" y="415"/>
                    <a:pt x="109" y="413"/>
                  </a:cubicBezTo>
                  <a:cubicBezTo>
                    <a:pt x="110" y="411"/>
                    <a:pt x="117" y="411"/>
                    <a:pt x="121" y="416"/>
                  </a:cubicBezTo>
                  <a:cubicBezTo>
                    <a:pt x="126" y="420"/>
                    <a:pt x="144" y="432"/>
                    <a:pt x="151" y="437"/>
                  </a:cubicBezTo>
                  <a:cubicBezTo>
                    <a:pt x="157" y="443"/>
                    <a:pt x="173" y="449"/>
                    <a:pt x="179" y="449"/>
                  </a:cubicBezTo>
                  <a:cubicBezTo>
                    <a:pt x="184" y="448"/>
                    <a:pt x="189" y="452"/>
                    <a:pt x="198" y="452"/>
                  </a:cubicBezTo>
                  <a:cubicBezTo>
                    <a:pt x="199" y="452"/>
                    <a:pt x="200" y="452"/>
                    <a:pt x="201" y="452"/>
                  </a:cubicBezTo>
                  <a:cubicBezTo>
                    <a:pt x="202" y="451"/>
                    <a:pt x="204" y="451"/>
                    <a:pt x="206" y="449"/>
                  </a:cubicBezTo>
                  <a:cubicBezTo>
                    <a:pt x="208" y="445"/>
                    <a:pt x="212" y="451"/>
                    <a:pt x="210" y="456"/>
                  </a:cubicBezTo>
                  <a:cubicBezTo>
                    <a:pt x="210" y="458"/>
                    <a:pt x="210" y="461"/>
                    <a:pt x="211" y="462"/>
                  </a:cubicBezTo>
                  <a:cubicBezTo>
                    <a:pt x="212" y="461"/>
                    <a:pt x="214" y="459"/>
                    <a:pt x="215" y="456"/>
                  </a:cubicBezTo>
                  <a:cubicBezTo>
                    <a:pt x="217" y="449"/>
                    <a:pt x="222" y="449"/>
                    <a:pt x="225" y="447"/>
                  </a:cubicBezTo>
                  <a:cubicBezTo>
                    <a:pt x="228" y="445"/>
                    <a:pt x="231" y="446"/>
                    <a:pt x="237" y="449"/>
                  </a:cubicBezTo>
                  <a:cubicBezTo>
                    <a:pt x="243" y="452"/>
                    <a:pt x="245" y="446"/>
                    <a:pt x="254" y="454"/>
                  </a:cubicBezTo>
                  <a:cubicBezTo>
                    <a:pt x="255" y="453"/>
                    <a:pt x="258" y="452"/>
                    <a:pt x="259" y="452"/>
                  </a:cubicBezTo>
                  <a:cubicBezTo>
                    <a:pt x="260" y="452"/>
                    <a:pt x="263" y="449"/>
                    <a:pt x="266" y="446"/>
                  </a:cubicBezTo>
                  <a:cubicBezTo>
                    <a:pt x="268" y="443"/>
                    <a:pt x="268" y="439"/>
                    <a:pt x="271" y="440"/>
                  </a:cubicBezTo>
                  <a:cubicBezTo>
                    <a:pt x="275" y="440"/>
                    <a:pt x="277" y="436"/>
                    <a:pt x="284" y="432"/>
                  </a:cubicBezTo>
                  <a:cubicBezTo>
                    <a:pt x="291" y="428"/>
                    <a:pt x="298" y="434"/>
                    <a:pt x="301" y="431"/>
                  </a:cubicBezTo>
                  <a:cubicBezTo>
                    <a:pt x="305" y="428"/>
                    <a:pt x="309" y="427"/>
                    <a:pt x="309" y="430"/>
                  </a:cubicBezTo>
                  <a:cubicBezTo>
                    <a:pt x="309" y="433"/>
                    <a:pt x="313" y="436"/>
                    <a:pt x="314" y="440"/>
                  </a:cubicBezTo>
                  <a:cubicBezTo>
                    <a:pt x="315" y="443"/>
                    <a:pt x="321" y="444"/>
                    <a:pt x="323" y="444"/>
                  </a:cubicBezTo>
                  <a:cubicBezTo>
                    <a:pt x="324" y="444"/>
                    <a:pt x="325" y="443"/>
                    <a:pt x="325" y="443"/>
                  </a:cubicBezTo>
                  <a:cubicBezTo>
                    <a:pt x="329" y="440"/>
                    <a:pt x="335" y="443"/>
                    <a:pt x="335" y="447"/>
                  </a:cubicBezTo>
                  <a:cubicBezTo>
                    <a:pt x="335" y="451"/>
                    <a:pt x="335" y="455"/>
                    <a:pt x="338" y="455"/>
                  </a:cubicBezTo>
                  <a:cubicBezTo>
                    <a:pt x="341" y="455"/>
                    <a:pt x="344" y="455"/>
                    <a:pt x="344" y="462"/>
                  </a:cubicBezTo>
                  <a:cubicBezTo>
                    <a:pt x="344" y="469"/>
                    <a:pt x="347" y="478"/>
                    <a:pt x="340" y="484"/>
                  </a:cubicBezTo>
                  <a:cubicBezTo>
                    <a:pt x="334" y="490"/>
                    <a:pt x="327" y="501"/>
                    <a:pt x="328" y="504"/>
                  </a:cubicBezTo>
                  <a:cubicBezTo>
                    <a:pt x="330" y="507"/>
                    <a:pt x="327" y="513"/>
                    <a:pt x="331" y="511"/>
                  </a:cubicBezTo>
                  <a:cubicBezTo>
                    <a:pt x="336" y="509"/>
                    <a:pt x="346" y="511"/>
                    <a:pt x="344" y="514"/>
                  </a:cubicBezTo>
                  <a:cubicBezTo>
                    <a:pt x="343" y="516"/>
                    <a:pt x="345" y="525"/>
                    <a:pt x="349" y="526"/>
                  </a:cubicBezTo>
                  <a:cubicBezTo>
                    <a:pt x="353" y="526"/>
                    <a:pt x="356" y="528"/>
                    <a:pt x="354" y="532"/>
                  </a:cubicBezTo>
                  <a:cubicBezTo>
                    <a:pt x="353" y="536"/>
                    <a:pt x="351" y="542"/>
                    <a:pt x="354" y="542"/>
                  </a:cubicBezTo>
                  <a:cubicBezTo>
                    <a:pt x="358" y="542"/>
                    <a:pt x="363" y="542"/>
                    <a:pt x="362" y="546"/>
                  </a:cubicBezTo>
                  <a:cubicBezTo>
                    <a:pt x="362" y="549"/>
                    <a:pt x="365" y="553"/>
                    <a:pt x="371" y="550"/>
                  </a:cubicBezTo>
                  <a:cubicBezTo>
                    <a:pt x="375" y="549"/>
                    <a:pt x="377" y="548"/>
                    <a:pt x="378" y="549"/>
                  </a:cubicBezTo>
                  <a:cubicBezTo>
                    <a:pt x="380" y="549"/>
                    <a:pt x="381" y="555"/>
                    <a:pt x="385" y="556"/>
                  </a:cubicBezTo>
                  <a:cubicBezTo>
                    <a:pt x="390" y="557"/>
                    <a:pt x="387" y="546"/>
                    <a:pt x="386" y="544"/>
                  </a:cubicBezTo>
                  <a:cubicBezTo>
                    <a:pt x="384" y="543"/>
                    <a:pt x="386" y="535"/>
                    <a:pt x="388" y="537"/>
                  </a:cubicBezTo>
                  <a:cubicBezTo>
                    <a:pt x="390" y="539"/>
                    <a:pt x="395" y="537"/>
                    <a:pt x="398" y="534"/>
                  </a:cubicBezTo>
                  <a:cubicBezTo>
                    <a:pt x="401" y="530"/>
                    <a:pt x="406" y="536"/>
                    <a:pt x="409" y="532"/>
                  </a:cubicBezTo>
                  <a:cubicBezTo>
                    <a:pt x="411" y="528"/>
                    <a:pt x="416" y="535"/>
                    <a:pt x="421" y="532"/>
                  </a:cubicBezTo>
                  <a:cubicBezTo>
                    <a:pt x="426" y="530"/>
                    <a:pt x="429" y="535"/>
                    <a:pt x="431" y="531"/>
                  </a:cubicBezTo>
                  <a:cubicBezTo>
                    <a:pt x="433" y="527"/>
                    <a:pt x="441" y="521"/>
                    <a:pt x="443" y="523"/>
                  </a:cubicBezTo>
                  <a:cubicBezTo>
                    <a:pt x="444" y="525"/>
                    <a:pt x="445" y="528"/>
                    <a:pt x="455" y="530"/>
                  </a:cubicBezTo>
                  <a:cubicBezTo>
                    <a:pt x="464" y="531"/>
                    <a:pt x="459" y="535"/>
                    <a:pt x="459" y="538"/>
                  </a:cubicBezTo>
                  <a:cubicBezTo>
                    <a:pt x="459" y="541"/>
                    <a:pt x="469" y="548"/>
                    <a:pt x="473" y="549"/>
                  </a:cubicBezTo>
                  <a:cubicBezTo>
                    <a:pt x="474" y="549"/>
                    <a:pt x="475" y="550"/>
                    <a:pt x="476" y="551"/>
                  </a:cubicBezTo>
                  <a:cubicBezTo>
                    <a:pt x="479" y="550"/>
                    <a:pt x="484" y="552"/>
                    <a:pt x="485" y="549"/>
                  </a:cubicBezTo>
                  <a:cubicBezTo>
                    <a:pt x="486" y="545"/>
                    <a:pt x="491" y="546"/>
                    <a:pt x="493" y="549"/>
                  </a:cubicBezTo>
                  <a:cubicBezTo>
                    <a:pt x="495" y="553"/>
                    <a:pt x="497" y="553"/>
                    <a:pt x="501" y="549"/>
                  </a:cubicBezTo>
                  <a:cubicBezTo>
                    <a:pt x="505" y="546"/>
                    <a:pt x="508" y="553"/>
                    <a:pt x="505" y="556"/>
                  </a:cubicBezTo>
                  <a:cubicBezTo>
                    <a:pt x="502" y="558"/>
                    <a:pt x="504" y="564"/>
                    <a:pt x="508" y="568"/>
                  </a:cubicBezTo>
                  <a:cubicBezTo>
                    <a:pt x="512" y="572"/>
                    <a:pt x="513" y="566"/>
                    <a:pt x="512" y="562"/>
                  </a:cubicBezTo>
                  <a:cubicBezTo>
                    <a:pt x="511" y="558"/>
                    <a:pt x="519" y="554"/>
                    <a:pt x="533" y="550"/>
                  </a:cubicBezTo>
                  <a:cubicBezTo>
                    <a:pt x="546" y="545"/>
                    <a:pt x="561" y="535"/>
                    <a:pt x="561" y="533"/>
                  </a:cubicBezTo>
                  <a:cubicBezTo>
                    <a:pt x="561" y="531"/>
                    <a:pt x="571" y="537"/>
                    <a:pt x="575" y="534"/>
                  </a:cubicBezTo>
                  <a:cubicBezTo>
                    <a:pt x="580" y="530"/>
                    <a:pt x="596" y="530"/>
                    <a:pt x="600" y="529"/>
                  </a:cubicBezTo>
                  <a:cubicBezTo>
                    <a:pt x="605" y="529"/>
                    <a:pt x="604" y="526"/>
                    <a:pt x="609" y="522"/>
                  </a:cubicBezTo>
                  <a:cubicBezTo>
                    <a:pt x="613" y="518"/>
                    <a:pt x="612" y="517"/>
                    <a:pt x="617" y="515"/>
                  </a:cubicBezTo>
                  <a:cubicBezTo>
                    <a:pt x="623" y="514"/>
                    <a:pt x="626" y="509"/>
                    <a:pt x="626" y="506"/>
                  </a:cubicBezTo>
                  <a:cubicBezTo>
                    <a:pt x="626" y="504"/>
                    <a:pt x="636" y="503"/>
                    <a:pt x="636" y="500"/>
                  </a:cubicBezTo>
                  <a:cubicBezTo>
                    <a:pt x="636" y="497"/>
                    <a:pt x="643" y="496"/>
                    <a:pt x="643" y="493"/>
                  </a:cubicBezTo>
                  <a:cubicBezTo>
                    <a:pt x="643" y="489"/>
                    <a:pt x="647" y="490"/>
                    <a:pt x="649" y="488"/>
                  </a:cubicBezTo>
                  <a:cubicBezTo>
                    <a:pt x="651" y="485"/>
                    <a:pt x="648" y="477"/>
                    <a:pt x="651" y="476"/>
                  </a:cubicBezTo>
                  <a:cubicBezTo>
                    <a:pt x="655" y="475"/>
                    <a:pt x="650" y="471"/>
                    <a:pt x="649" y="469"/>
                  </a:cubicBezTo>
                  <a:cubicBezTo>
                    <a:pt x="649" y="467"/>
                    <a:pt x="656" y="467"/>
                    <a:pt x="659" y="465"/>
                  </a:cubicBezTo>
                  <a:cubicBezTo>
                    <a:pt x="663" y="462"/>
                    <a:pt x="665" y="459"/>
                    <a:pt x="666" y="454"/>
                  </a:cubicBezTo>
                  <a:cubicBezTo>
                    <a:pt x="667" y="450"/>
                    <a:pt x="673" y="447"/>
                    <a:pt x="676" y="446"/>
                  </a:cubicBezTo>
                  <a:cubicBezTo>
                    <a:pt x="678" y="445"/>
                    <a:pt x="679" y="439"/>
                    <a:pt x="679" y="434"/>
                  </a:cubicBezTo>
                  <a:cubicBezTo>
                    <a:pt x="678" y="429"/>
                    <a:pt x="684" y="430"/>
                    <a:pt x="681" y="428"/>
                  </a:cubicBezTo>
                  <a:cubicBezTo>
                    <a:pt x="678" y="426"/>
                    <a:pt x="682" y="421"/>
                    <a:pt x="687" y="419"/>
                  </a:cubicBezTo>
                  <a:cubicBezTo>
                    <a:pt x="692" y="418"/>
                    <a:pt x="684" y="415"/>
                    <a:pt x="681" y="418"/>
                  </a:cubicBezTo>
                  <a:cubicBezTo>
                    <a:pt x="678" y="420"/>
                    <a:pt x="675" y="411"/>
                    <a:pt x="673" y="415"/>
                  </a:cubicBezTo>
                  <a:cubicBezTo>
                    <a:pt x="670" y="418"/>
                    <a:pt x="663" y="413"/>
                    <a:pt x="668" y="412"/>
                  </a:cubicBezTo>
                  <a:cubicBezTo>
                    <a:pt x="672" y="411"/>
                    <a:pt x="680" y="405"/>
                    <a:pt x="683" y="404"/>
                  </a:cubicBezTo>
                  <a:cubicBezTo>
                    <a:pt x="686" y="403"/>
                    <a:pt x="678" y="396"/>
                    <a:pt x="674" y="396"/>
                  </a:cubicBezTo>
                  <a:cubicBezTo>
                    <a:pt x="670" y="396"/>
                    <a:pt x="665" y="387"/>
                    <a:pt x="661" y="387"/>
                  </a:cubicBezTo>
                  <a:cubicBezTo>
                    <a:pt x="657" y="387"/>
                    <a:pt x="664" y="384"/>
                    <a:pt x="669" y="386"/>
                  </a:cubicBezTo>
                  <a:cubicBezTo>
                    <a:pt x="674" y="389"/>
                    <a:pt x="680" y="391"/>
                    <a:pt x="682" y="389"/>
                  </a:cubicBezTo>
                  <a:cubicBezTo>
                    <a:pt x="684" y="387"/>
                    <a:pt x="674" y="378"/>
                    <a:pt x="670" y="375"/>
                  </a:cubicBezTo>
                  <a:cubicBezTo>
                    <a:pt x="666" y="372"/>
                    <a:pt x="670" y="368"/>
                    <a:pt x="667" y="366"/>
                  </a:cubicBezTo>
                  <a:cubicBezTo>
                    <a:pt x="665" y="365"/>
                    <a:pt x="660" y="354"/>
                    <a:pt x="658" y="349"/>
                  </a:cubicBezTo>
                  <a:cubicBezTo>
                    <a:pt x="656" y="344"/>
                    <a:pt x="647" y="343"/>
                    <a:pt x="645" y="340"/>
                  </a:cubicBezTo>
                  <a:cubicBezTo>
                    <a:pt x="643" y="336"/>
                    <a:pt x="645" y="329"/>
                    <a:pt x="652" y="326"/>
                  </a:cubicBezTo>
                  <a:cubicBezTo>
                    <a:pt x="659" y="323"/>
                    <a:pt x="656" y="318"/>
                    <a:pt x="659" y="318"/>
                  </a:cubicBezTo>
                  <a:cubicBezTo>
                    <a:pt x="662" y="319"/>
                    <a:pt x="665" y="318"/>
                    <a:pt x="667" y="313"/>
                  </a:cubicBezTo>
                  <a:cubicBezTo>
                    <a:pt x="669" y="308"/>
                    <a:pt x="673" y="311"/>
                    <a:pt x="676" y="308"/>
                  </a:cubicBezTo>
                  <a:cubicBezTo>
                    <a:pt x="678" y="306"/>
                    <a:pt x="689" y="306"/>
                    <a:pt x="692" y="303"/>
                  </a:cubicBezTo>
                  <a:cubicBezTo>
                    <a:pt x="696" y="301"/>
                    <a:pt x="689" y="293"/>
                    <a:pt x="684" y="294"/>
                  </a:cubicBezTo>
                  <a:cubicBezTo>
                    <a:pt x="679" y="295"/>
                    <a:pt x="673" y="293"/>
                    <a:pt x="670" y="288"/>
                  </a:cubicBezTo>
                  <a:cubicBezTo>
                    <a:pt x="666" y="283"/>
                    <a:pt x="657" y="298"/>
                    <a:pt x="650" y="301"/>
                  </a:cubicBezTo>
                  <a:cubicBezTo>
                    <a:pt x="644" y="304"/>
                    <a:pt x="639" y="295"/>
                    <a:pt x="641" y="289"/>
                  </a:cubicBezTo>
                  <a:cubicBezTo>
                    <a:pt x="644" y="283"/>
                    <a:pt x="636" y="284"/>
                    <a:pt x="626" y="284"/>
                  </a:cubicBezTo>
                  <a:cubicBezTo>
                    <a:pt x="617" y="285"/>
                    <a:pt x="620" y="267"/>
                    <a:pt x="626" y="266"/>
                  </a:cubicBezTo>
                  <a:cubicBezTo>
                    <a:pt x="632" y="265"/>
                    <a:pt x="641" y="271"/>
                    <a:pt x="644" y="261"/>
                  </a:cubicBezTo>
                  <a:cubicBezTo>
                    <a:pt x="648" y="250"/>
                    <a:pt x="653" y="258"/>
                    <a:pt x="661" y="249"/>
                  </a:cubicBezTo>
                  <a:cubicBezTo>
                    <a:pt x="669" y="239"/>
                    <a:pt x="679" y="234"/>
                    <a:pt x="686" y="239"/>
                  </a:cubicBezTo>
                  <a:cubicBezTo>
                    <a:pt x="693" y="245"/>
                    <a:pt x="678" y="254"/>
                    <a:pt x="676" y="259"/>
                  </a:cubicBezTo>
                  <a:cubicBezTo>
                    <a:pt x="674" y="264"/>
                    <a:pt x="678" y="266"/>
                    <a:pt x="674" y="270"/>
                  </a:cubicBezTo>
                  <a:cubicBezTo>
                    <a:pt x="670" y="274"/>
                    <a:pt x="676" y="275"/>
                    <a:pt x="684" y="270"/>
                  </a:cubicBezTo>
                  <a:cubicBezTo>
                    <a:pt x="692" y="265"/>
                    <a:pt x="703" y="258"/>
                    <a:pt x="711" y="255"/>
                  </a:cubicBezTo>
                  <a:cubicBezTo>
                    <a:pt x="713" y="254"/>
                    <a:pt x="715" y="254"/>
                    <a:pt x="718" y="254"/>
                  </a:cubicBezTo>
                  <a:cubicBezTo>
                    <a:pt x="719" y="251"/>
                    <a:pt x="720" y="248"/>
                    <a:pt x="722" y="248"/>
                  </a:cubicBezTo>
                  <a:cubicBezTo>
                    <a:pt x="728" y="245"/>
                    <a:pt x="746" y="236"/>
                    <a:pt x="749" y="233"/>
                  </a:cubicBezTo>
                  <a:cubicBezTo>
                    <a:pt x="752" y="229"/>
                    <a:pt x="755" y="222"/>
                    <a:pt x="759" y="222"/>
                  </a:cubicBezTo>
                  <a:cubicBezTo>
                    <a:pt x="762" y="222"/>
                    <a:pt x="762" y="226"/>
                    <a:pt x="768" y="226"/>
                  </a:cubicBezTo>
                  <a:cubicBezTo>
                    <a:pt x="774" y="226"/>
                    <a:pt x="780" y="228"/>
                    <a:pt x="777" y="223"/>
                  </a:cubicBezTo>
                  <a:cubicBezTo>
                    <a:pt x="774" y="219"/>
                    <a:pt x="776" y="219"/>
                    <a:pt x="783" y="218"/>
                  </a:cubicBezTo>
                  <a:cubicBezTo>
                    <a:pt x="789" y="217"/>
                    <a:pt x="788" y="210"/>
                    <a:pt x="793" y="210"/>
                  </a:cubicBezTo>
                  <a:cubicBezTo>
                    <a:pt x="798" y="210"/>
                    <a:pt x="797" y="199"/>
                    <a:pt x="802" y="199"/>
                  </a:cubicBezTo>
                  <a:cubicBezTo>
                    <a:pt x="806" y="199"/>
                    <a:pt x="808" y="205"/>
                    <a:pt x="814" y="204"/>
                  </a:cubicBezTo>
                  <a:cubicBezTo>
                    <a:pt x="815" y="203"/>
                    <a:pt x="816" y="203"/>
                    <a:pt x="818" y="204"/>
                  </a:cubicBezTo>
                  <a:cubicBezTo>
                    <a:pt x="819" y="203"/>
                    <a:pt x="820" y="202"/>
                    <a:pt x="821" y="201"/>
                  </a:cubicBezTo>
                  <a:cubicBezTo>
                    <a:pt x="821" y="196"/>
                    <a:pt x="821" y="190"/>
                    <a:pt x="820" y="188"/>
                  </a:cubicBezTo>
                  <a:cubicBezTo>
                    <a:pt x="818" y="182"/>
                    <a:pt x="820" y="178"/>
                    <a:pt x="819" y="175"/>
                  </a:cubicBezTo>
                  <a:cubicBezTo>
                    <a:pt x="819" y="172"/>
                    <a:pt x="818" y="165"/>
                    <a:pt x="822" y="165"/>
                  </a:cubicBezTo>
                  <a:cubicBezTo>
                    <a:pt x="825" y="165"/>
                    <a:pt x="829" y="157"/>
                    <a:pt x="834" y="160"/>
                  </a:cubicBezTo>
                  <a:cubicBezTo>
                    <a:pt x="838" y="163"/>
                    <a:pt x="847" y="163"/>
                    <a:pt x="847" y="160"/>
                  </a:cubicBezTo>
                  <a:cubicBezTo>
                    <a:pt x="847" y="156"/>
                    <a:pt x="853" y="155"/>
                    <a:pt x="853" y="150"/>
                  </a:cubicBezTo>
                  <a:cubicBezTo>
                    <a:pt x="854" y="145"/>
                    <a:pt x="861" y="144"/>
                    <a:pt x="862" y="139"/>
                  </a:cubicBezTo>
                  <a:cubicBezTo>
                    <a:pt x="863" y="134"/>
                    <a:pt x="865" y="123"/>
                    <a:pt x="870" y="120"/>
                  </a:cubicBezTo>
                  <a:cubicBezTo>
                    <a:pt x="874" y="118"/>
                    <a:pt x="869" y="116"/>
                    <a:pt x="869" y="108"/>
                  </a:cubicBezTo>
                  <a:close/>
                  <a:moveTo>
                    <a:pt x="659" y="516"/>
                  </a:moveTo>
                  <a:cubicBezTo>
                    <a:pt x="654" y="533"/>
                    <a:pt x="665" y="542"/>
                    <a:pt x="666" y="541"/>
                  </a:cubicBezTo>
                  <a:cubicBezTo>
                    <a:pt x="671" y="538"/>
                    <a:pt x="688" y="501"/>
                    <a:pt x="684" y="496"/>
                  </a:cubicBezTo>
                  <a:cubicBezTo>
                    <a:pt x="681" y="490"/>
                    <a:pt x="663" y="499"/>
                    <a:pt x="659" y="516"/>
                  </a:cubicBezTo>
                  <a:close/>
                  <a:moveTo>
                    <a:pt x="505" y="574"/>
                  </a:moveTo>
                  <a:cubicBezTo>
                    <a:pt x="499" y="574"/>
                    <a:pt x="485" y="582"/>
                    <a:pt x="491" y="594"/>
                  </a:cubicBezTo>
                  <a:cubicBezTo>
                    <a:pt x="496" y="606"/>
                    <a:pt x="515" y="598"/>
                    <a:pt x="515" y="593"/>
                  </a:cubicBezTo>
                  <a:cubicBezTo>
                    <a:pt x="516" y="588"/>
                    <a:pt x="524" y="579"/>
                    <a:pt x="523" y="576"/>
                  </a:cubicBezTo>
                  <a:cubicBezTo>
                    <a:pt x="522" y="572"/>
                    <a:pt x="511" y="574"/>
                    <a:pt x="505" y="5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099" name="Freeform 327"/>
            <p:cNvSpPr>
              <a:spLocks noEditPoints="1"/>
            </p:cNvSpPr>
            <p:nvPr/>
          </p:nvSpPr>
          <p:spPr>
            <a:xfrm>
              <a:off x="7645401" y="3346450"/>
              <a:ext cx="239713" cy="331788"/>
            </a:xfrm>
            <a:custGeom>
              <a:gdLst>
                <a:gd name="T0" fmla="*/ 75 w 141"/>
                <a:gd name="T1" fmla="*/ 76 h 196"/>
                <a:gd name="T2" fmla="*/ 92 w 141"/>
                <a:gd name="T3" fmla="*/ 88 h 196"/>
                <a:gd name="T4" fmla="*/ 97 w 141"/>
                <a:gd name="T5" fmla="*/ 101 h 196"/>
                <a:gd name="T6" fmla="*/ 103 w 141"/>
                <a:gd name="T7" fmla="*/ 108 h 196"/>
                <a:gd name="T8" fmla="*/ 110 w 141"/>
                <a:gd name="T9" fmla="*/ 126 h 196"/>
                <a:gd name="T10" fmla="*/ 115 w 141"/>
                <a:gd name="T11" fmla="*/ 122 h 196"/>
                <a:gd name="T12" fmla="*/ 121 w 141"/>
                <a:gd name="T13" fmla="*/ 113 h 196"/>
                <a:gd name="T14" fmla="*/ 117 w 141"/>
                <a:gd name="T15" fmla="*/ 96 h 196"/>
                <a:gd name="T16" fmla="*/ 101 w 141"/>
                <a:gd name="T17" fmla="*/ 84 h 196"/>
                <a:gd name="T18" fmla="*/ 91 w 141"/>
                <a:gd name="T19" fmla="*/ 71 h 196"/>
                <a:gd name="T20" fmla="*/ 71 w 141"/>
                <a:gd name="T21" fmla="*/ 68 h 196"/>
                <a:gd name="T22" fmla="*/ 64 w 141"/>
                <a:gd name="T23" fmla="*/ 54 h 196"/>
                <a:gd name="T24" fmla="*/ 73 w 141"/>
                <a:gd name="T25" fmla="*/ 34 h 196"/>
                <a:gd name="T26" fmla="*/ 73 w 141"/>
                <a:gd name="T27" fmla="*/ 10 h 196"/>
                <a:gd name="T28" fmla="*/ 70 w 141"/>
                <a:gd name="T29" fmla="*/ 5 h 196"/>
                <a:gd name="T30" fmla="*/ 49 w 141"/>
                <a:gd name="T31" fmla="*/ 3 h 196"/>
                <a:gd name="T32" fmla="*/ 46 w 141"/>
                <a:gd name="T33" fmla="*/ 37 h 196"/>
                <a:gd name="T34" fmla="*/ 39 w 141"/>
                <a:gd name="T35" fmla="*/ 36 h 196"/>
                <a:gd name="T36" fmla="*/ 43 w 141"/>
                <a:gd name="T37" fmla="*/ 55 h 196"/>
                <a:gd name="T38" fmla="*/ 47 w 141"/>
                <a:gd name="T39" fmla="*/ 67 h 196"/>
                <a:gd name="T40" fmla="*/ 61 w 141"/>
                <a:gd name="T41" fmla="*/ 71 h 196"/>
                <a:gd name="T42" fmla="*/ 75 w 141"/>
                <a:gd name="T43" fmla="*/ 76 h 196"/>
                <a:gd name="T44" fmla="*/ 47 w 141"/>
                <a:gd name="T45" fmla="*/ 79 h 196"/>
                <a:gd name="T46" fmla="*/ 61 w 141"/>
                <a:gd name="T47" fmla="*/ 95 h 196"/>
                <a:gd name="T48" fmla="*/ 47 w 141"/>
                <a:gd name="T49" fmla="*/ 79 h 196"/>
                <a:gd name="T50" fmla="*/ 71 w 141"/>
                <a:gd name="T51" fmla="*/ 121 h 196"/>
                <a:gd name="T52" fmla="*/ 79 w 141"/>
                <a:gd name="T53" fmla="*/ 117 h 196"/>
                <a:gd name="T54" fmla="*/ 80 w 141"/>
                <a:gd name="T55" fmla="*/ 128 h 196"/>
                <a:gd name="T56" fmla="*/ 82 w 141"/>
                <a:gd name="T57" fmla="*/ 144 h 196"/>
                <a:gd name="T58" fmla="*/ 98 w 141"/>
                <a:gd name="T59" fmla="*/ 121 h 196"/>
                <a:gd name="T60" fmla="*/ 92 w 141"/>
                <a:gd name="T61" fmla="*/ 119 h 196"/>
                <a:gd name="T62" fmla="*/ 70 w 141"/>
                <a:gd name="T63" fmla="*/ 101 h 196"/>
                <a:gd name="T64" fmla="*/ 71 w 141"/>
                <a:gd name="T65" fmla="*/ 121 h 196"/>
                <a:gd name="T66" fmla="*/ 20 w 141"/>
                <a:gd name="T67" fmla="*/ 129 h 196"/>
                <a:gd name="T68" fmla="*/ 2 w 141"/>
                <a:gd name="T69" fmla="*/ 153 h 196"/>
                <a:gd name="T70" fmla="*/ 28 w 141"/>
                <a:gd name="T71" fmla="*/ 129 h 196"/>
                <a:gd name="T72" fmla="*/ 32 w 141"/>
                <a:gd name="T73" fmla="*/ 113 h 196"/>
                <a:gd name="T74" fmla="*/ 20 w 141"/>
                <a:gd name="T75" fmla="*/ 129 h 196"/>
                <a:gd name="T76" fmla="*/ 97 w 141"/>
                <a:gd name="T77" fmla="*/ 138 h 196"/>
                <a:gd name="T78" fmla="*/ 108 w 141"/>
                <a:gd name="T79" fmla="*/ 131 h 196"/>
                <a:gd name="T80" fmla="*/ 97 w 141"/>
                <a:gd name="T81" fmla="*/ 138 h 196"/>
                <a:gd name="T82" fmla="*/ 136 w 141"/>
                <a:gd name="T83" fmla="*/ 171 h 196"/>
                <a:gd name="T84" fmla="*/ 132 w 141"/>
                <a:gd name="T85" fmla="*/ 139 h 196"/>
                <a:gd name="T86" fmla="*/ 122 w 141"/>
                <a:gd name="T87" fmla="*/ 138 h 196"/>
                <a:gd name="T88" fmla="*/ 114 w 141"/>
                <a:gd name="T89" fmla="*/ 146 h 196"/>
                <a:gd name="T90" fmla="*/ 105 w 141"/>
                <a:gd name="T91" fmla="*/ 153 h 196"/>
                <a:gd name="T92" fmla="*/ 92 w 141"/>
                <a:gd name="T93" fmla="*/ 150 h 196"/>
                <a:gd name="T94" fmla="*/ 76 w 141"/>
                <a:gd name="T95" fmla="*/ 159 h 196"/>
                <a:gd name="T96" fmla="*/ 70 w 141"/>
                <a:gd name="T97" fmla="*/ 174 h 196"/>
                <a:gd name="T98" fmla="*/ 83 w 141"/>
                <a:gd name="T99" fmla="*/ 168 h 196"/>
                <a:gd name="T100" fmla="*/ 94 w 141"/>
                <a:gd name="T101" fmla="*/ 164 h 196"/>
                <a:gd name="T102" fmla="*/ 106 w 141"/>
                <a:gd name="T103" fmla="*/ 189 h 196"/>
                <a:gd name="T104" fmla="*/ 121 w 141"/>
                <a:gd name="T105" fmla="*/ 196 h 196"/>
                <a:gd name="T106" fmla="*/ 120 w 141"/>
                <a:gd name="T107" fmla="*/ 178 h 196"/>
                <a:gd name="T108" fmla="*/ 136 w 141"/>
                <a:gd name="T109" fmla="*/ 171 h 1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196">
                  <a:moveTo>
                    <a:pt x="75" y="76"/>
                  </a:moveTo>
                  <a:cubicBezTo>
                    <a:pt x="83" y="74"/>
                    <a:pt x="94" y="85"/>
                    <a:pt x="92" y="88"/>
                  </a:cubicBezTo>
                  <a:cubicBezTo>
                    <a:pt x="91" y="92"/>
                    <a:pt x="93" y="105"/>
                    <a:pt x="97" y="101"/>
                  </a:cubicBezTo>
                  <a:cubicBezTo>
                    <a:pt x="100" y="98"/>
                    <a:pt x="107" y="102"/>
                    <a:pt x="103" y="108"/>
                  </a:cubicBezTo>
                  <a:cubicBezTo>
                    <a:pt x="99" y="113"/>
                    <a:pt x="109" y="119"/>
                    <a:pt x="110" y="126"/>
                  </a:cubicBezTo>
                  <a:cubicBezTo>
                    <a:pt x="111" y="133"/>
                    <a:pt x="116" y="127"/>
                    <a:pt x="115" y="122"/>
                  </a:cubicBezTo>
                  <a:cubicBezTo>
                    <a:pt x="114" y="117"/>
                    <a:pt x="116" y="117"/>
                    <a:pt x="121" y="113"/>
                  </a:cubicBezTo>
                  <a:cubicBezTo>
                    <a:pt x="127" y="110"/>
                    <a:pt x="121" y="103"/>
                    <a:pt x="117" y="96"/>
                  </a:cubicBezTo>
                  <a:cubicBezTo>
                    <a:pt x="114" y="88"/>
                    <a:pt x="101" y="91"/>
                    <a:pt x="101" y="84"/>
                  </a:cubicBezTo>
                  <a:cubicBezTo>
                    <a:pt x="101" y="77"/>
                    <a:pt x="91" y="75"/>
                    <a:pt x="91" y="71"/>
                  </a:cubicBezTo>
                  <a:cubicBezTo>
                    <a:pt x="91" y="67"/>
                    <a:pt x="78" y="64"/>
                    <a:pt x="71" y="68"/>
                  </a:cubicBezTo>
                  <a:cubicBezTo>
                    <a:pt x="64" y="72"/>
                    <a:pt x="69" y="60"/>
                    <a:pt x="64" y="54"/>
                  </a:cubicBezTo>
                  <a:cubicBezTo>
                    <a:pt x="58" y="49"/>
                    <a:pt x="67" y="41"/>
                    <a:pt x="73" y="34"/>
                  </a:cubicBezTo>
                  <a:cubicBezTo>
                    <a:pt x="79" y="27"/>
                    <a:pt x="72" y="15"/>
                    <a:pt x="73" y="10"/>
                  </a:cubicBezTo>
                  <a:cubicBezTo>
                    <a:pt x="73" y="5"/>
                    <a:pt x="73" y="3"/>
                    <a:pt x="70" y="5"/>
                  </a:cubicBezTo>
                  <a:cubicBezTo>
                    <a:pt x="67" y="7"/>
                    <a:pt x="54" y="0"/>
                    <a:pt x="49" y="3"/>
                  </a:cubicBezTo>
                  <a:cubicBezTo>
                    <a:pt x="43" y="7"/>
                    <a:pt x="48" y="35"/>
                    <a:pt x="46" y="37"/>
                  </a:cubicBezTo>
                  <a:cubicBezTo>
                    <a:pt x="43" y="39"/>
                    <a:pt x="40" y="33"/>
                    <a:pt x="39" y="36"/>
                  </a:cubicBezTo>
                  <a:cubicBezTo>
                    <a:pt x="38" y="39"/>
                    <a:pt x="39" y="55"/>
                    <a:pt x="43" y="55"/>
                  </a:cubicBezTo>
                  <a:cubicBezTo>
                    <a:pt x="46" y="55"/>
                    <a:pt x="49" y="60"/>
                    <a:pt x="47" y="67"/>
                  </a:cubicBezTo>
                  <a:cubicBezTo>
                    <a:pt x="45" y="73"/>
                    <a:pt x="53" y="74"/>
                    <a:pt x="61" y="71"/>
                  </a:cubicBezTo>
                  <a:cubicBezTo>
                    <a:pt x="70" y="68"/>
                    <a:pt x="67" y="77"/>
                    <a:pt x="75" y="76"/>
                  </a:cubicBezTo>
                  <a:close/>
                  <a:moveTo>
                    <a:pt x="47" y="79"/>
                  </a:moveTo>
                  <a:cubicBezTo>
                    <a:pt x="48" y="85"/>
                    <a:pt x="51" y="98"/>
                    <a:pt x="61" y="95"/>
                  </a:cubicBezTo>
                  <a:cubicBezTo>
                    <a:pt x="70" y="92"/>
                    <a:pt x="46" y="75"/>
                    <a:pt x="47" y="79"/>
                  </a:cubicBezTo>
                  <a:close/>
                  <a:moveTo>
                    <a:pt x="71" y="121"/>
                  </a:moveTo>
                  <a:cubicBezTo>
                    <a:pt x="73" y="121"/>
                    <a:pt x="79" y="121"/>
                    <a:pt x="79" y="117"/>
                  </a:cubicBezTo>
                  <a:cubicBezTo>
                    <a:pt x="79" y="113"/>
                    <a:pt x="84" y="125"/>
                    <a:pt x="80" y="128"/>
                  </a:cubicBezTo>
                  <a:cubicBezTo>
                    <a:pt x="76" y="132"/>
                    <a:pt x="76" y="143"/>
                    <a:pt x="82" y="144"/>
                  </a:cubicBezTo>
                  <a:cubicBezTo>
                    <a:pt x="88" y="146"/>
                    <a:pt x="100" y="125"/>
                    <a:pt x="98" y="121"/>
                  </a:cubicBezTo>
                  <a:cubicBezTo>
                    <a:pt x="96" y="117"/>
                    <a:pt x="91" y="124"/>
                    <a:pt x="92" y="119"/>
                  </a:cubicBezTo>
                  <a:cubicBezTo>
                    <a:pt x="94" y="113"/>
                    <a:pt x="77" y="100"/>
                    <a:pt x="70" y="101"/>
                  </a:cubicBezTo>
                  <a:cubicBezTo>
                    <a:pt x="64" y="103"/>
                    <a:pt x="66" y="122"/>
                    <a:pt x="71" y="121"/>
                  </a:cubicBezTo>
                  <a:close/>
                  <a:moveTo>
                    <a:pt x="20" y="129"/>
                  </a:moveTo>
                  <a:cubicBezTo>
                    <a:pt x="14" y="137"/>
                    <a:pt x="0" y="150"/>
                    <a:pt x="2" y="153"/>
                  </a:cubicBezTo>
                  <a:cubicBezTo>
                    <a:pt x="5" y="158"/>
                    <a:pt x="20" y="134"/>
                    <a:pt x="28" y="129"/>
                  </a:cubicBezTo>
                  <a:cubicBezTo>
                    <a:pt x="36" y="123"/>
                    <a:pt x="35" y="119"/>
                    <a:pt x="32" y="113"/>
                  </a:cubicBezTo>
                  <a:cubicBezTo>
                    <a:pt x="30" y="108"/>
                    <a:pt x="27" y="122"/>
                    <a:pt x="20" y="129"/>
                  </a:cubicBezTo>
                  <a:close/>
                  <a:moveTo>
                    <a:pt x="97" y="138"/>
                  </a:moveTo>
                  <a:cubicBezTo>
                    <a:pt x="99" y="142"/>
                    <a:pt x="111" y="135"/>
                    <a:pt x="108" y="131"/>
                  </a:cubicBezTo>
                  <a:cubicBezTo>
                    <a:pt x="104" y="127"/>
                    <a:pt x="96" y="135"/>
                    <a:pt x="97" y="138"/>
                  </a:cubicBezTo>
                  <a:close/>
                  <a:moveTo>
                    <a:pt x="136" y="171"/>
                  </a:moveTo>
                  <a:cubicBezTo>
                    <a:pt x="141" y="165"/>
                    <a:pt x="132" y="150"/>
                    <a:pt x="132" y="139"/>
                  </a:cubicBezTo>
                  <a:cubicBezTo>
                    <a:pt x="132" y="129"/>
                    <a:pt x="118" y="132"/>
                    <a:pt x="122" y="138"/>
                  </a:cubicBezTo>
                  <a:cubicBezTo>
                    <a:pt x="126" y="145"/>
                    <a:pt x="115" y="140"/>
                    <a:pt x="114" y="146"/>
                  </a:cubicBezTo>
                  <a:cubicBezTo>
                    <a:pt x="113" y="153"/>
                    <a:pt x="105" y="147"/>
                    <a:pt x="105" y="153"/>
                  </a:cubicBezTo>
                  <a:cubicBezTo>
                    <a:pt x="106" y="158"/>
                    <a:pt x="97" y="153"/>
                    <a:pt x="92" y="150"/>
                  </a:cubicBezTo>
                  <a:cubicBezTo>
                    <a:pt x="88" y="147"/>
                    <a:pt x="82" y="158"/>
                    <a:pt x="76" y="159"/>
                  </a:cubicBezTo>
                  <a:cubicBezTo>
                    <a:pt x="69" y="161"/>
                    <a:pt x="66" y="175"/>
                    <a:pt x="70" y="174"/>
                  </a:cubicBezTo>
                  <a:cubicBezTo>
                    <a:pt x="75" y="174"/>
                    <a:pt x="78" y="167"/>
                    <a:pt x="83" y="168"/>
                  </a:cubicBezTo>
                  <a:cubicBezTo>
                    <a:pt x="88" y="168"/>
                    <a:pt x="86" y="162"/>
                    <a:pt x="94" y="164"/>
                  </a:cubicBezTo>
                  <a:cubicBezTo>
                    <a:pt x="101" y="165"/>
                    <a:pt x="96" y="187"/>
                    <a:pt x="106" y="189"/>
                  </a:cubicBezTo>
                  <a:cubicBezTo>
                    <a:pt x="116" y="190"/>
                    <a:pt x="116" y="196"/>
                    <a:pt x="121" y="196"/>
                  </a:cubicBezTo>
                  <a:cubicBezTo>
                    <a:pt x="125" y="196"/>
                    <a:pt x="120" y="183"/>
                    <a:pt x="120" y="178"/>
                  </a:cubicBezTo>
                  <a:cubicBezTo>
                    <a:pt x="121" y="173"/>
                    <a:pt x="131" y="178"/>
                    <a:pt x="136" y="17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0" name="Freeform 328"/>
            <p:cNvSpPr>
              <a:spLocks noEditPoints="1"/>
            </p:cNvSpPr>
            <p:nvPr/>
          </p:nvSpPr>
          <p:spPr>
            <a:xfrm>
              <a:off x="8235951" y="3884613"/>
              <a:ext cx="312738" cy="200025"/>
            </a:xfrm>
            <a:custGeom>
              <a:gdLst>
                <a:gd name="T0" fmla="*/ 132 w 184"/>
                <a:gd name="T1" fmla="*/ 108 h 118"/>
                <a:gd name="T2" fmla="*/ 122 w 184"/>
                <a:gd name="T3" fmla="*/ 98 h 118"/>
                <a:gd name="T4" fmla="*/ 107 w 184"/>
                <a:gd name="T5" fmla="*/ 91 h 118"/>
                <a:gd name="T6" fmla="*/ 97 w 184"/>
                <a:gd name="T7" fmla="*/ 72 h 118"/>
                <a:gd name="T8" fmla="*/ 94 w 184"/>
                <a:gd name="T9" fmla="*/ 60 h 118"/>
                <a:gd name="T10" fmla="*/ 97 w 184"/>
                <a:gd name="T11" fmla="*/ 51 h 118"/>
                <a:gd name="T12" fmla="*/ 68 w 184"/>
                <a:gd name="T13" fmla="*/ 35 h 118"/>
                <a:gd name="T14" fmla="*/ 11 w 184"/>
                <a:gd name="T15" fmla="*/ 3 h 118"/>
                <a:gd name="T16" fmla="*/ 0 w 184"/>
                <a:gd name="T17" fmla="*/ 0 h 118"/>
                <a:gd name="T18" fmla="*/ 0 w 184"/>
                <a:gd name="T19" fmla="*/ 92 h 118"/>
                <a:gd name="T20" fmla="*/ 15 w 184"/>
                <a:gd name="T21" fmla="*/ 97 h 118"/>
                <a:gd name="T22" fmla="*/ 33 w 184"/>
                <a:gd name="T23" fmla="*/ 87 h 118"/>
                <a:gd name="T24" fmla="*/ 42 w 184"/>
                <a:gd name="T25" fmla="*/ 76 h 118"/>
                <a:gd name="T26" fmla="*/ 72 w 184"/>
                <a:gd name="T27" fmla="*/ 83 h 118"/>
                <a:gd name="T28" fmla="*/ 104 w 184"/>
                <a:gd name="T29" fmla="*/ 112 h 118"/>
                <a:gd name="T30" fmla="*/ 134 w 184"/>
                <a:gd name="T31" fmla="*/ 117 h 118"/>
                <a:gd name="T32" fmla="*/ 132 w 184"/>
                <a:gd name="T33" fmla="*/ 108 h 118"/>
                <a:gd name="T34" fmla="*/ 157 w 184"/>
                <a:gd name="T35" fmla="*/ 32 h 118"/>
                <a:gd name="T36" fmla="*/ 139 w 184"/>
                <a:gd name="T37" fmla="*/ 42 h 118"/>
                <a:gd name="T38" fmla="*/ 108 w 184"/>
                <a:gd name="T39" fmla="*/ 43 h 118"/>
                <a:gd name="T40" fmla="*/ 132 w 184"/>
                <a:gd name="T41" fmla="*/ 54 h 118"/>
                <a:gd name="T42" fmla="*/ 162 w 184"/>
                <a:gd name="T43" fmla="*/ 39 h 118"/>
                <a:gd name="T44" fmla="*/ 166 w 184"/>
                <a:gd name="T45" fmla="*/ 26 h 118"/>
                <a:gd name="T46" fmla="*/ 157 w 184"/>
                <a:gd name="T47" fmla="*/ 32 h 118"/>
                <a:gd name="T48" fmla="*/ 171 w 184"/>
                <a:gd name="T49" fmla="*/ 15 h 118"/>
                <a:gd name="T50" fmla="*/ 167 w 184"/>
                <a:gd name="T51" fmla="*/ 16 h 118"/>
                <a:gd name="T52" fmla="*/ 176 w 184"/>
                <a:gd name="T53" fmla="*/ 30 h 118"/>
                <a:gd name="T54" fmla="*/ 171 w 184"/>
                <a:gd name="T55" fmla="*/ 15 h 1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4" h="118">
                  <a:moveTo>
                    <a:pt x="132" y="108"/>
                  </a:moveTo>
                  <a:cubicBezTo>
                    <a:pt x="129" y="107"/>
                    <a:pt x="122" y="102"/>
                    <a:pt x="122" y="98"/>
                  </a:cubicBezTo>
                  <a:cubicBezTo>
                    <a:pt x="122" y="95"/>
                    <a:pt x="113" y="95"/>
                    <a:pt x="107" y="91"/>
                  </a:cubicBezTo>
                  <a:cubicBezTo>
                    <a:pt x="101" y="88"/>
                    <a:pt x="103" y="75"/>
                    <a:pt x="97" y="72"/>
                  </a:cubicBezTo>
                  <a:cubicBezTo>
                    <a:pt x="91" y="69"/>
                    <a:pt x="86" y="60"/>
                    <a:pt x="94" y="60"/>
                  </a:cubicBezTo>
                  <a:cubicBezTo>
                    <a:pt x="101" y="61"/>
                    <a:pt x="103" y="56"/>
                    <a:pt x="97" y="51"/>
                  </a:cubicBezTo>
                  <a:cubicBezTo>
                    <a:pt x="91" y="45"/>
                    <a:pt x="69" y="43"/>
                    <a:pt x="68" y="35"/>
                  </a:cubicBezTo>
                  <a:cubicBezTo>
                    <a:pt x="67" y="27"/>
                    <a:pt x="28" y="7"/>
                    <a:pt x="11" y="3"/>
                  </a:cubicBezTo>
                  <a:cubicBezTo>
                    <a:pt x="8" y="3"/>
                    <a:pt x="4" y="1"/>
                    <a:pt x="0" y="0"/>
                  </a:cubicBezTo>
                  <a:cubicBezTo>
                    <a:pt x="0" y="92"/>
                    <a:pt x="0" y="92"/>
                    <a:pt x="0" y="92"/>
                  </a:cubicBezTo>
                  <a:cubicBezTo>
                    <a:pt x="4" y="95"/>
                    <a:pt x="9" y="97"/>
                    <a:pt x="15" y="97"/>
                  </a:cubicBezTo>
                  <a:cubicBezTo>
                    <a:pt x="34" y="98"/>
                    <a:pt x="30" y="87"/>
                    <a:pt x="33" y="87"/>
                  </a:cubicBezTo>
                  <a:cubicBezTo>
                    <a:pt x="36" y="87"/>
                    <a:pt x="38" y="81"/>
                    <a:pt x="42" y="76"/>
                  </a:cubicBezTo>
                  <a:cubicBezTo>
                    <a:pt x="45" y="72"/>
                    <a:pt x="62" y="76"/>
                    <a:pt x="72" y="83"/>
                  </a:cubicBezTo>
                  <a:cubicBezTo>
                    <a:pt x="82" y="91"/>
                    <a:pt x="94" y="114"/>
                    <a:pt x="104" y="112"/>
                  </a:cubicBezTo>
                  <a:cubicBezTo>
                    <a:pt x="114" y="110"/>
                    <a:pt x="125" y="118"/>
                    <a:pt x="134" y="117"/>
                  </a:cubicBezTo>
                  <a:cubicBezTo>
                    <a:pt x="144" y="117"/>
                    <a:pt x="135" y="110"/>
                    <a:pt x="132" y="108"/>
                  </a:cubicBezTo>
                  <a:close/>
                  <a:moveTo>
                    <a:pt x="157" y="32"/>
                  </a:moveTo>
                  <a:cubicBezTo>
                    <a:pt x="157" y="36"/>
                    <a:pt x="150" y="38"/>
                    <a:pt x="139" y="42"/>
                  </a:cubicBezTo>
                  <a:cubicBezTo>
                    <a:pt x="128" y="46"/>
                    <a:pt x="109" y="37"/>
                    <a:pt x="108" y="43"/>
                  </a:cubicBezTo>
                  <a:cubicBezTo>
                    <a:pt x="108" y="47"/>
                    <a:pt x="120" y="54"/>
                    <a:pt x="132" y="54"/>
                  </a:cubicBezTo>
                  <a:cubicBezTo>
                    <a:pt x="143" y="54"/>
                    <a:pt x="162" y="42"/>
                    <a:pt x="162" y="39"/>
                  </a:cubicBezTo>
                  <a:cubicBezTo>
                    <a:pt x="162" y="36"/>
                    <a:pt x="169" y="30"/>
                    <a:pt x="166" y="26"/>
                  </a:cubicBezTo>
                  <a:cubicBezTo>
                    <a:pt x="163" y="23"/>
                    <a:pt x="157" y="28"/>
                    <a:pt x="157" y="32"/>
                  </a:cubicBezTo>
                  <a:close/>
                  <a:moveTo>
                    <a:pt x="171" y="15"/>
                  </a:moveTo>
                  <a:cubicBezTo>
                    <a:pt x="165" y="11"/>
                    <a:pt x="159" y="8"/>
                    <a:pt x="167" y="16"/>
                  </a:cubicBezTo>
                  <a:cubicBezTo>
                    <a:pt x="176" y="24"/>
                    <a:pt x="171" y="31"/>
                    <a:pt x="176" y="30"/>
                  </a:cubicBezTo>
                  <a:cubicBezTo>
                    <a:pt x="184" y="28"/>
                    <a:pt x="178" y="20"/>
                    <a:pt x="171" y="1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1" name="Freeform 329"/>
            <p:cNvSpPr/>
            <p:nvPr/>
          </p:nvSpPr>
          <p:spPr>
            <a:xfrm>
              <a:off x="6745288" y="3573463"/>
              <a:ext cx="52388" cy="101600"/>
            </a:xfrm>
            <a:custGeom>
              <a:gdLst>
                <a:gd name="T0" fmla="*/ 7 w 31"/>
                <a:gd name="T1" fmla="*/ 0 h 60"/>
                <a:gd name="T2" fmla="*/ 2 w 31"/>
                <a:gd name="T3" fmla="*/ 14 h 60"/>
                <a:gd name="T4" fmla="*/ 1 w 31"/>
                <a:gd name="T5" fmla="*/ 33 h 60"/>
                <a:gd name="T6" fmla="*/ 9 w 31"/>
                <a:gd name="T7" fmla="*/ 55 h 60"/>
                <a:gd name="T8" fmla="*/ 31 w 31"/>
                <a:gd name="T9" fmla="*/ 34 h 60"/>
                <a:gd name="T10" fmla="*/ 7 w 31"/>
                <a:gd name="T11" fmla="*/ 0 h 60"/>
              </a:gdLst>
              <a:cxnLst>
                <a:cxn ang="0">
                  <a:pos x="T0" y="T1"/>
                </a:cxn>
                <a:cxn ang="0">
                  <a:pos x="T2" y="T3"/>
                </a:cxn>
                <a:cxn ang="0">
                  <a:pos x="T4" y="T5"/>
                </a:cxn>
                <a:cxn ang="0">
                  <a:pos x="T6" y="T7"/>
                </a:cxn>
                <a:cxn ang="0">
                  <a:pos x="T8" y="T9"/>
                </a:cxn>
                <a:cxn ang="0">
                  <a:pos x="T10" y="T11"/>
                </a:cxn>
              </a:cxnLst>
              <a:rect l="0" t="0" r="r" b="b"/>
              <a:pathLst>
                <a:path w="31" h="60">
                  <a:moveTo>
                    <a:pt x="7" y="0"/>
                  </a:moveTo>
                  <a:cubicBezTo>
                    <a:pt x="4" y="1"/>
                    <a:pt x="4" y="8"/>
                    <a:pt x="2" y="14"/>
                  </a:cubicBezTo>
                  <a:cubicBezTo>
                    <a:pt x="0" y="19"/>
                    <a:pt x="0" y="25"/>
                    <a:pt x="1" y="33"/>
                  </a:cubicBezTo>
                  <a:cubicBezTo>
                    <a:pt x="2" y="41"/>
                    <a:pt x="1" y="50"/>
                    <a:pt x="9" y="55"/>
                  </a:cubicBezTo>
                  <a:cubicBezTo>
                    <a:pt x="17" y="60"/>
                    <a:pt x="31" y="46"/>
                    <a:pt x="31" y="34"/>
                  </a:cubicBezTo>
                  <a:cubicBezTo>
                    <a:pt x="31" y="22"/>
                    <a:pt x="11" y="0"/>
                    <a:pt x="7"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2" name="Freeform 330"/>
            <p:cNvSpPr/>
            <p:nvPr/>
          </p:nvSpPr>
          <p:spPr>
            <a:xfrm>
              <a:off x="5827713" y="4098925"/>
              <a:ext cx="182563" cy="363538"/>
            </a:xfrm>
            <a:custGeom>
              <a:gdLst>
                <a:gd name="T0" fmla="*/ 91 w 108"/>
                <a:gd name="T1" fmla="*/ 8 h 214"/>
                <a:gd name="T2" fmla="*/ 86 w 108"/>
                <a:gd name="T3" fmla="*/ 12 h 214"/>
                <a:gd name="T4" fmla="*/ 84 w 108"/>
                <a:gd name="T5" fmla="*/ 22 h 214"/>
                <a:gd name="T6" fmla="*/ 75 w 108"/>
                <a:gd name="T7" fmla="*/ 29 h 214"/>
                <a:gd name="T8" fmla="*/ 68 w 108"/>
                <a:gd name="T9" fmla="*/ 35 h 214"/>
                <a:gd name="T10" fmla="*/ 67 w 108"/>
                <a:gd name="T11" fmla="*/ 43 h 214"/>
                <a:gd name="T12" fmla="*/ 57 w 108"/>
                <a:gd name="T13" fmla="*/ 52 h 214"/>
                <a:gd name="T14" fmla="*/ 37 w 108"/>
                <a:gd name="T15" fmla="*/ 62 h 214"/>
                <a:gd name="T16" fmla="*/ 18 w 108"/>
                <a:gd name="T17" fmla="*/ 66 h 214"/>
                <a:gd name="T18" fmla="*/ 12 w 108"/>
                <a:gd name="T19" fmla="*/ 85 h 214"/>
                <a:gd name="T20" fmla="*/ 14 w 108"/>
                <a:gd name="T21" fmla="*/ 111 h 214"/>
                <a:gd name="T22" fmla="*/ 10 w 108"/>
                <a:gd name="T23" fmla="*/ 141 h 214"/>
                <a:gd name="T24" fmla="*/ 5 w 108"/>
                <a:gd name="T25" fmla="*/ 176 h 214"/>
                <a:gd name="T26" fmla="*/ 14 w 108"/>
                <a:gd name="T27" fmla="*/ 203 h 214"/>
                <a:gd name="T28" fmla="*/ 40 w 108"/>
                <a:gd name="T29" fmla="*/ 210 h 214"/>
                <a:gd name="T30" fmla="*/ 55 w 108"/>
                <a:gd name="T31" fmla="*/ 204 h 214"/>
                <a:gd name="T32" fmla="*/ 76 w 108"/>
                <a:gd name="T33" fmla="*/ 143 h 214"/>
                <a:gd name="T34" fmla="*/ 92 w 108"/>
                <a:gd name="T35" fmla="*/ 86 h 214"/>
                <a:gd name="T36" fmla="*/ 95 w 108"/>
                <a:gd name="T37" fmla="*/ 70 h 214"/>
                <a:gd name="T38" fmla="*/ 98 w 108"/>
                <a:gd name="T39" fmla="*/ 61 h 214"/>
                <a:gd name="T40" fmla="*/ 107 w 108"/>
                <a:gd name="T41" fmla="*/ 59 h 214"/>
                <a:gd name="T42" fmla="*/ 101 w 108"/>
                <a:gd name="T43" fmla="*/ 32 h 214"/>
                <a:gd name="T44" fmla="*/ 91 w 108"/>
                <a:gd name="T45" fmla="*/ 8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214">
                  <a:moveTo>
                    <a:pt x="91" y="8"/>
                  </a:moveTo>
                  <a:cubicBezTo>
                    <a:pt x="89" y="0"/>
                    <a:pt x="88" y="10"/>
                    <a:pt x="86" y="12"/>
                  </a:cubicBezTo>
                  <a:cubicBezTo>
                    <a:pt x="84" y="14"/>
                    <a:pt x="83" y="19"/>
                    <a:pt x="84" y="22"/>
                  </a:cubicBezTo>
                  <a:cubicBezTo>
                    <a:pt x="84" y="26"/>
                    <a:pt x="79" y="29"/>
                    <a:pt x="75" y="29"/>
                  </a:cubicBezTo>
                  <a:cubicBezTo>
                    <a:pt x="72" y="28"/>
                    <a:pt x="66" y="30"/>
                    <a:pt x="68" y="35"/>
                  </a:cubicBezTo>
                  <a:cubicBezTo>
                    <a:pt x="70" y="40"/>
                    <a:pt x="65" y="39"/>
                    <a:pt x="67" y="43"/>
                  </a:cubicBezTo>
                  <a:cubicBezTo>
                    <a:pt x="70" y="47"/>
                    <a:pt x="63" y="51"/>
                    <a:pt x="57" y="52"/>
                  </a:cubicBezTo>
                  <a:cubicBezTo>
                    <a:pt x="51" y="52"/>
                    <a:pt x="43" y="63"/>
                    <a:pt x="37" y="62"/>
                  </a:cubicBezTo>
                  <a:cubicBezTo>
                    <a:pt x="30" y="61"/>
                    <a:pt x="24" y="66"/>
                    <a:pt x="18" y="66"/>
                  </a:cubicBezTo>
                  <a:cubicBezTo>
                    <a:pt x="12" y="65"/>
                    <a:pt x="16" y="77"/>
                    <a:pt x="12" y="85"/>
                  </a:cubicBezTo>
                  <a:cubicBezTo>
                    <a:pt x="8" y="93"/>
                    <a:pt x="10" y="102"/>
                    <a:pt x="14" y="111"/>
                  </a:cubicBezTo>
                  <a:cubicBezTo>
                    <a:pt x="18" y="121"/>
                    <a:pt x="21" y="128"/>
                    <a:pt x="10" y="141"/>
                  </a:cubicBezTo>
                  <a:cubicBezTo>
                    <a:pt x="0" y="153"/>
                    <a:pt x="1" y="167"/>
                    <a:pt x="5" y="176"/>
                  </a:cubicBezTo>
                  <a:cubicBezTo>
                    <a:pt x="9" y="184"/>
                    <a:pt x="9" y="197"/>
                    <a:pt x="14" y="203"/>
                  </a:cubicBezTo>
                  <a:cubicBezTo>
                    <a:pt x="20" y="209"/>
                    <a:pt x="35" y="214"/>
                    <a:pt x="40" y="210"/>
                  </a:cubicBezTo>
                  <a:cubicBezTo>
                    <a:pt x="45" y="205"/>
                    <a:pt x="50" y="210"/>
                    <a:pt x="55" y="204"/>
                  </a:cubicBezTo>
                  <a:cubicBezTo>
                    <a:pt x="60" y="198"/>
                    <a:pt x="69" y="165"/>
                    <a:pt x="76" y="143"/>
                  </a:cubicBezTo>
                  <a:cubicBezTo>
                    <a:pt x="83" y="121"/>
                    <a:pt x="93" y="92"/>
                    <a:pt x="92" y="86"/>
                  </a:cubicBezTo>
                  <a:cubicBezTo>
                    <a:pt x="91" y="80"/>
                    <a:pt x="97" y="76"/>
                    <a:pt x="95" y="70"/>
                  </a:cubicBezTo>
                  <a:cubicBezTo>
                    <a:pt x="92" y="63"/>
                    <a:pt x="95" y="56"/>
                    <a:pt x="98" y="61"/>
                  </a:cubicBezTo>
                  <a:cubicBezTo>
                    <a:pt x="101" y="66"/>
                    <a:pt x="106" y="66"/>
                    <a:pt x="107" y="59"/>
                  </a:cubicBezTo>
                  <a:cubicBezTo>
                    <a:pt x="108" y="52"/>
                    <a:pt x="102" y="41"/>
                    <a:pt x="101" y="32"/>
                  </a:cubicBezTo>
                  <a:cubicBezTo>
                    <a:pt x="101" y="22"/>
                    <a:pt x="92" y="12"/>
                    <a:pt x="91"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3" name="Freeform 331"/>
            <p:cNvSpPr>
              <a:spLocks noEditPoints="1"/>
            </p:cNvSpPr>
            <p:nvPr/>
          </p:nvSpPr>
          <p:spPr>
            <a:xfrm>
              <a:off x="5821363" y="3332163"/>
              <a:ext cx="293688" cy="177800"/>
            </a:xfrm>
            <a:custGeom>
              <a:gdLst>
                <a:gd name="T0" fmla="*/ 123 w 174"/>
                <a:gd name="T1" fmla="*/ 4 h 105"/>
                <a:gd name="T2" fmla="*/ 94 w 174"/>
                <a:gd name="T3" fmla="*/ 6 h 105"/>
                <a:gd name="T4" fmla="*/ 72 w 174"/>
                <a:gd name="T5" fmla="*/ 25 h 105"/>
                <a:gd name="T6" fmla="*/ 62 w 174"/>
                <a:gd name="T7" fmla="*/ 29 h 105"/>
                <a:gd name="T8" fmla="*/ 41 w 174"/>
                <a:gd name="T9" fmla="*/ 25 h 105"/>
                <a:gd name="T10" fmla="*/ 23 w 174"/>
                <a:gd name="T11" fmla="*/ 24 h 105"/>
                <a:gd name="T12" fmla="*/ 13 w 174"/>
                <a:gd name="T13" fmla="*/ 22 h 105"/>
                <a:gd name="T14" fmla="*/ 6 w 174"/>
                <a:gd name="T15" fmla="*/ 28 h 105"/>
                <a:gd name="T16" fmla="*/ 7 w 174"/>
                <a:gd name="T17" fmla="*/ 35 h 105"/>
                <a:gd name="T18" fmla="*/ 0 w 174"/>
                <a:gd name="T19" fmla="*/ 39 h 105"/>
                <a:gd name="T20" fmla="*/ 1 w 174"/>
                <a:gd name="T21" fmla="*/ 48 h 105"/>
                <a:gd name="T22" fmla="*/ 6 w 174"/>
                <a:gd name="T23" fmla="*/ 71 h 105"/>
                <a:gd name="T24" fmla="*/ 11 w 174"/>
                <a:gd name="T25" fmla="*/ 93 h 105"/>
                <a:gd name="T26" fmla="*/ 37 w 174"/>
                <a:gd name="T27" fmla="*/ 90 h 105"/>
                <a:gd name="T28" fmla="*/ 56 w 174"/>
                <a:gd name="T29" fmla="*/ 84 h 105"/>
                <a:gd name="T30" fmla="*/ 72 w 174"/>
                <a:gd name="T31" fmla="*/ 76 h 105"/>
                <a:gd name="T32" fmla="*/ 86 w 174"/>
                <a:gd name="T33" fmla="*/ 74 h 105"/>
                <a:gd name="T34" fmla="*/ 98 w 174"/>
                <a:gd name="T35" fmla="*/ 66 h 105"/>
                <a:gd name="T36" fmla="*/ 128 w 174"/>
                <a:gd name="T37" fmla="*/ 56 h 105"/>
                <a:gd name="T38" fmla="*/ 142 w 174"/>
                <a:gd name="T39" fmla="*/ 41 h 105"/>
                <a:gd name="T40" fmla="*/ 155 w 174"/>
                <a:gd name="T41" fmla="*/ 37 h 105"/>
                <a:gd name="T42" fmla="*/ 137 w 174"/>
                <a:gd name="T43" fmla="*/ 0 h 105"/>
                <a:gd name="T44" fmla="*/ 123 w 174"/>
                <a:gd name="T45" fmla="*/ 4 h 105"/>
                <a:gd name="T46" fmla="*/ 158 w 174"/>
                <a:gd name="T47" fmla="*/ 100 h 105"/>
                <a:gd name="T48" fmla="*/ 173 w 174"/>
                <a:gd name="T49" fmla="*/ 97 h 105"/>
                <a:gd name="T50" fmla="*/ 158 w 174"/>
                <a:gd name="T51" fmla="*/ 100 h 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105">
                  <a:moveTo>
                    <a:pt x="123" y="4"/>
                  </a:moveTo>
                  <a:cubicBezTo>
                    <a:pt x="115" y="6"/>
                    <a:pt x="97" y="4"/>
                    <a:pt x="94" y="6"/>
                  </a:cubicBezTo>
                  <a:cubicBezTo>
                    <a:pt x="92" y="7"/>
                    <a:pt x="74" y="19"/>
                    <a:pt x="72" y="25"/>
                  </a:cubicBezTo>
                  <a:cubicBezTo>
                    <a:pt x="69" y="31"/>
                    <a:pt x="65" y="32"/>
                    <a:pt x="62" y="29"/>
                  </a:cubicBezTo>
                  <a:cubicBezTo>
                    <a:pt x="58" y="26"/>
                    <a:pt x="43" y="27"/>
                    <a:pt x="41" y="25"/>
                  </a:cubicBezTo>
                  <a:cubicBezTo>
                    <a:pt x="40" y="24"/>
                    <a:pt x="29" y="23"/>
                    <a:pt x="23" y="24"/>
                  </a:cubicBezTo>
                  <a:cubicBezTo>
                    <a:pt x="18" y="25"/>
                    <a:pt x="15" y="21"/>
                    <a:pt x="13" y="22"/>
                  </a:cubicBezTo>
                  <a:cubicBezTo>
                    <a:pt x="10" y="23"/>
                    <a:pt x="8" y="26"/>
                    <a:pt x="6" y="28"/>
                  </a:cubicBezTo>
                  <a:cubicBezTo>
                    <a:pt x="5" y="29"/>
                    <a:pt x="8" y="34"/>
                    <a:pt x="7" y="35"/>
                  </a:cubicBezTo>
                  <a:cubicBezTo>
                    <a:pt x="7" y="36"/>
                    <a:pt x="4" y="37"/>
                    <a:pt x="0" y="39"/>
                  </a:cubicBezTo>
                  <a:cubicBezTo>
                    <a:pt x="1" y="42"/>
                    <a:pt x="2" y="46"/>
                    <a:pt x="1" y="48"/>
                  </a:cubicBezTo>
                  <a:cubicBezTo>
                    <a:pt x="0" y="53"/>
                    <a:pt x="1" y="65"/>
                    <a:pt x="6" y="71"/>
                  </a:cubicBezTo>
                  <a:cubicBezTo>
                    <a:pt x="10" y="78"/>
                    <a:pt x="8" y="90"/>
                    <a:pt x="11" y="93"/>
                  </a:cubicBezTo>
                  <a:cubicBezTo>
                    <a:pt x="13" y="95"/>
                    <a:pt x="30" y="95"/>
                    <a:pt x="37" y="90"/>
                  </a:cubicBezTo>
                  <a:cubicBezTo>
                    <a:pt x="45" y="85"/>
                    <a:pt x="50" y="84"/>
                    <a:pt x="56" y="84"/>
                  </a:cubicBezTo>
                  <a:cubicBezTo>
                    <a:pt x="62" y="84"/>
                    <a:pt x="70" y="79"/>
                    <a:pt x="72" y="76"/>
                  </a:cubicBezTo>
                  <a:cubicBezTo>
                    <a:pt x="74" y="73"/>
                    <a:pt x="82" y="73"/>
                    <a:pt x="86" y="74"/>
                  </a:cubicBezTo>
                  <a:cubicBezTo>
                    <a:pt x="90" y="74"/>
                    <a:pt x="93" y="70"/>
                    <a:pt x="98" y="66"/>
                  </a:cubicBezTo>
                  <a:cubicBezTo>
                    <a:pt x="102" y="62"/>
                    <a:pt x="115" y="60"/>
                    <a:pt x="128" y="56"/>
                  </a:cubicBezTo>
                  <a:cubicBezTo>
                    <a:pt x="142" y="52"/>
                    <a:pt x="139" y="45"/>
                    <a:pt x="142" y="41"/>
                  </a:cubicBezTo>
                  <a:cubicBezTo>
                    <a:pt x="145" y="38"/>
                    <a:pt x="149" y="39"/>
                    <a:pt x="155" y="37"/>
                  </a:cubicBezTo>
                  <a:cubicBezTo>
                    <a:pt x="148" y="23"/>
                    <a:pt x="141" y="7"/>
                    <a:pt x="137" y="0"/>
                  </a:cubicBezTo>
                  <a:cubicBezTo>
                    <a:pt x="130" y="2"/>
                    <a:pt x="125" y="3"/>
                    <a:pt x="123" y="4"/>
                  </a:cubicBezTo>
                  <a:close/>
                  <a:moveTo>
                    <a:pt x="158" y="100"/>
                  </a:moveTo>
                  <a:cubicBezTo>
                    <a:pt x="163" y="105"/>
                    <a:pt x="173" y="99"/>
                    <a:pt x="173" y="97"/>
                  </a:cubicBezTo>
                  <a:cubicBezTo>
                    <a:pt x="174" y="95"/>
                    <a:pt x="153" y="95"/>
                    <a:pt x="158" y="10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4" name="Freeform 332"/>
            <p:cNvSpPr/>
            <p:nvPr/>
          </p:nvSpPr>
          <p:spPr>
            <a:xfrm>
              <a:off x="6445251" y="5130800"/>
              <a:ext cx="65088" cy="41275"/>
            </a:xfrm>
            <a:custGeom>
              <a:gdLst>
                <a:gd name="T0" fmla="*/ 18 w 39"/>
                <a:gd name="T1" fmla="*/ 4 h 24"/>
                <a:gd name="T2" fmla="*/ 13 w 39"/>
                <a:gd name="T3" fmla="*/ 21 h 24"/>
                <a:gd name="T4" fmla="*/ 25 w 39"/>
                <a:gd name="T5" fmla="*/ 21 h 24"/>
                <a:gd name="T6" fmla="*/ 38 w 39"/>
                <a:gd name="T7" fmla="*/ 15 h 24"/>
                <a:gd name="T8" fmla="*/ 18 w 39"/>
                <a:gd name="T9" fmla="*/ 4 h 24"/>
              </a:gdLst>
              <a:cxnLst>
                <a:cxn ang="0">
                  <a:pos x="T0" y="T1"/>
                </a:cxn>
                <a:cxn ang="0">
                  <a:pos x="T2" y="T3"/>
                </a:cxn>
                <a:cxn ang="0">
                  <a:pos x="T4" y="T5"/>
                </a:cxn>
                <a:cxn ang="0">
                  <a:pos x="T6" y="T7"/>
                </a:cxn>
                <a:cxn ang="0">
                  <a:pos x="T8" y="T9"/>
                </a:cxn>
              </a:cxnLst>
              <a:rect l="0" t="0" r="r" b="b"/>
              <a:pathLst>
                <a:path w="39" h="24">
                  <a:moveTo>
                    <a:pt x="18" y="4"/>
                  </a:moveTo>
                  <a:cubicBezTo>
                    <a:pt x="16" y="0"/>
                    <a:pt x="0" y="15"/>
                    <a:pt x="13" y="21"/>
                  </a:cubicBezTo>
                  <a:cubicBezTo>
                    <a:pt x="19" y="23"/>
                    <a:pt x="21" y="17"/>
                    <a:pt x="25" y="21"/>
                  </a:cubicBezTo>
                  <a:cubicBezTo>
                    <a:pt x="29" y="24"/>
                    <a:pt x="36" y="22"/>
                    <a:pt x="38" y="15"/>
                  </a:cubicBezTo>
                  <a:cubicBezTo>
                    <a:pt x="39" y="7"/>
                    <a:pt x="20" y="9"/>
                    <a:pt x="18"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5" name="Freeform 333"/>
            <p:cNvSpPr>
              <a:spLocks noEditPoints="1"/>
            </p:cNvSpPr>
            <p:nvPr/>
          </p:nvSpPr>
          <p:spPr>
            <a:xfrm>
              <a:off x="8577263" y="3948113"/>
              <a:ext cx="200025" cy="144463"/>
            </a:xfrm>
            <a:custGeom>
              <a:gdLst>
                <a:gd name="T0" fmla="*/ 1 w 118"/>
                <a:gd name="T1" fmla="*/ 4 h 85"/>
                <a:gd name="T2" fmla="*/ 19 w 118"/>
                <a:gd name="T3" fmla="*/ 25 h 85"/>
                <a:gd name="T4" fmla="*/ 1 w 118"/>
                <a:gd name="T5" fmla="*/ 4 h 85"/>
                <a:gd name="T6" fmla="*/ 28 w 118"/>
                <a:gd name="T7" fmla="*/ 22 h 85"/>
                <a:gd name="T8" fmla="*/ 40 w 118"/>
                <a:gd name="T9" fmla="*/ 32 h 85"/>
                <a:gd name="T10" fmla="*/ 28 w 118"/>
                <a:gd name="T11" fmla="*/ 22 h 85"/>
                <a:gd name="T12" fmla="*/ 76 w 118"/>
                <a:gd name="T13" fmla="*/ 48 h 85"/>
                <a:gd name="T14" fmla="*/ 56 w 118"/>
                <a:gd name="T15" fmla="*/ 37 h 85"/>
                <a:gd name="T16" fmla="*/ 76 w 118"/>
                <a:gd name="T17" fmla="*/ 48 h 85"/>
                <a:gd name="T18" fmla="*/ 74 w 118"/>
                <a:gd name="T19" fmla="*/ 62 h 85"/>
                <a:gd name="T20" fmla="*/ 89 w 118"/>
                <a:gd name="T21" fmla="*/ 70 h 85"/>
                <a:gd name="T22" fmla="*/ 74 w 118"/>
                <a:gd name="T23" fmla="*/ 62 h 85"/>
                <a:gd name="T24" fmla="*/ 100 w 118"/>
                <a:gd name="T25" fmla="*/ 76 h 85"/>
                <a:gd name="T26" fmla="*/ 114 w 118"/>
                <a:gd name="T27" fmla="*/ 82 h 85"/>
                <a:gd name="T28" fmla="*/ 100 w 118"/>
                <a:gd name="T29" fmla="*/ 76 h 85"/>
                <a:gd name="T30" fmla="*/ 89 w 118"/>
                <a:gd name="T31" fmla="*/ 47 h 85"/>
                <a:gd name="T32" fmla="*/ 101 w 118"/>
                <a:gd name="T33" fmla="*/ 67 h 85"/>
                <a:gd name="T34" fmla="*/ 89 w 118"/>
                <a:gd name="T35" fmla="*/ 47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85">
                  <a:moveTo>
                    <a:pt x="1" y="4"/>
                  </a:moveTo>
                  <a:cubicBezTo>
                    <a:pt x="0" y="8"/>
                    <a:pt x="13" y="28"/>
                    <a:pt x="19" y="25"/>
                  </a:cubicBezTo>
                  <a:cubicBezTo>
                    <a:pt x="28" y="19"/>
                    <a:pt x="1" y="0"/>
                    <a:pt x="1" y="4"/>
                  </a:cubicBezTo>
                  <a:close/>
                  <a:moveTo>
                    <a:pt x="28" y="22"/>
                  </a:moveTo>
                  <a:cubicBezTo>
                    <a:pt x="28" y="24"/>
                    <a:pt x="38" y="34"/>
                    <a:pt x="40" y="32"/>
                  </a:cubicBezTo>
                  <a:cubicBezTo>
                    <a:pt x="43" y="30"/>
                    <a:pt x="29" y="19"/>
                    <a:pt x="28" y="22"/>
                  </a:cubicBezTo>
                  <a:close/>
                  <a:moveTo>
                    <a:pt x="76" y="48"/>
                  </a:moveTo>
                  <a:cubicBezTo>
                    <a:pt x="80" y="46"/>
                    <a:pt x="56" y="33"/>
                    <a:pt x="56" y="37"/>
                  </a:cubicBezTo>
                  <a:cubicBezTo>
                    <a:pt x="56" y="41"/>
                    <a:pt x="73" y="50"/>
                    <a:pt x="76" y="48"/>
                  </a:cubicBezTo>
                  <a:close/>
                  <a:moveTo>
                    <a:pt x="74" y="62"/>
                  </a:moveTo>
                  <a:cubicBezTo>
                    <a:pt x="75" y="68"/>
                    <a:pt x="85" y="72"/>
                    <a:pt x="89" y="70"/>
                  </a:cubicBezTo>
                  <a:cubicBezTo>
                    <a:pt x="93" y="68"/>
                    <a:pt x="73" y="55"/>
                    <a:pt x="74" y="62"/>
                  </a:cubicBezTo>
                  <a:close/>
                  <a:moveTo>
                    <a:pt x="100" y="76"/>
                  </a:moveTo>
                  <a:cubicBezTo>
                    <a:pt x="101" y="78"/>
                    <a:pt x="109" y="85"/>
                    <a:pt x="114" y="82"/>
                  </a:cubicBezTo>
                  <a:cubicBezTo>
                    <a:pt x="118" y="80"/>
                    <a:pt x="99" y="73"/>
                    <a:pt x="100" y="76"/>
                  </a:cubicBezTo>
                  <a:close/>
                  <a:moveTo>
                    <a:pt x="89" y="47"/>
                  </a:moveTo>
                  <a:cubicBezTo>
                    <a:pt x="86" y="54"/>
                    <a:pt x="99" y="67"/>
                    <a:pt x="101" y="67"/>
                  </a:cubicBezTo>
                  <a:cubicBezTo>
                    <a:pt x="103" y="67"/>
                    <a:pt x="92" y="42"/>
                    <a:pt x="89" y="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6" name="Freeform 334"/>
            <p:cNvSpPr>
              <a:spLocks noEditPoints="1"/>
            </p:cNvSpPr>
            <p:nvPr/>
          </p:nvSpPr>
          <p:spPr>
            <a:xfrm>
              <a:off x="8577263" y="3952875"/>
              <a:ext cx="195263" cy="138113"/>
            </a:xfrm>
            <a:custGeom>
              <a:gdLst>
                <a:gd name="T0" fmla="*/ 111 w 115"/>
                <a:gd name="T1" fmla="*/ 81 h 81"/>
                <a:gd name="T2" fmla="*/ 100 w 115"/>
                <a:gd name="T3" fmla="*/ 72 h 81"/>
                <a:gd name="T4" fmla="*/ 115 w 115"/>
                <a:gd name="T5" fmla="*/ 78 h 81"/>
                <a:gd name="T6" fmla="*/ 111 w 115"/>
                <a:gd name="T7" fmla="*/ 81 h 81"/>
                <a:gd name="T8" fmla="*/ 111 w 115"/>
                <a:gd name="T9" fmla="*/ 80 h 81"/>
                <a:gd name="T10" fmla="*/ 113 w 115"/>
                <a:gd name="T11" fmla="*/ 79 h 81"/>
                <a:gd name="T12" fmla="*/ 101 w 115"/>
                <a:gd name="T13" fmla="*/ 73 h 81"/>
                <a:gd name="T14" fmla="*/ 86 w 115"/>
                <a:gd name="T15" fmla="*/ 68 h 81"/>
                <a:gd name="T16" fmla="*/ 73 w 115"/>
                <a:gd name="T17" fmla="*/ 59 h 81"/>
                <a:gd name="T18" fmla="*/ 75 w 115"/>
                <a:gd name="T19" fmla="*/ 56 h 81"/>
                <a:gd name="T20" fmla="*/ 89 w 115"/>
                <a:gd name="T21" fmla="*/ 67 h 81"/>
                <a:gd name="T22" fmla="*/ 75 w 115"/>
                <a:gd name="T23" fmla="*/ 57 h 81"/>
                <a:gd name="T24" fmla="*/ 74 w 115"/>
                <a:gd name="T25" fmla="*/ 59 h 81"/>
                <a:gd name="T26" fmla="*/ 86 w 115"/>
                <a:gd name="T27" fmla="*/ 67 h 81"/>
                <a:gd name="T28" fmla="*/ 89 w 115"/>
                <a:gd name="T29" fmla="*/ 66 h 81"/>
                <a:gd name="T30" fmla="*/ 101 w 115"/>
                <a:gd name="T31" fmla="*/ 64 h 81"/>
                <a:gd name="T32" fmla="*/ 101 w 115"/>
                <a:gd name="T33" fmla="*/ 64 h 81"/>
                <a:gd name="T34" fmla="*/ 101 w 115"/>
                <a:gd name="T35" fmla="*/ 63 h 81"/>
                <a:gd name="T36" fmla="*/ 100 w 115"/>
                <a:gd name="T37" fmla="*/ 64 h 81"/>
                <a:gd name="T38" fmla="*/ 90 w 115"/>
                <a:gd name="T39" fmla="*/ 44 h 81"/>
                <a:gd name="T40" fmla="*/ 92 w 115"/>
                <a:gd name="T41" fmla="*/ 44 h 81"/>
                <a:gd name="T42" fmla="*/ 101 w 115"/>
                <a:gd name="T43" fmla="*/ 64 h 81"/>
                <a:gd name="T44" fmla="*/ 75 w 115"/>
                <a:gd name="T45" fmla="*/ 46 h 81"/>
                <a:gd name="T46" fmla="*/ 56 w 115"/>
                <a:gd name="T47" fmla="*/ 34 h 81"/>
                <a:gd name="T48" fmla="*/ 77 w 115"/>
                <a:gd name="T49" fmla="*/ 44 h 81"/>
                <a:gd name="T50" fmla="*/ 75 w 115"/>
                <a:gd name="T51" fmla="*/ 46 h 81"/>
                <a:gd name="T52" fmla="*/ 57 w 115"/>
                <a:gd name="T53" fmla="*/ 34 h 81"/>
                <a:gd name="T54" fmla="*/ 75 w 115"/>
                <a:gd name="T55" fmla="*/ 45 h 81"/>
                <a:gd name="T56" fmla="*/ 76 w 115"/>
                <a:gd name="T57" fmla="*/ 44 h 81"/>
                <a:gd name="T58" fmla="*/ 40 w 115"/>
                <a:gd name="T59" fmla="*/ 30 h 81"/>
                <a:gd name="T60" fmla="*/ 29 w 115"/>
                <a:gd name="T61" fmla="*/ 22 h 81"/>
                <a:gd name="T62" fmla="*/ 29 w 115"/>
                <a:gd name="T63" fmla="*/ 18 h 81"/>
                <a:gd name="T64" fmla="*/ 41 w 115"/>
                <a:gd name="T65" fmla="*/ 29 h 81"/>
                <a:gd name="T66" fmla="*/ 29 w 115"/>
                <a:gd name="T67" fmla="*/ 19 h 81"/>
                <a:gd name="T68" fmla="*/ 32 w 115"/>
                <a:gd name="T69" fmla="*/ 23 h 81"/>
                <a:gd name="T70" fmla="*/ 40 w 115"/>
                <a:gd name="T71" fmla="*/ 29 h 81"/>
                <a:gd name="T72" fmla="*/ 40 w 115"/>
                <a:gd name="T73" fmla="*/ 28 h 81"/>
                <a:gd name="T74" fmla="*/ 17 w 115"/>
                <a:gd name="T75" fmla="*/ 23 h 81"/>
                <a:gd name="T76" fmla="*/ 8 w 115"/>
                <a:gd name="T77" fmla="*/ 15 h 81"/>
                <a:gd name="T78" fmla="*/ 1 w 115"/>
                <a:gd name="T79" fmla="*/ 0 h 81"/>
                <a:gd name="T80" fmla="*/ 19 w 115"/>
                <a:gd name="T81" fmla="*/ 23 h 81"/>
                <a:gd name="T82" fmla="*/ 1 w 115"/>
                <a:gd name="T83" fmla="*/ 1 h 81"/>
                <a:gd name="T84" fmla="*/ 8 w 115"/>
                <a:gd name="T85" fmla="*/ 15 h 81"/>
                <a:gd name="T86" fmla="*/ 17 w 115"/>
                <a:gd name="T87" fmla="*/ 22 h 81"/>
                <a:gd name="T88" fmla="*/ 20 w 115"/>
                <a:gd name="T89" fmla="*/ 17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81">
                  <a:moveTo>
                    <a:pt x="111" y="81"/>
                  </a:moveTo>
                  <a:cubicBezTo>
                    <a:pt x="111" y="81"/>
                    <a:pt x="111" y="81"/>
                    <a:pt x="111" y="81"/>
                  </a:cubicBezTo>
                  <a:cubicBezTo>
                    <a:pt x="107" y="81"/>
                    <a:pt x="100" y="75"/>
                    <a:pt x="100" y="73"/>
                  </a:cubicBezTo>
                  <a:cubicBezTo>
                    <a:pt x="100" y="72"/>
                    <a:pt x="100" y="72"/>
                    <a:pt x="100" y="72"/>
                  </a:cubicBezTo>
                  <a:cubicBezTo>
                    <a:pt x="101" y="72"/>
                    <a:pt x="101" y="72"/>
                    <a:pt x="101" y="72"/>
                  </a:cubicBezTo>
                  <a:cubicBezTo>
                    <a:pt x="105" y="72"/>
                    <a:pt x="114" y="75"/>
                    <a:pt x="115" y="78"/>
                  </a:cubicBezTo>
                  <a:cubicBezTo>
                    <a:pt x="115" y="78"/>
                    <a:pt x="115" y="79"/>
                    <a:pt x="114" y="80"/>
                  </a:cubicBezTo>
                  <a:cubicBezTo>
                    <a:pt x="113" y="80"/>
                    <a:pt x="112" y="81"/>
                    <a:pt x="111" y="81"/>
                  </a:cubicBezTo>
                  <a:close/>
                  <a:moveTo>
                    <a:pt x="101" y="73"/>
                  </a:moveTo>
                  <a:cubicBezTo>
                    <a:pt x="102" y="74"/>
                    <a:pt x="107" y="80"/>
                    <a:pt x="111" y="80"/>
                  </a:cubicBezTo>
                  <a:cubicBezTo>
                    <a:pt x="111" y="80"/>
                    <a:pt x="111" y="80"/>
                    <a:pt x="111" y="80"/>
                  </a:cubicBezTo>
                  <a:cubicBezTo>
                    <a:pt x="112" y="80"/>
                    <a:pt x="113" y="79"/>
                    <a:pt x="113" y="79"/>
                  </a:cubicBezTo>
                  <a:cubicBezTo>
                    <a:pt x="114" y="79"/>
                    <a:pt x="114" y="78"/>
                    <a:pt x="114" y="78"/>
                  </a:cubicBezTo>
                  <a:cubicBezTo>
                    <a:pt x="113" y="76"/>
                    <a:pt x="104" y="73"/>
                    <a:pt x="101" y="73"/>
                  </a:cubicBezTo>
                  <a:cubicBezTo>
                    <a:pt x="101" y="73"/>
                    <a:pt x="101" y="73"/>
                    <a:pt x="101" y="73"/>
                  </a:cubicBezTo>
                  <a:close/>
                  <a:moveTo>
                    <a:pt x="86" y="68"/>
                  </a:moveTo>
                  <a:cubicBezTo>
                    <a:pt x="86" y="68"/>
                    <a:pt x="86" y="68"/>
                    <a:pt x="86" y="68"/>
                  </a:cubicBezTo>
                  <a:cubicBezTo>
                    <a:pt x="81" y="68"/>
                    <a:pt x="75" y="65"/>
                    <a:pt x="73" y="59"/>
                  </a:cubicBezTo>
                  <a:cubicBezTo>
                    <a:pt x="73" y="58"/>
                    <a:pt x="73" y="57"/>
                    <a:pt x="74" y="57"/>
                  </a:cubicBezTo>
                  <a:cubicBezTo>
                    <a:pt x="75" y="56"/>
                    <a:pt x="75" y="56"/>
                    <a:pt x="75" y="56"/>
                  </a:cubicBezTo>
                  <a:cubicBezTo>
                    <a:pt x="79" y="56"/>
                    <a:pt x="89" y="62"/>
                    <a:pt x="90" y="66"/>
                  </a:cubicBezTo>
                  <a:cubicBezTo>
                    <a:pt x="90" y="66"/>
                    <a:pt x="90" y="67"/>
                    <a:pt x="89" y="67"/>
                  </a:cubicBezTo>
                  <a:cubicBezTo>
                    <a:pt x="88" y="68"/>
                    <a:pt x="87" y="68"/>
                    <a:pt x="86" y="68"/>
                  </a:cubicBezTo>
                  <a:close/>
                  <a:moveTo>
                    <a:pt x="75" y="57"/>
                  </a:moveTo>
                  <a:cubicBezTo>
                    <a:pt x="75" y="57"/>
                    <a:pt x="75" y="57"/>
                    <a:pt x="74" y="58"/>
                  </a:cubicBezTo>
                  <a:cubicBezTo>
                    <a:pt x="74" y="58"/>
                    <a:pt x="74" y="58"/>
                    <a:pt x="74" y="59"/>
                  </a:cubicBezTo>
                  <a:cubicBezTo>
                    <a:pt x="75" y="64"/>
                    <a:pt x="82" y="67"/>
                    <a:pt x="86" y="67"/>
                  </a:cubicBezTo>
                  <a:cubicBezTo>
                    <a:pt x="86" y="67"/>
                    <a:pt x="86" y="67"/>
                    <a:pt x="86" y="67"/>
                  </a:cubicBezTo>
                  <a:cubicBezTo>
                    <a:pt x="87" y="67"/>
                    <a:pt x="88" y="67"/>
                    <a:pt x="88" y="66"/>
                  </a:cubicBezTo>
                  <a:cubicBezTo>
                    <a:pt x="89" y="66"/>
                    <a:pt x="89" y="66"/>
                    <a:pt x="89" y="66"/>
                  </a:cubicBezTo>
                  <a:cubicBezTo>
                    <a:pt x="88" y="63"/>
                    <a:pt x="79" y="57"/>
                    <a:pt x="75" y="57"/>
                  </a:cubicBezTo>
                  <a:close/>
                  <a:moveTo>
                    <a:pt x="101" y="64"/>
                  </a:moveTo>
                  <a:cubicBezTo>
                    <a:pt x="101" y="64"/>
                    <a:pt x="101" y="64"/>
                    <a:pt x="101" y="64"/>
                  </a:cubicBezTo>
                  <a:cubicBezTo>
                    <a:pt x="101" y="64"/>
                    <a:pt x="101" y="64"/>
                    <a:pt x="101" y="64"/>
                  </a:cubicBezTo>
                  <a:cubicBezTo>
                    <a:pt x="101" y="64"/>
                    <a:pt x="101" y="64"/>
                    <a:pt x="101" y="64"/>
                  </a:cubicBezTo>
                  <a:cubicBezTo>
                    <a:pt x="101" y="63"/>
                    <a:pt x="101" y="63"/>
                    <a:pt x="101" y="63"/>
                  </a:cubicBezTo>
                  <a:cubicBezTo>
                    <a:pt x="101" y="63"/>
                    <a:pt x="100" y="63"/>
                    <a:pt x="100" y="64"/>
                  </a:cubicBezTo>
                  <a:cubicBezTo>
                    <a:pt x="100" y="64"/>
                    <a:pt x="100" y="64"/>
                    <a:pt x="100" y="64"/>
                  </a:cubicBezTo>
                  <a:cubicBezTo>
                    <a:pt x="100" y="61"/>
                    <a:pt x="95" y="48"/>
                    <a:pt x="91" y="45"/>
                  </a:cubicBezTo>
                  <a:cubicBezTo>
                    <a:pt x="91" y="44"/>
                    <a:pt x="90" y="44"/>
                    <a:pt x="90" y="44"/>
                  </a:cubicBezTo>
                  <a:cubicBezTo>
                    <a:pt x="90" y="43"/>
                    <a:pt x="90" y="43"/>
                    <a:pt x="90" y="43"/>
                  </a:cubicBezTo>
                  <a:cubicBezTo>
                    <a:pt x="91" y="43"/>
                    <a:pt x="91" y="43"/>
                    <a:pt x="92" y="44"/>
                  </a:cubicBezTo>
                  <a:cubicBezTo>
                    <a:pt x="96" y="48"/>
                    <a:pt x="101" y="61"/>
                    <a:pt x="101" y="64"/>
                  </a:cubicBezTo>
                  <a:cubicBezTo>
                    <a:pt x="101" y="64"/>
                    <a:pt x="101" y="64"/>
                    <a:pt x="101" y="64"/>
                  </a:cubicBezTo>
                  <a:cubicBezTo>
                    <a:pt x="101" y="64"/>
                    <a:pt x="101" y="64"/>
                    <a:pt x="101" y="64"/>
                  </a:cubicBezTo>
                  <a:close/>
                  <a:moveTo>
                    <a:pt x="75" y="46"/>
                  </a:moveTo>
                  <a:cubicBezTo>
                    <a:pt x="70" y="46"/>
                    <a:pt x="60" y="40"/>
                    <a:pt x="57" y="37"/>
                  </a:cubicBezTo>
                  <a:cubicBezTo>
                    <a:pt x="56" y="36"/>
                    <a:pt x="56" y="35"/>
                    <a:pt x="56" y="34"/>
                  </a:cubicBezTo>
                  <a:cubicBezTo>
                    <a:pt x="56" y="33"/>
                    <a:pt x="56" y="33"/>
                    <a:pt x="57" y="33"/>
                  </a:cubicBezTo>
                  <a:cubicBezTo>
                    <a:pt x="62" y="33"/>
                    <a:pt x="76" y="40"/>
                    <a:pt x="77" y="44"/>
                  </a:cubicBezTo>
                  <a:cubicBezTo>
                    <a:pt x="77" y="45"/>
                    <a:pt x="77" y="45"/>
                    <a:pt x="77" y="45"/>
                  </a:cubicBezTo>
                  <a:cubicBezTo>
                    <a:pt x="76" y="46"/>
                    <a:pt x="76" y="46"/>
                    <a:pt x="75" y="46"/>
                  </a:cubicBezTo>
                  <a:close/>
                  <a:moveTo>
                    <a:pt x="57" y="34"/>
                  </a:moveTo>
                  <a:cubicBezTo>
                    <a:pt x="57" y="34"/>
                    <a:pt x="57" y="34"/>
                    <a:pt x="57" y="34"/>
                  </a:cubicBezTo>
                  <a:cubicBezTo>
                    <a:pt x="57" y="34"/>
                    <a:pt x="57" y="35"/>
                    <a:pt x="58" y="36"/>
                  </a:cubicBezTo>
                  <a:cubicBezTo>
                    <a:pt x="61" y="40"/>
                    <a:pt x="71" y="45"/>
                    <a:pt x="75" y="45"/>
                  </a:cubicBezTo>
                  <a:cubicBezTo>
                    <a:pt x="75" y="45"/>
                    <a:pt x="76" y="45"/>
                    <a:pt x="76" y="44"/>
                  </a:cubicBezTo>
                  <a:cubicBezTo>
                    <a:pt x="76" y="44"/>
                    <a:pt x="76" y="44"/>
                    <a:pt x="76" y="44"/>
                  </a:cubicBezTo>
                  <a:cubicBezTo>
                    <a:pt x="75" y="41"/>
                    <a:pt x="62" y="34"/>
                    <a:pt x="57" y="34"/>
                  </a:cubicBezTo>
                  <a:close/>
                  <a:moveTo>
                    <a:pt x="40" y="30"/>
                  </a:moveTo>
                  <a:cubicBezTo>
                    <a:pt x="40" y="30"/>
                    <a:pt x="40" y="30"/>
                    <a:pt x="40" y="30"/>
                  </a:cubicBezTo>
                  <a:cubicBezTo>
                    <a:pt x="37" y="30"/>
                    <a:pt x="31" y="24"/>
                    <a:pt x="29" y="22"/>
                  </a:cubicBezTo>
                  <a:cubicBezTo>
                    <a:pt x="28" y="20"/>
                    <a:pt x="28" y="19"/>
                    <a:pt x="28" y="19"/>
                  </a:cubicBezTo>
                  <a:cubicBezTo>
                    <a:pt x="28" y="18"/>
                    <a:pt x="28" y="18"/>
                    <a:pt x="29" y="18"/>
                  </a:cubicBezTo>
                  <a:cubicBezTo>
                    <a:pt x="31" y="18"/>
                    <a:pt x="40" y="25"/>
                    <a:pt x="41" y="28"/>
                  </a:cubicBezTo>
                  <a:cubicBezTo>
                    <a:pt x="41" y="29"/>
                    <a:pt x="41" y="29"/>
                    <a:pt x="41" y="29"/>
                  </a:cubicBezTo>
                  <a:cubicBezTo>
                    <a:pt x="40" y="30"/>
                    <a:pt x="40" y="30"/>
                    <a:pt x="40" y="30"/>
                  </a:cubicBezTo>
                  <a:close/>
                  <a:moveTo>
                    <a:pt x="29" y="19"/>
                  </a:moveTo>
                  <a:cubicBezTo>
                    <a:pt x="29" y="19"/>
                    <a:pt x="29" y="19"/>
                    <a:pt x="29" y="19"/>
                  </a:cubicBezTo>
                  <a:cubicBezTo>
                    <a:pt x="29" y="19"/>
                    <a:pt x="29" y="21"/>
                    <a:pt x="32" y="23"/>
                  </a:cubicBezTo>
                  <a:cubicBezTo>
                    <a:pt x="35" y="26"/>
                    <a:pt x="38" y="29"/>
                    <a:pt x="40" y="29"/>
                  </a:cubicBezTo>
                  <a:cubicBezTo>
                    <a:pt x="40" y="29"/>
                    <a:pt x="40" y="29"/>
                    <a:pt x="40" y="29"/>
                  </a:cubicBezTo>
                  <a:cubicBezTo>
                    <a:pt x="40" y="29"/>
                    <a:pt x="40" y="29"/>
                    <a:pt x="40" y="29"/>
                  </a:cubicBezTo>
                  <a:cubicBezTo>
                    <a:pt x="40" y="28"/>
                    <a:pt x="40" y="28"/>
                    <a:pt x="40" y="28"/>
                  </a:cubicBezTo>
                  <a:cubicBezTo>
                    <a:pt x="39" y="26"/>
                    <a:pt x="31" y="19"/>
                    <a:pt x="29" y="19"/>
                  </a:cubicBezTo>
                  <a:close/>
                  <a:moveTo>
                    <a:pt x="17" y="23"/>
                  </a:moveTo>
                  <a:cubicBezTo>
                    <a:pt x="17" y="23"/>
                    <a:pt x="17" y="23"/>
                    <a:pt x="17" y="23"/>
                  </a:cubicBezTo>
                  <a:cubicBezTo>
                    <a:pt x="14" y="23"/>
                    <a:pt x="10" y="18"/>
                    <a:pt x="8" y="15"/>
                  </a:cubicBezTo>
                  <a:cubicBezTo>
                    <a:pt x="4" y="10"/>
                    <a:pt x="0" y="3"/>
                    <a:pt x="0" y="1"/>
                  </a:cubicBezTo>
                  <a:cubicBezTo>
                    <a:pt x="0" y="1"/>
                    <a:pt x="0" y="0"/>
                    <a:pt x="1" y="0"/>
                  </a:cubicBezTo>
                  <a:cubicBezTo>
                    <a:pt x="5" y="0"/>
                    <a:pt x="19" y="10"/>
                    <a:pt x="21" y="17"/>
                  </a:cubicBezTo>
                  <a:cubicBezTo>
                    <a:pt x="22" y="19"/>
                    <a:pt x="21" y="21"/>
                    <a:pt x="19" y="23"/>
                  </a:cubicBezTo>
                  <a:cubicBezTo>
                    <a:pt x="18" y="23"/>
                    <a:pt x="18" y="23"/>
                    <a:pt x="17" y="23"/>
                  </a:cubicBezTo>
                  <a:close/>
                  <a:moveTo>
                    <a:pt x="1" y="1"/>
                  </a:moveTo>
                  <a:cubicBezTo>
                    <a:pt x="1" y="1"/>
                    <a:pt x="1" y="1"/>
                    <a:pt x="1" y="1"/>
                  </a:cubicBezTo>
                  <a:cubicBezTo>
                    <a:pt x="1" y="3"/>
                    <a:pt x="4" y="9"/>
                    <a:pt x="8" y="15"/>
                  </a:cubicBezTo>
                  <a:cubicBezTo>
                    <a:pt x="12" y="19"/>
                    <a:pt x="15" y="22"/>
                    <a:pt x="17" y="22"/>
                  </a:cubicBezTo>
                  <a:cubicBezTo>
                    <a:pt x="17" y="22"/>
                    <a:pt x="17" y="22"/>
                    <a:pt x="17" y="22"/>
                  </a:cubicBezTo>
                  <a:cubicBezTo>
                    <a:pt x="18" y="22"/>
                    <a:pt x="18" y="22"/>
                    <a:pt x="18" y="22"/>
                  </a:cubicBezTo>
                  <a:cubicBezTo>
                    <a:pt x="20" y="21"/>
                    <a:pt x="20" y="19"/>
                    <a:pt x="20" y="17"/>
                  </a:cubicBezTo>
                  <a:cubicBezTo>
                    <a:pt x="18" y="11"/>
                    <a:pt x="5" y="1"/>
                    <a:pt x="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7" name="Freeform 335"/>
            <p:cNvSpPr>
              <a:spLocks noEditPoints="1"/>
            </p:cNvSpPr>
            <p:nvPr/>
          </p:nvSpPr>
          <p:spPr>
            <a:xfrm>
              <a:off x="8577263" y="3948113"/>
              <a:ext cx="200025" cy="144463"/>
            </a:xfrm>
            <a:custGeom>
              <a:gdLst>
                <a:gd name="T0" fmla="*/ 1 w 118"/>
                <a:gd name="T1" fmla="*/ 4 h 85"/>
                <a:gd name="T2" fmla="*/ 19 w 118"/>
                <a:gd name="T3" fmla="*/ 25 h 85"/>
                <a:gd name="T4" fmla="*/ 1 w 118"/>
                <a:gd name="T5" fmla="*/ 4 h 85"/>
                <a:gd name="T6" fmla="*/ 28 w 118"/>
                <a:gd name="T7" fmla="*/ 22 h 85"/>
                <a:gd name="T8" fmla="*/ 40 w 118"/>
                <a:gd name="T9" fmla="*/ 32 h 85"/>
                <a:gd name="T10" fmla="*/ 28 w 118"/>
                <a:gd name="T11" fmla="*/ 22 h 85"/>
                <a:gd name="T12" fmla="*/ 76 w 118"/>
                <a:gd name="T13" fmla="*/ 48 h 85"/>
                <a:gd name="T14" fmla="*/ 56 w 118"/>
                <a:gd name="T15" fmla="*/ 37 h 85"/>
                <a:gd name="T16" fmla="*/ 76 w 118"/>
                <a:gd name="T17" fmla="*/ 48 h 85"/>
                <a:gd name="T18" fmla="*/ 74 w 118"/>
                <a:gd name="T19" fmla="*/ 62 h 85"/>
                <a:gd name="T20" fmla="*/ 89 w 118"/>
                <a:gd name="T21" fmla="*/ 70 h 85"/>
                <a:gd name="T22" fmla="*/ 74 w 118"/>
                <a:gd name="T23" fmla="*/ 62 h 85"/>
                <a:gd name="T24" fmla="*/ 100 w 118"/>
                <a:gd name="T25" fmla="*/ 76 h 85"/>
                <a:gd name="T26" fmla="*/ 114 w 118"/>
                <a:gd name="T27" fmla="*/ 82 h 85"/>
                <a:gd name="T28" fmla="*/ 100 w 118"/>
                <a:gd name="T29" fmla="*/ 76 h 85"/>
                <a:gd name="T30" fmla="*/ 89 w 118"/>
                <a:gd name="T31" fmla="*/ 47 h 85"/>
                <a:gd name="T32" fmla="*/ 101 w 118"/>
                <a:gd name="T33" fmla="*/ 67 h 85"/>
                <a:gd name="T34" fmla="*/ 89 w 118"/>
                <a:gd name="T35" fmla="*/ 47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85">
                  <a:moveTo>
                    <a:pt x="1" y="4"/>
                  </a:moveTo>
                  <a:cubicBezTo>
                    <a:pt x="0" y="8"/>
                    <a:pt x="13" y="28"/>
                    <a:pt x="19" y="25"/>
                  </a:cubicBezTo>
                  <a:cubicBezTo>
                    <a:pt x="28" y="19"/>
                    <a:pt x="1" y="0"/>
                    <a:pt x="1" y="4"/>
                  </a:cubicBezTo>
                  <a:close/>
                  <a:moveTo>
                    <a:pt x="28" y="22"/>
                  </a:moveTo>
                  <a:cubicBezTo>
                    <a:pt x="28" y="24"/>
                    <a:pt x="38" y="34"/>
                    <a:pt x="40" y="32"/>
                  </a:cubicBezTo>
                  <a:cubicBezTo>
                    <a:pt x="43" y="30"/>
                    <a:pt x="29" y="19"/>
                    <a:pt x="28" y="22"/>
                  </a:cubicBezTo>
                  <a:close/>
                  <a:moveTo>
                    <a:pt x="76" y="48"/>
                  </a:moveTo>
                  <a:cubicBezTo>
                    <a:pt x="80" y="46"/>
                    <a:pt x="56" y="33"/>
                    <a:pt x="56" y="37"/>
                  </a:cubicBezTo>
                  <a:cubicBezTo>
                    <a:pt x="56" y="41"/>
                    <a:pt x="73" y="50"/>
                    <a:pt x="76" y="48"/>
                  </a:cubicBezTo>
                  <a:close/>
                  <a:moveTo>
                    <a:pt x="74" y="62"/>
                  </a:moveTo>
                  <a:cubicBezTo>
                    <a:pt x="75" y="68"/>
                    <a:pt x="85" y="72"/>
                    <a:pt x="89" y="70"/>
                  </a:cubicBezTo>
                  <a:cubicBezTo>
                    <a:pt x="93" y="68"/>
                    <a:pt x="73" y="55"/>
                    <a:pt x="74" y="62"/>
                  </a:cubicBezTo>
                  <a:close/>
                  <a:moveTo>
                    <a:pt x="100" y="76"/>
                  </a:moveTo>
                  <a:cubicBezTo>
                    <a:pt x="101" y="78"/>
                    <a:pt x="109" y="85"/>
                    <a:pt x="114" y="82"/>
                  </a:cubicBezTo>
                  <a:cubicBezTo>
                    <a:pt x="118" y="80"/>
                    <a:pt x="99" y="73"/>
                    <a:pt x="100" y="76"/>
                  </a:cubicBezTo>
                  <a:close/>
                  <a:moveTo>
                    <a:pt x="89" y="47"/>
                  </a:moveTo>
                  <a:cubicBezTo>
                    <a:pt x="86" y="54"/>
                    <a:pt x="99" y="67"/>
                    <a:pt x="101" y="67"/>
                  </a:cubicBezTo>
                  <a:cubicBezTo>
                    <a:pt x="103" y="67"/>
                    <a:pt x="92" y="42"/>
                    <a:pt x="89" y="47"/>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8" name="Freeform 336"/>
            <p:cNvSpPr>
              <a:spLocks noEditPoints="1"/>
            </p:cNvSpPr>
            <p:nvPr/>
          </p:nvSpPr>
          <p:spPr>
            <a:xfrm>
              <a:off x="8577263" y="3952875"/>
              <a:ext cx="195263" cy="138113"/>
            </a:xfrm>
            <a:custGeom>
              <a:gdLst>
                <a:gd name="T0" fmla="*/ 111 w 115"/>
                <a:gd name="T1" fmla="*/ 81 h 81"/>
                <a:gd name="T2" fmla="*/ 100 w 115"/>
                <a:gd name="T3" fmla="*/ 72 h 81"/>
                <a:gd name="T4" fmla="*/ 115 w 115"/>
                <a:gd name="T5" fmla="*/ 78 h 81"/>
                <a:gd name="T6" fmla="*/ 111 w 115"/>
                <a:gd name="T7" fmla="*/ 81 h 81"/>
                <a:gd name="T8" fmla="*/ 111 w 115"/>
                <a:gd name="T9" fmla="*/ 80 h 81"/>
                <a:gd name="T10" fmla="*/ 113 w 115"/>
                <a:gd name="T11" fmla="*/ 79 h 81"/>
                <a:gd name="T12" fmla="*/ 101 w 115"/>
                <a:gd name="T13" fmla="*/ 73 h 81"/>
                <a:gd name="T14" fmla="*/ 86 w 115"/>
                <a:gd name="T15" fmla="*/ 68 h 81"/>
                <a:gd name="T16" fmla="*/ 73 w 115"/>
                <a:gd name="T17" fmla="*/ 59 h 81"/>
                <a:gd name="T18" fmla="*/ 75 w 115"/>
                <a:gd name="T19" fmla="*/ 56 h 81"/>
                <a:gd name="T20" fmla="*/ 89 w 115"/>
                <a:gd name="T21" fmla="*/ 67 h 81"/>
                <a:gd name="T22" fmla="*/ 75 w 115"/>
                <a:gd name="T23" fmla="*/ 57 h 81"/>
                <a:gd name="T24" fmla="*/ 74 w 115"/>
                <a:gd name="T25" fmla="*/ 59 h 81"/>
                <a:gd name="T26" fmla="*/ 86 w 115"/>
                <a:gd name="T27" fmla="*/ 67 h 81"/>
                <a:gd name="T28" fmla="*/ 89 w 115"/>
                <a:gd name="T29" fmla="*/ 66 h 81"/>
                <a:gd name="T30" fmla="*/ 101 w 115"/>
                <a:gd name="T31" fmla="*/ 64 h 81"/>
                <a:gd name="T32" fmla="*/ 101 w 115"/>
                <a:gd name="T33" fmla="*/ 64 h 81"/>
                <a:gd name="T34" fmla="*/ 101 w 115"/>
                <a:gd name="T35" fmla="*/ 63 h 81"/>
                <a:gd name="T36" fmla="*/ 100 w 115"/>
                <a:gd name="T37" fmla="*/ 64 h 81"/>
                <a:gd name="T38" fmla="*/ 90 w 115"/>
                <a:gd name="T39" fmla="*/ 44 h 81"/>
                <a:gd name="T40" fmla="*/ 92 w 115"/>
                <a:gd name="T41" fmla="*/ 44 h 81"/>
                <a:gd name="T42" fmla="*/ 101 w 115"/>
                <a:gd name="T43" fmla="*/ 64 h 81"/>
                <a:gd name="T44" fmla="*/ 75 w 115"/>
                <a:gd name="T45" fmla="*/ 46 h 81"/>
                <a:gd name="T46" fmla="*/ 56 w 115"/>
                <a:gd name="T47" fmla="*/ 34 h 81"/>
                <a:gd name="T48" fmla="*/ 77 w 115"/>
                <a:gd name="T49" fmla="*/ 44 h 81"/>
                <a:gd name="T50" fmla="*/ 75 w 115"/>
                <a:gd name="T51" fmla="*/ 46 h 81"/>
                <a:gd name="T52" fmla="*/ 57 w 115"/>
                <a:gd name="T53" fmla="*/ 34 h 81"/>
                <a:gd name="T54" fmla="*/ 75 w 115"/>
                <a:gd name="T55" fmla="*/ 45 h 81"/>
                <a:gd name="T56" fmla="*/ 76 w 115"/>
                <a:gd name="T57" fmla="*/ 44 h 81"/>
                <a:gd name="T58" fmla="*/ 40 w 115"/>
                <a:gd name="T59" fmla="*/ 30 h 81"/>
                <a:gd name="T60" fmla="*/ 29 w 115"/>
                <a:gd name="T61" fmla="*/ 22 h 81"/>
                <a:gd name="T62" fmla="*/ 29 w 115"/>
                <a:gd name="T63" fmla="*/ 18 h 81"/>
                <a:gd name="T64" fmla="*/ 41 w 115"/>
                <a:gd name="T65" fmla="*/ 29 h 81"/>
                <a:gd name="T66" fmla="*/ 29 w 115"/>
                <a:gd name="T67" fmla="*/ 19 h 81"/>
                <a:gd name="T68" fmla="*/ 32 w 115"/>
                <a:gd name="T69" fmla="*/ 23 h 81"/>
                <a:gd name="T70" fmla="*/ 40 w 115"/>
                <a:gd name="T71" fmla="*/ 29 h 81"/>
                <a:gd name="T72" fmla="*/ 40 w 115"/>
                <a:gd name="T73" fmla="*/ 28 h 81"/>
                <a:gd name="T74" fmla="*/ 17 w 115"/>
                <a:gd name="T75" fmla="*/ 23 h 81"/>
                <a:gd name="T76" fmla="*/ 8 w 115"/>
                <a:gd name="T77" fmla="*/ 15 h 81"/>
                <a:gd name="T78" fmla="*/ 1 w 115"/>
                <a:gd name="T79" fmla="*/ 0 h 81"/>
                <a:gd name="T80" fmla="*/ 19 w 115"/>
                <a:gd name="T81" fmla="*/ 23 h 81"/>
                <a:gd name="T82" fmla="*/ 1 w 115"/>
                <a:gd name="T83" fmla="*/ 1 h 81"/>
                <a:gd name="T84" fmla="*/ 8 w 115"/>
                <a:gd name="T85" fmla="*/ 15 h 81"/>
                <a:gd name="T86" fmla="*/ 17 w 115"/>
                <a:gd name="T87" fmla="*/ 22 h 81"/>
                <a:gd name="T88" fmla="*/ 20 w 115"/>
                <a:gd name="T89" fmla="*/ 17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81">
                  <a:moveTo>
                    <a:pt x="111" y="81"/>
                  </a:moveTo>
                  <a:cubicBezTo>
                    <a:pt x="111" y="81"/>
                    <a:pt x="111" y="81"/>
                    <a:pt x="111" y="81"/>
                  </a:cubicBezTo>
                  <a:cubicBezTo>
                    <a:pt x="107" y="81"/>
                    <a:pt x="100" y="75"/>
                    <a:pt x="100" y="73"/>
                  </a:cubicBezTo>
                  <a:cubicBezTo>
                    <a:pt x="100" y="72"/>
                    <a:pt x="100" y="72"/>
                    <a:pt x="100" y="72"/>
                  </a:cubicBezTo>
                  <a:cubicBezTo>
                    <a:pt x="101" y="72"/>
                    <a:pt x="101" y="72"/>
                    <a:pt x="101" y="72"/>
                  </a:cubicBezTo>
                  <a:cubicBezTo>
                    <a:pt x="105" y="72"/>
                    <a:pt x="114" y="75"/>
                    <a:pt x="115" y="78"/>
                  </a:cubicBezTo>
                  <a:cubicBezTo>
                    <a:pt x="115" y="78"/>
                    <a:pt x="115" y="79"/>
                    <a:pt x="114" y="80"/>
                  </a:cubicBezTo>
                  <a:cubicBezTo>
                    <a:pt x="113" y="80"/>
                    <a:pt x="112" y="81"/>
                    <a:pt x="111" y="81"/>
                  </a:cubicBezTo>
                  <a:close/>
                  <a:moveTo>
                    <a:pt x="101" y="73"/>
                  </a:moveTo>
                  <a:cubicBezTo>
                    <a:pt x="102" y="74"/>
                    <a:pt x="107" y="80"/>
                    <a:pt x="111" y="80"/>
                  </a:cubicBezTo>
                  <a:cubicBezTo>
                    <a:pt x="111" y="80"/>
                    <a:pt x="111" y="80"/>
                    <a:pt x="111" y="80"/>
                  </a:cubicBezTo>
                  <a:cubicBezTo>
                    <a:pt x="112" y="80"/>
                    <a:pt x="113" y="79"/>
                    <a:pt x="113" y="79"/>
                  </a:cubicBezTo>
                  <a:cubicBezTo>
                    <a:pt x="114" y="79"/>
                    <a:pt x="114" y="78"/>
                    <a:pt x="114" y="78"/>
                  </a:cubicBezTo>
                  <a:cubicBezTo>
                    <a:pt x="113" y="76"/>
                    <a:pt x="104" y="73"/>
                    <a:pt x="101" y="73"/>
                  </a:cubicBezTo>
                  <a:cubicBezTo>
                    <a:pt x="101" y="73"/>
                    <a:pt x="101" y="73"/>
                    <a:pt x="101" y="73"/>
                  </a:cubicBezTo>
                  <a:close/>
                  <a:moveTo>
                    <a:pt x="86" y="68"/>
                  </a:moveTo>
                  <a:cubicBezTo>
                    <a:pt x="86" y="68"/>
                    <a:pt x="86" y="68"/>
                    <a:pt x="86" y="68"/>
                  </a:cubicBezTo>
                  <a:cubicBezTo>
                    <a:pt x="81" y="68"/>
                    <a:pt x="75" y="65"/>
                    <a:pt x="73" y="59"/>
                  </a:cubicBezTo>
                  <a:cubicBezTo>
                    <a:pt x="73" y="58"/>
                    <a:pt x="73" y="57"/>
                    <a:pt x="74" y="57"/>
                  </a:cubicBezTo>
                  <a:cubicBezTo>
                    <a:pt x="75" y="56"/>
                    <a:pt x="75" y="56"/>
                    <a:pt x="75" y="56"/>
                  </a:cubicBezTo>
                  <a:cubicBezTo>
                    <a:pt x="79" y="56"/>
                    <a:pt x="89" y="62"/>
                    <a:pt x="90" y="66"/>
                  </a:cubicBezTo>
                  <a:cubicBezTo>
                    <a:pt x="90" y="66"/>
                    <a:pt x="90" y="67"/>
                    <a:pt x="89" y="67"/>
                  </a:cubicBezTo>
                  <a:cubicBezTo>
                    <a:pt x="88" y="68"/>
                    <a:pt x="87" y="68"/>
                    <a:pt x="86" y="68"/>
                  </a:cubicBezTo>
                  <a:close/>
                  <a:moveTo>
                    <a:pt x="75" y="57"/>
                  </a:moveTo>
                  <a:cubicBezTo>
                    <a:pt x="75" y="57"/>
                    <a:pt x="75" y="57"/>
                    <a:pt x="74" y="58"/>
                  </a:cubicBezTo>
                  <a:cubicBezTo>
                    <a:pt x="74" y="58"/>
                    <a:pt x="74" y="58"/>
                    <a:pt x="74" y="59"/>
                  </a:cubicBezTo>
                  <a:cubicBezTo>
                    <a:pt x="75" y="64"/>
                    <a:pt x="82" y="67"/>
                    <a:pt x="86" y="67"/>
                  </a:cubicBezTo>
                  <a:cubicBezTo>
                    <a:pt x="86" y="67"/>
                    <a:pt x="86" y="67"/>
                    <a:pt x="86" y="67"/>
                  </a:cubicBezTo>
                  <a:cubicBezTo>
                    <a:pt x="87" y="67"/>
                    <a:pt x="88" y="67"/>
                    <a:pt x="88" y="66"/>
                  </a:cubicBezTo>
                  <a:cubicBezTo>
                    <a:pt x="89" y="66"/>
                    <a:pt x="89" y="66"/>
                    <a:pt x="89" y="66"/>
                  </a:cubicBezTo>
                  <a:cubicBezTo>
                    <a:pt x="88" y="63"/>
                    <a:pt x="79" y="57"/>
                    <a:pt x="75" y="57"/>
                  </a:cubicBezTo>
                  <a:close/>
                  <a:moveTo>
                    <a:pt x="101" y="64"/>
                  </a:moveTo>
                  <a:cubicBezTo>
                    <a:pt x="101" y="64"/>
                    <a:pt x="101" y="64"/>
                    <a:pt x="101" y="64"/>
                  </a:cubicBezTo>
                  <a:cubicBezTo>
                    <a:pt x="101" y="64"/>
                    <a:pt x="101" y="64"/>
                    <a:pt x="101" y="64"/>
                  </a:cubicBezTo>
                  <a:cubicBezTo>
                    <a:pt x="101" y="64"/>
                    <a:pt x="101" y="64"/>
                    <a:pt x="101" y="64"/>
                  </a:cubicBezTo>
                  <a:cubicBezTo>
                    <a:pt x="101" y="63"/>
                    <a:pt x="101" y="63"/>
                    <a:pt x="101" y="63"/>
                  </a:cubicBezTo>
                  <a:cubicBezTo>
                    <a:pt x="101" y="63"/>
                    <a:pt x="100" y="63"/>
                    <a:pt x="100" y="64"/>
                  </a:cubicBezTo>
                  <a:cubicBezTo>
                    <a:pt x="100" y="64"/>
                    <a:pt x="100" y="64"/>
                    <a:pt x="100" y="64"/>
                  </a:cubicBezTo>
                  <a:cubicBezTo>
                    <a:pt x="100" y="61"/>
                    <a:pt x="95" y="48"/>
                    <a:pt x="91" y="45"/>
                  </a:cubicBezTo>
                  <a:cubicBezTo>
                    <a:pt x="91" y="44"/>
                    <a:pt x="90" y="44"/>
                    <a:pt x="90" y="44"/>
                  </a:cubicBezTo>
                  <a:cubicBezTo>
                    <a:pt x="90" y="43"/>
                    <a:pt x="90" y="43"/>
                    <a:pt x="90" y="43"/>
                  </a:cubicBezTo>
                  <a:cubicBezTo>
                    <a:pt x="91" y="43"/>
                    <a:pt x="91" y="43"/>
                    <a:pt x="92" y="44"/>
                  </a:cubicBezTo>
                  <a:cubicBezTo>
                    <a:pt x="96" y="48"/>
                    <a:pt x="101" y="61"/>
                    <a:pt x="101" y="64"/>
                  </a:cubicBezTo>
                  <a:cubicBezTo>
                    <a:pt x="101" y="64"/>
                    <a:pt x="101" y="64"/>
                    <a:pt x="101" y="64"/>
                  </a:cubicBezTo>
                  <a:cubicBezTo>
                    <a:pt x="101" y="64"/>
                    <a:pt x="101" y="64"/>
                    <a:pt x="101" y="64"/>
                  </a:cubicBezTo>
                  <a:close/>
                  <a:moveTo>
                    <a:pt x="75" y="46"/>
                  </a:moveTo>
                  <a:cubicBezTo>
                    <a:pt x="70" y="46"/>
                    <a:pt x="60" y="40"/>
                    <a:pt x="57" y="37"/>
                  </a:cubicBezTo>
                  <a:cubicBezTo>
                    <a:pt x="56" y="36"/>
                    <a:pt x="56" y="35"/>
                    <a:pt x="56" y="34"/>
                  </a:cubicBezTo>
                  <a:cubicBezTo>
                    <a:pt x="56" y="33"/>
                    <a:pt x="56" y="33"/>
                    <a:pt x="57" y="33"/>
                  </a:cubicBezTo>
                  <a:cubicBezTo>
                    <a:pt x="62" y="33"/>
                    <a:pt x="76" y="40"/>
                    <a:pt x="77" y="44"/>
                  </a:cubicBezTo>
                  <a:cubicBezTo>
                    <a:pt x="77" y="45"/>
                    <a:pt x="77" y="45"/>
                    <a:pt x="77" y="45"/>
                  </a:cubicBezTo>
                  <a:cubicBezTo>
                    <a:pt x="76" y="46"/>
                    <a:pt x="76" y="46"/>
                    <a:pt x="75" y="46"/>
                  </a:cubicBezTo>
                  <a:close/>
                  <a:moveTo>
                    <a:pt x="57" y="34"/>
                  </a:moveTo>
                  <a:cubicBezTo>
                    <a:pt x="57" y="34"/>
                    <a:pt x="57" y="34"/>
                    <a:pt x="57" y="34"/>
                  </a:cubicBezTo>
                  <a:cubicBezTo>
                    <a:pt x="57" y="34"/>
                    <a:pt x="57" y="35"/>
                    <a:pt x="58" y="36"/>
                  </a:cubicBezTo>
                  <a:cubicBezTo>
                    <a:pt x="61" y="40"/>
                    <a:pt x="71" y="45"/>
                    <a:pt x="75" y="45"/>
                  </a:cubicBezTo>
                  <a:cubicBezTo>
                    <a:pt x="75" y="45"/>
                    <a:pt x="76" y="45"/>
                    <a:pt x="76" y="44"/>
                  </a:cubicBezTo>
                  <a:cubicBezTo>
                    <a:pt x="76" y="44"/>
                    <a:pt x="76" y="44"/>
                    <a:pt x="76" y="44"/>
                  </a:cubicBezTo>
                  <a:cubicBezTo>
                    <a:pt x="75" y="41"/>
                    <a:pt x="62" y="34"/>
                    <a:pt x="57" y="34"/>
                  </a:cubicBezTo>
                  <a:close/>
                  <a:moveTo>
                    <a:pt x="40" y="30"/>
                  </a:moveTo>
                  <a:cubicBezTo>
                    <a:pt x="40" y="30"/>
                    <a:pt x="40" y="30"/>
                    <a:pt x="40" y="30"/>
                  </a:cubicBezTo>
                  <a:cubicBezTo>
                    <a:pt x="37" y="30"/>
                    <a:pt x="31" y="24"/>
                    <a:pt x="29" y="22"/>
                  </a:cubicBezTo>
                  <a:cubicBezTo>
                    <a:pt x="28" y="20"/>
                    <a:pt x="28" y="19"/>
                    <a:pt x="28" y="19"/>
                  </a:cubicBezTo>
                  <a:cubicBezTo>
                    <a:pt x="28" y="18"/>
                    <a:pt x="28" y="18"/>
                    <a:pt x="29" y="18"/>
                  </a:cubicBezTo>
                  <a:cubicBezTo>
                    <a:pt x="31" y="18"/>
                    <a:pt x="40" y="25"/>
                    <a:pt x="41" y="28"/>
                  </a:cubicBezTo>
                  <a:cubicBezTo>
                    <a:pt x="41" y="29"/>
                    <a:pt x="41" y="29"/>
                    <a:pt x="41" y="29"/>
                  </a:cubicBezTo>
                  <a:cubicBezTo>
                    <a:pt x="40" y="30"/>
                    <a:pt x="40" y="30"/>
                    <a:pt x="40" y="30"/>
                  </a:cubicBezTo>
                  <a:close/>
                  <a:moveTo>
                    <a:pt x="29" y="19"/>
                  </a:moveTo>
                  <a:cubicBezTo>
                    <a:pt x="29" y="19"/>
                    <a:pt x="29" y="19"/>
                    <a:pt x="29" y="19"/>
                  </a:cubicBezTo>
                  <a:cubicBezTo>
                    <a:pt x="29" y="19"/>
                    <a:pt x="29" y="21"/>
                    <a:pt x="32" y="23"/>
                  </a:cubicBezTo>
                  <a:cubicBezTo>
                    <a:pt x="35" y="26"/>
                    <a:pt x="38" y="29"/>
                    <a:pt x="40" y="29"/>
                  </a:cubicBezTo>
                  <a:cubicBezTo>
                    <a:pt x="40" y="29"/>
                    <a:pt x="40" y="29"/>
                    <a:pt x="40" y="29"/>
                  </a:cubicBezTo>
                  <a:cubicBezTo>
                    <a:pt x="40" y="29"/>
                    <a:pt x="40" y="29"/>
                    <a:pt x="40" y="29"/>
                  </a:cubicBezTo>
                  <a:cubicBezTo>
                    <a:pt x="40" y="28"/>
                    <a:pt x="40" y="28"/>
                    <a:pt x="40" y="28"/>
                  </a:cubicBezTo>
                  <a:cubicBezTo>
                    <a:pt x="39" y="26"/>
                    <a:pt x="31" y="19"/>
                    <a:pt x="29" y="19"/>
                  </a:cubicBezTo>
                  <a:close/>
                  <a:moveTo>
                    <a:pt x="17" y="23"/>
                  </a:moveTo>
                  <a:cubicBezTo>
                    <a:pt x="17" y="23"/>
                    <a:pt x="17" y="23"/>
                    <a:pt x="17" y="23"/>
                  </a:cubicBezTo>
                  <a:cubicBezTo>
                    <a:pt x="14" y="23"/>
                    <a:pt x="10" y="18"/>
                    <a:pt x="8" y="15"/>
                  </a:cubicBezTo>
                  <a:cubicBezTo>
                    <a:pt x="4" y="10"/>
                    <a:pt x="0" y="3"/>
                    <a:pt x="0" y="1"/>
                  </a:cubicBezTo>
                  <a:cubicBezTo>
                    <a:pt x="0" y="1"/>
                    <a:pt x="0" y="0"/>
                    <a:pt x="1" y="0"/>
                  </a:cubicBezTo>
                  <a:cubicBezTo>
                    <a:pt x="5" y="0"/>
                    <a:pt x="19" y="10"/>
                    <a:pt x="21" y="17"/>
                  </a:cubicBezTo>
                  <a:cubicBezTo>
                    <a:pt x="22" y="19"/>
                    <a:pt x="21" y="21"/>
                    <a:pt x="19" y="23"/>
                  </a:cubicBezTo>
                  <a:cubicBezTo>
                    <a:pt x="18" y="23"/>
                    <a:pt x="18" y="23"/>
                    <a:pt x="17" y="23"/>
                  </a:cubicBezTo>
                  <a:close/>
                  <a:moveTo>
                    <a:pt x="1" y="1"/>
                  </a:moveTo>
                  <a:cubicBezTo>
                    <a:pt x="1" y="1"/>
                    <a:pt x="1" y="1"/>
                    <a:pt x="1" y="1"/>
                  </a:cubicBezTo>
                  <a:cubicBezTo>
                    <a:pt x="1" y="3"/>
                    <a:pt x="4" y="9"/>
                    <a:pt x="8" y="15"/>
                  </a:cubicBezTo>
                  <a:cubicBezTo>
                    <a:pt x="12" y="19"/>
                    <a:pt x="15" y="22"/>
                    <a:pt x="17" y="22"/>
                  </a:cubicBezTo>
                  <a:cubicBezTo>
                    <a:pt x="17" y="22"/>
                    <a:pt x="17" y="22"/>
                    <a:pt x="17" y="22"/>
                  </a:cubicBezTo>
                  <a:cubicBezTo>
                    <a:pt x="18" y="22"/>
                    <a:pt x="18" y="22"/>
                    <a:pt x="18" y="22"/>
                  </a:cubicBezTo>
                  <a:cubicBezTo>
                    <a:pt x="20" y="21"/>
                    <a:pt x="20" y="19"/>
                    <a:pt x="20" y="17"/>
                  </a:cubicBezTo>
                  <a:cubicBezTo>
                    <a:pt x="18" y="11"/>
                    <a:pt x="5" y="1"/>
                    <a:pt x="1" y="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09" name="Freeform 337"/>
            <p:cNvSpPr>
              <a:spLocks noEditPoints="1"/>
            </p:cNvSpPr>
            <p:nvPr/>
          </p:nvSpPr>
          <p:spPr>
            <a:xfrm>
              <a:off x="7537451" y="4081463"/>
              <a:ext cx="1014413" cy="900113"/>
            </a:xfrm>
            <a:custGeom>
              <a:gdLst>
                <a:gd name="T0" fmla="*/ 590 w 598"/>
                <a:gd name="T1" fmla="*/ 232 h 531"/>
                <a:gd name="T2" fmla="*/ 566 w 598"/>
                <a:gd name="T3" fmla="*/ 207 h 531"/>
                <a:gd name="T4" fmla="*/ 548 w 598"/>
                <a:gd name="T5" fmla="*/ 180 h 531"/>
                <a:gd name="T6" fmla="*/ 530 w 598"/>
                <a:gd name="T7" fmla="*/ 160 h 531"/>
                <a:gd name="T8" fmla="*/ 488 w 598"/>
                <a:gd name="T9" fmla="*/ 120 h 531"/>
                <a:gd name="T10" fmla="*/ 474 w 598"/>
                <a:gd name="T11" fmla="*/ 69 h 531"/>
                <a:gd name="T12" fmla="*/ 448 w 598"/>
                <a:gd name="T13" fmla="*/ 43 h 531"/>
                <a:gd name="T14" fmla="*/ 425 w 598"/>
                <a:gd name="T15" fmla="*/ 13 h 531"/>
                <a:gd name="T16" fmla="*/ 418 w 598"/>
                <a:gd name="T17" fmla="*/ 66 h 531"/>
                <a:gd name="T18" fmla="*/ 384 w 598"/>
                <a:gd name="T19" fmla="*/ 98 h 531"/>
                <a:gd name="T20" fmla="*/ 342 w 598"/>
                <a:gd name="T21" fmla="*/ 76 h 531"/>
                <a:gd name="T22" fmla="*/ 335 w 598"/>
                <a:gd name="T23" fmla="*/ 45 h 531"/>
                <a:gd name="T24" fmla="*/ 346 w 598"/>
                <a:gd name="T25" fmla="*/ 22 h 531"/>
                <a:gd name="T26" fmla="*/ 324 w 598"/>
                <a:gd name="T27" fmla="*/ 24 h 531"/>
                <a:gd name="T28" fmla="*/ 288 w 598"/>
                <a:gd name="T29" fmla="*/ 17 h 531"/>
                <a:gd name="T30" fmla="*/ 251 w 598"/>
                <a:gd name="T31" fmla="*/ 41 h 531"/>
                <a:gd name="T32" fmla="*/ 238 w 598"/>
                <a:gd name="T33" fmla="*/ 66 h 531"/>
                <a:gd name="T34" fmla="*/ 216 w 598"/>
                <a:gd name="T35" fmla="*/ 56 h 531"/>
                <a:gd name="T36" fmla="*/ 191 w 598"/>
                <a:gd name="T37" fmla="*/ 59 h 531"/>
                <a:gd name="T38" fmla="*/ 170 w 598"/>
                <a:gd name="T39" fmla="*/ 71 h 531"/>
                <a:gd name="T40" fmla="*/ 159 w 598"/>
                <a:gd name="T41" fmla="*/ 95 h 531"/>
                <a:gd name="T42" fmla="*/ 137 w 598"/>
                <a:gd name="T43" fmla="*/ 97 h 531"/>
                <a:gd name="T44" fmla="*/ 90 w 598"/>
                <a:gd name="T45" fmla="*/ 142 h 531"/>
                <a:gd name="T46" fmla="*/ 45 w 598"/>
                <a:gd name="T47" fmla="*/ 157 h 531"/>
                <a:gd name="T48" fmla="*/ 17 w 598"/>
                <a:gd name="T49" fmla="*/ 168 h 531"/>
                <a:gd name="T50" fmla="*/ 8 w 598"/>
                <a:gd name="T51" fmla="*/ 219 h 531"/>
                <a:gd name="T52" fmla="*/ 12 w 598"/>
                <a:gd name="T53" fmla="*/ 241 h 531"/>
                <a:gd name="T54" fmla="*/ 28 w 598"/>
                <a:gd name="T55" fmla="*/ 293 h 531"/>
                <a:gd name="T56" fmla="*/ 30 w 598"/>
                <a:gd name="T57" fmla="*/ 358 h 531"/>
                <a:gd name="T58" fmla="*/ 73 w 598"/>
                <a:gd name="T59" fmla="*/ 380 h 531"/>
                <a:gd name="T60" fmla="*/ 135 w 598"/>
                <a:gd name="T61" fmla="*/ 362 h 531"/>
                <a:gd name="T62" fmla="*/ 203 w 598"/>
                <a:gd name="T63" fmla="*/ 335 h 531"/>
                <a:gd name="T64" fmla="*/ 284 w 598"/>
                <a:gd name="T65" fmla="*/ 331 h 531"/>
                <a:gd name="T66" fmla="*/ 310 w 598"/>
                <a:gd name="T67" fmla="*/ 346 h 531"/>
                <a:gd name="T68" fmla="*/ 338 w 598"/>
                <a:gd name="T69" fmla="*/ 371 h 531"/>
                <a:gd name="T70" fmla="*/ 359 w 598"/>
                <a:gd name="T71" fmla="*/ 367 h 531"/>
                <a:gd name="T72" fmla="*/ 372 w 598"/>
                <a:gd name="T73" fmla="*/ 373 h 531"/>
                <a:gd name="T74" fmla="*/ 393 w 598"/>
                <a:gd name="T75" fmla="*/ 409 h 531"/>
                <a:gd name="T76" fmla="*/ 445 w 598"/>
                <a:gd name="T77" fmla="*/ 444 h 531"/>
                <a:gd name="T78" fmla="*/ 472 w 598"/>
                <a:gd name="T79" fmla="*/ 440 h 531"/>
                <a:gd name="T80" fmla="*/ 490 w 598"/>
                <a:gd name="T81" fmla="*/ 450 h 531"/>
                <a:gd name="T82" fmla="*/ 541 w 598"/>
                <a:gd name="T83" fmla="*/ 426 h 531"/>
                <a:gd name="T84" fmla="*/ 572 w 598"/>
                <a:gd name="T85" fmla="*/ 343 h 531"/>
                <a:gd name="T86" fmla="*/ 592 w 598"/>
                <a:gd name="T87" fmla="*/ 294 h 531"/>
                <a:gd name="T88" fmla="*/ 271 w 598"/>
                <a:gd name="T89" fmla="*/ 14 h 531"/>
                <a:gd name="T90" fmla="*/ 344 w 598"/>
                <a:gd name="T91" fmla="*/ 396 h 531"/>
                <a:gd name="T92" fmla="*/ 489 w 598"/>
                <a:gd name="T93" fmla="*/ 486 h 531"/>
                <a:gd name="T94" fmla="*/ 491 w 598"/>
                <a:gd name="T95" fmla="*/ 530 h 531"/>
                <a:gd name="T96" fmla="*/ 510 w 598"/>
                <a:gd name="T97" fmla="*/ 519 h 531"/>
                <a:gd name="T98" fmla="*/ 489 w 598"/>
                <a:gd name="T99" fmla="*/ 486 h 5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8" h="531">
                  <a:moveTo>
                    <a:pt x="594" y="267"/>
                  </a:moveTo>
                  <a:cubicBezTo>
                    <a:pt x="597" y="265"/>
                    <a:pt x="593" y="254"/>
                    <a:pt x="591" y="256"/>
                  </a:cubicBezTo>
                  <a:cubicBezTo>
                    <a:pt x="588" y="258"/>
                    <a:pt x="588" y="240"/>
                    <a:pt x="590" y="232"/>
                  </a:cubicBezTo>
                  <a:cubicBezTo>
                    <a:pt x="592" y="224"/>
                    <a:pt x="591" y="225"/>
                    <a:pt x="587" y="229"/>
                  </a:cubicBezTo>
                  <a:cubicBezTo>
                    <a:pt x="582" y="233"/>
                    <a:pt x="578" y="221"/>
                    <a:pt x="577" y="218"/>
                  </a:cubicBezTo>
                  <a:cubicBezTo>
                    <a:pt x="576" y="214"/>
                    <a:pt x="571" y="205"/>
                    <a:pt x="566" y="207"/>
                  </a:cubicBezTo>
                  <a:cubicBezTo>
                    <a:pt x="560" y="208"/>
                    <a:pt x="564" y="199"/>
                    <a:pt x="558" y="200"/>
                  </a:cubicBezTo>
                  <a:cubicBezTo>
                    <a:pt x="553" y="201"/>
                    <a:pt x="552" y="192"/>
                    <a:pt x="553" y="185"/>
                  </a:cubicBezTo>
                  <a:cubicBezTo>
                    <a:pt x="554" y="177"/>
                    <a:pt x="550" y="183"/>
                    <a:pt x="548" y="180"/>
                  </a:cubicBezTo>
                  <a:cubicBezTo>
                    <a:pt x="545" y="177"/>
                    <a:pt x="543" y="179"/>
                    <a:pt x="539" y="181"/>
                  </a:cubicBezTo>
                  <a:cubicBezTo>
                    <a:pt x="536" y="182"/>
                    <a:pt x="535" y="174"/>
                    <a:pt x="536" y="171"/>
                  </a:cubicBezTo>
                  <a:cubicBezTo>
                    <a:pt x="537" y="167"/>
                    <a:pt x="535" y="163"/>
                    <a:pt x="530" y="160"/>
                  </a:cubicBezTo>
                  <a:cubicBezTo>
                    <a:pt x="525" y="156"/>
                    <a:pt x="525" y="153"/>
                    <a:pt x="525" y="149"/>
                  </a:cubicBezTo>
                  <a:cubicBezTo>
                    <a:pt x="526" y="145"/>
                    <a:pt x="498" y="131"/>
                    <a:pt x="492" y="130"/>
                  </a:cubicBezTo>
                  <a:cubicBezTo>
                    <a:pt x="486" y="128"/>
                    <a:pt x="491" y="122"/>
                    <a:pt x="488" y="120"/>
                  </a:cubicBezTo>
                  <a:cubicBezTo>
                    <a:pt x="486" y="117"/>
                    <a:pt x="485" y="109"/>
                    <a:pt x="485" y="102"/>
                  </a:cubicBezTo>
                  <a:cubicBezTo>
                    <a:pt x="485" y="95"/>
                    <a:pt x="476" y="92"/>
                    <a:pt x="476" y="87"/>
                  </a:cubicBezTo>
                  <a:cubicBezTo>
                    <a:pt x="476" y="81"/>
                    <a:pt x="473" y="75"/>
                    <a:pt x="474" y="69"/>
                  </a:cubicBezTo>
                  <a:cubicBezTo>
                    <a:pt x="475" y="62"/>
                    <a:pt x="465" y="61"/>
                    <a:pt x="464" y="57"/>
                  </a:cubicBezTo>
                  <a:cubicBezTo>
                    <a:pt x="464" y="54"/>
                    <a:pt x="458" y="57"/>
                    <a:pt x="453" y="58"/>
                  </a:cubicBezTo>
                  <a:cubicBezTo>
                    <a:pt x="448" y="58"/>
                    <a:pt x="448" y="51"/>
                    <a:pt x="448" y="43"/>
                  </a:cubicBezTo>
                  <a:cubicBezTo>
                    <a:pt x="449" y="36"/>
                    <a:pt x="446" y="23"/>
                    <a:pt x="442" y="20"/>
                  </a:cubicBezTo>
                  <a:cubicBezTo>
                    <a:pt x="437" y="16"/>
                    <a:pt x="437" y="4"/>
                    <a:pt x="435" y="2"/>
                  </a:cubicBezTo>
                  <a:cubicBezTo>
                    <a:pt x="432" y="0"/>
                    <a:pt x="425" y="9"/>
                    <a:pt x="425" y="13"/>
                  </a:cubicBezTo>
                  <a:cubicBezTo>
                    <a:pt x="426" y="17"/>
                    <a:pt x="425" y="22"/>
                    <a:pt x="422" y="24"/>
                  </a:cubicBezTo>
                  <a:cubicBezTo>
                    <a:pt x="419" y="27"/>
                    <a:pt x="424" y="37"/>
                    <a:pt x="420" y="41"/>
                  </a:cubicBezTo>
                  <a:cubicBezTo>
                    <a:pt x="416" y="44"/>
                    <a:pt x="419" y="58"/>
                    <a:pt x="418" y="66"/>
                  </a:cubicBezTo>
                  <a:cubicBezTo>
                    <a:pt x="418" y="74"/>
                    <a:pt x="418" y="83"/>
                    <a:pt x="414" y="89"/>
                  </a:cubicBezTo>
                  <a:cubicBezTo>
                    <a:pt x="410" y="94"/>
                    <a:pt x="409" y="103"/>
                    <a:pt x="402" y="106"/>
                  </a:cubicBezTo>
                  <a:cubicBezTo>
                    <a:pt x="394" y="109"/>
                    <a:pt x="384" y="102"/>
                    <a:pt x="384" y="98"/>
                  </a:cubicBezTo>
                  <a:cubicBezTo>
                    <a:pt x="384" y="94"/>
                    <a:pt x="376" y="92"/>
                    <a:pt x="371" y="92"/>
                  </a:cubicBezTo>
                  <a:cubicBezTo>
                    <a:pt x="367" y="93"/>
                    <a:pt x="364" y="86"/>
                    <a:pt x="357" y="81"/>
                  </a:cubicBezTo>
                  <a:cubicBezTo>
                    <a:pt x="350" y="75"/>
                    <a:pt x="344" y="82"/>
                    <a:pt x="342" y="76"/>
                  </a:cubicBezTo>
                  <a:cubicBezTo>
                    <a:pt x="340" y="69"/>
                    <a:pt x="338" y="68"/>
                    <a:pt x="332" y="65"/>
                  </a:cubicBezTo>
                  <a:cubicBezTo>
                    <a:pt x="327" y="61"/>
                    <a:pt x="329" y="61"/>
                    <a:pt x="334" y="58"/>
                  </a:cubicBezTo>
                  <a:cubicBezTo>
                    <a:pt x="338" y="54"/>
                    <a:pt x="338" y="50"/>
                    <a:pt x="335" y="45"/>
                  </a:cubicBezTo>
                  <a:cubicBezTo>
                    <a:pt x="332" y="41"/>
                    <a:pt x="338" y="42"/>
                    <a:pt x="344" y="39"/>
                  </a:cubicBezTo>
                  <a:cubicBezTo>
                    <a:pt x="351" y="35"/>
                    <a:pt x="344" y="31"/>
                    <a:pt x="349" y="29"/>
                  </a:cubicBezTo>
                  <a:cubicBezTo>
                    <a:pt x="354" y="27"/>
                    <a:pt x="351" y="23"/>
                    <a:pt x="346" y="22"/>
                  </a:cubicBezTo>
                  <a:cubicBezTo>
                    <a:pt x="341" y="21"/>
                    <a:pt x="342" y="27"/>
                    <a:pt x="340" y="28"/>
                  </a:cubicBezTo>
                  <a:cubicBezTo>
                    <a:pt x="338" y="28"/>
                    <a:pt x="337" y="20"/>
                    <a:pt x="335" y="20"/>
                  </a:cubicBezTo>
                  <a:cubicBezTo>
                    <a:pt x="333" y="20"/>
                    <a:pt x="327" y="29"/>
                    <a:pt x="324" y="24"/>
                  </a:cubicBezTo>
                  <a:cubicBezTo>
                    <a:pt x="321" y="20"/>
                    <a:pt x="303" y="17"/>
                    <a:pt x="296" y="16"/>
                  </a:cubicBezTo>
                  <a:cubicBezTo>
                    <a:pt x="288" y="15"/>
                    <a:pt x="286" y="6"/>
                    <a:pt x="282" y="7"/>
                  </a:cubicBezTo>
                  <a:cubicBezTo>
                    <a:pt x="278" y="9"/>
                    <a:pt x="283" y="12"/>
                    <a:pt x="288" y="17"/>
                  </a:cubicBezTo>
                  <a:cubicBezTo>
                    <a:pt x="292" y="22"/>
                    <a:pt x="271" y="26"/>
                    <a:pt x="265" y="24"/>
                  </a:cubicBezTo>
                  <a:cubicBezTo>
                    <a:pt x="259" y="22"/>
                    <a:pt x="266" y="28"/>
                    <a:pt x="261" y="28"/>
                  </a:cubicBezTo>
                  <a:cubicBezTo>
                    <a:pt x="256" y="28"/>
                    <a:pt x="255" y="37"/>
                    <a:pt x="251" y="41"/>
                  </a:cubicBezTo>
                  <a:cubicBezTo>
                    <a:pt x="247" y="46"/>
                    <a:pt x="249" y="49"/>
                    <a:pt x="245" y="52"/>
                  </a:cubicBezTo>
                  <a:cubicBezTo>
                    <a:pt x="240" y="55"/>
                    <a:pt x="240" y="58"/>
                    <a:pt x="246" y="64"/>
                  </a:cubicBezTo>
                  <a:cubicBezTo>
                    <a:pt x="251" y="70"/>
                    <a:pt x="243" y="71"/>
                    <a:pt x="238" y="66"/>
                  </a:cubicBezTo>
                  <a:cubicBezTo>
                    <a:pt x="233" y="61"/>
                    <a:pt x="228" y="61"/>
                    <a:pt x="229" y="66"/>
                  </a:cubicBezTo>
                  <a:cubicBezTo>
                    <a:pt x="229" y="72"/>
                    <a:pt x="223" y="69"/>
                    <a:pt x="224" y="63"/>
                  </a:cubicBezTo>
                  <a:cubicBezTo>
                    <a:pt x="225" y="57"/>
                    <a:pt x="217" y="60"/>
                    <a:pt x="216" y="56"/>
                  </a:cubicBezTo>
                  <a:cubicBezTo>
                    <a:pt x="215" y="53"/>
                    <a:pt x="208" y="47"/>
                    <a:pt x="204" y="47"/>
                  </a:cubicBezTo>
                  <a:cubicBezTo>
                    <a:pt x="199" y="48"/>
                    <a:pt x="199" y="52"/>
                    <a:pt x="195" y="52"/>
                  </a:cubicBezTo>
                  <a:cubicBezTo>
                    <a:pt x="191" y="52"/>
                    <a:pt x="190" y="54"/>
                    <a:pt x="191" y="59"/>
                  </a:cubicBezTo>
                  <a:cubicBezTo>
                    <a:pt x="191" y="63"/>
                    <a:pt x="184" y="59"/>
                    <a:pt x="179" y="59"/>
                  </a:cubicBezTo>
                  <a:cubicBezTo>
                    <a:pt x="175" y="60"/>
                    <a:pt x="179" y="65"/>
                    <a:pt x="177" y="66"/>
                  </a:cubicBezTo>
                  <a:cubicBezTo>
                    <a:pt x="174" y="66"/>
                    <a:pt x="174" y="71"/>
                    <a:pt x="170" y="71"/>
                  </a:cubicBezTo>
                  <a:cubicBezTo>
                    <a:pt x="166" y="71"/>
                    <a:pt x="167" y="80"/>
                    <a:pt x="167" y="85"/>
                  </a:cubicBezTo>
                  <a:cubicBezTo>
                    <a:pt x="168" y="90"/>
                    <a:pt x="161" y="82"/>
                    <a:pt x="157" y="84"/>
                  </a:cubicBezTo>
                  <a:cubicBezTo>
                    <a:pt x="152" y="85"/>
                    <a:pt x="158" y="89"/>
                    <a:pt x="159" y="95"/>
                  </a:cubicBezTo>
                  <a:cubicBezTo>
                    <a:pt x="160" y="100"/>
                    <a:pt x="157" y="100"/>
                    <a:pt x="154" y="102"/>
                  </a:cubicBezTo>
                  <a:cubicBezTo>
                    <a:pt x="152" y="104"/>
                    <a:pt x="148" y="96"/>
                    <a:pt x="148" y="91"/>
                  </a:cubicBezTo>
                  <a:cubicBezTo>
                    <a:pt x="148" y="86"/>
                    <a:pt x="143" y="91"/>
                    <a:pt x="137" y="97"/>
                  </a:cubicBezTo>
                  <a:cubicBezTo>
                    <a:pt x="131" y="103"/>
                    <a:pt x="139" y="112"/>
                    <a:pt x="137" y="114"/>
                  </a:cubicBezTo>
                  <a:cubicBezTo>
                    <a:pt x="134" y="116"/>
                    <a:pt x="122" y="127"/>
                    <a:pt x="116" y="135"/>
                  </a:cubicBezTo>
                  <a:cubicBezTo>
                    <a:pt x="109" y="143"/>
                    <a:pt x="94" y="138"/>
                    <a:pt x="90" y="142"/>
                  </a:cubicBezTo>
                  <a:cubicBezTo>
                    <a:pt x="85" y="146"/>
                    <a:pt x="80" y="143"/>
                    <a:pt x="76" y="146"/>
                  </a:cubicBezTo>
                  <a:cubicBezTo>
                    <a:pt x="71" y="150"/>
                    <a:pt x="63" y="157"/>
                    <a:pt x="62" y="152"/>
                  </a:cubicBezTo>
                  <a:cubicBezTo>
                    <a:pt x="61" y="148"/>
                    <a:pt x="49" y="152"/>
                    <a:pt x="45" y="157"/>
                  </a:cubicBezTo>
                  <a:cubicBezTo>
                    <a:pt x="40" y="162"/>
                    <a:pt x="32" y="166"/>
                    <a:pt x="27" y="167"/>
                  </a:cubicBezTo>
                  <a:cubicBezTo>
                    <a:pt x="21" y="167"/>
                    <a:pt x="21" y="175"/>
                    <a:pt x="19" y="177"/>
                  </a:cubicBezTo>
                  <a:cubicBezTo>
                    <a:pt x="17" y="179"/>
                    <a:pt x="17" y="171"/>
                    <a:pt x="17" y="168"/>
                  </a:cubicBezTo>
                  <a:cubicBezTo>
                    <a:pt x="17" y="166"/>
                    <a:pt x="12" y="172"/>
                    <a:pt x="10" y="179"/>
                  </a:cubicBezTo>
                  <a:cubicBezTo>
                    <a:pt x="7" y="186"/>
                    <a:pt x="15" y="188"/>
                    <a:pt x="10" y="195"/>
                  </a:cubicBezTo>
                  <a:cubicBezTo>
                    <a:pt x="6" y="202"/>
                    <a:pt x="1" y="210"/>
                    <a:pt x="8" y="219"/>
                  </a:cubicBezTo>
                  <a:cubicBezTo>
                    <a:pt x="15" y="228"/>
                    <a:pt x="18" y="233"/>
                    <a:pt x="16" y="238"/>
                  </a:cubicBezTo>
                  <a:cubicBezTo>
                    <a:pt x="14" y="242"/>
                    <a:pt x="9" y="229"/>
                    <a:pt x="7" y="231"/>
                  </a:cubicBezTo>
                  <a:cubicBezTo>
                    <a:pt x="6" y="232"/>
                    <a:pt x="14" y="238"/>
                    <a:pt x="12" y="241"/>
                  </a:cubicBezTo>
                  <a:cubicBezTo>
                    <a:pt x="10" y="244"/>
                    <a:pt x="3" y="230"/>
                    <a:pt x="1" y="233"/>
                  </a:cubicBezTo>
                  <a:cubicBezTo>
                    <a:pt x="0" y="236"/>
                    <a:pt x="16" y="258"/>
                    <a:pt x="16" y="266"/>
                  </a:cubicBezTo>
                  <a:cubicBezTo>
                    <a:pt x="17" y="274"/>
                    <a:pt x="29" y="282"/>
                    <a:pt x="28" y="293"/>
                  </a:cubicBezTo>
                  <a:cubicBezTo>
                    <a:pt x="28" y="305"/>
                    <a:pt x="39" y="324"/>
                    <a:pt x="41" y="327"/>
                  </a:cubicBezTo>
                  <a:cubicBezTo>
                    <a:pt x="43" y="330"/>
                    <a:pt x="37" y="337"/>
                    <a:pt x="38" y="346"/>
                  </a:cubicBezTo>
                  <a:cubicBezTo>
                    <a:pt x="39" y="355"/>
                    <a:pt x="35" y="358"/>
                    <a:pt x="30" y="358"/>
                  </a:cubicBezTo>
                  <a:cubicBezTo>
                    <a:pt x="24" y="358"/>
                    <a:pt x="27" y="367"/>
                    <a:pt x="34" y="368"/>
                  </a:cubicBezTo>
                  <a:cubicBezTo>
                    <a:pt x="40" y="368"/>
                    <a:pt x="37" y="372"/>
                    <a:pt x="44" y="377"/>
                  </a:cubicBezTo>
                  <a:cubicBezTo>
                    <a:pt x="51" y="382"/>
                    <a:pt x="67" y="380"/>
                    <a:pt x="73" y="380"/>
                  </a:cubicBezTo>
                  <a:cubicBezTo>
                    <a:pt x="78" y="380"/>
                    <a:pt x="80" y="372"/>
                    <a:pt x="87" y="371"/>
                  </a:cubicBezTo>
                  <a:cubicBezTo>
                    <a:pt x="95" y="371"/>
                    <a:pt x="94" y="369"/>
                    <a:pt x="97" y="364"/>
                  </a:cubicBezTo>
                  <a:cubicBezTo>
                    <a:pt x="101" y="360"/>
                    <a:pt x="118" y="361"/>
                    <a:pt x="135" y="362"/>
                  </a:cubicBezTo>
                  <a:cubicBezTo>
                    <a:pt x="152" y="363"/>
                    <a:pt x="159" y="358"/>
                    <a:pt x="162" y="351"/>
                  </a:cubicBezTo>
                  <a:cubicBezTo>
                    <a:pt x="164" y="344"/>
                    <a:pt x="177" y="344"/>
                    <a:pt x="181" y="340"/>
                  </a:cubicBezTo>
                  <a:cubicBezTo>
                    <a:pt x="186" y="335"/>
                    <a:pt x="190" y="335"/>
                    <a:pt x="203" y="335"/>
                  </a:cubicBezTo>
                  <a:cubicBezTo>
                    <a:pt x="216" y="336"/>
                    <a:pt x="227" y="329"/>
                    <a:pt x="235" y="326"/>
                  </a:cubicBezTo>
                  <a:cubicBezTo>
                    <a:pt x="243" y="323"/>
                    <a:pt x="258" y="324"/>
                    <a:pt x="266" y="322"/>
                  </a:cubicBezTo>
                  <a:cubicBezTo>
                    <a:pt x="274" y="320"/>
                    <a:pt x="275" y="332"/>
                    <a:pt x="284" y="331"/>
                  </a:cubicBezTo>
                  <a:cubicBezTo>
                    <a:pt x="292" y="330"/>
                    <a:pt x="296" y="333"/>
                    <a:pt x="301" y="333"/>
                  </a:cubicBezTo>
                  <a:cubicBezTo>
                    <a:pt x="305" y="333"/>
                    <a:pt x="305" y="336"/>
                    <a:pt x="309" y="337"/>
                  </a:cubicBezTo>
                  <a:cubicBezTo>
                    <a:pt x="314" y="338"/>
                    <a:pt x="313" y="342"/>
                    <a:pt x="310" y="346"/>
                  </a:cubicBezTo>
                  <a:cubicBezTo>
                    <a:pt x="307" y="351"/>
                    <a:pt x="317" y="350"/>
                    <a:pt x="323" y="359"/>
                  </a:cubicBezTo>
                  <a:cubicBezTo>
                    <a:pt x="329" y="367"/>
                    <a:pt x="323" y="368"/>
                    <a:pt x="327" y="375"/>
                  </a:cubicBezTo>
                  <a:cubicBezTo>
                    <a:pt x="330" y="381"/>
                    <a:pt x="332" y="380"/>
                    <a:pt x="338" y="371"/>
                  </a:cubicBezTo>
                  <a:cubicBezTo>
                    <a:pt x="345" y="362"/>
                    <a:pt x="352" y="367"/>
                    <a:pt x="353" y="360"/>
                  </a:cubicBezTo>
                  <a:cubicBezTo>
                    <a:pt x="354" y="352"/>
                    <a:pt x="361" y="343"/>
                    <a:pt x="365" y="347"/>
                  </a:cubicBezTo>
                  <a:cubicBezTo>
                    <a:pt x="370" y="351"/>
                    <a:pt x="362" y="352"/>
                    <a:pt x="359" y="367"/>
                  </a:cubicBezTo>
                  <a:cubicBezTo>
                    <a:pt x="356" y="382"/>
                    <a:pt x="351" y="374"/>
                    <a:pt x="350" y="379"/>
                  </a:cubicBezTo>
                  <a:cubicBezTo>
                    <a:pt x="349" y="383"/>
                    <a:pt x="364" y="385"/>
                    <a:pt x="364" y="377"/>
                  </a:cubicBezTo>
                  <a:cubicBezTo>
                    <a:pt x="364" y="370"/>
                    <a:pt x="366" y="366"/>
                    <a:pt x="372" y="373"/>
                  </a:cubicBezTo>
                  <a:cubicBezTo>
                    <a:pt x="377" y="380"/>
                    <a:pt x="368" y="386"/>
                    <a:pt x="370" y="389"/>
                  </a:cubicBezTo>
                  <a:cubicBezTo>
                    <a:pt x="371" y="392"/>
                    <a:pt x="377" y="388"/>
                    <a:pt x="380" y="389"/>
                  </a:cubicBezTo>
                  <a:cubicBezTo>
                    <a:pt x="386" y="389"/>
                    <a:pt x="394" y="402"/>
                    <a:pt x="393" y="409"/>
                  </a:cubicBezTo>
                  <a:cubicBezTo>
                    <a:pt x="391" y="415"/>
                    <a:pt x="389" y="422"/>
                    <a:pt x="400" y="427"/>
                  </a:cubicBezTo>
                  <a:cubicBezTo>
                    <a:pt x="411" y="433"/>
                    <a:pt x="407" y="434"/>
                    <a:pt x="415" y="434"/>
                  </a:cubicBezTo>
                  <a:cubicBezTo>
                    <a:pt x="423" y="434"/>
                    <a:pt x="440" y="440"/>
                    <a:pt x="445" y="444"/>
                  </a:cubicBezTo>
                  <a:cubicBezTo>
                    <a:pt x="449" y="448"/>
                    <a:pt x="461" y="441"/>
                    <a:pt x="463" y="433"/>
                  </a:cubicBezTo>
                  <a:cubicBezTo>
                    <a:pt x="465" y="426"/>
                    <a:pt x="474" y="433"/>
                    <a:pt x="469" y="436"/>
                  </a:cubicBezTo>
                  <a:cubicBezTo>
                    <a:pt x="465" y="438"/>
                    <a:pt x="471" y="444"/>
                    <a:pt x="472" y="440"/>
                  </a:cubicBezTo>
                  <a:cubicBezTo>
                    <a:pt x="472" y="436"/>
                    <a:pt x="474" y="432"/>
                    <a:pt x="476" y="437"/>
                  </a:cubicBezTo>
                  <a:cubicBezTo>
                    <a:pt x="477" y="442"/>
                    <a:pt x="483" y="442"/>
                    <a:pt x="485" y="446"/>
                  </a:cubicBezTo>
                  <a:cubicBezTo>
                    <a:pt x="488" y="450"/>
                    <a:pt x="490" y="453"/>
                    <a:pt x="490" y="450"/>
                  </a:cubicBezTo>
                  <a:cubicBezTo>
                    <a:pt x="490" y="446"/>
                    <a:pt x="491" y="443"/>
                    <a:pt x="497" y="442"/>
                  </a:cubicBezTo>
                  <a:cubicBezTo>
                    <a:pt x="502" y="440"/>
                    <a:pt x="505" y="436"/>
                    <a:pt x="510" y="432"/>
                  </a:cubicBezTo>
                  <a:cubicBezTo>
                    <a:pt x="516" y="427"/>
                    <a:pt x="538" y="426"/>
                    <a:pt x="541" y="426"/>
                  </a:cubicBezTo>
                  <a:cubicBezTo>
                    <a:pt x="543" y="426"/>
                    <a:pt x="544" y="407"/>
                    <a:pt x="546" y="397"/>
                  </a:cubicBezTo>
                  <a:cubicBezTo>
                    <a:pt x="547" y="387"/>
                    <a:pt x="555" y="385"/>
                    <a:pt x="557" y="374"/>
                  </a:cubicBezTo>
                  <a:cubicBezTo>
                    <a:pt x="558" y="364"/>
                    <a:pt x="569" y="344"/>
                    <a:pt x="572" y="343"/>
                  </a:cubicBezTo>
                  <a:cubicBezTo>
                    <a:pt x="575" y="342"/>
                    <a:pt x="580" y="339"/>
                    <a:pt x="581" y="333"/>
                  </a:cubicBezTo>
                  <a:cubicBezTo>
                    <a:pt x="581" y="327"/>
                    <a:pt x="588" y="320"/>
                    <a:pt x="588" y="313"/>
                  </a:cubicBezTo>
                  <a:cubicBezTo>
                    <a:pt x="588" y="305"/>
                    <a:pt x="593" y="297"/>
                    <a:pt x="592" y="294"/>
                  </a:cubicBezTo>
                  <a:cubicBezTo>
                    <a:pt x="591" y="292"/>
                    <a:pt x="589" y="285"/>
                    <a:pt x="594" y="280"/>
                  </a:cubicBezTo>
                  <a:cubicBezTo>
                    <a:pt x="598" y="275"/>
                    <a:pt x="592" y="269"/>
                    <a:pt x="594" y="267"/>
                  </a:cubicBezTo>
                  <a:close/>
                  <a:moveTo>
                    <a:pt x="271" y="14"/>
                  </a:moveTo>
                  <a:cubicBezTo>
                    <a:pt x="270" y="10"/>
                    <a:pt x="247" y="15"/>
                    <a:pt x="252" y="19"/>
                  </a:cubicBezTo>
                  <a:cubicBezTo>
                    <a:pt x="256" y="21"/>
                    <a:pt x="272" y="18"/>
                    <a:pt x="271" y="14"/>
                  </a:cubicBezTo>
                  <a:close/>
                  <a:moveTo>
                    <a:pt x="344" y="396"/>
                  </a:moveTo>
                  <a:cubicBezTo>
                    <a:pt x="347" y="399"/>
                    <a:pt x="359" y="398"/>
                    <a:pt x="361" y="394"/>
                  </a:cubicBezTo>
                  <a:cubicBezTo>
                    <a:pt x="363" y="389"/>
                    <a:pt x="340" y="393"/>
                    <a:pt x="344" y="396"/>
                  </a:cubicBezTo>
                  <a:close/>
                  <a:moveTo>
                    <a:pt x="489" y="486"/>
                  </a:moveTo>
                  <a:cubicBezTo>
                    <a:pt x="481" y="487"/>
                    <a:pt x="468" y="478"/>
                    <a:pt x="465" y="479"/>
                  </a:cubicBezTo>
                  <a:cubicBezTo>
                    <a:pt x="461" y="480"/>
                    <a:pt x="476" y="502"/>
                    <a:pt x="471" y="508"/>
                  </a:cubicBezTo>
                  <a:cubicBezTo>
                    <a:pt x="467" y="513"/>
                    <a:pt x="485" y="529"/>
                    <a:pt x="491" y="530"/>
                  </a:cubicBezTo>
                  <a:cubicBezTo>
                    <a:pt x="497" y="531"/>
                    <a:pt x="495" y="524"/>
                    <a:pt x="499" y="524"/>
                  </a:cubicBezTo>
                  <a:cubicBezTo>
                    <a:pt x="503" y="525"/>
                    <a:pt x="501" y="520"/>
                    <a:pt x="502" y="517"/>
                  </a:cubicBezTo>
                  <a:cubicBezTo>
                    <a:pt x="503" y="514"/>
                    <a:pt x="507" y="521"/>
                    <a:pt x="510" y="519"/>
                  </a:cubicBezTo>
                  <a:cubicBezTo>
                    <a:pt x="514" y="517"/>
                    <a:pt x="509" y="503"/>
                    <a:pt x="515" y="503"/>
                  </a:cubicBezTo>
                  <a:cubicBezTo>
                    <a:pt x="520" y="503"/>
                    <a:pt x="516" y="486"/>
                    <a:pt x="514" y="481"/>
                  </a:cubicBezTo>
                  <a:cubicBezTo>
                    <a:pt x="512" y="475"/>
                    <a:pt x="498" y="485"/>
                    <a:pt x="489" y="486"/>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0" name="Freeform 338"/>
            <p:cNvSpPr>
              <a:spLocks noEditPoints="1"/>
            </p:cNvSpPr>
            <p:nvPr/>
          </p:nvSpPr>
          <p:spPr>
            <a:xfrm>
              <a:off x="8864601" y="4722813"/>
              <a:ext cx="307975" cy="368300"/>
            </a:xfrm>
            <a:custGeom>
              <a:gdLst>
                <a:gd name="T0" fmla="*/ 112 w 181"/>
                <a:gd name="T1" fmla="*/ 105 h 217"/>
                <a:gd name="T2" fmla="*/ 100 w 181"/>
                <a:gd name="T3" fmla="*/ 108 h 217"/>
                <a:gd name="T4" fmla="*/ 86 w 181"/>
                <a:gd name="T5" fmla="*/ 103 h 217"/>
                <a:gd name="T6" fmla="*/ 79 w 181"/>
                <a:gd name="T7" fmla="*/ 115 h 217"/>
                <a:gd name="T8" fmla="*/ 67 w 181"/>
                <a:gd name="T9" fmla="*/ 135 h 217"/>
                <a:gd name="T10" fmla="*/ 27 w 181"/>
                <a:gd name="T11" fmla="*/ 162 h 217"/>
                <a:gd name="T12" fmla="*/ 8 w 181"/>
                <a:gd name="T13" fmla="*/ 179 h 217"/>
                <a:gd name="T14" fmla="*/ 5 w 181"/>
                <a:gd name="T15" fmla="*/ 195 h 217"/>
                <a:gd name="T16" fmla="*/ 18 w 181"/>
                <a:gd name="T17" fmla="*/ 201 h 217"/>
                <a:gd name="T18" fmla="*/ 28 w 181"/>
                <a:gd name="T19" fmla="*/ 205 h 217"/>
                <a:gd name="T20" fmla="*/ 55 w 181"/>
                <a:gd name="T21" fmla="*/ 199 h 217"/>
                <a:gd name="T22" fmla="*/ 65 w 181"/>
                <a:gd name="T23" fmla="*/ 182 h 217"/>
                <a:gd name="T24" fmla="*/ 72 w 181"/>
                <a:gd name="T25" fmla="*/ 167 h 217"/>
                <a:gd name="T26" fmla="*/ 88 w 181"/>
                <a:gd name="T27" fmla="*/ 157 h 217"/>
                <a:gd name="T28" fmla="*/ 93 w 181"/>
                <a:gd name="T29" fmla="*/ 149 h 217"/>
                <a:gd name="T30" fmla="*/ 103 w 181"/>
                <a:gd name="T31" fmla="*/ 136 h 217"/>
                <a:gd name="T32" fmla="*/ 114 w 181"/>
                <a:gd name="T33" fmla="*/ 117 h 217"/>
                <a:gd name="T34" fmla="*/ 112 w 181"/>
                <a:gd name="T35" fmla="*/ 105 h 217"/>
                <a:gd name="T36" fmla="*/ 19 w 181"/>
                <a:gd name="T37" fmla="*/ 216 h 217"/>
                <a:gd name="T38" fmla="*/ 24 w 181"/>
                <a:gd name="T39" fmla="*/ 210 h 217"/>
                <a:gd name="T40" fmla="*/ 19 w 181"/>
                <a:gd name="T41" fmla="*/ 216 h 217"/>
                <a:gd name="T42" fmla="*/ 165 w 181"/>
                <a:gd name="T43" fmla="*/ 53 h 217"/>
                <a:gd name="T44" fmla="*/ 150 w 181"/>
                <a:gd name="T45" fmla="*/ 52 h 217"/>
                <a:gd name="T46" fmla="*/ 142 w 181"/>
                <a:gd name="T47" fmla="*/ 43 h 217"/>
                <a:gd name="T48" fmla="*/ 135 w 181"/>
                <a:gd name="T49" fmla="*/ 31 h 217"/>
                <a:gd name="T50" fmla="*/ 135 w 181"/>
                <a:gd name="T51" fmla="*/ 39 h 217"/>
                <a:gd name="T52" fmla="*/ 129 w 181"/>
                <a:gd name="T53" fmla="*/ 36 h 217"/>
                <a:gd name="T54" fmla="*/ 124 w 181"/>
                <a:gd name="T55" fmla="*/ 26 h 217"/>
                <a:gd name="T56" fmla="*/ 118 w 181"/>
                <a:gd name="T57" fmla="*/ 13 h 217"/>
                <a:gd name="T58" fmla="*/ 100 w 181"/>
                <a:gd name="T59" fmla="*/ 0 h 217"/>
                <a:gd name="T60" fmla="*/ 105 w 181"/>
                <a:gd name="T61" fmla="*/ 15 h 217"/>
                <a:gd name="T62" fmla="*/ 115 w 181"/>
                <a:gd name="T63" fmla="*/ 26 h 217"/>
                <a:gd name="T64" fmla="*/ 123 w 181"/>
                <a:gd name="T65" fmla="*/ 37 h 217"/>
                <a:gd name="T66" fmla="*/ 121 w 181"/>
                <a:gd name="T67" fmla="*/ 59 h 217"/>
                <a:gd name="T68" fmla="*/ 109 w 181"/>
                <a:gd name="T69" fmla="*/ 72 h 217"/>
                <a:gd name="T70" fmla="*/ 128 w 181"/>
                <a:gd name="T71" fmla="*/ 90 h 217"/>
                <a:gd name="T72" fmla="*/ 124 w 181"/>
                <a:gd name="T73" fmla="*/ 113 h 217"/>
                <a:gd name="T74" fmla="*/ 137 w 181"/>
                <a:gd name="T75" fmla="*/ 115 h 217"/>
                <a:gd name="T76" fmla="*/ 154 w 181"/>
                <a:gd name="T77" fmla="*/ 92 h 217"/>
                <a:gd name="T78" fmla="*/ 158 w 181"/>
                <a:gd name="T79" fmla="*/ 77 h 217"/>
                <a:gd name="T80" fmla="*/ 168 w 181"/>
                <a:gd name="T81" fmla="*/ 74 h 217"/>
                <a:gd name="T82" fmla="*/ 174 w 181"/>
                <a:gd name="T83" fmla="*/ 65 h 217"/>
                <a:gd name="T84" fmla="*/ 179 w 181"/>
                <a:gd name="T85" fmla="*/ 52 h 217"/>
                <a:gd name="T86" fmla="*/ 165 w 181"/>
                <a:gd name="T87" fmla="*/ 53 h 2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217">
                  <a:moveTo>
                    <a:pt x="112" y="105"/>
                  </a:moveTo>
                  <a:cubicBezTo>
                    <a:pt x="107" y="102"/>
                    <a:pt x="105" y="106"/>
                    <a:pt x="100" y="108"/>
                  </a:cubicBezTo>
                  <a:cubicBezTo>
                    <a:pt x="96" y="111"/>
                    <a:pt x="92" y="98"/>
                    <a:pt x="86" y="103"/>
                  </a:cubicBezTo>
                  <a:cubicBezTo>
                    <a:pt x="80" y="107"/>
                    <a:pt x="86" y="109"/>
                    <a:pt x="79" y="115"/>
                  </a:cubicBezTo>
                  <a:cubicBezTo>
                    <a:pt x="72" y="121"/>
                    <a:pt x="75" y="123"/>
                    <a:pt x="67" y="135"/>
                  </a:cubicBezTo>
                  <a:cubicBezTo>
                    <a:pt x="59" y="148"/>
                    <a:pt x="31" y="155"/>
                    <a:pt x="27" y="162"/>
                  </a:cubicBezTo>
                  <a:cubicBezTo>
                    <a:pt x="23" y="169"/>
                    <a:pt x="9" y="174"/>
                    <a:pt x="8" y="179"/>
                  </a:cubicBezTo>
                  <a:cubicBezTo>
                    <a:pt x="8" y="185"/>
                    <a:pt x="0" y="188"/>
                    <a:pt x="5" y="195"/>
                  </a:cubicBezTo>
                  <a:cubicBezTo>
                    <a:pt x="8" y="201"/>
                    <a:pt x="14" y="197"/>
                    <a:pt x="18" y="201"/>
                  </a:cubicBezTo>
                  <a:cubicBezTo>
                    <a:pt x="22" y="205"/>
                    <a:pt x="26" y="202"/>
                    <a:pt x="28" y="205"/>
                  </a:cubicBezTo>
                  <a:cubicBezTo>
                    <a:pt x="30" y="209"/>
                    <a:pt x="44" y="209"/>
                    <a:pt x="55" y="199"/>
                  </a:cubicBezTo>
                  <a:cubicBezTo>
                    <a:pt x="66" y="189"/>
                    <a:pt x="60" y="185"/>
                    <a:pt x="65" y="182"/>
                  </a:cubicBezTo>
                  <a:cubicBezTo>
                    <a:pt x="69" y="180"/>
                    <a:pt x="69" y="172"/>
                    <a:pt x="72" y="167"/>
                  </a:cubicBezTo>
                  <a:cubicBezTo>
                    <a:pt x="75" y="162"/>
                    <a:pt x="76" y="157"/>
                    <a:pt x="88" y="157"/>
                  </a:cubicBezTo>
                  <a:cubicBezTo>
                    <a:pt x="100" y="157"/>
                    <a:pt x="94" y="155"/>
                    <a:pt x="93" y="149"/>
                  </a:cubicBezTo>
                  <a:cubicBezTo>
                    <a:pt x="92" y="144"/>
                    <a:pt x="103" y="143"/>
                    <a:pt x="103" y="136"/>
                  </a:cubicBezTo>
                  <a:cubicBezTo>
                    <a:pt x="103" y="129"/>
                    <a:pt x="117" y="122"/>
                    <a:pt x="114" y="117"/>
                  </a:cubicBezTo>
                  <a:cubicBezTo>
                    <a:pt x="111" y="111"/>
                    <a:pt x="116" y="108"/>
                    <a:pt x="112" y="105"/>
                  </a:cubicBezTo>
                  <a:close/>
                  <a:moveTo>
                    <a:pt x="19" y="216"/>
                  </a:moveTo>
                  <a:cubicBezTo>
                    <a:pt x="21" y="217"/>
                    <a:pt x="28" y="215"/>
                    <a:pt x="24" y="210"/>
                  </a:cubicBezTo>
                  <a:cubicBezTo>
                    <a:pt x="20" y="205"/>
                    <a:pt x="13" y="215"/>
                    <a:pt x="19" y="216"/>
                  </a:cubicBezTo>
                  <a:close/>
                  <a:moveTo>
                    <a:pt x="165" y="53"/>
                  </a:moveTo>
                  <a:cubicBezTo>
                    <a:pt x="162" y="58"/>
                    <a:pt x="156" y="52"/>
                    <a:pt x="150" y="52"/>
                  </a:cubicBezTo>
                  <a:cubicBezTo>
                    <a:pt x="145" y="52"/>
                    <a:pt x="142" y="48"/>
                    <a:pt x="142" y="43"/>
                  </a:cubicBezTo>
                  <a:cubicBezTo>
                    <a:pt x="142" y="38"/>
                    <a:pt x="140" y="31"/>
                    <a:pt x="135" y="31"/>
                  </a:cubicBezTo>
                  <a:cubicBezTo>
                    <a:pt x="130" y="32"/>
                    <a:pt x="137" y="37"/>
                    <a:pt x="135" y="39"/>
                  </a:cubicBezTo>
                  <a:cubicBezTo>
                    <a:pt x="133" y="42"/>
                    <a:pt x="132" y="36"/>
                    <a:pt x="129" y="36"/>
                  </a:cubicBezTo>
                  <a:cubicBezTo>
                    <a:pt x="126" y="36"/>
                    <a:pt x="124" y="33"/>
                    <a:pt x="124" y="26"/>
                  </a:cubicBezTo>
                  <a:cubicBezTo>
                    <a:pt x="124" y="20"/>
                    <a:pt x="118" y="21"/>
                    <a:pt x="118" y="13"/>
                  </a:cubicBezTo>
                  <a:cubicBezTo>
                    <a:pt x="118" y="6"/>
                    <a:pt x="106" y="0"/>
                    <a:pt x="100" y="0"/>
                  </a:cubicBezTo>
                  <a:cubicBezTo>
                    <a:pt x="94" y="0"/>
                    <a:pt x="101" y="12"/>
                    <a:pt x="105" y="15"/>
                  </a:cubicBezTo>
                  <a:cubicBezTo>
                    <a:pt x="108" y="19"/>
                    <a:pt x="115" y="23"/>
                    <a:pt x="115" y="26"/>
                  </a:cubicBezTo>
                  <a:cubicBezTo>
                    <a:pt x="114" y="29"/>
                    <a:pt x="119" y="36"/>
                    <a:pt x="123" y="37"/>
                  </a:cubicBezTo>
                  <a:cubicBezTo>
                    <a:pt x="127" y="39"/>
                    <a:pt x="121" y="50"/>
                    <a:pt x="121" y="59"/>
                  </a:cubicBezTo>
                  <a:cubicBezTo>
                    <a:pt x="121" y="68"/>
                    <a:pt x="114" y="66"/>
                    <a:pt x="109" y="72"/>
                  </a:cubicBezTo>
                  <a:cubicBezTo>
                    <a:pt x="104" y="78"/>
                    <a:pt x="121" y="84"/>
                    <a:pt x="128" y="90"/>
                  </a:cubicBezTo>
                  <a:cubicBezTo>
                    <a:pt x="136" y="95"/>
                    <a:pt x="122" y="110"/>
                    <a:pt x="124" y="113"/>
                  </a:cubicBezTo>
                  <a:cubicBezTo>
                    <a:pt x="125" y="114"/>
                    <a:pt x="130" y="117"/>
                    <a:pt x="137" y="115"/>
                  </a:cubicBezTo>
                  <a:cubicBezTo>
                    <a:pt x="145" y="113"/>
                    <a:pt x="148" y="97"/>
                    <a:pt x="154" y="92"/>
                  </a:cubicBezTo>
                  <a:cubicBezTo>
                    <a:pt x="159" y="88"/>
                    <a:pt x="156" y="81"/>
                    <a:pt x="158" y="77"/>
                  </a:cubicBezTo>
                  <a:cubicBezTo>
                    <a:pt x="161" y="74"/>
                    <a:pt x="164" y="74"/>
                    <a:pt x="168" y="74"/>
                  </a:cubicBezTo>
                  <a:cubicBezTo>
                    <a:pt x="171" y="74"/>
                    <a:pt x="169" y="65"/>
                    <a:pt x="174" y="65"/>
                  </a:cubicBezTo>
                  <a:cubicBezTo>
                    <a:pt x="178" y="65"/>
                    <a:pt x="176" y="59"/>
                    <a:pt x="179" y="52"/>
                  </a:cubicBezTo>
                  <a:cubicBezTo>
                    <a:pt x="181" y="45"/>
                    <a:pt x="167" y="48"/>
                    <a:pt x="165" y="5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1" name="Freeform 339"/>
            <p:cNvSpPr>
              <a:spLocks noEditPoints="1"/>
            </p:cNvSpPr>
            <p:nvPr/>
          </p:nvSpPr>
          <p:spPr>
            <a:xfrm>
              <a:off x="9134476" y="4222750"/>
              <a:ext cx="68263" cy="61913"/>
            </a:xfrm>
            <a:custGeom>
              <a:gdLst>
                <a:gd name="T0" fmla="*/ 5 w 40"/>
                <a:gd name="T1" fmla="*/ 30 h 36"/>
                <a:gd name="T2" fmla="*/ 21 w 40"/>
                <a:gd name="T3" fmla="*/ 26 h 36"/>
                <a:gd name="T4" fmla="*/ 5 w 40"/>
                <a:gd name="T5" fmla="*/ 30 h 36"/>
                <a:gd name="T6" fmla="*/ 25 w 40"/>
                <a:gd name="T7" fmla="*/ 13 h 36"/>
                <a:gd name="T8" fmla="*/ 40 w 40"/>
                <a:gd name="T9" fmla="*/ 5 h 36"/>
                <a:gd name="T10" fmla="*/ 25 w 40"/>
                <a:gd name="T11" fmla="*/ 13 h 36"/>
              </a:gdLst>
              <a:cxnLst>
                <a:cxn ang="0">
                  <a:pos x="T0" y="T1"/>
                </a:cxn>
                <a:cxn ang="0">
                  <a:pos x="T2" y="T3"/>
                </a:cxn>
                <a:cxn ang="0">
                  <a:pos x="T4" y="T5"/>
                </a:cxn>
                <a:cxn ang="0">
                  <a:pos x="T6" y="T7"/>
                </a:cxn>
                <a:cxn ang="0">
                  <a:pos x="T8" y="T9"/>
                </a:cxn>
                <a:cxn ang="0">
                  <a:pos x="T10" y="T11"/>
                </a:cxn>
              </a:cxnLst>
              <a:rect l="0" t="0" r="r" b="b"/>
              <a:pathLst>
                <a:path w="40" h="36">
                  <a:moveTo>
                    <a:pt x="5" y="30"/>
                  </a:moveTo>
                  <a:cubicBezTo>
                    <a:pt x="10" y="36"/>
                    <a:pt x="21" y="35"/>
                    <a:pt x="21" y="26"/>
                  </a:cubicBezTo>
                  <a:cubicBezTo>
                    <a:pt x="22" y="17"/>
                    <a:pt x="0" y="26"/>
                    <a:pt x="5" y="30"/>
                  </a:cubicBezTo>
                  <a:close/>
                  <a:moveTo>
                    <a:pt x="25" y="13"/>
                  </a:moveTo>
                  <a:cubicBezTo>
                    <a:pt x="28" y="15"/>
                    <a:pt x="40" y="11"/>
                    <a:pt x="40" y="5"/>
                  </a:cubicBezTo>
                  <a:cubicBezTo>
                    <a:pt x="40" y="0"/>
                    <a:pt x="19" y="11"/>
                    <a:pt x="25"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2" name="Freeform 340"/>
            <p:cNvSpPr/>
            <p:nvPr/>
          </p:nvSpPr>
          <p:spPr>
            <a:xfrm>
              <a:off x="6072188" y="2678113"/>
              <a:ext cx="352425" cy="225425"/>
            </a:xfrm>
            <a:custGeom>
              <a:gdLst>
                <a:gd name="T0" fmla="*/ 207 w 208"/>
                <a:gd name="T1" fmla="*/ 83 h 132"/>
                <a:gd name="T2" fmla="*/ 194 w 208"/>
                <a:gd name="T3" fmla="*/ 78 h 132"/>
                <a:gd name="T4" fmla="*/ 179 w 208"/>
                <a:gd name="T5" fmla="*/ 69 h 132"/>
                <a:gd name="T6" fmla="*/ 163 w 208"/>
                <a:gd name="T7" fmla="*/ 59 h 132"/>
                <a:gd name="T8" fmla="*/ 148 w 208"/>
                <a:gd name="T9" fmla="*/ 48 h 132"/>
                <a:gd name="T10" fmla="*/ 142 w 208"/>
                <a:gd name="T11" fmla="*/ 36 h 132"/>
                <a:gd name="T12" fmla="*/ 136 w 208"/>
                <a:gd name="T13" fmla="*/ 26 h 132"/>
                <a:gd name="T14" fmla="*/ 114 w 208"/>
                <a:gd name="T15" fmla="*/ 24 h 132"/>
                <a:gd name="T16" fmla="*/ 109 w 208"/>
                <a:gd name="T17" fmla="*/ 8 h 132"/>
                <a:gd name="T18" fmla="*/ 98 w 208"/>
                <a:gd name="T19" fmla="*/ 4 h 132"/>
                <a:gd name="T20" fmla="*/ 87 w 208"/>
                <a:gd name="T21" fmla="*/ 2 h 132"/>
                <a:gd name="T22" fmla="*/ 81 w 208"/>
                <a:gd name="T23" fmla="*/ 5 h 132"/>
                <a:gd name="T24" fmla="*/ 76 w 208"/>
                <a:gd name="T25" fmla="*/ 10 h 132"/>
                <a:gd name="T26" fmla="*/ 66 w 208"/>
                <a:gd name="T27" fmla="*/ 18 h 132"/>
                <a:gd name="T28" fmla="*/ 61 w 208"/>
                <a:gd name="T29" fmla="*/ 25 h 132"/>
                <a:gd name="T30" fmla="*/ 50 w 208"/>
                <a:gd name="T31" fmla="*/ 23 h 132"/>
                <a:gd name="T32" fmla="*/ 40 w 208"/>
                <a:gd name="T33" fmla="*/ 20 h 132"/>
                <a:gd name="T34" fmla="*/ 22 w 208"/>
                <a:gd name="T35" fmla="*/ 6 h 132"/>
                <a:gd name="T36" fmla="*/ 7 w 208"/>
                <a:gd name="T37" fmla="*/ 14 h 132"/>
                <a:gd name="T38" fmla="*/ 14 w 208"/>
                <a:gd name="T39" fmla="*/ 12 h 132"/>
                <a:gd name="T40" fmla="*/ 25 w 208"/>
                <a:gd name="T41" fmla="*/ 25 h 132"/>
                <a:gd name="T42" fmla="*/ 32 w 208"/>
                <a:gd name="T43" fmla="*/ 34 h 132"/>
                <a:gd name="T44" fmla="*/ 18 w 208"/>
                <a:gd name="T45" fmla="*/ 37 h 132"/>
                <a:gd name="T46" fmla="*/ 4 w 208"/>
                <a:gd name="T47" fmla="*/ 37 h 132"/>
                <a:gd name="T48" fmla="*/ 7 w 208"/>
                <a:gd name="T49" fmla="*/ 49 h 132"/>
                <a:gd name="T50" fmla="*/ 8 w 208"/>
                <a:gd name="T51" fmla="*/ 58 h 132"/>
                <a:gd name="T52" fmla="*/ 16 w 208"/>
                <a:gd name="T53" fmla="*/ 61 h 132"/>
                <a:gd name="T54" fmla="*/ 19 w 208"/>
                <a:gd name="T55" fmla="*/ 73 h 132"/>
                <a:gd name="T56" fmla="*/ 19 w 208"/>
                <a:gd name="T57" fmla="*/ 92 h 132"/>
                <a:gd name="T58" fmla="*/ 31 w 208"/>
                <a:gd name="T59" fmla="*/ 90 h 132"/>
                <a:gd name="T60" fmla="*/ 44 w 208"/>
                <a:gd name="T61" fmla="*/ 81 h 132"/>
                <a:gd name="T62" fmla="*/ 55 w 208"/>
                <a:gd name="T63" fmla="*/ 80 h 132"/>
                <a:gd name="T64" fmla="*/ 71 w 208"/>
                <a:gd name="T65" fmla="*/ 80 h 132"/>
                <a:gd name="T66" fmla="*/ 82 w 208"/>
                <a:gd name="T67" fmla="*/ 85 h 132"/>
                <a:gd name="T68" fmla="*/ 89 w 208"/>
                <a:gd name="T69" fmla="*/ 88 h 132"/>
                <a:gd name="T70" fmla="*/ 102 w 208"/>
                <a:gd name="T71" fmla="*/ 92 h 132"/>
                <a:gd name="T72" fmla="*/ 108 w 208"/>
                <a:gd name="T73" fmla="*/ 97 h 132"/>
                <a:gd name="T74" fmla="*/ 118 w 208"/>
                <a:gd name="T75" fmla="*/ 106 h 132"/>
                <a:gd name="T76" fmla="*/ 128 w 208"/>
                <a:gd name="T77" fmla="*/ 107 h 132"/>
                <a:gd name="T78" fmla="*/ 131 w 208"/>
                <a:gd name="T79" fmla="*/ 125 h 132"/>
                <a:gd name="T80" fmla="*/ 134 w 208"/>
                <a:gd name="T81" fmla="*/ 125 h 132"/>
                <a:gd name="T82" fmla="*/ 144 w 208"/>
                <a:gd name="T83" fmla="*/ 128 h 132"/>
                <a:gd name="T84" fmla="*/ 157 w 208"/>
                <a:gd name="T85" fmla="*/ 123 h 132"/>
                <a:gd name="T86" fmla="*/ 178 w 208"/>
                <a:gd name="T87" fmla="*/ 111 h 132"/>
                <a:gd name="T88" fmla="*/ 186 w 208"/>
                <a:gd name="T89" fmla="*/ 97 h 132"/>
                <a:gd name="T90" fmla="*/ 198 w 208"/>
                <a:gd name="T91" fmla="*/ 90 h 132"/>
                <a:gd name="T92" fmla="*/ 208 w 208"/>
                <a:gd name="T93" fmla="*/ 92 h 132"/>
                <a:gd name="T94" fmla="*/ 207 w 208"/>
                <a:gd name="T95" fmla="*/ 83 h 1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132">
                  <a:moveTo>
                    <a:pt x="207" y="83"/>
                  </a:moveTo>
                  <a:cubicBezTo>
                    <a:pt x="207" y="83"/>
                    <a:pt x="198" y="78"/>
                    <a:pt x="194" y="78"/>
                  </a:cubicBezTo>
                  <a:cubicBezTo>
                    <a:pt x="191" y="79"/>
                    <a:pt x="185" y="71"/>
                    <a:pt x="179" y="69"/>
                  </a:cubicBezTo>
                  <a:cubicBezTo>
                    <a:pt x="173" y="66"/>
                    <a:pt x="165" y="63"/>
                    <a:pt x="163" y="59"/>
                  </a:cubicBezTo>
                  <a:cubicBezTo>
                    <a:pt x="160" y="55"/>
                    <a:pt x="149" y="51"/>
                    <a:pt x="148" y="48"/>
                  </a:cubicBezTo>
                  <a:cubicBezTo>
                    <a:pt x="147" y="45"/>
                    <a:pt x="145" y="40"/>
                    <a:pt x="142" y="36"/>
                  </a:cubicBezTo>
                  <a:cubicBezTo>
                    <a:pt x="139" y="32"/>
                    <a:pt x="139" y="27"/>
                    <a:pt x="136" y="26"/>
                  </a:cubicBezTo>
                  <a:cubicBezTo>
                    <a:pt x="133" y="26"/>
                    <a:pt x="114" y="26"/>
                    <a:pt x="114" y="24"/>
                  </a:cubicBezTo>
                  <a:cubicBezTo>
                    <a:pt x="114" y="21"/>
                    <a:pt x="113" y="9"/>
                    <a:pt x="109" y="8"/>
                  </a:cubicBezTo>
                  <a:cubicBezTo>
                    <a:pt x="105" y="7"/>
                    <a:pt x="100" y="7"/>
                    <a:pt x="98" y="4"/>
                  </a:cubicBezTo>
                  <a:cubicBezTo>
                    <a:pt x="96" y="2"/>
                    <a:pt x="89" y="0"/>
                    <a:pt x="87" y="2"/>
                  </a:cubicBezTo>
                  <a:cubicBezTo>
                    <a:pt x="86" y="4"/>
                    <a:pt x="83" y="5"/>
                    <a:pt x="81" y="5"/>
                  </a:cubicBezTo>
                  <a:cubicBezTo>
                    <a:pt x="80" y="5"/>
                    <a:pt x="80" y="11"/>
                    <a:pt x="76" y="10"/>
                  </a:cubicBezTo>
                  <a:cubicBezTo>
                    <a:pt x="72" y="10"/>
                    <a:pt x="66" y="15"/>
                    <a:pt x="66" y="18"/>
                  </a:cubicBezTo>
                  <a:cubicBezTo>
                    <a:pt x="66" y="21"/>
                    <a:pt x="66" y="26"/>
                    <a:pt x="61" y="25"/>
                  </a:cubicBezTo>
                  <a:cubicBezTo>
                    <a:pt x="58" y="25"/>
                    <a:pt x="54" y="24"/>
                    <a:pt x="50" y="23"/>
                  </a:cubicBezTo>
                  <a:cubicBezTo>
                    <a:pt x="50" y="23"/>
                    <a:pt x="45" y="27"/>
                    <a:pt x="40" y="20"/>
                  </a:cubicBezTo>
                  <a:cubicBezTo>
                    <a:pt x="35" y="13"/>
                    <a:pt x="27" y="6"/>
                    <a:pt x="22" y="6"/>
                  </a:cubicBezTo>
                  <a:cubicBezTo>
                    <a:pt x="18" y="6"/>
                    <a:pt x="4" y="6"/>
                    <a:pt x="7" y="14"/>
                  </a:cubicBezTo>
                  <a:cubicBezTo>
                    <a:pt x="8" y="13"/>
                    <a:pt x="10" y="11"/>
                    <a:pt x="14" y="12"/>
                  </a:cubicBezTo>
                  <a:cubicBezTo>
                    <a:pt x="25" y="13"/>
                    <a:pt x="20" y="25"/>
                    <a:pt x="25" y="25"/>
                  </a:cubicBezTo>
                  <a:cubicBezTo>
                    <a:pt x="31" y="26"/>
                    <a:pt x="37" y="34"/>
                    <a:pt x="32" y="34"/>
                  </a:cubicBezTo>
                  <a:cubicBezTo>
                    <a:pt x="27" y="33"/>
                    <a:pt x="23" y="38"/>
                    <a:pt x="18" y="37"/>
                  </a:cubicBezTo>
                  <a:cubicBezTo>
                    <a:pt x="13" y="35"/>
                    <a:pt x="6" y="31"/>
                    <a:pt x="4" y="37"/>
                  </a:cubicBezTo>
                  <a:cubicBezTo>
                    <a:pt x="3" y="43"/>
                    <a:pt x="0" y="49"/>
                    <a:pt x="7" y="49"/>
                  </a:cubicBezTo>
                  <a:cubicBezTo>
                    <a:pt x="14" y="48"/>
                    <a:pt x="13" y="53"/>
                    <a:pt x="8" y="58"/>
                  </a:cubicBezTo>
                  <a:cubicBezTo>
                    <a:pt x="3" y="63"/>
                    <a:pt x="16" y="57"/>
                    <a:pt x="16" y="61"/>
                  </a:cubicBezTo>
                  <a:cubicBezTo>
                    <a:pt x="17" y="66"/>
                    <a:pt x="21" y="66"/>
                    <a:pt x="19" y="73"/>
                  </a:cubicBezTo>
                  <a:cubicBezTo>
                    <a:pt x="18" y="77"/>
                    <a:pt x="19" y="86"/>
                    <a:pt x="19" y="92"/>
                  </a:cubicBezTo>
                  <a:cubicBezTo>
                    <a:pt x="24" y="92"/>
                    <a:pt x="30" y="92"/>
                    <a:pt x="31" y="90"/>
                  </a:cubicBezTo>
                  <a:cubicBezTo>
                    <a:pt x="34" y="87"/>
                    <a:pt x="40" y="81"/>
                    <a:pt x="44" y="81"/>
                  </a:cubicBezTo>
                  <a:cubicBezTo>
                    <a:pt x="48" y="81"/>
                    <a:pt x="53" y="83"/>
                    <a:pt x="55" y="80"/>
                  </a:cubicBezTo>
                  <a:cubicBezTo>
                    <a:pt x="57" y="77"/>
                    <a:pt x="69" y="78"/>
                    <a:pt x="71" y="80"/>
                  </a:cubicBezTo>
                  <a:cubicBezTo>
                    <a:pt x="74" y="83"/>
                    <a:pt x="80" y="85"/>
                    <a:pt x="82" y="85"/>
                  </a:cubicBezTo>
                  <a:cubicBezTo>
                    <a:pt x="84" y="85"/>
                    <a:pt x="85" y="89"/>
                    <a:pt x="89" y="88"/>
                  </a:cubicBezTo>
                  <a:cubicBezTo>
                    <a:pt x="93" y="88"/>
                    <a:pt x="102" y="90"/>
                    <a:pt x="102" y="92"/>
                  </a:cubicBezTo>
                  <a:cubicBezTo>
                    <a:pt x="102" y="95"/>
                    <a:pt x="105" y="97"/>
                    <a:pt x="108" y="97"/>
                  </a:cubicBezTo>
                  <a:cubicBezTo>
                    <a:pt x="111" y="97"/>
                    <a:pt x="114" y="106"/>
                    <a:pt x="118" y="106"/>
                  </a:cubicBezTo>
                  <a:cubicBezTo>
                    <a:pt x="121" y="105"/>
                    <a:pt x="128" y="105"/>
                    <a:pt x="128" y="107"/>
                  </a:cubicBezTo>
                  <a:cubicBezTo>
                    <a:pt x="128" y="109"/>
                    <a:pt x="129" y="119"/>
                    <a:pt x="131" y="125"/>
                  </a:cubicBezTo>
                  <a:cubicBezTo>
                    <a:pt x="132" y="124"/>
                    <a:pt x="133" y="124"/>
                    <a:pt x="134" y="125"/>
                  </a:cubicBezTo>
                  <a:cubicBezTo>
                    <a:pt x="136" y="126"/>
                    <a:pt x="143" y="124"/>
                    <a:pt x="144" y="128"/>
                  </a:cubicBezTo>
                  <a:cubicBezTo>
                    <a:pt x="145" y="132"/>
                    <a:pt x="157" y="129"/>
                    <a:pt x="157" y="123"/>
                  </a:cubicBezTo>
                  <a:cubicBezTo>
                    <a:pt x="156" y="117"/>
                    <a:pt x="176" y="117"/>
                    <a:pt x="178" y="111"/>
                  </a:cubicBezTo>
                  <a:cubicBezTo>
                    <a:pt x="179" y="105"/>
                    <a:pt x="182" y="95"/>
                    <a:pt x="186" y="97"/>
                  </a:cubicBezTo>
                  <a:cubicBezTo>
                    <a:pt x="191" y="98"/>
                    <a:pt x="194" y="89"/>
                    <a:pt x="198" y="90"/>
                  </a:cubicBezTo>
                  <a:cubicBezTo>
                    <a:pt x="201" y="90"/>
                    <a:pt x="204" y="93"/>
                    <a:pt x="208" y="92"/>
                  </a:cubicBezTo>
                  <a:lnTo>
                    <a:pt x="207" y="83"/>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3" name="Freeform 341"/>
            <p:cNvSpPr/>
            <p:nvPr/>
          </p:nvSpPr>
          <p:spPr>
            <a:xfrm>
              <a:off x="5857876" y="2760663"/>
              <a:ext cx="487363" cy="412750"/>
            </a:xfrm>
            <a:custGeom>
              <a:gdLst>
                <a:gd name="T0" fmla="*/ 279 w 287"/>
                <a:gd name="T1" fmla="*/ 209 h 243"/>
                <a:gd name="T2" fmla="*/ 273 w 287"/>
                <a:gd name="T3" fmla="*/ 193 h 243"/>
                <a:gd name="T4" fmla="*/ 258 w 287"/>
                <a:gd name="T5" fmla="*/ 181 h 243"/>
                <a:gd name="T6" fmla="*/ 248 w 287"/>
                <a:gd name="T7" fmla="*/ 168 h 243"/>
                <a:gd name="T8" fmla="*/ 263 w 287"/>
                <a:gd name="T9" fmla="*/ 147 h 243"/>
                <a:gd name="T10" fmla="*/ 248 w 287"/>
                <a:gd name="T11" fmla="*/ 140 h 243"/>
                <a:gd name="T12" fmla="*/ 246 w 287"/>
                <a:gd name="T13" fmla="*/ 123 h 243"/>
                <a:gd name="T14" fmla="*/ 246 w 287"/>
                <a:gd name="T15" fmla="*/ 108 h 243"/>
                <a:gd name="T16" fmla="*/ 248 w 287"/>
                <a:gd name="T17" fmla="*/ 95 h 243"/>
                <a:gd name="T18" fmla="*/ 254 w 287"/>
                <a:gd name="T19" fmla="*/ 84 h 243"/>
                <a:gd name="T20" fmla="*/ 257 w 287"/>
                <a:gd name="T21" fmla="*/ 77 h 243"/>
                <a:gd name="T22" fmla="*/ 254 w 287"/>
                <a:gd name="T23" fmla="*/ 59 h 243"/>
                <a:gd name="T24" fmla="*/ 244 w 287"/>
                <a:gd name="T25" fmla="*/ 58 h 243"/>
                <a:gd name="T26" fmla="*/ 234 w 287"/>
                <a:gd name="T27" fmla="*/ 49 h 243"/>
                <a:gd name="T28" fmla="*/ 228 w 287"/>
                <a:gd name="T29" fmla="*/ 44 h 243"/>
                <a:gd name="T30" fmla="*/ 215 w 287"/>
                <a:gd name="T31" fmla="*/ 40 h 243"/>
                <a:gd name="T32" fmla="*/ 208 w 287"/>
                <a:gd name="T33" fmla="*/ 37 h 243"/>
                <a:gd name="T34" fmla="*/ 197 w 287"/>
                <a:gd name="T35" fmla="*/ 32 h 243"/>
                <a:gd name="T36" fmla="*/ 181 w 287"/>
                <a:gd name="T37" fmla="*/ 32 h 243"/>
                <a:gd name="T38" fmla="*/ 170 w 287"/>
                <a:gd name="T39" fmla="*/ 33 h 243"/>
                <a:gd name="T40" fmla="*/ 157 w 287"/>
                <a:gd name="T41" fmla="*/ 42 h 243"/>
                <a:gd name="T42" fmla="*/ 145 w 287"/>
                <a:gd name="T43" fmla="*/ 44 h 243"/>
                <a:gd name="T44" fmla="*/ 145 w 287"/>
                <a:gd name="T45" fmla="*/ 52 h 243"/>
                <a:gd name="T46" fmla="*/ 114 w 287"/>
                <a:gd name="T47" fmla="*/ 59 h 243"/>
                <a:gd name="T48" fmla="*/ 87 w 287"/>
                <a:gd name="T49" fmla="*/ 43 h 243"/>
                <a:gd name="T50" fmla="*/ 69 w 287"/>
                <a:gd name="T51" fmla="*/ 26 h 243"/>
                <a:gd name="T52" fmla="*/ 59 w 287"/>
                <a:gd name="T53" fmla="*/ 18 h 243"/>
                <a:gd name="T54" fmla="*/ 56 w 287"/>
                <a:gd name="T55" fmla="*/ 5 h 243"/>
                <a:gd name="T56" fmla="*/ 27 w 287"/>
                <a:gd name="T57" fmla="*/ 18 h 243"/>
                <a:gd name="T58" fmla="*/ 17 w 287"/>
                <a:gd name="T59" fmla="*/ 12 h 243"/>
                <a:gd name="T60" fmla="*/ 8 w 287"/>
                <a:gd name="T61" fmla="*/ 1 h 243"/>
                <a:gd name="T62" fmla="*/ 3 w 287"/>
                <a:gd name="T63" fmla="*/ 8 h 243"/>
                <a:gd name="T64" fmla="*/ 4 w 287"/>
                <a:gd name="T65" fmla="*/ 20 h 243"/>
                <a:gd name="T66" fmla="*/ 4 w 287"/>
                <a:gd name="T67" fmla="*/ 36 h 243"/>
                <a:gd name="T68" fmla="*/ 11 w 287"/>
                <a:gd name="T69" fmla="*/ 47 h 243"/>
                <a:gd name="T70" fmla="*/ 16 w 287"/>
                <a:gd name="T71" fmla="*/ 59 h 243"/>
                <a:gd name="T72" fmla="*/ 24 w 287"/>
                <a:gd name="T73" fmla="*/ 68 h 243"/>
                <a:gd name="T74" fmla="*/ 30 w 287"/>
                <a:gd name="T75" fmla="*/ 73 h 243"/>
                <a:gd name="T76" fmla="*/ 28 w 287"/>
                <a:gd name="T77" fmla="*/ 81 h 243"/>
                <a:gd name="T78" fmla="*/ 22 w 287"/>
                <a:gd name="T79" fmla="*/ 93 h 243"/>
                <a:gd name="T80" fmla="*/ 24 w 287"/>
                <a:gd name="T81" fmla="*/ 106 h 243"/>
                <a:gd name="T82" fmla="*/ 31 w 287"/>
                <a:gd name="T83" fmla="*/ 114 h 243"/>
                <a:gd name="T84" fmla="*/ 47 w 287"/>
                <a:gd name="T85" fmla="*/ 125 h 243"/>
                <a:gd name="T86" fmla="*/ 54 w 287"/>
                <a:gd name="T87" fmla="*/ 134 h 243"/>
                <a:gd name="T88" fmla="*/ 53 w 287"/>
                <a:gd name="T89" fmla="*/ 143 h 243"/>
                <a:gd name="T90" fmla="*/ 58 w 287"/>
                <a:gd name="T91" fmla="*/ 153 h 243"/>
                <a:gd name="T92" fmla="*/ 66 w 287"/>
                <a:gd name="T93" fmla="*/ 165 h 243"/>
                <a:gd name="T94" fmla="*/ 69 w 287"/>
                <a:gd name="T95" fmla="*/ 164 h 243"/>
                <a:gd name="T96" fmla="*/ 76 w 287"/>
                <a:gd name="T97" fmla="*/ 162 h 243"/>
                <a:gd name="T98" fmla="*/ 86 w 287"/>
                <a:gd name="T99" fmla="*/ 162 h 243"/>
                <a:gd name="T100" fmla="*/ 101 w 287"/>
                <a:gd name="T101" fmla="*/ 185 h 243"/>
                <a:gd name="T102" fmla="*/ 109 w 287"/>
                <a:gd name="T103" fmla="*/ 198 h 243"/>
                <a:gd name="T104" fmla="*/ 127 w 287"/>
                <a:gd name="T105" fmla="*/ 207 h 243"/>
                <a:gd name="T106" fmla="*/ 160 w 287"/>
                <a:gd name="T107" fmla="*/ 219 h 243"/>
                <a:gd name="T108" fmla="*/ 184 w 287"/>
                <a:gd name="T109" fmla="*/ 213 h 243"/>
                <a:gd name="T110" fmla="*/ 195 w 287"/>
                <a:gd name="T111" fmla="*/ 232 h 243"/>
                <a:gd name="T112" fmla="*/ 246 w 287"/>
                <a:gd name="T113" fmla="*/ 242 h 243"/>
                <a:gd name="T114" fmla="*/ 261 w 287"/>
                <a:gd name="T115" fmla="*/ 243 h 243"/>
                <a:gd name="T116" fmla="*/ 260 w 287"/>
                <a:gd name="T117" fmla="*/ 239 h 243"/>
                <a:gd name="T118" fmla="*/ 270 w 287"/>
                <a:gd name="T119" fmla="*/ 224 h 243"/>
                <a:gd name="T120" fmla="*/ 283 w 287"/>
                <a:gd name="T121" fmla="*/ 220 h 243"/>
                <a:gd name="T122" fmla="*/ 279 w 287"/>
                <a:gd name="T123" fmla="*/ 209 h 2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7" h="243">
                  <a:moveTo>
                    <a:pt x="279" y="209"/>
                  </a:moveTo>
                  <a:cubicBezTo>
                    <a:pt x="276" y="208"/>
                    <a:pt x="279" y="196"/>
                    <a:pt x="273" y="193"/>
                  </a:cubicBezTo>
                  <a:cubicBezTo>
                    <a:pt x="266" y="190"/>
                    <a:pt x="260" y="186"/>
                    <a:pt x="258" y="181"/>
                  </a:cubicBezTo>
                  <a:cubicBezTo>
                    <a:pt x="256" y="176"/>
                    <a:pt x="247" y="172"/>
                    <a:pt x="248" y="168"/>
                  </a:cubicBezTo>
                  <a:cubicBezTo>
                    <a:pt x="248" y="165"/>
                    <a:pt x="265" y="154"/>
                    <a:pt x="263" y="147"/>
                  </a:cubicBezTo>
                  <a:cubicBezTo>
                    <a:pt x="260" y="141"/>
                    <a:pt x="250" y="142"/>
                    <a:pt x="248" y="140"/>
                  </a:cubicBezTo>
                  <a:cubicBezTo>
                    <a:pt x="247" y="138"/>
                    <a:pt x="249" y="130"/>
                    <a:pt x="246" y="123"/>
                  </a:cubicBezTo>
                  <a:cubicBezTo>
                    <a:pt x="243" y="117"/>
                    <a:pt x="248" y="111"/>
                    <a:pt x="246" y="108"/>
                  </a:cubicBezTo>
                  <a:cubicBezTo>
                    <a:pt x="244" y="104"/>
                    <a:pt x="247" y="97"/>
                    <a:pt x="248" y="95"/>
                  </a:cubicBezTo>
                  <a:cubicBezTo>
                    <a:pt x="248" y="93"/>
                    <a:pt x="254" y="89"/>
                    <a:pt x="254" y="84"/>
                  </a:cubicBezTo>
                  <a:cubicBezTo>
                    <a:pt x="253" y="80"/>
                    <a:pt x="255" y="78"/>
                    <a:pt x="257" y="77"/>
                  </a:cubicBezTo>
                  <a:cubicBezTo>
                    <a:pt x="255" y="71"/>
                    <a:pt x="254" y="61"/>
                    <a:pt x="254" y="59"/>
                  </a:cubicBezTo>
                  <a:cubicBezTo>
                    <a:pt x="254" y="57"/>
                    <a:pt x="247" y="57"/>
                    <a:pt x="244" y="58"/>
                  </a:cubicBezTo>
                  <a:cubicBezTo>
                    <a:pt x="240" y="58"/>
                    <a:pt x="237" y="49"/>
                    <a:pt x="234" y="49"/>
                  </a:cubicBezTo>
                  <a:cubicBezTo>
                    <a:pt x="231" y="49"/>
                    <a:pt x="228" y="47"/>
                    <a:pt x="228" y="44"/>
                  </a:cubicBezTo>
                  <a:cubicBezTo>
                    <a:pt x="228" y="42"/>
                    <a:pt x="219" y="40"/>
                    <a:pt x="215" y="40"/>
                  </a:cubicBezTo>
                  <a:cubicBezTo>
                    <a:pt x="211" y="41"/>
                    <a:pt x="210" y="37"/>
                    <a:pt x="208" y="37"/>
                  </a:cubicBezTo>
                  <a:cubicBezTo>
                    <a:pt x="206" y="37"/>
                    <a:pt x="200" y="35"/>
                    <a:pt x="197" y="32"/>
                  </a:cubicBezTo>
                  <a:cubicBezTo>
                    <a:pt x="195" y="30"/>
                    <a:pt x="183" y="29"/>
                    <a:pt x="181" y="32"/>
                  </a:cubicBezTo>
                  <a:cubicBezTo>
                    <a:pt x="179" y="35"/>
                    <a:pt x="174" y="33"/>
                    <a:pt x="170" y="33"/>
                  </a:cubicBezTo>
                  <a:cubicBezTo>
                    <a:pt x="166" y="33"/>
                    <a:pt x="160" y="39"/>
                    <a:pt x="157" y="42"/>
                  </a:cubicBezTo>
                  <a:cubicBezTo>
                    <a:pt x="156" y="44"/>
                    <a:pt x="150" y="44"/>
                    <a:pt x="145" y="44"/>
                  </a:cubicBezTo>
                  <a:cubicBezTo>
                    <a:pt x="146" y="48"/>
                    <a:pt x="146" y="51"/>
                    <a:pt x="145" y="52"/>
                  </a:cubicBezTo>
                  <a:cubicBezTo>
                    <a:pt x="143" y="55"/>
                    <a:pt x="126" y="58"/>
                    <a:pt x="114" y="59"/>
                  </a:cubicBezTo>
                  <a:cubicBezTo>
                    <a:pt x="101" y="59"/>
                    <a:pt x="100" y="43"/>
                    <a:pt x="87" y="43"/>
                  </a:cubicBezTo>
                  <a:cubicBezTo>
                    <a:pt x="77" y="43"/>
                    <a:pt x="70" y="34"/>
                    <a:pt x="69" y="26"/>
                  </a:cubicBezTo>
                  <a:cubicBezTo>
                    <a:pt x="64" y="24"/>
                    <a:pt x="58" y="20"/>
                    <a:pt x="59" y="18"/>
                  </a:cubicBezTo>
                  <a:cubicBezTo>
                    <a:pt x="60" y="16"/>
                    <a:pt x="63" y="2"/>
                    <a:pt x="56" y="5"/>
                  </a:cubicBezTo>
                  <a:cubicBezTo>
                    <a:pt x="49" y="8"/>
                    <a:pt x="39" y="19"/>
                    <a:pt x="27" y="18"/>
                  </a:cubicBezTo>
                  <a:cubicBezTo>
                    <a:pt x="14" y="16"/>
                    <a:pt x="23" y="15"/>
                    <a:pt x="17" y="12"/>
                  </a:cubicBezTo>
                  <a:cubicBezTo>
                    <a:pt x="11" y="9"/>
                    <a:pt x="15" y="2"/>
                    <a:pt x="8" y="1"/>
                  </a:cubicBezTo>
                  <a:cubicBezTo>
                    <a:pt x="2" y="0"/>
                    <a:pt x="7" y="8"/>
                    <a:pt x="3" y="8"/>
                  </a:cubicBezTo>
                  <a:cubicBezTo>
                    <a:pt x="0" y="8"/>
                    <a:pt x="3" y="18"/>
                    <a:pt x="4" y="20"/>
                  </a:cubicBezTo>
                  <a:cubicBezTo>
                    <a:pt x="5" y="23"/>
                    <a:pt x="1" y="35"/>
                    <a:pt x="4" y="36"/>
                  </a:cubicBezTo>
                  <a:cubicBezTo>
                    <a:pt x="6" y="37"/>
                    <a:pt x="11" y="46"/>
                    <a:pt x="11" y="47"/>
                  </a:cubicBezTo>
                  <a:cubicBezTo>
                    <a:pt x="10" y="49"/>
                    <a:pt x="16" y="55"/>
                    <a:pt x="16" y="59"/>
                  </a:cubicBezTo>
                  <a:cubicBezTo>
                    <a:pt x="16" y="63"/>
                    <a:pt x="21" y="68"/>
                    <a:pt x="24" y="68"/>
                  </a:cubicBezTo>
                  <a:cubicBezTo>
                    <a:pt x="27" y="68"/>
                    <a:pt x="31" y="69"/>
                    <a:pt x="30" y="73"/>
                  </a:cubicBezTo>
                  <a:cubicBezTo>
                    <a:pt x="28" y="76"/>
                    <a:pt x="31" y="81"/>
                    <a:pt x="28" y="81"/>
                  </a:cubicBezTo>
                  <a:cubicBezTo>
                    <a:pt x="24" y="81"/>
                    <a:pt x="25" y="91"/>
                    <a:pt x="22" y="93"/>
                  </a:cubicBezTo>
                  <a:cubicBezTo>
                    <a:pt x="19" y="95"/>
                    <a:pt x="22" y="105"/>
                    <a:pt x="24" y="106"/>
                  </a:cubicBezTo>
                  <a:cubicBezTo>
                    <a:pt x="26" y="107"/>
                    <a:pt x="31" y="110"/>
                    <a:pt x="31" y="114"/>
                  </a:cubicBezTo>
                  <a:cubicBezTo>
                    <a:pt x="30" y="118"/>
                    <a:pt x="43" y="124"/>
                    <a:pt x="47" y="125"/>
                  </a:cubicBezTo>
                  <a:cubicBezTo>
                    <a:pt x="51" y="126"/>
                    <a:pt x="51" y="131"/>
                    <a:pt x="54" y="134"/>
                  </a:cubicBezTo>
                  <a:cubicBezTo>
                    <a:pt x="56" y="136"/>
                    <a:pt x="52" y="141"/>
                    <a:pt x="53" y="143"/>
                  </a:cubicBezTo>
                  <a:cubicBezTo>
                    <a:pt x="53" y="146"/>
                    <a:pt x="58" y="149"/>
                    <a:pt x="58" y="153"/>
                  </a:cubicBezTo>
                  <a:cubicBezTo>
                    <a:pt x="57" y="156"/>
                    <a:pt x="62" y="161"/>
                    <a:pt x="66" y="165"/>
                  </a:cubicBezTo>
                  <a:cubicBezTo>
                    <a:pt x="67" y="164"/>
                    <a:pt x="68" y="164"/>
                    <a:pt x="69" y="164"/>
                  </a:cubicBezTo>
                  <a:cubicBezTo>
                    <a:pt x="73" y="164"/>
                    <a:pt x="73" y="160"/>
                    <a:pt x="76" y="162"/>
                  </a:cubicBezTo>
                  <a:cubicBezTo>
                    <a:pt x="79" y="165"/>
                    <a:pt x="83" y="162"/>
                    <a:pt x="86" y="162"/>
                  </a:cubicBezTo>
                  <a:cubicBezTo>
                    <a:pt x="89" y="162"/>
                    <a:pt x="97" y="177"/>
                    <a:pt x="101" y="185"/>
                  </a:cubicBezTo>
                  <a:cubicBezTo>
                    <a:pt x="105" y="192"/>
                    <a:pt x="105" y="195"/>
                    <a:pt x="109" y="198"/>
                  </a:cubicBezTo>
                  <a:cubicBezTo>
                    <a:pt x="114" y="201"/>
                    <a:pt x="120" y="199"/>
                    <a:pt x="127" y="207"/>
                  </a:cubicBezTo>
                  <a:cubicBezTo>
                    <a:pt x="134" y="214"/>
                    <a:pt x="152" y="219"/>
                    <a:pt x="160" y="219"/>
                  </a:cubicBezTo>
                  <a:cubicBezTo>
                    <a:pt x="168" y="220"/>
                    <a:pt x="174" y="211"/>
                    <a:pt x="184" y="213"/>
                  </a:cubicBezTo>
                  <a:cubicBezTo>
                    <a:pt x="194" y="215"/>
                    <a:pt x="191" y="228"/>
                    <a:pt x="195" y="232"/>
                  </a:cubicBezTo>
                  <a:cubicBezTo>
                    <a:pt x="199" y="237"/>
                    <a:pt x="239" y="240"/>
                    <a:pt x="246" y="242"/>
                  </a:cubicBezTo>
                  <a:cubicBezTo>
                    <a:pt x="248" y="242"/>
                    <a:pt x="254" y="243"/>
                    <a:pt x="261" y="243"/>
                  </a:cubicBezTo>
                  <a:cubicBezTo>
                    <a:pt x="261" y="242"/>
                    <a:pt x="261" y="240"/>
                    <a:pt x="260" y="239"/>
                  </a:cubicBezTo>
                  <a:cubicBezTo>
                    <a:pt x="260" y="232"/>
                    <a:pt x="265" y="227"/>
                    <a:pt x="270" y="224"/>
                  </a:cubicBezTo>
                  <a:cubicBezTo>
                    <a:pt x="274" y="222"/>
                    <a:pt x="278" y="221"/>
                    <a:pt x="283" y="220"/>
                  </a:cubicBezTo>
                  <a:cubicBezTo>
                    <a:pt x="287" y="220"/>
                    <a:pt x="283" y="211"/>
                    <a:pt x="279" y="20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4" name="Freeform 342"/>
            <p:cNvSpPr>
              <a:spLocks noEditPoints="1"/>
            </p:cNvSpPr>
            <p:nvPr/>
          </p:nvSpPr>
          <p:spPr>
            <a:xfrm>
              <a:off x="5921376" y="2271713"/>
              <a:ext cx="1003300" cy="473075"/>
            </a:xfrm>
            <a:custGeom>
              <a:gdLst>
                <a:gd name="T0" fmla="*/ 573 w 592"/>
                <a:gd name="T1" fmla="*/ 115 h 279"/>
                <a:gd name="T2" fmla="*/ 553 w 592"/>
                <a:gd name="T3" fmla="*/ 96 h 279"/>
                <a:gd name="T4" fmla="*/ 515 w 592"/>
                <a:gd name="T5" fmla="*/ 91 h 279"/>
                <a:gd name="T6" fmla="*/ 480 w 592"/>
                <a:gd name="T7" fmla="*/ 66 h 279"/>
                <a:gd name="T8" fmla="*/ 439 w 592"/>
                <a:gd name="T9" fmla="*/ 22 h 279"/>
                <a:gd name="T10" fmla="*/ 399 w 592"/>
                <a:gd name="T11" fmla="*/ 39 h 279"/>
                <a:gd name="T12" fmla="*/ 390 w 592"/>
                <a:gd name="T13" fmla="*/ 27 h 279"/>
                <a:gd name="T14" fmla="*/ 367 w 592"/>
                <a:gd name="T15" fmla="*/ 25 h 279"/>
                <a:gd name="T16" fmla="*/ 357 w 592"/>
                <a:gd name="T17" fmla="*/ 3 h 279"/>
                <a:gd name="T18" fmla="*/ 306 w 592"/>
                <a:gd name="T19" fmla="*/ 13 h 279"/>
                <a:gd name="T20" fmla="*/ 249 w 592"/>
                <a:gd name="T21" fmla="*/ 26 h 279"/>
                <a:gd name="T22" fmla="*/ 220 w 592"/>
                <a:gd name="T23" fmla="*/ 40 h 279"/>
                <a:gd name="T24" fmla="*/ 215 w 592"/>
                <a:gd name="T25" fmla="*/ 60 h 279"/>
                <a:gd name="T26" fmla="*/ 220 w 592"/>
                <a:gd name="T27" fmla="*/ 78 h 279"/>
                <a:gd name="T28" fmla="*/ 204 w 592"/>
                <a:gd name="T29" fmla="*/ 89 h 279"/>
                <a:gd name="T30" fmla="*/ 182 w 592"/>
                <a:gd name="T31" fmla="*/ 87 h 279"/>
                <a:gd name="T32" fmla="*/ 145 w 592"/>
                <a:gd name="T33" fmla="*/ 91 h 279"/>
                <a:gd name="T34" fmla="*/ 119 w 592"/>
                <a:gd name="T35" fmla="*/ 90 h 279"/>
                <a:gd name="T36" fmla="*/ 80 w 592"/>
                <a:gd name="T37" fmla="*/ 75 h 279"/>
                <a:gd name="T38" fmla="*/ 46 w 592"/>
                <a:gd name="T39" fmla="*/ 85 h 279"/>
                <a:gd name="T40" fmla="*/ 33 w 592"/>
                <a:gd name="T41" fmla="*/ 109 h 279"/>
                <a:gd name="T42" fmla="*/ 5 w 592"/>
                <a:gd name="T43" fmla="*/ 113 h 279"/>
                <a:gd name="T44" fmla="*/ 1 w 592"/>
                <a:gd name="T45" fmla="*/ 134 h 279"/>
                <a:gd name="T46" fmla="*/ 22 w 592"/>
                <a:gd name="T47" fmla="*/ 147 h 279"/>
                <a:gd name="T48" fmla="*/ 37 w 592"/>
                <a:gd name="T49" fmla="*/ 173 h 279"/>
                <a:gd name="T50" fmla="*/ 74 w 592"/>
                <a:gd name="T51" fmla="*/ 164 h 279"/>
                <a:gd name="T52" fmla="*/ 84 w 592"/>
                <a:gd name="T53" fmla="*/ 193 h 279"/>
                <a:gd name="T54" fmla="*/ 57 w 592"/>
                <a:gd name="T55" fmla="*/ 213 h 279"/>
                <a:gd name="T56" fmla="*/ 83 w 592"/>
                <a:gd name="T57" fmla="*/ 239 h 279"/>
                <a:gd name="T58" fmla="*/ 96 w 592"/>
                <a:gd name="T59" fmla="*/ 254 h 279"/>
                <a:gd name="T60" fmla="*/ 140 w 592"/>
                <a:gd name="T61" fmla="*/ 263 h 279"/>
                <a:gd name="T62" fmla="*/ 179 w 592"/>
                <a:gd name="T63" fmla="*/ 186 h 279"/>
                <a:gd name="T64" fmla="*/ 202 w 592"/>
                <a:gd name="T65" fmla="*/ 188 h 279"/>
                <a:gd name="T66" fmla="*/ 246 w 592"/>
                <a:gd name="T67" fmla="*/ 225 h 279"/>
                <a:gd name="T68" fmla="*/ 290 w 592"/>
                <a:gd name="T69" fmla="*/ 248 h 279"/>
                <a:gd name="T70" fmla="*/ 323 w 592"/>
                <a:gd name="T71" fmla="*/ 274 h 279"/>
                <a:gd name="T72" fmla="*/ 353 w 592"/>
                <a:gd name="T73" fmla="*/ 259 h 279"/>
                <a:gd name="T74" fmla="*/ 386 w 592"/>
                <a:gd name="T75" fmla="*/ 241 h 279"/>
                <a:gd name="T76" fmla="*/ 434 w 592"/>
                <a:gd name="T77" fmla="*/ 238 h 279"/>
                <a:gd name="T78" fmla="*/ 497 w 592"/>
                <a:gd name="T79" fmla="*/ 249 h 279"/>
                <a:gd name="T80" fmla="*/ 499 w 592"/>
                <a:gd name="T81" fmla="*/ 216 h 279"/>
                <a:gd name="T82" fmla="*/ 517 w 592"/>
                <a:gd name="T83" fmla="*/ 195 h 279"/>
                <a:gd name="T84" fmla="*/ 537 w 592"/>
                <a:gd name="T85" fmla="*/ 163 h 279"/>
                <a:gd name="T86" fmla="*/ 574 w 592"/>
                <a:gd name="T87" fmla="*/ 159 h 279"/>
                <a:gd name="T88" fmla="*/ 587 w 592"/>
                <a:gd name="T89" fmla="*/ 129 h 279"/>
                <a:gd name="T90" fmla="*/ 221 w 592"/>
                <a:gd name="T91" fmla="*/ 177 h 279"/>
                <a:gd name="T92" fmla="*/ 465 w 592"/>
                <a:gd name="T93" fmla="*/ 175 h 279"/>
                <a:gd name="T94" fmla="*/ 406 w 592"/>
                <a:gd name="T95" fmla="*/ 176 h 279"/>
                <a:gd name="T96" fmla="*/ 465 w 592"/>
                <a:gd name="T97" fmla="*/ 175 h 2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2" h="279">
                  <a:moveTo>
                    <a:pt x="589" y="114"/>
                  </a:moveTo>
                  <a:cubicBezTo>
                    <a:pt x="589" y="111"/>
                    <a:pt x="586" y="112"/>
                    <a:pt x="584" y="113"/>
                  </a:cubicBezTo>
                  <a:cubicBezTo>
                    <a:pt x="582" y="115"/>
                    <a:pt x="575" y="115"/>
                    <a:pt x="573" y="115"/>
                  </a:cubicBezTo>
                  <a:cubicBezTo>
                    <a:pt x="570" y="115"/>
                    <a:pt x="565" y="112"/>
                    <a:pt x="565" y="109"/>
                  </a:cubicBezTo>
                  <a:cubicBezTo>
                    <a:pt x="565" y="107"/>
                    <a:pt x="565" y="104"/>
                    <a:pt x="562" y="104"/>
                  </a:cubicBezTo>
                  <a:cubicBezTo>
                    <a:pt x="560" y="104"/>
                    <a:pt x="556" y="103"/>
                    <a:pt x="553" y="96"/>
                  </a:cubicBezTo>
                  <a:cubicBezTo>
                    <a:pt x="550" y="90"/>
                    <a:pt x="547" y="90"/>
                    <a:pt x="544" y="89"/>
                  </a:cubicBezTo>
                  <a:cubicBezTo>
                    <a:pt x="541" y="87"/>
                    <a:pt x="533" y="92"/>
                    <a:pt x="529" y="93"/>
                  </a:cubicBezTo>
                  <a:cubicBezTo>
                    <a:pt x="526" y="94"/>
                    <a:pt x="520" y="92"/>
                    <a:pt x="515" y="91"/>
                  </a:cubicBezTo>
                  <a:cubicBezTo>
                    <a:pt x="510" y="90"/>
                    <a:pt x="508" y="82"/>
                    <a:pt x="504" y="83"/>
                  </a:cubicBezTo>
                  <a:cubicBezTo>
                    <a:pt x="499" y="84"/>
                    <a:pt x="499" y="92"/>
                    <a:pt x="495" y="92"/>
                  </a:cubicBezTo>
                  <a:cubicBezTo>
                    <a:pt x="492" y="92"/>
                    <a:pt x="486" y="75"/>
                    <a:pt x="480" y="66"/>
                  </a:cubicBezTo>
                  <a:cubicBezTo>
                    <a:pt x="474" y="56"/>
                    <a:pt x="463" y="38"/>
                    <a:pt x="453" y="34"/>
                  </a:cubicBezTo>
                  <a:cubicBezTo>
                    <a:pt x="444" y="31"/>
                    <a:pt x="447" y="26"/>
                    <a:pt x="449" y="23"/>
                  </a:cubicBezTo>
                  <a:cubicBezTo>
                    <a:pt x="452" y="21"/>
                    <a:pt x="443" y="20"/>
                    <a:pt x="439" y="22"/>
                  </a:cubicBezTo>
                  <a:cubicBezTo>
                    <a:pt x="436" y="25"/>
                    <a:pt x="431" y="29"/>
                    <a:pt x="426" y="30"/>
                  </a:cubicBezTo>
                  <a:cubicBezTo>
                    <a:pt x="422" y="31"/>
                    <a:pt x="415" y="38"/>
                    <a:pt x="410" y="36"/>
                  </a:cubicBezTo>
                  <a:cubicBezTo>
                    <a:pt x="406" y="35"/>
                    <a:pt x="403" y="42"/>
                    <a:pt x="399" y="39"/>
                  </a:cubicBezTo>
                  <a:cubicBezTo>
                    <a:pt x="396" y="35"/>
                    <a:pt x="405" y="33"/>
                    <a:pt x="405" y="29"/>
                  </a:cubicBezTo>
                  <a:cubicBezTo>
                    <a:pt x="405" y="26"/>
                    <a:pt x="399" y="30"/>
                    <a:pt x="397" y="28"/>
                  </a:cubicBezTo>
                  <a:cubicBezTo>
                    <a:pt x="395" y="26"/>
                    <a:pt x="390" y="25"/>
                    <a:pt x="390" y="27"/>
                  </a:cubicBezTo>
                  <a:cubicBezTo>
                    <a:pt x="390" y="30"/>
                    <a:pt x="386" y="29"/>
                    <a:pt x="386" y="26"/>
                  </a:cubicBezTo>
                  <a:cubicBezTo>
                    <a:pt x="386" y="24"/>
                    <a:pt x="383" y="20"/>
                    <a:pt x="380" y="23"/>
                  </a:cubicBezTo>
                  <a:cubicBezTo>
                    <a:pt x="378" y="26"/>
                    <a:pt x="369" y="27"/>
                    <a:pt x="367" y="25"/>
                  </a:cubicBezTo>
                  <a:cubicBezTo>
                    <a:pt x="365" y="23"/>
                    <a:pt x="369" y="22"/>
                    <a:pt x="369" y="19"/>
                  </a:cubicBezTo>
                  <a:cubicBezTo>
                    <a:pt x="369" y="16"/>
                    <a:pt x="366" y="12"/>
                    <a:pt x="366" y="9"/>
                  </a:cubicBezTo>
                  <a:cubicBezTo>
                    <a:pt x="367" y="5"/>
                    <a:pt x="360" y="2"/>
                    <a:pt x="357" y="3"/>
                  </a:cubicBezTo>
                  <a:cubicBezTo>
                    <a:pt x="354" y="4"/>
                    <a:pt x="349" y="3"/>
                    <a:pt x="346" y="1"/>
                  </a:cubicBezTo>
                  <a:cubicBezTo>
                    <a:pt x="342" y="0"/>
                    <a:pt x="328" y="2"/>
                    <a:pt x="328" y="6"/>
                  </a:cubicBezTo>
                  <a:cubicBezTo>
                    <a:pt x="327" y="9"/>
                    <a:pt x="309" y="11"/>
                    <a:pt x="306" y="13"/>
                  </a:cubicBezTo>
                  <a:cubicBezTo>
                    <a:pt x="303" y="14"/>
                    <a:pt x="290" y="16"/>
                    <a:pt x="286" y="16"/>
                  </a:cubicBezTo>
                  <a:cubicBezTo>
                    <a:pt x="281" y="17"/>
                    <a:pt x="277" y="21"/>
                    <a:pt x="271" y="21"/>
                  </a:cubicBezTo>
                  <a:cubicBezTo>
                    <a:pt x="265" y="21"/>
                    <a:pt x="254" y="22"/>
                    <a:pt x="249" y="26"/>
                  </a:cubicBezTo>
                  <a:cubicBezTo>
                    <a:pt x="244" y="29"/>
                    <a:pt x="235" y="26"/>
                    <a:pt x="231" y="27"/>
                  </a:cubicBezTo>
                  <a:cubicBezTo>
                    <a:pt x="228" y="29"/>
                    <a:pt x="221" y="27"/>
                    <a:pt x="219" y="28"/>
                  </a:cubicBezTo>
                  <a:cubicBezTo>
                    <a:pt x="217" y="29"/>
                    <a:pt x="218" y="37"/>
                    <a:pt x="220" y="40"/>
                  </a:cubicBezTo>
                  <a:cubicBezTo>
                    <a:pt x="222" y="44"/>
                    <a:pt x="232" y="45"/>
                    <a:pt x="233" y="47"/>
                  </a:cubicBezTo>
                  <a:cubicBezTo>
                    <a:pt x="233" y="49"/>
                    <a:pt x="222" y="49"/>
                    <a:pt x="217" y="49"/>
                  </a:cubicBezTo>
                  <a:cubicBezTo>
                    <a:pt x="212" y="50"/>
                    <a:pt x="213" y="56"/>
                    <a:pt x="215" y="60"/>
                  </a:cubicBezTo>
                  <a:cubicBezTo>
                    <a:pt x="216" y="63"/>
                    <a:pt x="209" y="66"/>
                    <a:pt x="206" y="67"/>
                  </a:cubicBezTo>
                  <a:cubicBezTo>
                    <a:pt x="202" y="69"/>
                    <a:pt x="206" y="75"/>
                    <a:pt x="209" y="75"/>
                  </a:cubicBezTo>
                  <a:cubicBezTo>
                    <a:pt x="213" y="75"/>
                    <a:pt x="217" y="78"/>
                    <a:pt x="220" y="78"/>
                  </a:cubicBezTo>
                  <a:cubicBezTo>
                    <a:pt x="223" y="78"/>
                    <a:pt x="224" y="85"/>
                    <a:pt x="224" y="89"/>
                  </a:cubicBezTo>
                  <a:cubicBezTo>
                    <a:pt x="224" y="93"/>
                    <a:pt x="220" y="94"/>
                    <a:pt x="215" y="94"/>
                  </a:cubicBezTo>
                  <a:cubicBezTo>
                    <a:pt x="209" y="94"/>
                    <a:pt x="207" y="90"/>
                    <a:pt x="204" y="89"/>
                  </a:cubicBezTo>
                  <a:cubicBezTo>
                    <a:pt x="200" y="89"/>
                    <a:pt x="201" y="95"/>
                    <a:pt x="199" y="96"/>
                  </a:cubicBezTo>
                  <a:cubicBezTo>
                    <a:pt x="196" y="98"/>
                    <a:pt x="195" y="92"/>
                    <a:pt x="191" y="92"/>
                  </a:cubicBezTo>
                  <a:cubicBezTo>
                    <a:pt x="188" y="92"/>
                    <a:pt x="183" y="91"/>
                    <a:pt x="182" y="87"/>
                  </a:cubicBezTo>
                  <a:cubicBezTo>
                    <a:pt x="180" y="84"/>
                    <a:pt x="171" y="83"/>
                    <a:pt x="168" y="87"/>
                  </a:cubicBezTo>
                  <a:cubicBezTo>
                    <a:pt x="164" y="91"/>
                    <a:pt x="162" y="89"/>
                    <a:pt x="159" y="86"/>
                  </a:cubicBezTo>
                  <a:cubicBezTo>
                    <a:pt x="156" y="84"/>
                    <a:pt x="146" y="87"/>
                    <a:pt x="145" y="91"/>
                  </a:cubicBezTo>
                  <a:cubicBezTo>
                    <a:pt x="144" y="94"/>
                    <a:pt x="137" y="95"/>
                    <a:pt x="131" y="92"/>
                  </a:cubicBezTo>
                  <a:cubicBezTo>
                    <a:pt x="126" y="89"/>
                    <a:pt x="123" y="87"/>
                    <a:pt x="123" y="92"/>
                  </a:cubicBezTo>
                  <a:cubicBezTo>
                    <a:pt x="123" y="96"/>
                    <a:pt x="119" y="93"/>
                    <a:pt x="119" y="90"/>
                  </a:cubicBezTo>
                  <a:cubicBezTo>
                    <a:pt x="119" y="87"/>
                    <a:pt x="111" y="82"/>
                    <a:pt x="107" y="80"/>
                  </a:cubicBezTo>
                  <a:cubicBezTo>
                    <a:pt x="103" y="77"/>
                    <a:pt x="91" y="77"/>
                    <a:pt x="90" y="75"/>
                  </a:cubicBezTo>
                  <a:cubicBezTo>
                    <a:pt x="89" y="72"/>
                    <a:pt x="82" y="70"/>
                    <a:pt x="80" y="75"/>
                  </a:cubicBezTo>
                  <a:cubicBezTo>
                    <a:pt x="78" y="79"/>
                    <a:pt x="75" y="76"/>
                    <a:pt x="72" y="75"/>
                  </a:cubicBezTo>
                  <a:cubicBezTo>
                    <a:pt x="69" y="73"/>
                    <a:pt x="64" y="76"/>
                    <a:pt x="61" y="78"/>
                  </a:cubicBezTo>
                  <a:cubicBezTo>
                    <a:pt x="59" y="79"/>
                    <a:pt x="50" y="85"/>
                    <a:pt x="46" y="85"/>
                  </a:cubicBezTo>
                  <a:cubicBezTo>
                    <a:pt x="41" y="85"/>
                    <a:pt x="44" y="91"/>
                    <a:pt x="38" y="92"/>
                  </a:cubicBezTo>
                  <a:cubicBezTo>
                    <a:pt x="32" y="93"/>
                    <a:pt x="33" y="97"/>
                    <a:pt x="34" y="100"/>
                  </a:cubicBezTo>
                  <a:cubicBezTo>
                    <a:pt x="35" y="102"/>
                    <a:pt x="38" y="107"/>
                    <a:pt x="33" y="109"/>
                  </a:cubicBezTo>
                  <a:cubicBezTo>
                    <a:pt x="28" y="111"/>
                    <a:pt x="26" y="102"/>
                    <a:pt x="21" y="99"/>
                  </a:cubicBezTo>
                  <a:cubicBezTo>
                    <a:pt x="17" y="96"/>
                    <a:pt x="13" y="100"/>
                    <a:pt x="13" y="104"/>
                  </a:cubicBezTo>
                  <a:cubicBezTo>
                    <a:pt x="13" y="109"/>
                    <a:pt x="8" y="109"/>
                    <a:pt x="5" y="113"/>
                  </a:cubicBezTo>
                  <a:cubicBezTo>
                    <a:pt x="2" y="118"/>
                    <a:pt x="9" y="118"/>
                    <a:pt x="9" y="120"/>
                  </a:cubicBezTo>
                  <a:cubicBezTo>
                    <a:pt x="9" y="122"/>
                    <a:pt x="6" y="124"/>
                    <a:pt x="4" y="125"/>
                  </a:cubicBezTo>
                  <a:cubicBezTo>
                    <a:pt x="3" y="126"/>
                    <a:pt x="0" y="132"/>
                    <a:pt x="1" y="134"/>
                  </a:cubicBezTo>
                  <a:cubicBezTo>
                    <a:pt x="2" y="136"/>
                    <a:pt x="10" y="135"/>
                    <a:pt x="9" y="140"/>
                  </a:cubicBezTo>
                  <a:cubicBezTo>
                    <a:pt x="9" y="144"/>
                    <a:pt x="8" y="149"/>
                    <a:pt x="12" y="147"/>
                  </a:cubicBezTo>
                  <a:cubicBezTo>
                    <a:pt x="16" y="146"/>
                    <a:pt x="20" y="147"/>
                    <a:pt x="22" y="147"/>
                  </a:cubicBezTo>
                  <a:cubicBezTo>
                    <a:pt x="25" y="147"/>
                    <a:pt x="27" y="152"/>
                    <a:pt x="31" y="157"/>
                  </a:cubicBezTo>
                  <a:cubicBezTo>
                    <a:pt x="36" y="162"/>
                    <a:pt x="38" y="165"/>
                    <a:pt x="33" y="166"/>
                  </a:cubicBezTo>
                  <a:cubicBezTo>
                    <a:pt x="29" y="167"/>
                    <a:pt x="31" y="170"/>
                    <a:pt x="37" y="173"/>
                  </a:cubicBezTo>
                  <a:cubicBezTo>
                    <a:pt x="38" y="173"/>
                    <a:pt x="40" y="174"/>
                    <a:pt x="41" y="175"/>
                  </a:cubicBezTo>
                  <a:cubicBezTo>
                    <a:pt x="42" y="175"/>
                    <a:pt x="43" y="174"/>
                    <a:pt x="44" y="173"/>
                  </a:cubicBezTo>
                  <a:cubicBezTo>
                    <a:pt x="51" y="167"/>
                    <a:pt x="65" y="161"/>
                    <a:pt x="74" y="164"/>
                  </a:cubicBezTo>
                  <a:cubicBezTo>
                    <a:pt x="84" y="166"/>
                    <a:pt x="92" y="162"/>
                    <a:pt x="97" y="168"/>
                  </a:cubicBezTo>
                  <a:cubicBezTo>
                    <a:pt x="101" y="174"/>
                    <a:pt x="97" y="185"/>
                    <a:pt x="99" y="189"/>
                  </a:cubicBezTo>
                  <a:cubicBezTo>
                    <a:pt x="100" y="194"/>
                    <a:pt x="91" y="194"/>
                    <a:pt x="84" y="193"/>
                  </a:cubicBezTo>
                  <a:cubicBezTo>
                    <a:pt x="78" y="192"/>
                    <a:pt x="65" y="196"/>
                    <a:pt x="66" y="200"/>
                  </a:cubicBezTo>
                  <a:cubicBezTo>
                    <a:pt x="68" y="204"/>
                    <a:pt x="73" y="213"/>
                    <a:pt x="64" y="208"/>
                  </a:cubicBezTo>
                  <a:cubicBezTo>
                    <a:pt x="56" y="203"/>
                    <a:pt x="52" y="213"/>
                    <a:pt x="57" y="213"/>
                  </a:cubicBezTo>
                  <a:cubicBezTo>
                    <a:pt x="62" y="213"/>
                    <a:pt x="68" y="218"/>
                    <a:pt x="68" y="222"/>
                  </a:cubicBezTo>
                  <a:cubicBezTo>
                    <a:pt x="68" y="226"/>
                    <a:pt x="68" y="235"/>
                    <a:pt x="73" y="233"/>
                  </a:cubicBezTo>
                  <a:cubicBezTo>
                    <a:pt x="77" y="232"/>
                    <a:pt x="77" y="240"/>
                    <a:pt x="83" y="239"/>
                  </a:cubicBezTo>
                  <a:cubicBezTo>
                    <a:pt x="89" y="239"/>
                    <a:pt x="95" y="241"/>
                    <a:pt x="90" y="247"/>
                  </a:cubicBezTo>
                  <a:cubicBezTo>
                    <a:pt x="85" y="252"/>
                    <a:pt x="93" y="268"/>
                    <a:pt x="95" y="264"/>
                  </a:cubicBezTo>
                  <a:cubicBezTo>
                    <a:pt x="96" y="262"/>
                    <a:pt x="95" y="257"/>
                    <a:pt x="96" y="254"/>
                  </a:cubicBezTo>
                  <a:cubicBezTo>
                    <a:pt x="93" y="246"/>
                    <a:pt x="107" y="246"/>
                    <a:pt x="111" y="246"/>
                  </a:cubicBezTo>
                  <a:cubicBezTo>
                    <a:pt x="116" y="246"/>
                    <a:pt x="124" y="253"/>
                    <a:pt x="129" y="260"/>
                  </a:cubicBezTo>
                  <a:cubicBezTo>
                    <a:pt x="134" y="267"/>
                    <a:pt x="140" y="263"/>
                    <a:pt x="140" y="263"/>
                  </a:cubicBezTo>
                  <a:cubicBezTo>
                    <a:pt x="141" y="198"/>
                    <a:pt x="141" y="198"/>
                    <a:pt x="141" y="198"/>
                  </a:cubicBezTo>
                  <a:cubicBezTo>
                    <a:pt x="178" y="188"/>
                    <a:pt x="178" y="188"/>
                    <a:pt x="178" y="188"/>
                  </a:cubicBezTo>
                  <a:cubicBezTo>
                    <a:pt x="179" y="187"/>
                    <a:pt x="179" y="187"/>
                    <a:pt x="179" y="186"/>
                  </a:cubicBezTo>
                  <a:cubicBezTo>
                    <a:pt x="184" y="179"/>
                    <a:pt x="190" y="185"/>
                    <a:pt x="193" y="186"/>
                  </a:cubicBezTo>
                  <a:cubicBezTo>
                    <a:pt x="195" y="188"/>
                    <a:pt x="194" y="179"/>
                    <a:pt x="199" y="180"/>
                  </a:cubicBezTo>
                  <a:cubicBezTo>
                    <a:pt x="204" y="180"/>
                    <a:pt x="198" y="188"/>
                    <a:pt x="202" y="188"/>
                  </a:cubicBezTo>
                  <a:cubicBezTo>
                    <a:pt x="205" y="188"/>
                    <a:pt x="212" y="199"/>
                    <a:pt x="210" y="207"/>
                  </a:cubicBezTo>
                  <a:cubicBezTo>
                    <a:pt x="216" y="212"/>
                    <a:pt x="226" y="223"/>
                    <a:pt x="227" y="226"/>
                  </a:cubicBezTo>
                  <a:cubicBezTo>
                    <a:pt x="228" y="229"/>
                    <a:pt x="243" y="223"/>
                    <a:pt x="246" y="225"/>
                  </a:cubicBezTo>
                  <a:cubicBezTo>
                    <a:pt x="249" y="226"/>
                    <a:pt x="271" y="226"/>
                    <a:pt x="275" y="226"/>
                  </a:cubicBezTo>
                  <a:cubicBezTo>
                    <a:pt x="279" y="226"/>
                    <a:pt x="282" y="233"/>
                    <a:pt x="287" y="234"/>
                  </a:cubicBezTo>
                  <a:cubicBezTo>
                    <a:pt x="291" y="236"/>
                    <a:pt x="290" y="243"/>
                    <a:pt x="290" y="248"/>
                  </a:cubicBezTo>
                  <a:cubicBezTo>
                    <a:pt x="291" y="253"/>
                    <a:pt x="298" y="259"/>
                    <a:pt x="298" y="263"/>
                  </a:cubicBezTo>
                  <a:cubicBezTo>
                    <a:pt x="299" y="268"/>
                    <a:pt x="306" y="265"/>
                    <a:pt x="311" y="267"/>
                  </a:cubicBezTo>
                  <a:cubicBezTo>
                    <a:pt x="315" y="268"/>
                    <a:pt x="322" y="269"/>
                    <a:pt x="323" y="274"/>
                  </a:cubicBezTo>
                  <a:cubicBezTo>
                    <a:pt x="323" y="279"/>
                    <a:pt x="329" y="275"/>
                    <a:pt x="330" y="272"/>
                  </a:cubicBezTo>
                  <a:cubicBezTo>
                    <a:pt x="330" y="268"/>
                    <a:pt x="336" y="264"/>
                    <a:pt x="345" y="260"/>
                  </a:cubicBezTo>
                  <a:cubicBezTo>
                    <a:pt x="349" y="259"/>
                    <a:pt x="351" y="259"/>
                    <a:pt x="353" y="259"/>
                  </a:cubicBezTo>
                  <a:cubicBezTo>
                    <a:pt x="355" y="255"/>
                    <a:pt x="356" y="252"/>
                    <a:pt x="357" y="251"/>
                  </a:cubicBezTo>
                  <a:cubicBezTo>
                    <a:pt x="360" y="250"/>
                    <a:pt x="366" y="246"/>
                    <a:pt x="366" y="241"/>
                  </a:cubicBezTo>
                  <a:cubicBezTo>
                    <a:pt x="367" y="237"/>
                    <a:pt x="379" y="237"/>
                    <a:pt x="386" y="241"/>
                  </a:cubicBezTo>
                  <a:cubicBezTo>
                    <a:pt x="394" y="245"/>
                    <a:pt x="399" y="245"/>
                    <a:pt x="399" y="239"/>
                  </a:cubicBezTo>
                  <a:cubicBezTo>
                    <a:pt x="400" y="233"/>
                    <a:pt x="411" y="231"/>
                    <a:pt x="414" y="233"/>
                  </a:cubicBezTo>
                  <a:cubicBezTo>
                    <a:pt x="418" y="235"/>
                    <a:pt x="428" y="241"/>
                    <a:pt x="434" y="238"/>
                  </a:cubicBezTo>
                  <a:cubicBezTo>
                    <a:pt x="439" y="236"/>
                    <a:pt x="465" y="239"/>
                    <a:pt x="471" y="241"/>
                  </a:cubicBezTo>
                  <a:cubicBezTo>
                    <a:pt x="477" y="242"/>
                    <a:pt x="479" y="238"/>
                    <a:pt x="485" y="244"/>
                  </a:cubicBezTo>
                  <a:cubicBezTo>
                    <a:pt x="489" y="250"/>
                    <a:pt x="492" y="245"/>
                    <a:pt x="497" y="249"/>
                  </a:cubicBezTo>
                  <a:cubicBezTo>
                    <a:pt x="497" y="248"/>
                    <a:pt x="497" y="245"/>
                    <a:pt x="497" y="243"/>
                  </a:cubicBezTo>
                  <a:cubicBezTo>
                    <a:pt x="497" y="239"/>
                    <a:pt x="503" y="236"/>
                    <a:pt x="504" y="232"/>
                  </a:cubicBezTo>
                  <a:cubicBezTo>
                    <a:pt x="506" y="229"/>
                    <a:pt x="499" y="219"/>
                    <a:pt x="499" y="216"/>
                  </a:cubicBezTo>
                  <a:cubicBezTo>
                    <a:pt x="499" y="213"/>
                    <a:pt x="499" y="205"/>
                    <a:pt x="495" y="204"/>
                  </a:cubicBezTo>
                  <a:cubicBezTo>
                    <a:pt x="492" y="202"/>
                    <a:pt x="501" y="198"/>
                    <a:pt x="504" y="198"/>
                  </a:cubicBezTo>
                  <a:cubicBezTo>
                    <a:pt x="508" y="198"/>
                    <a:pt x="515" y="193"/>
                    <a:pt x="517" y="195"/>
                  </a:cubicBezTo>
                  <a:cubicBezTo>
                    <a:pt x="519" y="197"/>
                    <a:pt x="524" y="198"/>
                    <a:pt x="528" y="198"/>
                  </a:cubicBezTo>
                  <a:cubicBezTo>
                    <a:pt x="532" y="198"/>
                    <a:pt x="530" y="193"/>
                    <a:pt x="528" y="191"/>
                  </a:cubicBezTo>
                  <a:cubicBezTo>
                    <a:pt x="525" y="189"/>
                    <a:pt x="535" y="170"/>
                    <a:pt x="537" y="163"/>
                  </a:cubicBezTo>
                  <a:cubicBezTo>
                    <a:pt x="538" y="157"/>
                    <a:pt x="542" y="162"/>
                    <a:pt x="547" y="163"/>
                  </a:cubicBezTo>
                  <a:cubicBezTo>
                    <a:pt x="551" y="164"/>
                    <a:pt x="557" y="163"/>
                    <a:pt x="560" y="164"/>
                  </a:cubicBezTo>
                  <a:cubicBezTo>
                    <a:pt x="563" y="166"/>
                    <a:pt x="572" y="162"/>
                    <a:pt x="574" y="159"/>
                  </a:cubicBezTo>
                  <a:cubicBezTo>
                    <a:pt x="576" y="156"/>
                    <a:pt x="571" y="155"/>
                    <a:pt x="572" y="148"/>
                  </a:cubicBezTo>
                  <a:cubicBezTo>
                    <a:pt x="572" y="140"/>
                    <a:pt x="576" y="137"/>
                    <a:pt x="581" y="137"/>
                  </a:cubicBezTo>
                  <a:cubicBezTo>
                    <a:pt x="586" y="137"/>
                    <a:pt x="587" y="132"/>
                    <a:pt x="587" y="129"/>
                  </a:cubicBezTo>
                  <a:cubicBezTo>
                    <a:pt x="587" y="125"/>
                    <a:pt x="591" y="123"/>
                    <a:pt x="592" y="119"/>
                  </a:cubicBezTo>
                  <a:cubicBezTo>
                    <a:pt x="591" y="118"/>
                    <a:pt x="590" y="115"/>
                    <a:pt x="589" y="114"/>
                  </a:cubicBezTo>
                  <a:close/>
                  <a:moveTo>
                    <a:pt x="221" y="177"/>
                  </a:moveTo>
                  <a:cubicBezTo>
                    <a:pt x="219" y="179"/>
                    <a:pt x="202" y="175"/>
                    <a:pt x="201" y="171"/>
                  </a:cubicBezTo>
                  <a:cubicBezTo>
                    <a:pt x="199" y="168"/>
                    <a:pt x="225" y="172"/>
                    <a:pt x="221" y="177"/>
                  </a:cubicBezTo>
                  <a:close/>
                  <a:moveTo>
                    <a:pt x="465" y="175"/>
                  </a:moveTo>
                  <a:cubicBezTo>
                    <a:pt x="453" y="175"/>
                    <a:pt x="427" y="169"/>
                    <a:pt x="416" y="181"/>
                  </a:cubicBezTo>
                  <a:cubicBezTo>
                    <a:pt x="405" y="192"/>
                    <a:pt x="413" y="198"/>
                    <a:pt x="408" y="199"/>
                  </a:cubicBezTo>
                  <a:cubicBezTo>
                    <a:pt x="403" y="200"/>
                    <a:pt x="400" y="182"/>
                    <a:pt x="406" y="176"/>
                  </a:cubicBezTo>
                  <a:cubicBezTo>
                    <a:pt x="413" y="170"/>
                    <a:pt x="432" y="167"/>
                    <a:pt x="444" y="170"/>
                  </a:cubicBezTo>
                  <a:cubicBezTo>
                    <a:pt x="456" y="173"/>
                    <a:pt x="477" y="167"/>
                    <a:pt x="480" y="168"/>
                  </a:cubicBezTo>
                  <a:cubicBezTo>
                    <a:pt x="483" y="169"/>
                    <a:pt x="477" y="175"/>
                    <a:pt x="465" y="17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5" name="Freeform 343"/>
            <p:cNvSpPr>
              <a:spLocks noEditPoints="1"/>
            </p:cNvSpPr>
            <p:nvPr/>
          </p:nvSpPr>
          <p:spPr>
            <a:xfrm>
              <a:off x="5260976" y="1106488"/>
              <a:ext cx="4214813" cy="1617663"/>
            </a:xfrm>
            <a:custGeom>
              <a:gdLst>
                <a:gd name="T0" fmla="*/ 653 w 2485"/>
                <a:gd name="T1" fmla="*/ 19 h 953"/>
                <a:gd name="T2" fmla="*/ 1104 w 2485"/>
                <a:gd name="T3" fmla="*/ 9 h 953"/>
                <a:gd name="T4" fmla="*/ 868 w 2485"/>
                <a:gd name="T5" fmla="*/ 272 h 953"/>
                <a:gd name="T6" fmla="*/ 1199 w 2485"/>
                <a:gd name="T7" fmla="*/ 90 h 953"/>
                <a:gd name="T8" fmla="*/ 1813 w 2485"/>
                <a:gd name="T9" fmla="*/ 200 h 953"/>
                <a:gd name="T10" fmla="*/ 1905 w 2485"/>
                <a:gd name="T11" fmla="*/ 212 h 953"/>
                <a:gd name="T12" fmla="*/ 1775 w 2485"/>
                <a:gd name="T13" fmla="*/ 771 h 953"/>
                <a:gd name="T14" fmla="*/ 441 w 2485"/>
                <a:gd name="T15" fmla="*/ 41 h 953"/>
                <a:gd name="T16" fmla="*/ 2409 w 2485"/>
                <a:gd name="T17" fmla="*/ 438 h 953"/>
                <a:gd name="T18" fmla="*/ 2159 w 2485"/>
                <a:gd name="T19" fmla="*/ 366 h 953"/>
                <a:gd name="T20" fmla="*/ 1921 w 2485"/>
                <a:gd name="T21" fmla="*/ 320 h 953"/>
                <a:gd name="T22" fmla="*/ 1760 w 2485"/>
                <a:gd name="T23" fmla="*/ 271 h 953"/>
                <a:gd name="T24" fmla="*/ 1632 w 2485"/>
                <a:gd name="T25" fmla="*/ 303 h 953"/>
                <a:gd name="T26" fmla="*/ 1527 w 2485"/>
                <a:gd name="T27" fmla="*/ 251 h 953"/>
                <a:gd name="T28" fmla="*/ 1352 w 2485"/>
                <a:gd name="T29" fmla="*/ 247 h 953"/>
                <a:gd name="T30" fmla="*/ 1333 w 2485"/>
                <a:gd name="T31" fmla="*/ 213 h 953"/>
                <a:gd name="T32" fmla="*/ 1263 w 2485"/>
                <a:gd name="T33" fmla="*/ 151 h 953"/>
                <a:gd name="T34" fmla="*/ 1140 w 2485"/>
                <a:gd name="T35" fmla="*/ 174 h 953"/>
                <a:gd name="T36" fmla="*/ 988 w 2485"/>
                <a:gd name="T37" fmla="*/ 207 h 953"/>
                <a:gd name="T38" fmla="*/ 938 w 2485"/>
                <a:gd name="T39" fmla="*/ 248 h 953"/>
                <a:gd name="T40" fmla="*/ 865 w 2485"/>
                <a:gd name="T41" fmla="*/ 321 h 953"/>
                <a:gd name="T42" fmla="*/ 824 w 2485"/>
                <a:gd name="T43" fmla="*/ 369 h 953"/>
                <a:gd name="T44" fmla="*/ 762 w 2485"/>
                <a:gd name="T45" fmla="*/ 440 h 953"/>
                <a:gd name="T46" fmla="*/ 791 w 2485"/>
                <a:gd name="T47" fmla="*/ 385 h 953"/>
                <a:gd name="T48" fmla="*/ 699 w 2485"/>
                <a:gd name="T49" fmla="*/ 339 h 953"/>
                <a:gd name="T50" fmla="*/ 589 w 2485"/>
                <a:gd name="T51" fmla="*/ 355 h 953"/>
                <a:gd name="T52" fmla="*/ 485 w 2485"/>
                <a:gd name="T53" fmla="*/ 381 h 953"/>
                <a:gd name="T54" fmla="*/ 353 w 2485"/>
                <a:gd name="T55" fmla="*/ 387 h 953"/>
                <a:gd name="T56" fmla="*/ 270 w 2485"/>
                <a:gd name="T57" fmla="*/ 475 h 953"/>
                <a:gd name="T58" fmla="*/ 185 w 2485"/>
                <a:gd name="T59" fmla="*/ 422 h 953"/>
                <a:gd name="T60" fmla="*/ 193 w 2485"/>
                <a:gd name="T61" fmla="*/ 362 h 953"/>
                <a:gd name="T62" fmla="*/ 141 w 2485"/>
                <a:gd name="T63" fmla="*/ 417 h 953"/>
                <a:gd name="T64" fmla="*/ 126 w 2485"/>
                <a:gd name="T65" fmla="*/ 571 h 953"/>
                <a:gd name="T66" fmla="*/ 132 w 2485"/>
                <a:gd name="T67" fmla="*/ 670 h 953"/>
                <a:gd name="T68" fmla="*/ 206 w 2485"/>
                <a:gd name="T69" fmla="*/ 746 h 953"/>
                <a:gd name="T70" fmla="*/ 290 w 2485"/>
                <a:gd name="T71" fmla="*/ 815 h 953"/>
                <a:gd name="T72" fmla="*/ 297 w 2485"/>
                <a:gd name="T73" fmla="*/ 910 h 953"/>
                <a:gd name="T74" fmla="*/ 430 w 2485"/>
                <a:gd name="T75" fmla="*/ 861 h 953"/>
                <a:gd name="T76" fmla="*/ 427 w 2485"/>
                <a:gd name="T77" fmla="*/ 778 h 953"/>
                <a:gd name="T78" fmla="*/ 588 w 2485"/>
                <a:gd name="T79" fmla="*/ 782 h 953"/>
                <a:gd name="T80" fmla="*/ 675 w 2485"/>
                <a:gd name="T81" fmla="*/ 702 h 953"/>
                <a:gd name="T82" fmla="*/ 815 w 2485"/>
                <a:gd name="T83" fmla="*/ 716 h 953"/>
                <a:gd name="T84" fmla="*/ 978 w 2485"/>
                <a:gd name="T85" fmla="*/ 800 h 953"/>
                <a:gd name="T86" fmla="*/ 1129 w 2485"/>
                <a:gd name="T87" fmla="*/ 782 h 953"/>
                <a:gd name="T88" fmla="*/ 1259 w 2485"/>
                <a:gd name="T89" fmla="*/ 791 h 953"/>
                <a:gd name="T90" fmla="*/ 1454 w 2485"/>
                <a:gd name="T91" fmla="*/ 759 h 953"/>
                <a:gd name="T92" fmla="*/ 1605 w 2485"/>
                <a:gd name="T93" fmla="*/ 819 h 953"/>
                <a:gd name="T94" fmla="*/ 1625 w 2485"/>
                <a:gd name="T95" fmla="*/ 919 h 953"/>
                <a:gd name="T96" fmla="*/ 1737 w 2485"/>
                <a:gd name="T97" fmla="*/ 711 h 953"/>
                <a:gd name="T98" fmla="*/ 1753 w 2485"/>
                <a:gd name="T99" fmla="*/ 630 h 953"/>
                <a:gd name="T100" fmla="*/ 1950 w 2485"/>
                <a:gd name="T101" fmla="*/ 610 h 953"/>
                <a:gd name="T102" fmla="*/ 2084 w 2485"/>
                <a:gd name="T103" fmla="*/ 541 h 953"/>
                <a:gd name="T104" fmla="*/ 1985 w 2485"/>
                <a:gd name="T105" fmla="*/ 767 h 953"/>
                <a:gd name="T106" fmla="*/ 2080 w 2485"/>
                <a:gd name="T107" fmla="*/ 637 h 953"/>
                <a:gd name="T108" fmla="*/ 2233 w 2485"/>
                <a:gd name="T109" fmla="*/ 559 h 953"/>
                <a:gd name="T110" fmla="*/ 2337 w 2485"/>
                <a:gd name="T111" fmla="*/ 474 h 953"/>
                <a:gd name="T112" fmla="*/ 2436 w 2485"/>
                <a:gd name="T113" fmla="*/ 484 h 953"/>
                <a:gd name="T114" fmla="*/ 1279 w 2485"/>
                <a:gd name="T115" fmla="*/ 710 h 953"/>
                <a:gd name="T116" fmla="*/ 499 w 2485"/>
                <a:gd name="T117" fmla="*/ 43 h 953"/>
                <a:gd name="T118" fmla="*/ 509 w 2485"/>
                <a:gd name="T119" fmla="*/ 27 h 953"/>
                <a:gd name="T120" fmla="*/ 541 w 2485"/>
                <a:gd name="T121" fmla="*/ 263 h 953"/>
                <a:gd name="T122" fmla="*/ 543 w 2485"/>
                <a:gd name="T123" fmla="*/ 201 h 9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5" h="953">
                  <a:moveTo>
                    <a:pt x="37" y="689"/>
                  </a:moveTo>
                  <a:cubicBezTo>
                    <a:pt x="35" y="690"/>
                    <a:pt x="30" y="688"/>
                    <a:pt x="28" y="686"/>
                  </a:cubicBezTo>
                  <a:cubicBezTo>
                    <a:pt x="27" y="684"/>
                    <a:pt x="23" y="685"/>
                    <a:pt x="20" y="685"/>
                  </a:cubicBezTo>
                  <a:cubicBezTo>
                    <a:pt x="20" y="686"/>
                    <a:pt x="21" y="686"/>
                    <a:pt x="22" y="687"/>
                  </a:cubicBezTo>
                  <a:cubicBezTo>
                    <a:pt x="24" y="691"/>
                    <a:pt x="14" y="691"/>
                    <a:pt x="17" y="695"/>
                  </a:cubicBezTo>
                  <a:cubicBezTo>
                    <a:pt x="20" y="699"/>
                    <a:pt x="10" y="700"/>
                    <a:pt x="10" y="695"/>
                  </a:cubicBezTo>
                  <a:cubicBezTo>
                    <a:pt x="10" y="691"/>
                    <a:pt x="0" y="693"/>
                    <a:pt x="0" y="696"/>
                  </a:cubicBezTo>
                  <a:cubicBezTo>
                    <a:pt x="1" y="697"/>
                    <a:pt x="0" y="698"/>
                    <a:pt x="0" y="699"/>
                  </a:cubicBezTo>
                  <a:cubicBezTo>
                    <a:pt x="2" y="700"/>
                    <a:pt x="6" y="702"/>
                    <a:pt x="7" y="702"/>
                  </a:cubicBezTo>
                  <a:cubicBezTo>
                    <a:pt x="9" y="703"/>
                    <a:pt x="35" y="706"/>
                    <a:pt x="45" y="704"/>
                  </a:cubicBezTo>
                  <a:cubicBezTo>
                    <a:pt x="44" y="702"/>
                    <a:pt x="45" y="696"/>
                    <a:pt x="45" y="694"/>
                  </a:cubicBezTo>
                  <a:cubicBezTo>
                    <a:pt x="45" y="692"/>
                    <a:pt x="39" y="688"/>
                    <a:pt x="37" y="689"/>
                  </a:cubicBezTo>
                  <a:close/>
                  <a:moveTo>
                    <a:pt x="660" y="27"/>
                  </a:moveTo>
                  <a:cubicBezTo>
                    <a:pt x="676" y="25"/>
                    <a:pt x="675" y="16"/>
                    <a:pt x="667" y="14"/>
                  </a:cubicBezTo>
                  <a:cubicBezTo>
                    <a:pt x="658" y="13"/>
                    <a:pt x="657" y="19"/>
                    <a:pt x="653" y="19"/>
                  </a:cubicBezTo>
                  <a:cubicBezTo>
                    <a:pt x="648" y="19"/>
                    <a:pt x="632" y="22"/>
                    <a:pt x="635" y="25"/>
                  </a:cubicBezTo>
                  <a:cubicBezTo>
                    <a:pt x="639" y="30"/>
                    <a:pt x="651" y="28"/>
                    <a:pt x="660" y="27"/>
                  </a:cubicBezTo>
                  <a:close/>
                  <a:moveTo>
                    <a:pt x="743" y="266"/>
                  </a:moveTo>
                  <a:cubicBezTo>
                    <a:pt x="748" y="267"/>
                    <a:pt x="763" y="264"/>
                    <a:pt x="765" y="261"/>
                  </a:cubicBezTo>
                  <a:cubicBezTo>
                    <a:pt x="767" y="258"/>
                    <a:pt x="759" y="254"/>
                    <a:pt x="749" y="254"/>
                  </a:cubicBezTo>
                  <a:cubicBezTo>
                    <a:pt x="739" y="254"/>
                    <a:pt x="738" y="265"/>
                    <a:pt x="743" y="266"/>
                  </a:cubicBezTo>
                  <a:close/>
                  <a:moveTo>
                    <a:pt x="1060" y="46"/>
                  </a:moveTo>
                  <a:cubicBezTo>
                    <a:pt x="1069" y="50"/>
                    <a:pt x="1066" y="52"/>
                    <a:pt x="1057" y="52"/>
                  </a:cubicBezTo>
                  <a:cubicBezTo>
                    <a:pt x="1048" y="52"/>
                    <a:pt x="1041" y="55"/>
                    <a:pt x="1047" y="57"/>
                  </a:cubicBezTo>
                  <a:cubicBezTo>
                    <a:pt x="1051" y="59"/>
                    <a:pt x="1051" y="63"/>
                    <a:pt x="1060" y="65"/>
                  </a:cubicBezTo>
                  <a:cubicBezTo>
                    <a:pt x="1069" y="68"/>
                    <a:pt x="1078" y="60"/>
                    <a:pt x="1077" y="55"/>
                  </a:cubicBezTo>
                  <a:cubicBezTo>
                    <a:pt x="1076" y="50"/>
                    <a:pt x="1108" y="45"/>
                    <a:pt x="1117" y="43"/>
                  </a:cubicBezTo>
                  <a:cubicBezTo>
                    <a:pt x="1125" y="41"/>
                    <a:pt x="1111" y="32"/>
                    <a:pt x="1121" y="31"/>
                  </a:cubicBezTo>
                  <a:cubicBezTo>
                    <a:pt x="1130" y="30"/>
                    <a:pt x="1126" y="26"/>
                    <a:pt x="1115" y="24"/>
                  </a:cubicBezTo>
                  <a:cubicBezTo>
                    <a:pt x="1103" y="22"/>
                    <a:pt x="1108" y="13"/>
                    <a:pt x="1104" y="9"/>
                  </a:cubicBezTo>
                  <a:cubicBezTo>
                    <a:pt x="1100" y="6"/>
                    <a:pt x="1098" y="13"/>
                    <a:pt x="1083" y="16"/>
                  </a:cubicBezTo>
                  <a:cubicBezTo>
                    <a:pt x="1068" y="19"/>
                    <a:pt x="1060" y="23"/>
                    <a:pt x="1066" y="26"/>
                  </a:cubicBezTo>
                  <a:cubicBezTo>
                    <a:pt x="1072" y="29"/>
                    <a:pt x="1066" y="37"/>
                    <a:pt x="1060" y="36"/>
                  </a:cubicBezTo>
                  <a:cubicBezTo>
                    <a:pt x="1054" y="36"/>
                    <a:pt x="1052" y="43"/>
                    <a:pt x="1060" y="46"/>
                  </a:cubicBezTo>
                  <a:close/>
                  <a:moveTo>
                    <a:pt x="1083" y="58"/>
                  </a:moveTo>
                  <a:cubicBezTo>
                    <a:pt x="1083" y="63"/>
                    <a:pt x="1069" y="68"/>
                    <a:pt x="1073" y="71"/>
                  </a:cubicBezTo>
                  <a:cubicBezTo>
                    <a:pt x="1077" y="74"/>
                    <a:pt x="1080" y="73"/>
                    <a:pt x="1084" y="74"/>
                  </a:cubicBezTo>
                  <a:cubicBezTo>
                    <a:pt x="1088" y="75"/>
                    <a:pt x="1091" y="86"/>
                    <a:pt x="1098" y="84"/>
                  </a:cubicBezTo>
                  <a:cubicBezTo>
                    <a:pt x="1106" y="82"/>
                    <a:pt x="1127" y="93"/>
                    <a:pt x="1140" y="93"/>
                  </a:cubicBezTo>
                  <a:cubicBezTo>
                    <a:pt x="1152" y="93"/>
                    <a:pt x="1153" y="82"/>
                    <a:pt x="1149" y="82"/>
                  </a:cubicBezTo>
                  <a:cubicBezTo>
                    <a:pt x="1146" y="81"/>
                    <a:pt x="1149" y="75"/>
                    <a:pt x="1156" y="65"/>
                  </a:cubicBezTo>
                  <a:cubicBezTo>
                    <a:pt x="1163" y="56"/>
                    <a:pt x="1134" y="48"/>
                    <a:pt x="1134" y="56"/>
                  </a:cubicBezTo>
                  <a:cubicBezTo>
                    <a:pt x="1134" y="64"/>
                    <a:pt x="1126" y="54"/>
                    <a:pt x="1124" y="50"/>
                  </a:cubicBezTo>
                  <a:cubicBezTo>
                    <a:pt x="1121" y="45"/>
                    <a:pt x="1083" y="53"/>
                    <a:pt x="1083" y="58"/>
                  </a:cubicBezTo>
                  <a:close/>
                  <a:moveTo>
                    <a:pt x="868" y="272"/>
                  </a:moveTo>
                  <a:cubicBezTo>
                    <a:pt x="875" y="276"/>
                    <a:pt x="880" y="275"/>
                    <a:pt x="879" y="268"/>
                  </a:cubicBezTo>
                  <a:cubicBezTo>
                    <a:pt x="879" y="261"/>
                    <a:pt x="863" y="270"/>
                    <a:pt x="868" y="272"/>
                  </a:cubicBezTo>
                  <a:close/>
                  <a:moveTo>
                    <a:pt x="1049" y="16"/>
                  </a:moveTo>
                  <a:cubicBezTo>
                    <a:pt x="1051" y="9"/>
                    <a:pt x="1022" y="12"/>
                    <a:pt x="1030" y="18"/>
                  </a:cubicBezTo>
                  <a:cubicBezTo>
                    <a:pt x="1032" y="20"/>
                    <a:pt x="1048" y="22"/>
                    <a:pt x="1049" y="16"/>
                  </a:cubicBezTo>
                  <a:close/>
                  <a:moveTo>
                    <a:pt x="2315" y="327"/>
                  </a:moveTo>
                  <a:cubicBezTo>
                    <a:pt x="2324" y="332"/>
                    <a:pt x="2329" y="322"/>
                    <a:pt x="2336" y="327"/>
                  </a:cubicBezTo>
                  <a:cubicBezTo>
                    <a:pt x="2343" y="332"/>
                    <a:pt x="2359" y="325"/>
                    <a:pt x="2366" y="324"/>
                  </a:cubicBezTo>
                  <a:cubicBezTo>
                    <a:pt x="2373" y="322"/>
                    <a:pt x="2370" y="314"/>
                    <a:pt x="2350" y="311"/>
                  </a:cubicBezTo>
                  <a:cubicBezTo>
                    <a:pt x="2331" y="308"/>
                    <a:pt x="2306" y="323"/>
                    <a:pt x="2315" y="327"/>
                  </a:cubicBezTo>
                  <a:close/>
                  <a:moveTo>
                    <a:pt x="1150" y="119"/>
                  </a:moveTo>
                  <a:cubicBezTo>
                    <a:pt x="1156" y="122"/>
                    <a:pt x="1175" y="115"/>
                    <a:pt x="1188" y="115"/>
                  </a:cubicBezTo>
                  <a:cubicBezTo>
                    <a:pt x="1201" y="115"/>
                    <a:pt x="1237" y="105"/>
                    <a:pt x="1239" y="98"/>
                  </a:cubicBezTo>
                  <a:cubicBezTo>
                    <a:pt x="1240" y="91"/>
                    <a:pt x="1225" y="92"/>
                    <a:pt x="1220" y="86"/>
                  </a:cubicBezTo>
                  <a:cubicBezTo>
                    <a:pt x="1214" y="80"/>
                    <a:pt x="1202" y="85"/>
                    <a:pt x="1199" y="90"/>
                  </a:cubicBezTo>
                  <a:cubicBezTo>
                    <a:pt x="1196" y="95"/>
                    <a:pt x="1192" y="90"/>
                    <a:pt x="1200" y="82"/>
                  </a:cubicBezTo>
                  <a:cubicBezTo>
                    <a:pt x="1208" y="74"/>
                    <a:pt x="1192" y="68"/>
                    <a:pt x="1192" y="73"/>
                  </a:cubicBezTo>
                  <a:cubicBezTo>
                    <a:pt x="1191" y="78"/>
                    <a:pt x="1176" y="74"/>
                    <a:pt x="1176" y="78"/>
                  </a:cubicBezTo>
                  <a:cubicBezTo>
                    <a:pt x="1176" y="83"/>
                    <a:pt x="1171" y="85"/>
                    <a:pt x="1171" y="90"/>
                  </a:cubicBezTo>
                  <a:cubicBezTo>
                    <a:pt x="1171" y="95"/>
                    <a:pt x="1161" y="87"/>
                    <a:pt x="1160" y="98"/>
                  </a:cubicBezTo>
                  <a:cubicBezTo>
                    <a:pt x="1160" y="109"/>
                    <a:pt x="1144" y="115"/>
                    <a:pt x="1150" y="119"/>
                  </a:cubicBezTo>
                  <a:close/>
                  <a:moveTo>
                    <a:pt x="1705" y="207"/>
                  </a:moveTo>
                  <a:cubicBezTo>
                    <a:pt x="1711" y="210"/>
                    <a:pt x="1713" y="213"/>
                    <a:pt x="1716" y="217"/>
                  </a:cubicBezTo>
                  <a:cubicBezTo>
                    <a:pt x="1720" y="220"/>
                    <a:pt x="1733" y="215"/>
                    <a:pt x="1738" y="213"/>
                  </a:cubicBezTo>
                  <a:cubicBezTo>
                    <a:pt x="1743" y="212"/>
                    <a:pt x="1743" y="221"/>
                    <a:pt x="1752" y="216"/>
                  </a:cubicBezTo>
                  <a:cubicBezTo>
                    <a:pt x="1760" y="211"/>
                    <a:pt x="1768" y="213"/>
                    <a:pt x="1777" y="213"/>
                  </a:cubicBezTo>
                  <a:cubicBezTo>
                    <a:pt x="1787" y="213"/>
                    <a:pt x="1776" y="202"/>
                    <a:pt x="1776" y="197"/>
                  </a:cubicBezTo>
                  <a:cubicBezTo>
                    <a:pt x="1777" y="191"/>
                    <a:pt x="1787" y="195"/>
                    <a:pt x="1784" y="199"/>
                  </a:cubicBezTo>
                  <a:cubicBezTo>
                    <a:pt x="1780" y="204"/>
                    <a:pt x="1789" y="213"/>
                    <a:pt x="1803" y="213"/>
                  </a:cubicBezTo>
                  <a:cubicBezTo>
                    <a:pt x="1817" y="212"/>
                    <a:pt x="1806" y="203"/>
                    <a:pt x="1813" y="200"/>
                  </a:cubicBezTo>
                  <a:cubicBezTo>
                    <a:pt x="1820" y="197"/>
                    <a:pt x="1819" y="194"/>
                    <a:pt x="1809" y="188"/>
                  </a:cubicBezTo>
                  <a:cubicBezTo>
                    <a:pt x="1799" y="182"/>
                    <a:pt x="1787" y="185"/>
                    <a:pt x="1778" y="182"/>
                  </a:cubicBezTo>
                  <a:cubicBezTo>
                    <a:pt x="1769" y="177"/>
                    <a:pt x="1758" y="177"/>
                    <a:pt x="1757" y="187"/>
                  </a:cubicBezTo>
                  <a:cubicBezTo>
                    <a:pt x="1757" y="196"/>
                    <a:pt x="1739" y="176"/>
                    <a:pt x="1729" y="173"/>
                  </a:cubicBezTo>
                  <a:cubicBezTo>
                    <a:pt x="1720" y="170"/>
                    <a:pt x="1691" y="200"/>
                    <a:pt x="1705" y="207"/>
                  </a:cubicBezTo>
                  <a:close/>
                  <a:moveTo>
                    <a:pt x="1795" y="262"/>
                  </a:moveTo>
                  <a:cubicBezTo>
                    <a:pt x="1802" y="261"/>
                    <a:pt x="1789" y="247"/>
                    <a:pt x="1776" y="244"/>
                  </a:cubicBezTo>
                  <a:cubicBezTo>
                    <a:pt x="1762" y="242"/>
                    <a:pt x="1750" y="253"/>
                    <a:pt x="1752" y="256"/>
                  </a:cubicBezTo>
                  <a:cubicBezTo>
                    <a:pt x="1756" y="261"/>
                    <a:pt x="1787" y="264"/>
                    <a:pt x="1795" y="262"/>
                  </a:cubicBezTo>
                  <a:close/>
                  <a:moveTo>
                    <a:pt x="1760" y="234"/>
                  </a:moveTo>
                  <a:cubicBezTo>
                    <a:pt x="1760" y="228"/>
                    <a:pt x="1737" y="236"/>
                    <a:pt x="1747" y="240"/>
                  </a:cubicBezTo>
                  <a:cubicBezTo>
                    <a:pt x="1752" y="241"/>
                    <a:pt x="1760" y="241"/>
                    <a:pt x="1760" y="234"/>
                  </a:cubicBezTo>
                  <a:close/>
                  <a:moveTo>
                    <a:pt x="1835" y="207"/>
                  </a:moveTo>
                  <a:cubicBezTo>
                    <a:pt x="1845" y="208"/>
                    <a:pt x="1851" y="218"/>
                    <a:pt x="1870" y="219"/>
                  </a:cubicBezTo>
                  <a:cubicBezTo>
                    <a:pt x="1890" y="220"/>
                    <a:pt x="1905" y="216"/>
                    <a:pt x="1905" y="212"/>
                  </a:cubicBezTo>
                  <a:cubicBezTo>
                    <a:pt x="1906" y="208"/>
                    <a:pt x="1887" y="201"/>
                    <a:pt x="1882" y="205"/>
                  </a:cubicBezTo>
                  <a:cubicBezTo>
                    <a:pt x="1876" y="208"/>
                    <a:pt x="1872" y="199"/>
                    <a:pt x="1865" y="201"/>
                  </a:cubicBezTo>
                  <a:cubicBezTo>
                    <a:pt x="1858" y="204"/>
                    <a:pt x="1848" y="203"/>
                    <a:pt x="1845" y="197"/>
                  </a:cubicBezTo>
                  <a:cubicBezTo>
                    <a:pt x="1842" y="191"/>
                    <a:pt x="1830" y="207"/>
                    <a:pt x="1835" y="207"/>
                  </a:cubicBezTo>
                  <a:close/>
                  <a:moveTo>
                    <a:pt x="398" y="32"/>
                  </a:moveTo>
                  <a:cubicBezTo>
                    <a:pt x="408" y="23"/>
                    <a:pt x="421" y="32"/>
                    <a:pt x="423" y="28"/>
                  </a:cubicBezTo>
                  <a:cubicBezTo>
                    <a:pt x="424" y="23"/>
                    <a:pt x="404" y="22"/>
                    <a:pt x="397" y="26"/>
                  </a:cubicBezTo>
                  <a:cubicBezTo>
                    <a:pt x="389" y="30"/>
                    <a:pt x="372" y="27"/>
                    <a:pt x="374" y="31"/>
                  </a:cubicBezTo>
                  <a:cubicBezTo>
                    <a:pt x="376" y="34"/>
                    <a:pt x="388" y="41"/>
                    <a:pt x="398" y="32"/>
                  </a:cubicBezTo>
                  <a:close/>
                  <a:moveTo>
                    <a:pt x="1791" y="759"/>
                  </a:moveTo>
                  <a:cubicBezTo>
                    <a:pt x="1787" y="747"/>
                    <a:pt x="1798" y="735"/>
                    <a:pt x="1790" y="728"/>
                  </a:cubicBezTo>
                  <a:cubicBezTo>
                    <a:pt x="1781" y="722"/>
                    <a:pt x="1784" y="709"/>
                    <a:pt x="1780" y="711"/>
                  </a:cubicBezTo>
                  <a:cubicBezTo>
                    <a:pt x="1776" y="714"/>
                    <a:pt x="1780" y="725"/>
                    <a:pt x="1773" y="726"/>
                  </a:cubicBezTo>
                  <a:cubicBezTo>
                    <a:pt x="1766" y="727"/>
                    <a:pt x="1773" y="733"/>
                    <a:pt x="1770" y="742"/>
                  </a:cubicBezTo>
                  <a:cubicBezTo>
                    <a:pt x="1768" y="751"/>
                    <a:pt x="1771" y="763"/>
                    <a:pt x="1775" y="771"/>
                  </a:cubicBezTo>
                  <a:cubicBezTo>
                    <a:pt x="1778" y="779"/>
                    <a:pt x="1770" y="820"/>
                    <a:pt x="1774" y="827"/>
                  </a:cubicBezTo>
                  <a:cubicBezTo>
                    <a:pt x="1777" y="834"/>
                    <a:pt x="1768" y="864"/>
                    <a:pt x="1771" y="868"/>
                  </a:cubicBezTo>
                  <a:cubicBezTo>
                    <a:pt x="1776" y="874"/>
                    <a:pt x="1773" y="859"/>
                    <a:pt x="1780" y="858"/>
                  </a:cubicBezTo>
                  <a:cubicBezTo>
                    <a:pt x="1788" y="857"/>
                    <a:pt x="1788" y="867"/>
                    <a:pt x="1793" y="869"/>
                  </a:cubicBezTo>
                  <a:cubicBezTo>
                    <a:pt x="1798" y="871"/>
                    <a:pt x="1795" y="855"/>
                    <a:pt x="1790" y="856"/>
                  </a:cubicBezTo>
                  <a:cubicBezTo>
                    <a:pt x="1786" y="857"/>
                    <a:pt x="1783" y="846"/>
                    <a:pt x="1780" y="839"/>
                  </a:cubicBezTo>
                  <a:cubicBezTo>
                    <a:pt x="1778" y="832"/>
                    <a:pt x="1785" y="824"/>
                    <a:pt x="1785" y="815"/>
                  </a:cubicBezTo>
                  <a:cubicBezTo>
                    <a:pt x="1785" y="807"/>
                    <a:pt x="1796" y="807"/>
                    <a:pt x="1802" y="813"/>
                  </a:cubicBezTo>
                  <a:cubicBezTo>
                    <a:pt x="1808" y="820"/>
                    <a:pt x="1809" y="816"/>
                    <a:pt x="1807" y="811"/>
                  </a:cubicBezTo>
                  <a:cubicBezTo>
                    <a:pt x="1804" y="806"/>
                    <a:pt x="1796" y="772"/>
                    <a:pt x="1791" y="759"/>
                  </a:cubicBezTo>
                  <a:close/>
                  <a:moveTo>
                    <a:pt x="438" y="28"/>
                  </a:moveTo>
                  <a:cubicBezTo>
                    <a:pt x="444" y="33"/>
                    <a:pt x="422" y="31"/>
                    <a:pt x="419" y="36"/>
                  </a:cubicBezTo>
                  <a:cubicBezTo>
                    <a:pt x="416" y="40"/>
                    <a:pt x="402" y="39"/>
                    <a:pt x="405" y="44"/>
                  </a:cubicBezTo>
                  <a:cubicBezTo>
                    <a:pt x="408" y="49"/>
                    <a:pt x="429" y="49"/>
                    <a:pt x="429" y="45"/>
                  </a:cubicBezTo>
                  <a:cubicBezTo>
                    <a:pt x="429" y="41"/>
                    <a:pt x="440" y="44"/>
                    <a:pt x="441" y="41"/>
                  </a:cubicBezTo>
                  <a:cubicBezTo>
                    <a:pt x="441" y="37"/>
                    <a:pt x="446" y="32"/>
                    <a:pt x="458" y="31"/>
                  </a:cubicBezTo>
                  <a:cubicBezTo>
                    <a:pt x="470" y="31"/>
                    <a:pt x="470" y="26"/>
                    <a:pt x="459" y="21"/>
                  </a:cubicBezTo>
                  <a:cubicBezTo>
                    <a:pt x="448" y="16"/>
                    <a:pt x="432" y="24"/>
                    <a:pt x="438" y="28"/>
                  </a:cubicBezTo>
                  <a:close/>
                  <a:moveTo>
                    <a:pt x="420" y="376"/>
                  </a:moveTo>
                  <a:cubicBezTo>
                    <a:pt x="432" y="387"/>
                    <a:pt x="441" y="371"/>
                    <a:pt x="447" y="370"/>
                  </a:cubicBezTo>
                  <a:cubicBezTo>
                    <a:pt x="453" y="370"/>
                    <a:pt x="444" y="364"/>
                    <a:pt x="434" y="361"/>
                  </a:cubicBezTo>
                  <a:cubicBezTo>
                    <a:pt x="425" y="358"/>
                    <a:pt x="411" y="368"/>
                    <a:pt x="420" y="376"/>
                  </a:cubicBezTo>
                  <a:close/>
                  <a:moveTo>
                    <a:pt x="2481" y="449"/>
                  </a:moveTo>
                  <a:cubicBezTo>
                    <a:pt x="2476" y="448"/>
                    <a:pt x="2462" y="439"/>
                    <a:pt x="2459" y="434"/>
                  </a:cubicBezTo>
                  <a:cubicBezTo>
                    <a:pt x="2456" y="429"/>
                    <a:pt x="2439" y="427"/>
                    <a:pt x="2439" y="429"/>
                  </a:cubicBezTo>
                  <a:cubicBezTo>
                    <a:pt x="2439" y="432"/>
                    <a:pt x="2434" y="429"/>
                    <a:pt x="2432" y="426"/>
                  </a:cubicBezTo>
                  <a:cubicBezTo>
                    <a:pt x="2431" y="423"/>
                    <a:pt x="2414" y="423"/>
                    <a:pt x="2413" y="426"/>
                  </a:cubicBezTo>
                  <a:cubicBezTo>
                    <a:pt x="2413" y="429"/>
                    <a:pt x="2418" y="429"/>
                    <a:pt x="2420" y="432"/>
                  </a:cubicBezTo>
                  <a:cubicBezTo>
                    <a:pt x="2423" y="436"/>
                    <a:pt x="2417" y="438"/>
                    <a:pt x="2418" y="442"/>
                  </a:cubicBezTo>
                  <a:cubicBezTo>
                    <a:pt x="2419" y="445"/>
                    <a:pt x="2411" y="440"/>
                    <a:pt x="2409" y="438"/>
                  </a:cubicBezTo>
                  <a:cubicBezTo>
                    <a:pt x="2406" y="435"/>
                    <a:pt x="2407" y="427"/>
                    <a:pt x="2408" y="423"/>
                  </a:cubicBezTo>
                  <a:cubicBezTo>
                    <a:pt x="2409" y="418"/>
                    <a:pt x="2403" y="419"/>
                    <a:pt x="2402" y="415"/>
                  </a:cubicBezTo>
                  <a:cubicBezTo>
                    <a:pt x="2402" y="411"/>
                    <a:pt x="2382" y="402"/>
                    <a:pt x="2374" y="398"/>
                  </a:cubicBezTo>
                  <a:cubicBezTo>
                    <a:pt x="2366" y="395"/>
                    <a:pt x="2356" y="392"/>
                    <a:pt x="2353" y="388"/>
                  </a:cubicBezTo>
                  <a:cubicBezTo>
                    <a:pt x="2350" y="383"/>
                    <a:pt x="2335" y="383"/>
                    <a:pt x="2330" y="377"/>
                  </a:cubicBezTo>
                  <a:cubicBezTo>
                    <a:pt x="2324" y="371"/>
                    <a:pt x="2300" y="361"/>
                    <a:pt x="2289" y="360"/>
                  </a:cubicBezTo>
                  <a:cubicBezTo>
                    <a:pt x="2279" y="360"/>
                    <a:pt x="2281" y="354"/>
                    <a:pt x="2276" y="355"/>
                  </a:cubicBezTo>
                  <a:cubicBezTo>
                    <a:pt x="2271" y="356"/>
                    <a:pt x="2248" y="355"/>
                    <a:pt x="2242" y="353"/>
                  </a:cubicBezTo>
                  <a:cubicBezTo>
                    <a:pt x="2235" y="352"/>
                    <a:pt x="2233" y="358"/>
                    <a:pt x="2228" y="356"/>
                  </a:cubicBezTo>
                  <a:cubicBezTo>
                    <a:pt x="2223" y="354"/>
                    <a:pt x="2198" y="344"/>
                    <a:pt x="2195" y="348"/>
                  </a:cubicBezTo>
                  <a:cubicBezTo>
                    <a:pt x="2192" y="351"/>
                    <a:pt x="2193" y="356"/>
                    <a:pt x="2190" y="357"/>
                  </a:cubicBezTo>
                  <a:cubicBezTo>
                    <a:pt x="2187" y="358"/>
                    <a:pt x="2190" y="362"/>
                    <a:pt x="2197" y="369"/>
                  </a:cubicBezTo>
                  <a:cubicBezTo>
                    <a:pt x="2204" y="375"/>
                    <a:pt x="2200" y="380"/>
                    <a:pt x="2193" y="383"/>
                  </a:cubicBezTo>
                  <a:cubicBezTo>
                    <a:pt x="2187" y="386"/>
                    <a:pt x="2177" y="380"/>
                    <a:pt x="2173" y="375"/>
                  </a:cubicBezTo>
                  <a:cubicBezTo>
                    <a:pt x="2170" y="370"/>
                    <a:pt x="2161" y="373"/>
                    <a:pt x="2159" y="366"/>
                  </a:cubicBezTo>
                  <a:cubicBezTo>
                    <a:pt x="2157" y="360"/>
                    <a:pt x="2162" y="359"/>
                    <a:pt x="2166" y="362"/>
                  </a:cubicBezTo>
                  <a:cubicBezTo>
                    <a:pt x="2170" y="366"/>
                    <a:pt x="2176" y="363"/>
                    <a:pt x="2177" y="358"/>
                  </a:cubicBezTo>
                  <a:cubicBezTo>
                    <a:pt x="2178" y="353"/>
                    <a:pt x="2165" y="350"/>
                    <a:pt x="2159" y="351"/>
                  </a:cubicBezTo>
                  <a:cubicBezTo>
                    <a:pt x="2152" y="351"/>
                    <a:pt x="2148" y="360"/>
                    <a:pt x="2141" y="364"/>
                  </a:cubicBezTo>
                  <a:cubicBezTo>
                    <a:pt x="2134" y="368"/>
                    <a:pt x="2108" y="363"/>
                    <a:pt x="2105" y="360"/>
                  </a:cubicBezTo>
                  <a:cubicBezTo>
                    <a:pt x="2102" y="358"/>
                    <a:pt x="2065" y="360"/>
                    <a:pt x="2061" y="363"/>
                  </a:cubicBezTo>
                  <a:cubicBezTo>
                    <a:pt x="2057" y="365"/>
                    <a:pt x="2060" y="375"/>
                    <a:pt x="2058" y="376"/>
                  </a:cubicBezTo>
                  <a:cubicBezTo>
                    <a:pt x="2056" y="377"/>
                    <a:pt x="2054" y="365"/>
                    <a:pt x="2054" y="362"/>
                  </a:cubicBezTo>
                  <a:cubicBezTo>
                    <a:pt x="2054" y="360"/>
                    <a:pt x="2050" y="358"/>
                    <a:pt x="2043" y="358"/>
                  </a:cubicBezTo>
                  <a:cubicBezTo>
                    <a:pt x="2036" y="358"/>
                    <a:pt x="2033" y="358"/>
                    <a:pt x="2035" y="355"/>
                  </a:cubicBezTo>
                  <a:cubicBezTo>
                    <a:pt x="2038" y="352"/>
                    <a:pt x="2033" y="350"/>
                    <a:pt x="2038" y="346"/>
                  </a:cubicBezTo>
                  <a:cubicBezTo>
                    <a:pt x="2043" y="342"/>
                    <a:pt x="2028" y="331"/>
                    <a:pt x="2014" y="325"/>
                  </a:cubicBezTo>
                  <a:cubicBezTo>
                    <a:pt x="2000" y="320"/>
                    <a:pt x="1968" y="323"/>
                    <a:pt x="1959" y="325"/>
                  </a:cubicBezTo>
                  <a:cubicBezTo>
                    <a:pt x="1951" y="328"/>
                    <a:pt x="1933" y="327"/>
                    <a:pt x="1925" y="327"/>
                  </a:cubicBezTo>
                  <a:cubicBezTo>
                    <a:pt x="1917" y="328"/>
                    <a:pt x="1924" y="324"/>
                    <a:pt x="1921" y="320"/>
                  </a:cubicBezTo>
                  <a:cubicBezTo>
                    <a:pt x="1919" y="316"/>
                    <a:pt x="1905" y="312"/>
                    <a:pt x="1903" y="315"/>
                  </a:cubicBezTo>
                  <a:cubicBezTo>
                    <a:pt x="1901" y="318"/>
                    <a:pt x="1897" y="315"/>
                    <a:pt x="1897" y="313"/>
                  </a:cubicBezTo>
                  <a:cubicBezTo>
                    <a:pt x="1897" y="310"/>
                    <a:pt x="1884" y="305"/>
                    <a:pt x="1879" y="307"/>
                  </a:cubicBezTo>
                  <a:cubicBezTo>
                    <a:pt x="1874" y="308"/>
                    <a:pt x="1872" y="302"/>
                    <a:pt x="1878" y="302"/>
                  </a:cubicBezTo>
                  <a:cubicBezTo>
                    <a:pt x="1884" y="302"/>
                    <a:pt x="1894" y="303"/>
                    <a:pt x="1890" y="296"/>
                  </a:cubicBezTo>
                  <a:cubicBezTo>
                    <a:pt x="1885" y="289"/>
                    <a:pt x="1846" y="287"/>
                    <a:pt x="1843" y="288"/>
                  </a:cubicBezTo>
                  <a:cubicBezTo>
                    <a:pt x="1839" y="290"/>
                    <a:pt x="1842" y="295"/>
                    <a:pt x="1834" y="303"/>
                  </a:cubicBezTo>
                  <a:cubicBezTo>
                    <a:pt x="1826" y="311"/>
                    <a:pt x="1817" y="305"/>
                    <a:pt x="1819" y="301"/>
                  </a:cubicBezTo>
                  <a:cubicBezTo>
                    <a:pt x="1820" y="298"/>
                    <a:pt x="1830" y="298"/>
                    <a:pt x="1830" y="294"/>
                  </a:cubicBezTo>
                  <a:cubicBezTo>
                    <a:pt x="1830" y="290"/>
                    <a:pt x="1816" y="293"/>
                    <a:pt x="1814" y="289"/>
                  </a:cubicBezTo>
                  <a:cubicBezTo>
                    <a:pt x="1811" y="286"/>
                    <a:pt x="1817" y="284"/>
                    <a:pt x="1822" y="285"/>
                  </a:cubicBezTo>
                  <a:cubicBezTo>
                    <a:pt x="1827" y="287"/>
                    <a:pt x="1836" y="288"/>
                    <a:pt x="1836" y="285"/>
                  </a:cubicBezTo>
                  <a:cubicBezTo>
                    <a:pt x="1837" y="283"/>
                    <a:pt x="1831" y="283"/>
                    <a:pt x="1822" y="281"/>
                  </a:cubicBezTo>
                  <a:cubicBezTo>
                    <a:pt x="1814" y="280"/>
                    <a:pt x="1793" y="275"/>
                    <a:pt x="1782" y="276"/>
                  </a:cubicBezTo>
                  <a:cubicBezTo>
                    <a:pt x="1771" y="277"/>
                    <a:pt x="1766" y="272"/>
                    <a:pt x="1760" y="271"/>
                  </a:cubicBezTo>
                  <a:cubicBezTo>
                    <a:pt x="1754" y="271"/>
                    <a:pt x="1754" y="275"/>
                    <a:pt x="1757" y="278"/>
                  </a:cubicBezTo>
                  <a:cubicBezTo>
                    <a:pt x="1760" y="281"/>
                    <a:pt x="1751" y="284"/>
                    <a:pt x="1744" y="282"/>
                  </a:cubicBezTo>
                  <a:cubicBezTo>
                    <a:pt x="1737" y="281"/>
                    <a:pt x="1727" y="286"/>
                    <a:pt x="1731" y="291"/>
                  </a:cubicBezTo>
                  <a:cubicBezTo>
                    <a:pt x="1735" y="297"/>
                    <a:pt x="1739" y="290"/>
                    <a:pt x="1742" y="292"/>
                  </a:cubicBezTo>
                  <a:cubicBezTo>
                    <a:pt x="1746" y="293"/>
                    <a:pt x="1733" y="297"/>
                    <a:pt x="1738" y="299"/>
                  </a:cubicBezTo>
                  <a:cubicBezTo>
                    <a:pt x="1743" y="302"/>
                    <a:pt x="1743" y="307"/>
                    <a:pt x="1743" y="309"/>
                  </a:cubicBezTo>
                  <a:cubicBezTo>
                    <a:pt x="1743" y="312"/>
                    <a:pt x="1734" y="313"/>
                    <a:pt x="1731" y="309"/>
                  </a:cubicBezTo>
                  <a:cubicBezTo>
                    <a:pt x="1728" y="305"/>
                    <a:pt x="1723" y="309"/>
                    <a:pt x="1717" y="308"/>
                  </a:cubicBezTo>
                  <a:cubicBezTo>
                    <a:pt x="1711" y="308"/>
                    <a:pt x="1707" y="311"/>
                    <a:pt x="1713" y="312"/>
                  </a:cubicBezTo>
                  <a:cubicBezTo>
                    <a:pt x="1720" y="313"/>
                    <a:pt x="1722" y="317"/>
                    <a:pt x="1713" y="318"/>
                  </a:cubicBezTo>
                  <a:cubicBezTo>
                    <a:pt x="1705" y="318"/>
                    <a:pt x="1707" y="310"/>
                    <a:pt x="1702" y="311"/>
                  </a:cubicBezTo>
                  <a:cubicBezTo>
                    <a:pt x="1696" y="312"/>
                    <a:pt x="1685" y="307"/>
                    <a:pt x="1679" y="307"/>
                  </a:cubicBezTo>
                  <a:cubicBezTo>
                    <a:pt x="1673" y="307"/>
                    <a:pt x="1670" y="312"/>
                    <a:pt x="1662" y="312"/>
                  </a:cubicBezTo>
                  <a:cubicBezTo>
                    <a:pt x="1654" y="313"/>
                    <a:pt x="1644" y="308"/>
                    <a:pt x="1640" y="304"/>
                  </a:cubicBezTo>
                  <a:cubicBezTo>
                    <a:pt x="1637" y="300"/>
                    <a:pt x="1636" y="298"/>
                    <a:pt x="1632" y="303"/>
                  </a:cubicBezTo>
                  <a:cubicBezTo>
                    <a:pt x="1628" y="308"/>
                    <a:pt x="1628" y="318"/>
                    <a:pt x="1624" y="318"/>
                  </a:cubicBezTo>
                  <a:cubicBezTo>
                    <a:pt x="1620" y="319"/>
                    <a:pt x="1619" y="327"/>
                    <a:pt x="1615" y="330"/>
                  </a:cubicBezTo>
                  <a:cubicBezTo>
                    <a:pt x="1611" y="332"/>
                    <a:pt x="1611" y="326"/>
                    <a:pt x="1606" y="327"/>
                  </a:cubicBezTo>
                  <a:cubicBezTo>
                    <a:pt x="1601" y="327"/>
                    <a:pt x="1585" y="312"/>
                    <a:pt x="1584" y="307"/>
                  </a:cubicBezTo>
                  <a:cubicBezTo>
                    <a:pt x="1583" y="303"/>
                    <a:pt x="1574" y="294"/>
                    <a:pt x="1571" y="292"/>
                  </a:cubicBezTo>
                  <a:cubicBezTo>
                    <a:pt x="1568" y="291"/>
                    <a:pt x="1574" y="290"/>
                    <a:pt x="1577" y="293"/>
                  </a:cubicBezTo>
                  <a:cubicBezTo>
                    <a:pt x="1580" y="295"/>
                    <a:pt x="1584" y="295"/>
                    <a:pt x="1587" y="294"/>
                  </a:cubicBezTo>
                  <a:cubicBezTo>
                    <a:pt x="1591" y="292"/>
                    <a:pt x="1590" y="284"/>
                    <a:pt x="1585" y="284"/>
                  </a:cubicBezTo>
                  <a:cubicBezTo>
                    <a:pt x="1579" y="284"/>
                    <a:pt x="1581" y="279"/>
                    <a:pt x="1584" y="278"/>
                  </a:cubicBezTo>
                  <a:cubicBezTo>
                    <a:pt x="1587" y="277"/>
                    <a:pt x="1577" y="269"/>
                    <a:pt x="1581" y="268"/>
                  </a:cubicBezTo>
                  <a:cubicBezTo>
                    <a:pt x="1584" y="267"/>
                    <a:pt x="1583" y="263"/>
                    <a:pt x="1578" y="263"/>
                  </a:cubicBezTo>
                  <a:cubicBezTo>
                    <a:pt x="1573" y="262"/>
                    <a:pt x="1568" y="258"/>
                    <a:pt x="1568" y="256"/>
                  </a:cubicBezTo>
                  <a:cubicBezTo>
                    <a:pt x="1568" y="253"/>
                    <a:pt x="1548" y="253"/>
                    <a:pt x="1549" y="256"/>
                  </a:cubicBezTo>
                  <a:cubicBezTo>
                    <a:pt x="1550" y="259"/>
                    <a:pt x="1542" y="258"/>
                    <a:pt x="1543" y="256"/>
                  </a:cubicBezTo>
                  <a:cubicBezTo>
                    <a:pt x="1545" y="253"/>
                    <a:pt x="1536" y="254"/>
                    <a:pt x="1527" y="251"/>
                  </a:cubicBezTo>
                  <a:cubicBezTo>
                    <a:pt x="1517" y="248"/>
                    <a:pt x="1517" y="242"/>
                    <a:pt x="1514" y="241"/>
                  </a:cubicBezTo>
                  <a:cubicBezTo>
                    <a:pt x="1511" y="241"/>
                    <a:pt x="1512" y="251"/>
                    <a:pt x="1507" y="248"/>
                  </a:cubicBezTo>
                  <a:cubicBezTo>
                    <a:pt x="1502" y="246"/>
                    <a:pt x="1497" y="250"/>
                    <a:pt x="1500" y="256"/>
                  </a:cubicBezTo>
                  <a:cubicBezTo>
                    <a:pt x="1502" y="262"/>
                    <a:pt x="1500" y="262"/>
                    <a:pt x="1500" y="267"/>
                  </a:cubicBezTo>
                  <a:cubicBezTo>
                    <a:pt x="1499" y="271"/>
                    <a:pt x="1497" y="270"/>
                    <a:pt x="1491" y="268"/>
                  </a:cubicBezTo>
                  <a:cubicBezTo>
                    <a:pt x="1485" y="266"/>
                    <a:pt x="1485" y="272"/>
                    <a:pt x="1473" y="269"/>
                  </a:cubicBezTo>
                  <a:cubicBezTo>
                    <a:pt x="1461" y="266"/>
                    <a:pt x="1456" y="270"/>
                    <a:pt x="1454" y="266"/>
                  </a:cubicBezTo>
                  <a:cubicBezTo>
                    <a:pt x="1452" y="262"/>
                    <a:pt x="1448" y="261"/>
                    <a:pt x="1448" y="265"/>
                  </a:cubicBezTo>
                  <a:cubicBezTo>
                    <a:pt x="1447" y="268"/>
                    <a:pt x="1429" y="267"/>
                    <a:pt x="1427" y="262"/>
                  </a:cubicBezTo>
                  <a:cubicBezTo>
                    <a:pt x="1426" y="257"/>
                    <a:pt x="1430" y="256"/>
                    <a:pt x="1433" y="255"/>
                  </a:cubicBezTo>
                  <a:cubicBezTo>
                    <a:pt x="1436" y="254"/>
                    <a:pt x="1430" y="252"/>
                    <a:pt x="1420" y="252"/>
                  </a:cubicBezTo>
                  <a:cubicBezTo>
                    <a:pt x="1410" y="253"/>
                    <a:pt x="1403" y="247"/>
                    <a:pt x="1393" y="248"/>
                  </a:cubicBezTo>
                  <a:cubicBezTo>
                    <a:pt x="1383" y="249"/>
                    <a:pt x="1360" y="251"/>
                    <a:pt x="1357" y="253"/>
                  </a:cubicBezTo>
                  <a:cubicBezTo>
                    <a:pt x="1353" y="255"/>
                    <a:pt x="1360" y="260"/>
                    <a:pt x="1355" y="261"/>
                  </a:cubicBezTo>
                  <a:cubicBezTo>
                    <a:pt x="1350" y="261"/>
                    <a:pt x="1353" y="251"/>
                    <a:pt x="1352" y="247"/>
                  </a:cubicBezTo>
                  <a:cubicBezTo>
                    <a:pt x="1351" y="242"/>
                    <a:pt x="1344" y="241"/>
                    <a:pt x="1345" y="245"/>
                  </a:cubicBezTo>
                  <a:cubicBezTo>
                    <a:pt x="1346" y="248"/>
                    <a:pt x="1333" y="250"/>
                    <a:pt x="1330" y="247"/>
                  </a:cubicBezTo>
                  <a:cubicBezTo>
                    <a:pt x="1327" y="244"/>
                    <a:pt x="1322" y="241"/>
                    <a:pt x="1313" y="238"/>
                  </a:cubicBezTo>
                  <a:cubicBezTo>
                    <a:pt x="1305" y="236"/>
                    <a:pt x="1294" y="245"/>
                    <a:pt x="1297" y="248"/>
                  </a:cubicBezTo>
                  <a:cubicBezTo>
                    <a:pt x="1299" y="250"/>
                    <a:pt x="1305" y="248"/>
                    <a:pt x="1306" y="250"/>
                  </a:cubicBezTo>
                  <a:cubicBezTo>
                    <a:pt x="1306" y="254"/>
                    <a:pt x="1288" y="252"/>
                    <a:pt x="1288" y="255"/>
                  </a:cubicBezTo>
                  <a:cubicBezTo>
                    <a:pt x="1288" y="258"/>
                    <a:pt x="1271" y="262"/>
                    <a:pt x="1266" y="263"/>
                  </a:cubicBezTo>
                  <a:cubicBezTo>
                    <a:pt x="1251" y="265"/>
                    <a:pt x="1248" y="265"/>
                    <a:pt x="1242" y="270"/>
                  </a:cubicBezTo>
                  <a:cubicBezTo>
                    <a:pt x="1235" y="276"/>
                    <a:pt x="1240" y="265"/>
                    <a:pt x="1245" y="260"/>
                  </a:cubicBezTo>
                  <a:cubicBezTo>
                    <a:pt x="1251" y="255"/>
                    <a:pt x="1256" y="257"/>
                    <a:pt x="1259" y="253"/>
                  </a:cubicBezTo>
                  <a:cubicBezTo>
                    <a:pt x="1262" y="249"/>
                    <a:pt x="1267" y="250"/>
                    <a:pt x="1275" y="248"/>
                  </a:cubicBezTo>
                  <a:cubicBezTo>
                    <a:pt x="1283" y="247"/>
                    <a:pt x="1283" y="242"/>
                    <a:pt x="1286" y="241"/>
                  </a:cubicBezTo>
                  <a:cubicBezTo>
                    <a:pt x="1290" y="239"/>
                    <a:pt x="1300" y="235"/>
                    <a:pt x="1302" y="231"/>
                  </a:cubicBezTo>
                  <a:cubicBezTo>
                    <a:pt x="1303" y="227"/>
                    <a:pt x="1323" y="221"/>
                    <a:pt x="1326" y="221"/>
                  </a:cubicBezTo>
                  <a:cubicBezTo>
                    <a:pt x="1330" y="221"/>
                    <a:pt x="1331" y="213"/>
                    <a:pt x="1333" y="213"/>
                  </a:cubicBezTo>
                  <a:cubicBezTo>
                    <a:pt x="1336" y="213"/>
                    <a:pt x="1347" y="208"/>
                    <a:pt x="1351" y="207"/>
                  </a:cubicBezTo>
                  <a:cubicBezTo>
                    <a:pt x="1355" y="205"/>
                    <a:pt x="1357" y="201"/>
                    <a:pt x="1358" y="198"/>
                  </a:cubicBezTo>
                  <a:cubicBezTo>
                    <a:pt x="1358" y="195"/>
                    <a:pt x="1352" y="195"/>
                    <a:pt x="1351" y="193"/>
                  </a:cubicBezTo>
                  <a:cubicBezTo>
                    <a:pt x="1351" y="190"/>
                    <a:pt x="1354" y="192"/>
                    <a:pt x="1359" y="190"/>
                  </a:cubicBezTo>
                  <a:cubicBezTo>
                    <a:pt x="1363" y="188"/>
                    <a:pt x="1359" y="182"/>
                    <a:pt x="1355" y="184"/>
                  </a:cubicBezTo>
                  <a:cubicBezTo>
                    <a:pt x="1351" y="185"/>
                    <a:pt x="1357" y="180"/>
                    <a:pt x="1354" y="176"/>
                  </a:cubicBezTo>
                  <a:cubicBezTo>
                    <a:pt x="1350" y="173"/>
                    <a:pt x="1344" y="179"/>
                    <a:pt x="1344" y="175"/>
                  </a:cubicBezTo>
                  <a:cubicBezTo>
                    <a:pt x="1344" y="171"/>
                    <a:pt x="1344" y="165"/>
                    <a:pt x="1341" y="163"/>
                  </a:cubicBezTo>
                  <a:cubicBezTo>
                    <a:pt x="1339" y="160"/>
                    <a:pt x="1334" y="167"/>
                    <a:pt x="1328" y="163"/>
                  </a:cubicBezTo>
                  <a:cubicBezTo>
                    <a:pt x="1323" y="159"/>
                    <a:pt x="1307" y="157"/>
                    <a:pt x="1307" y="158"/>
                  </a:cubicBezTo>
                  <a:cubicBezTo>
                    <a:pt x="1307" y="160"/>
                    <a:pt x="1300" y="156"/>
                    <a:pt x="1298" y="158"/>
                  </a:cubicBezTo>
                  <a:cubicBezTo>
                    <a:pt x="1297" y="159"/>
                    <a:pt x="1284" y="159"/>
                    <a:pt x="1280" y="158"/>
                  </a:cubicBezTo>
                  <a:cubicBezTo>
                    <a:pt x="1277" y="157"/>
                    <a:pt x="1271" y="159"/>
                    <a:pt x="1271" y="163"/>
                  </a:cubicBezTo>
                  <a:cubicBezTo>
                    <a:pt x="1271" y="167"/>
                    <a:pt x="1256" y="166"/>
                    <a:pt x="1253" y="165"/>
                  </a:cubicBezTo>
                  <a:cubicBezTo>
                    <a:pt x="1250" y="164"/>
                    <a:pt x="1263" y="153"/>
                    <a:pt x="1263" y="151"/>
                  </a:cubicBezTo>
                  <a:cubicBezTo>
                    <a:pt x="1263" y="150"/>
                    <a:pt x="1241" y="152"/>
                    <a:pt x="1239" y="150"/>
                  </a:cubicBezTo>
                  <a:cubicBezTo>
                    <a:pt x="1238" y="148"/>
                    <a:pt x="1227" y="147"/>
                    <a:pt x="1222" y="147"/>
                  </a:cubicBezTo>
                  <a:cubicBezTo>
                    <a:pt x="1217" y="147"/>
                    <a:pt x="1222" y="146"/>
                    <a:pt x="1226" y="145"/>
                  </a:cubicBezTo>
                  <a:cubicBezTo>
                    <a:pt x="1231" y="145"/>
                    <a:pt x="1235" y="141"/>
                    <a:pt x="1240" y="140"/>
                  </a:cubicBezTo>
                  <a:cubicBezTo>
                    <a:pt x="1245" y="139"/>
                    <a:pt x="1244" y="138"/>
                    <a:pt x="1242" y="135"/>
                  </a:cubicBezTo>
                  <a:cubicBezTo>
                    <a:pt x="1240" y="132"/>
                    <a:pt x="1234" y="133"/>
                    <a:pt x="1229" y="132"/>
                  </a:cubicBezTo>
                  <a:cubicBezTo>
                    <a:pt x="1225" y="130"/>
                    <a:pt x="1219" y="128"/>
                    <a:pt x="1214" y="128"/>
                  </a:cubicBezTo>
                  <a:cubicBezTo>
                    <a:pt x="1210" y="128"/>
                    <a:pt x="1205" y="130"/>
                    <a:pt x="1195" y="132"/>
                  </a:cubicBezTo>
                  <a:cubicBezTo>
                    <a:pt x="1185" y="134"/>
                    <a:pt x="1184" y="142"/>
                    <a:pt x="1179" y="144"/>
                  </a:cubicBezTo>
                  <a:cubicBezTo>
                    <a:pt x="1174" y="146"/>
                    <a:pt x="1165" y="156"/>
                    <a:pt x="1169" y="157"/>
                  </a:cubicBezTo>
                  <a:cubicBezTo>
                    <a:pt x="1173" y="158"/>
                    <a:pt x="1171" y="160"/>
                    <a:pt x="1172" y="163"/>
                  </a:cubicBezTo>
                  <a:cubicBezTo>
                    <a:pt x="1172" y="166"/>
                    <a:pt x="1169" y="166"/>
                    <a:pt x="1164" y="165"/>
                  </a:cubicBezTo>
                  <a:cubicBezTo>
                    <a:pt x="1159" y="165"/>
                    <a:pt x="1141" y="165"/>
                    <a:pt x="1142" y="168"/>
                  </a:cubicBezTo>
                  <a:cubicBezTo>
                    <a:pt x="1142" y="172"/>
                    <a:pt x="1152" y="174"/>
                    <a:pt x="1151" y="176"/>
                  </a:cubicBezTo>
                  <a:cubicBezTo>
                    <a:pt x="1150" y="178"/>
                    <a:pt x="1143" y="176"/>
                    <a:pt x="1140" y="174"/>
                  </a:cubicBezTo>
                  <a:cubicBezTo>
                    <a:pt x="1137" y="172"/>
                    <a:pt x="1129" y="173"/>
                    <a:pt x="1127" y="176"/>
                  </a:cubicBezTo>
                  <a:cubicBezTo>
                    <a:pt x="1126" y="180"/>
                    <a:pt x="1120" y="179"/>
                    <a:pt x="1118" y="178"/>
                  </a:cubicBezTo>
                  <a:cubicBezTo>
                    <a:pt x="1116" y="178"/>
                    <a:pt x="1112" y="180"/>
                    <a:pt x="1108" y="179"/>
                  </a:cubicBezTo>
                  <a:cubicBezTo>
                    <a:pt x="1105" y="178"/>
                    <a:pt x="1115" y="173"/>
                    <a:pt x="1112" y="171"/>
                  </a:cubicBezTo>
                  <a:cubicBezTo>
                    <a:pt x="1110" y="168"/>
                    <a:pt x="1100" y="171"/>
                    <a:pt x="1099" y="175"/>
                  </a:cubicBezTo>
                  <a:cubicBezTo>
                    <a:pt x="1098" y="178"/>
                    <a:pt x="1091" y="172"/>
                    <a:pt x="1089" y="173"/>
                  </a:cubicBezTo>
                  <a:cubicBezTo>
                    <a:pt x="1087" y="174"/>
                    <a:pt x="1084" y="176"/>
                    <a:pt x="1080" y="178"/>
                  </a:cubicBezTo>
                  <a:cubicBezTo>
                    <a:pt x="1075" y="180"/>
                    <a:pt x="1067" y="176"/>
                    <a:pt x="1066" y="179"/>
                  </a:cubicBezTo>
                  <a:cubicBezTo>
                    <a:pt x="1064" y="182"/>
                    <a:pt x="1074" y="184"/>
                    <a:pt x="1074" y="185"/>
                  </a:cubicBezTo>
                  <a:cubicBezTo>
                    <a:pt x="1075" y="187"/>
                    <a:pt x="1051" y="186"/>
                    <a:pt x="1050" y="189"/>
                  </a:cubicBezTo>
                  <a:cubicBezTo>
                    <a:pt x="1050" y="191"/>
                    <a:pt x="1042" y="191"/>
                    <a:pt x="1032" y="191"/>
                  </a:cubicBezTo>
                  <a:cubicBezTo>
                    <a:pt x="1022" y="192"/>
                    <a:pt x="1026" y="196"/>
                    <a:pt x="1019" y="198"/>
                  </a:cubicBezTo>
                  <a:cubicBezTo>
                    <a:pt x="1011" y="199"/>
                    <a:pt x="1007" y="199"/>
                    <a:pt x="1005" y="203"/>
                  </a:cubicBezTo>
                  <a:cubicBezTo>
                    <a:pt x="1002" y="207"/>
                    <a:pt x="996" y="208"/>
                    <a:pt x="994" y="205"/>
                  </a:cubicBezTo>
                  <a:cubicBezTo>
                    <a:pt x="991" y="202"/>
                    <a:pt x="984" y="206"/>
                    <a:pt x="988" y="207"/>
                  </a:cubicBezTo>
                  <a:cubicBezTo>
                    <a:pt x="992" y="207"/>
                    <a:pt x="988" y="211"/>
                    <a:pt x="986" y="210"/>
                  </a:cubicBezTo>
                  <a:cubicBezTo>
                    <a:pt x="983" y="209"/>
                    <a:pt x="976" y="214"/>
                    <a:pt x="980" y="214"/>
                  </a:cubicBezTo>
                  <a:cubicBezTo>
                    <a:pt x="984" y="213"/>
                    <a:pt x="986" y="217"/>
                    <a:pt x="984" y="219"/>
                  </a:cubicBezTo>
                  <a:cubicBezTo>
                    <a:pt x="982" y="221"/>
                    <a:pt x="974" y="216"/>
                    <a:pt x="972" y="218"/>
                  </a:cubicBezTo>
                  <a:cubicBezTo>
                    <a:pt x="969" y="221"/>
                    <a:pt x="976" y="223"/>
                    <a:pt x="980" y="223"/>
                  </a:cubicBezTo>
                  <a:cubicBezTo>
                    <a:pt x="983" y="222"/>
                    <a:pt x="986" y="225"/>
                    <a:pt x="986" y="228"/>
                  </a:cubicBezTo>
                  <a:cubicBezTo>
                    <a:pt x="986" y="231"/>
                    <a:pt x="977" y="226"/>
                    <a:pt x="975" y="228"/>
                  </a:cubicBezTo>
                  <a:cubicBezTo>
                    <a:pt x="973" y="231"/>
                    <a:pt x="977" y="232"/>
                    <a:pt x="981" y="232"/>
                  </a:cubicBezTo>
                  <a:cubicBezTo>
                    <a:pt x="985" y="233"/>
                    <a:pt x="982" y="234"/>
                    <a:pt x="985" y="238"/>
                  </a:cubicBezTo>
                  <a:cubicBezTo>
                    <a:pt x="986" y="238"/>
                    <a:pt x="986" y="238"/>
                    <a:pt x="986" y="238"/>
                  </a:cubicBezTo>
                  <a:cubicBezTo>
                    <a:pt x="988" y="241"/>
                    <a:pt x="984" y="242"/>
                    <a:pt x="985" y="244"/>
                  </a:cubicBezTo>
                  <a:cubicBezTo>
                    <a:pt x="985" y="247"/>
                    <a:pt x="980" y="248"/>
                    <a:pt x="980" y="246"/>
                  </a:cubicBezTo>
                  <a:cubicBezTo>
                    <a:pt x="980" y="243"/>
                    <a:pt x="969" y="242"/>
                    <a:pt x="967" y="245"/>
                  </a:cubicBezTo>
                  <a:cubicBezTo>
                    <a:pt x="964" y="248"/>
                    <a:pt x="963" y="250"/>
                    <a:pt x="960" y="247"/>
                  </a:cubicBezTo>
                  <a:cubicBezTo>
                    <a:pt x="957" y="245"/>
                    <a:pt x="949" y="248"/>
                    <a:pt x="938" y="248"/>
                  </a:cubicBezTo>
                  <a:cubicBezTo>
                    <a:pt x="928" y="249"/>
                    <a:pt x="906" y="250"/>
                    <a:pt x="901" y="252"/>
                  </a:cubicBezTo>
                  <a:cubicBezTo>
                    <a:pt x="895" y="254"/>
                    <a:pt x="891" y="261"/>
                    <a:pt x="896" y="266"/>
                  </a:cubicBezTo>
                  <a:cubicBezTo>
                    <a:pt x="901" y="271"/>
                    <a:pt x="896" y="273"/>
                    <a:pt x="896" y="276"/>
                  </a:cubicBezTo>
                  <a:cubicBezTo>
                    <a:pt x="896" y="280"/>
                    <a:pt x="909" y="286"/>
                    <a:pt x="916" y="287"/>
                  </a:cubicBezTo>
                  <a:cubicBezTo>
                    <a:pt x="923" y="288"/>
                    <a:pt x="928" y="296"/>
                    <a:pt x="924" y="301"/>
                  </a:cubicBezTo>
                  <a:cubicBezTo>
                    <a:pt x="920" y="306"/>
                    <a:pt x="908" y="300"/>
                    <a:pt x="899" y="293"/>
                  </a:cubicBezTo>
                  <a:cubicBezTo>
                    <a:pt x="891" y="287"/>
                    <a:pt x="872" y="284"/>
                    <a:pt x="866" y="285"/>
                  </a:cubicBezTo>
                  <a:cubicBezTo>
                    <a:pt x="860" y="285"/>
                    <a:pt x="863" y="279"/>
                    <a:pt x="855" y="279"/>
                  </a:cubicBezTo>
                  <a:cubicBezTo>
                    <a:pt x="848" y="279"/>
                    <a:pt x="841" y="287"/>
                    <a:pt x="846" y="287"/>
                  </a:cubicBezTo>
                  <a:cubicBezTo>
                    <a:pt x="852" y="287"/>
                    <a:pt x="855" y="286"/>
                    <a:pt x="852" y="289"/>
                  </a:cubicBezTo>
                  <a:cubicBezTo>
                    <a:pt x="849" y="291"/>
                    <a:pt x="854" y="291"/>
                    <a:pt x="860" y="293"/>
                  </a:cubicBezTo>
                  <a:cubicBezTo>
                    <a:pt x="867" y="296"/>
                    <a:pt x="855" y="300"/>
                    <a:pt x="848" y="296"/>
                  </a:cubicBezTo>
                  <a:cubicBezTo>
                    <a:pt x="842" y="291"/>
                    <a:pt x="834" y="295"/>
                    <a:pt x="832" y="299"/>
                  </a:cubicBezTo>
                  <a:cubicBezTo>
                    <a:pt x="831" y="302"/>
                    <a:pt x="840" y="312"/>
                    <a:pt x="852" y="314"/>
                  </a:cubicBezTo>
                  <a:cubicBezTo>
                    <a:pt x="863" y="316"/>
                    <a:pt x="860" y="319"/>
                    <a:pt x="865" y="321"/>
                  </a:cubicBezTo>
                  <a:cubicBezTo>
                    <a:pt x="870" y="323"/>
                    <a:pt x="866" y="325"/>
                    <a:pt x="863" y="325"/>
                  </a:cubicBezTo>
                  <a:cubicBezTo>
                    <a:pt x="859" y="326"/>
                    <a:pt x="852" y="320"/>
                    <a:pt x="846" y="317"/>
                  </a:cubicBezTo>
                  <a:cubicBezTo>
                    <a:pt x="840" y="314"/>
                    <a:pt x="825" y="318"/>
                    <a:pt x="821" y="315"/>
                  </a:cubicBezTo>
                  <a:cubicBezTo>
                    <a:pt x="818" y="311"/>
                    <a:pt x="823" y="308"/>
                    <a:pt x="820" y="305"/>
                  </a:cubicBezTo>
                  <a:cubicBezTo>
                    <a:pt x="817" y="303"/>
                    <a:pt x="820" y="297"/>
                    <a:pt x="824" y="291"/>
                  </a:cubicBezTo>
                  <a:cubicBezTo>
                    <a:pt x="828" y="285"/>
                    <a:pt x="823" y="275"/>
                    <a:pt x="818" y="273"/>
                  </a:cubicBezTo>
                  <a:cubicBezTo>
                    <a:pt x="812" y="271"/>
                    <a:pt x="812" y="277"/>
                    <a:pt x="814" y="279"/>
                  </a:cubicBezTo>
                  <a:cubicBezTo>
                    <a:pt x="815" y="280"/>
                    <a:pt x="814" y="288"/>
                    <a:pt x="810" y="294"/>
                  </a:cubicBezTo>
                  <a:cubicBezTo>
                    <a:pt x="806" y="299"/>
                    <a:pt x="793" y="299"/>
                    <a:pt x="793" y="303"/>
                  </a:cubicBezTo>
                  <a:cubicBezTo>
                    <a:pt x="793" y="307"/>
                    <a:pt x="784" y="309"/>
                    <a:pt x="787" y="312"/>
                  </a:cubicBezTo>
                  <a:cubicBezTo>
                    <a:pt x="790" y="315"/>
                    <a:pt x="802" y="328"/>
                    <a:pt x="803" y="332"/>
                  </a:cubicBezTo>
                  <a:cubicBezTo>
                    <a:pt x="805" y="336"/>
                    <a:pt x="793" y="349"/>
                    <a:pt x="795" y="356"/>
                  </a:cubicBezTo>
                  <a:cubicBezTo>
                    <a:pt x="797" y="364"/>
                    <a:pt x="793" y="367"/>
                    <a:pt x="795" y="371"/>
                  </a:cubicBezTo>
                  <a:cubicBezTo>
                    <a:pt x="798" y="375"/>
                    <a:pt x="803" y="372"/>
                    <a:pt x="807" y="373"/>
                  </a:cubicBezTo>
                  <a:cubicBezTo>
                    <a:pt x="810" y="375"/>
                    <a:pt x="816" y="371"/>
                    <a:pt x="824" y="369"/>
                  </a:cubicBezTo>
                  <a:cubicBezTo>
                    <a:pt x="832" y="368"/>
                    <a:pt x="846" y="376"/>
                    <a:pt x="852" y="379"/>
                  </a:cubicBezTo>
                  <a:cubicBezTo>
                    <a:pt x="857" y="381"/>
                    <a:pt x="854" y="386"/>
                    <a:pt x="857" y="390"/>
                  </a:cubicBezTo>
                  <a:cubicBezTo>
                    <a:pt x="860" y="394"/>
                    <a:pt x="851" y="394"/>
                    <a:pt x="850" y="401"/>
                  </a:cubicBezTo>
                  <a:cubicBezTo>
                    <a:pt x="850" y="407"/>
                    <a:pt x="866" y="410"/>
                    <a:pt x="867" y="412"/>
                  </a:cubicBezTo>
                  <a:cubicBezTo>
                    <a:pt x="868" y="414"/>
                    <a:pt x="855" y="412"/>
                    <a:pt x="851" y="411"/>
                  </a:cubicBezTo>
                  <a:cubicBezTo>
                    <a:pt x="846" y="409"/>
                    <a:pt x="846" y="403"/>
                    <a:pt x="844" y="401"/>
                  </a:cubicBezTo>
                  <a:cubicBezTo>
                    <a:pt x="843" y="400"/>
                    <a:pt x="847" y="395"/>
                    <a:pt x="848" y="391"/>
                  </a:cubicBezTo>
                  <a:cubicBezTo>
                    <a:pt x="848" y="387"/>
                    <a:pt x="842" y="384"/>
                    <a:pt x="840" y="382"/>
                  </a:cubicBezTo>
                  <a:cubicBezTo>
                    <a:pt x="838" y="379"/>
                    <a:pt x="835" y="375"/>
                    <a:pt x="831" y="376"/>
                  </a:cubicBezTo>
                  <a:cubicBezTo>
                    <a:pt x="827" y="376"/>
                    <a:pt x="813" y="378"/>
                    <a:pt x="809" y="382"/>
                  </a:cubicBezTo>
                  <a:cubicBezTo>
                    <a:pt x="805" y="385"/>
                    <a:pt x="809" y="396"/>
                    <a:pt x="812" y="402"/>
                  </a:cubicBezTo>
                  <a:cubicBezTo>
                    <a:pt x="814" y="407"/>
                    <a:pt x="799" y="415"/>
                    <a:pt x="800" y="419"/>
                  </a:cubicBezTo>
                  <a:cubicBezTo>
                    <a:pt x="800" y="423"/>
                    <a:pt x="795" y="425"/>
                    <a:pt x="789" y="429"/>
                  </a:cubicBezTo>
                  <a:cubicBezTo>
                    <a:pt x="782" y="432"/>
                    <a:pt x="775" y="435"/>
                    <a:pt x="775" y="440"/>
                  </a:cubicBezTo>
                  <a:cubicBezTo>
                    <a:pt x="776" y="446"/>
                    <a:pt x="767" y="443"/>
                    <a:pt x="762" y="440"/>
                  </a:cubicBezTo>
                  <a:cubicBezTo>
                    <a:pt x="758" y="438"/>
                    <a:pt x="752" y="442"/>
                    <a:pt x="746" y="442"/>
                  </a:cubicBezTo>
                  <a:cubicBezTo>
                    <a:pt x="739" y="441"/>
                    <a:pt x="739" y="436"/>
                    <a:pt x="734" y="438"/>
                  </a:cubicBezTo>
                  <a:cubicBezTo>
                    <a:pt x="729" y="440"/>
                    <a:pt x="725" y="436"/>
                    <a:pt x="727" y="432"/>
                  </a:cubicBezTo>
                  <a:cubicBezTo>
                    <a:pt x="728" y="428"/>
                    <a:pt x="734" y="431"/>
                    <a:pt x="735" y="434"/>
                  </a:cubicBezTo>
                  <a:cubicBezTo>
                    <a:pt x="735" y="436"/>
                    <a:pt x="739" y="435"/>
                    <a:pt x="743" y="433"/>
                  </a:cubicBezTo>
                  <a:cubicBezTo>
                    <a:pt x="747" y="430"/>
                    <a:pt x="745" y="436"/>
                    <a:pt x="751" y="436"/>
                  </a:cubicBezTo>
                  <a:cubicBezTo>
                    <a:pt x="758" y="437"/>
                    <a:pt x="754" y="433"/>
                    <a:pt x="759" y="433"/>
                  </a:cubicBezTo>
                  <a:cubicBezTo>
                    <a:pt x="764" y="434"/>
                    <a:pt x="764" y="432"/>
                    <a:pt x="762" y="430"/>
                  </a:cubicBezTo>
                  <a:cubicBezTo>
                    <a:pt x="761" y="428"/>
                    <a:pt x="766" y="426"/>
                    <a:pt x="769" y="425"/>
                  </a:cubicBezTo>
                  <a:cubicBezTo>
                    <a:pt x="772" y="423"/>
                    <a:pt x="771" y="418"/>
                    <a:pt x="773" y="417"/>
                  </a:cubicBezTo>
                  <a:cubicBezTo>
                    <a:pt x="776" y="415"/>
                    <a:pt x="774" y="412"/>
                    <a:pt x="777" y="412"/>
                  </a:cubicBezTo>
                  <a:cubicBezTo>
                    <a:pt x="780" y="412"/>
                    <a:pt x="782" y="407"/>
                    <a:pt x="784" y="407"/>
                  </a:cubicBezTo>
                  <a:cubicBezTo>
                    <a:pt x="787" y="407"/>
                    <a:pt x="789" y="403"/>
                    <a:pt x="787" y="401"/>
                  </a:cubicBezTo>
                  <a:cubicBezTo>
                    <a:pt x="785" y="398"/>
                    <a:pt x="788" y="392"/>
                    <a:pt x="791" y="391"/>
                  </a:cubicBezTo>
                  <a:cubicBezTo>
                    <a:pt x="794" y="390"/>
                    <a:pt x="794" y="387"/>
                    <a:pt x="791" y="385"/>
                  </a:cubicBezTo>
                  <a:cubicBezTo>
                    <a:pt x="789" y="384"/>
                    <a:pt x="779" y="377"/>
                    <a:pt x="780" y="373"/>
                  </a:cubicBezTo>
                  <a:cubicBezTo>
                    <a:pt x="780" y="369"/>
                    <a:pt x="778" y="361"/>
                    <a:pt x="779" y="358"/>
                  </a:cubicBezTo>
                  <a:cubicBezTo>
                    <a:pt x="781" y="355"/>
                    <a:pt x="780" y="348"/>
                    <a:pt x="779" y="344"/>
                  </a:cubicBezTo>
                  <a:cubicBezTo>
                    <a:pt x="779" y="341"/>
                    <a:pt x="782" y="336"/>
                    <a:pt x="783" y="329"/>
                  </a:cubicBezTo>
                  <a:cubicBezTo>
                    <a:pt x="784" y="322"/>
                    <a:pt x="775" y="315"/>
                    <a:pt x="771" y="313"/>
                  </a:cubicBezTo>
                  <a:cubicBezTo>
                    <a:pt x="767" y="311"/>
                    <a:pt x="769" y="307"/>
                    <a:pt x="776" y="302"/>
                  </a:cubicBezTo>
                  <a:cubicBezTo>
                    <a:pt x="782" y="296"/>
                    <a:pt x="782" y="280"/>
                    <a:pt x="782" y="277"/>
                  </a:cubicBezTo>
                  <a:cubicBezTo>
                    <a:pt x="782" y="273"/>
                    <a:pt x="769" y="270"/>
                    <a:pt x="764" y="271"/>
                  </a:cubicBezTo>
                  <a:cubicBezTo>
                    <a:pt x="759" y="271"/>
                    <a:pt x="741" y="270"/>
                    <a:pt x="736" y="270"/>
                  </a:cubicBezTo>
                  <a:cubicBezTo>
                    <a:pt x="732" y="269"/>
                    <a:pt x="730" y="273"/>
                    <a:pt x="728" y="278"/>
                  </a:cubicBezTo>
                  <a:cubicBezTo>
                    <a:pt x="726" y="282"/>
                    <a:pt x="721" y="289"/>
                    <a:pt x="718" y="298"/>
                  </a:cubicBezTo>
                  <a:cubicBezTo>
                    <a:pt x="715" y="308"/>
                    <a:pt x="704" y="311"/>
                    <a:pt x="699" y="313"/>
                  </a:cubicBezTo>
                  <a:cubicBezTo>
                    <a:pt x="694" y="315"/>
                    <a:pt x="691" y="322"/>
                    <a:pt x="693" y="326"/>
                  </a:cubicBezTo>
                  <a:cubicBezTo>
                    <a:pt x="695" y="329"/>
                    <a:pt x="699" y="327"/>
                    <a:pt x="701" y="328"/>
                  </a:cubicBezTo>
                  <a:cubicBezTo>
                    <a:pt x="703" y="329"/>
                    <a:pt x="701" y="338"/>
                    <a:pt x="699" y="339"/>
                  </a:cubicBezTo>
                  <a:cubicBezTo>
                    <a:pt x="698" y="341"/>
                    <a:pt x="702" y="344"/>
                    <a:pt x="698" y="346"/>
                  </a:cubicBezTo>
                  <a:cubicBezTo>
                    <a:pt x="695" y="349"/>
                    <a:pt x="691" y="354"/>
                    <a:pt x="694" y="356"/>
                  </a:cubicBezTo>
                  <a:cubicBezTo>
                    <a:pt x="696" y="359"/>
                    <a:pt x="706" y="360"/>
                    <a:pt x="711" y="363"/>
                  </a:cubicBezTo>
                  <a:cubicBezTo>
                    <a:pt x="715" y="365"/>
                    <a:pt x="714" y="370"/>
                    <a:pt x="717" y="375"/>
                  </a:cubicBezTo>
                  <a:cubicBezTo>
                    <a:pt x="720" y="379"/>
                    <a:pt x="724" y="376"/>
                    <a:pt x="726" y="379"/>
                  </a:cubicBezTo>
                  <a:cubicBezTo>
                    <a:pt x="728" y="382"/>
                    <a:pt x="720" y="393"/>
                    <a:pt x="717" y="393"/>
                  </a:cubicBezTo>
                  <a:cubicBezTo>
                    <a:pt x="714" y="394"/>
                    <a:pt x="703" y="382"/>
                    <a:pt x="699" y="379"/>
                  </a:cubicBezTo>
                  <a:cubicBezTo>
                    <a:pt x="696" y="377"/>
                    <a:pt x="682" y="373"/>
                    <a:pt x="676" y="369"/>
                  </a:cubicBezTo>
                  <a:cubicBezTo>
                    <a:pt x="669" y="366"/>
                    <a:pt x="664" y="366"/>
                    <a:pt x="656" y="361"/>
                  </a:cubicBezTo>
                  <a:cubicBezTo>
                    <a:pt x="649" y="356"/>
                    <a:pt x="643" y="354"/>
                    <a:pt x="629" y="354"/>
                  </a:cubicBezTo>
                  <a:cubicBezTo>
                    <a:pt x="616" y="355"/>
                    <a:pt x="608" y="351"/>
                    <a:pt x="603" y="352"/>
                  </a:cubicBezTo>
                  <a:cubicBezTo>
                    <a:pt x="598" y="353"/>
                    <a:pt x="600" y="347"/>
                    <a:pt x="592" y="344"/>
                  </a:cubicBezTo>
                  <a:cubicBezTo>
                    <a:pt x="584" y="341"/>
                    <a:pt x="579" y="336"/>
                    <a:pt x="575" y="338"/>
                  </a:cubicBezTo>
                  <a:cubicBezTo>
                    <a:pt x="570" y="341"/>
                    <a:pt x="572" y="349"/>
                    <a:pt x="579" y="350"/>
                  </a:cubicBezTo>
                  <a:cubicBezTo>
                    <a:pt x="586" y="351"/>
                    <a:pt x="582" y="355"/>
                    <a:pt x="589" y="355"/>
                  </a:cubicBezTo>
                  <a:cubicBezTo>
                    <a:pt x="597" y="354"/>
                    <a:pt x="599" y="357"/>
                    <a:pt x="599" y="361"/>
                  </a:cubicBezTo>
                  <a:cubicBezTo>
                    <a:pt x="598" y="366"/>
                    <a:pt x="602" y="370"/>
                    <a:pt x="605" y="373"/>
                  </a:cubicBezTo>
                  <a:cubicBezTo>
                    <a:pt x="609" y="376"/>
                    <a:pt x="607" y="381"/>
                    <a:pt x="601" y="381"/>
                  </a:cubicBezTo>
                  <a:cubicBezTo>
                    <a:pt x="595" y="381"/>
                    <a:pt x="588" y="382"/>
                    <a:pt x="591" y="386"/>
                  </a:cubicBezTo>
                  <a:cubicBezTo>
                    <a:pt x="594" y="390"/>
                    <a:pt x="589" y="391"/>
                    <a:pt x="583" y="389"/>
                  </a:cubicBezTo>
                  <a:cubicBezTo>
                    <a:pt x="578" y="387"/>
                    <a:pt x="581" y="383"/>
                    <a:pt x="583" y="381"/>
                  </a:cubicBezTo>
                  <a:cubicBezTo>
                    <a:pt x="586" y="378"/>
                    <a:pt x="578" y="375"/>
                    <a:pt x="575" y="374"/>
                  </a:cubicBezTo>
                  <a:cubicBezTo>
                    <a:pt x="571" y="373"/>
                    <a:pt x="556" y="383"/>
                    <a:pt x="552" y="385"/>
                  </a:cubicBezTo>
                  <a:cubicBezTo>
                    <a:pt x="548" y="387"/>
                    <a:pt x="538" y="382"/>
                    <a:pt x="528" y="385"/>
                  </a:cubicBezTo>
                  <a:cubicBezTo>
                    <a:pt x="517" y="388"/>
                    <a:pt x="518" y="396"/>
                    <a:pt x="514" y="395"/>
                  </a:cubicBezTo>
                  <a:cubicBezTo>
                    <a:pt x="510" y="394"/>
                    <a:pt x="499" y="396"/>
                    <a:pt x="495" y="393"/>
                  </a:cubicBezTo>
                  <a:cubicBezTo>
                    <a:pt x="490" y="391"/>
                    <a:pt x="494" y="389"/>
                    <a:pt x="498" y="390"/>
                  </a:cubicBezTo>
                  <a:cubicBezTo>
                    <a:pt x="503" y="390"/>
                    <a:pt x="504" y="388"/>
                    <a:pt x="502" y="385"/>
                  </a:cubicBezTo>
                  <a:cubicBezTo>
                    <a:pt x="499" y="382"/>
                    <a:pt x="505" y="378"/>
                    <a:pt x="505" y="375"/>
                  </a:cubicBezTo>
                  <a:cubicBezTo>
                    <a:pt x="505" y="373"/>
                    <a:pt x="488" y="379"/>
                    <a:pt x="485" y="381"/>
                  </a:cubicBezTo>
                  <a:cubicBezTo>
                    <a:pt x="482" y="384"/>
                    <a:pt x="485" y="388"/>
                    <a:pt x="482" y="389"/>
                  </a:cubicBezTo>
                  <a:cubicBezTo>
                    <a:pt x="479" y="391"/>
                    <a:pt x="479" y="387"/>
                    <a:pt x="476" y="385"/>
                  </a:cubicBezTo>
                  <a:cubicBezTo>
                    <a:pt x="472" y="384"/>
                    <a:pt x="447" y="390"/>
                    <a:pt x="443" y="395"/>
                  </a:cubicBezTo>
                  <a:cubicBezTo>
                    <a:pt x="438" y="401"/>
                    <a:pt x="429" y="401"/>
                    <a:pt x="429" y="404"/>
                  </a:cubicBezTo>
                  <a:cubicBezTo>
                    <a:pt x="429" y="407"/>
                    <a:pt x="417" y="407"/>
                    <a:pt x="413" y="409"/>
                  </a:cubicBezTo>
                  <a:cubicBezTo>
                    <a:pt x="408" y="411"/>
                    <a:pt x="411" y="420"/>
                    <a:pt x="409" y="424"/>
                  </a:cubicBezTo>
                  <a:cubicBezTo>
                    <a:pt x="408" y="429"/>
                    <a:pt x="390" y="427"/>
                    <a:pt x="385" y="427"/>
                  </a:cubicBezTo>
                  <a:cubicBezTo>
                    <a:pt x="379" y="428"/>
                    <a:pt x="377" y="417"/>
                    <a:pt x="373" y="416"/>
                  </a:cubicBezTo>
                  <a:cubicBezTo>
                    <a:pt x="369" y="416"/>
                    <a:pt x="371" y="410"/>
                    <a:pt x="373" y="407"/>
                  </a:cubicBezTo>
                  <a:cubicBezTo>
                    <a:pt x="374" y="405"/>
                    <a:pt x="377" y="407"/>
                    <a:pt x="383" y="403"/>
                  </a:cubicBezTo>
                  <a:cubicBezTo>
                    <a:pt x="388" y="400"/>
                    <a:pt x="394" y="405"/>
                    <a:pt x="396" y="403"/>
                  </a:cubicBezTo>
                  <a:cubicBezTo>
                    <a:pt x="398" y="400"/>
                    <a:pt x="388" y="394"/>
                    <a:pt x="387" y="389"/>
                  </a:cubicBezTo>
                  <a:cubicBezTo>
                    <a:pt x="386" y="383"/>
                    <a:pt x="375" y="382"/>
                    <a:pt x="368" y="384"/>
                  </a:cubicBezTo>
                  <a:cubicBezTo>
                    <a:pt x="362" y="385"/>
                    <a:pt x="355" y="384"/>
                    <a:pt x="350" y="382"/>
                  </a:cubicBezTo>
                  <a:cubicBezTo>
                    <a:pt x="346" y="379"/>
                    <a:pt x="346" y="385"/>
                    <a:pt x="353" y="387"/>
                  </a:cubicBezTo>
                  <a:cubicBezTo>
                    <a:pt x="360" y="389"/>
                    <a:pt x="356" y="394"/>
                    <a:pt x="357" y="397"/>
                  </a:cubicBezTo>
                  <a:cubicBezTo>
                    <a:pt x="358" y="401"/>
                    <a:pt x="355" y="408"/>
                    <a:pt x="352" y="413"/>
                  </a:cubicBezTo>
                  <a:cubicBezTo>
                    <a:pt x="348" y="419"/>
                    <a:pt x="351" y="419"/>
                    <a:pt x="356" y="419"/>
                  </a:cubicBezTo>
                  <a:cubicBezTo>
                    <a:pt x="362" y="418"/>
                    <a:pt x="362" y="426"/>
                    <a:pt x="362" y="432"/>
                  </a:cubicBezTo>
                  <a:cubicBezTo>
                    <a:pt x="362" y="437"/>
                    <a:pt x="357" y="439"/>
                    <a:pt x="357" y="443"/>
                  </a:cubicBezTo>
                  <a:cubicBezTo>
                    <a:pt x="357" y="447"/>
                    <a:pt x="352" y="441"/>
                    <a:pt x="351" y="442"/>
                  </a:cubicBezTo>
                  <a:cubicBezTo>
                    <a:pt x="349" y="444"/>
                    <a:pt x="348" y="442"/>
                    <a:pt x="347" y="438"/>
                  </a:cubicBezTo>
                  <a:cubicBezTo>
                    <a:pt x="346" y="435"/>
                    <a:pt x="337" y="437"/>
                    <a:pt x="332" y="435"/>
                  </a:cubicBezTo>
                  <a:cubicBezTo>
                    <a:pt x="327" y="434"/>
                    <a:pt x="325" y="436"/>
                    <a:pt x="323" y="440"/>
                  </a:cubicBezTo>
                  <a:cubicBezTo>
                    <a:pt x="320" y="444"/>
                    <a:pt x="314" y="445"/>
                    <a:pt x="310" y="445"/>
                  </a:cubicBezTo>
                  <a:cubicBezTo>
                    <a:pt x="306" y="446"/>
                    <a:pt x="300" y="453"/>
                    <a:pt x="296" y="456"/>
                  </a:cubicBezTo>
                  <a:cubicBezTo>
                    <a:pt x="292" y="458"/>
                    <a:pt x="291" y="463"/>
                    <a:pt x="297" y="468"/>
                  </a:cubicBezTo>
                  <a:cubicBezTo>
                    <a:pt x="302" y="473"/>
                    <a:pt x="303" y="477"/>
                    <a:pt x="303" y="480"/>
                  </a:cubicBezTo>
                  <a:cubicBezTo>
                    <a:pt x="302" y="482"/>
                    <a:pt x="288" y="482"/>
                    <a:pt x="285" y="479"/>
                  </a:cubicBezTo>
                  <a:cubicBezTo>
                    <a:pt x="283" y="476"/>
                    <a:pt x="274" y="475"/>
                    <a:pt x="270" y="475"/>
                  </a:cubicBezTo>
                  <a:cubicBezTo>
                    <a:pt x="267" y="476"/>
                    <a:pt x="258" y="465"/>
                    <a:pt x="254" y="465"/>
                  </a:cubicBezTo>
                  <a:cubicBezTo>
                    <a:pt x="249" y="465"/>
                    <a:pt x="246" y="471"/>
                    <a:pt x="245" y="473"/>
                  </a:cubicBezTo>
                  <a:cubicBezTo>
                    <a:pt x="243" y="476"/>
                    <a:pt x="247" y="477"/>
                    <a:pt x="249" y="482"/>
                  </a:cubicBezTo>
                  <a:cubicBezTo>
                    <a:pt x="251" y="487"/>
                    <a:pt x="259" y="487"/>
                    <a:pt x="263" y="487"/>
                  </a:cubicBezTo>
                  <a:cubicBezTo>
                    <a:pt x="268" y="487"/>
                    <a:pt x="266" y="493"/>
                    <a:pt x="265" y="496"/>
                  </a:cubicBezTo>
                  <a:cubicBezTo>
                    <a:pt x="263" y="498"/>
                    <a:pt x="256" y="500"/>
                    <a:pt x="254" y="497"/>
                  </a:cubicBezTo>
                  <a:cubicBezTo>
                    <a:pt x="252" y="495"/>
                    <a:pt x="243" y="497"/>
                    <a:pt x="242" y="494"/>
                  </a:cubicBezTo>
                  <a:cubicBezTo>
                    <a:pt x="242" y="490"/>
                    <a:pt x="236" y="485"/>
                    <a:pt x="229" y="486"/>
                  </a:cubicBezTo>
                  <a:cubicBezTo>
                    <a:pt x="222" y="487"/>
                    <a:pt x="221" y="483"/>
                    <a:pt x="221" y="478"/>
                  </a:cubicBezTo>
                  <a:cubicBezTo>
                    <a:pt x="222" y="473"/>
                    <a:pt x="218" y="470"/>
                    <a:pt x="218" y="467"/>
                  </a:cubicBezTo>
                  <a:cubicBezTo>
                    <a:pt x="218" y="465"/>
                    <a:pt x="215" y="460"/>
                    <a:pt x="218" y="458"/>
                  </a:cubicBezTo>
                  <a:cubicBezTo>
                    <a:pt x="222" y="456"/>
                    <a:pt x="219" y="452"/>
                    <a:pt x="220" y="449"/>
                  </a:cubicBezTo>
                  <a:cubicBezTo>
                    <a:pt x="220" y="445"/>
                    <a:pt x="214" y="441"/>
                    <a:pt x="208" y="441"/>
                  </a:cubicBezTo>
                  <a:cubicBezTo>
                    <a:pt x="203" y="441"/>
                    <a:pt x="204" y="435"/>
                    <a:pt x="200" y="434"/>
                  </a:cubicBezTo>
                  <a:cubicBezTo>
                    <a:pt x="195" y="433"/>
                    <a:pt x="186" y="425"/>
                    <a:pt x="185" y="422"/>
                  </a:cubicBezTo>
                  <a:cubicBezTo>
                    <a:pt x="185" y="419"/>
                    <a:pt x="178" y="419"/>
                    <a:pt x="180" y="418"/>
                  </a:cubicBezTo>
                  <a:cubicBezTo>
                    <a:pt x="183" y="416"/>
                    <a:pt x="188" y="418"/>
                    <a:pt x="192" y="422"/>
                  </a:cubicBezTo>
                  <a:cubicBezTo>
                    <a:pt x="196" y="426"/>
                    <a:pt x="202" y="429"/>
                    <a:pt x="212" y="430"/>
                  </a:cubicBezTo>
                  <a:cubicBezTo>
                    <a:pt x="222" y="432"/>
                    <a:pt x="226" y="436"/>
                    <a:pt x="237" y="438"/>
                  </a:cubicBezTo>
                  <a:cubicBezTo>
                    <a:pt x="249" y="440"/>
                    <a:pt x="255" y="442"/>
                    <a:pt x="271" y="444"/>
                  </a:cubicBezTo>
                  <a:cubicBezTo>
                    <a:pt x="288" y="446"/>
                    <a:pt x="309" y="430"/>
                    <a:pt x="314" y="425"/>
                  </a:cubicBezTo>
                  <a:cubicBezTo>
                    <a:pt x="318" y="421"/>
                    <a:pt x="312" y="412"/>
                    <a:pt x="312" y="408"/>
                  </a:cubicBezTo>
                  <a:cubicBezTo>
                    <a:pt x="312" y="405"/>
                    <a:pt x="305" y="404"/>
                    <a:pt x="304" y="402"/>
                  </a:cubicBezTo>
                  <a:cubicBezTo>
                    <a:pt x="303" y="399"/>
                    <a:pt x="298" y="395"/>
                    <a:pt x="292" y="395"/>
                  </a:cubicBezTo>
                  <a:cubicBezTo>
                    <a:pt x="286" y="395"/>
                    <a:pt x="285" y="387"/>
                    <a:pt x="280" y="388"/>
                  </a:cubicBezTo>
                  <a:cubicBezTo>
                    <a:pt x="275" y="388"/>
                    <a:pt x="271" y="386"/>
                    <a:pt x="258" y="377"/>
                  </a:cubicBezTo>
                  <a:cubicBezTo>
                    <a:pt x="246" y="368"/>
                    <a:pt x="228" y="362"/>
                    <a:pt x="224" y="364"/>
                  </a:cubicBezTo>
                  <a:cubicBezTo>
                    <a:pt x="221" y="365"/>
                    <a:pt x="219" y="366"/>
                    <a:pt x="217" y="363"/>
                  </a:cubicBezTo>
                  <a:cubicBezTo>
                    <a:pt x="215" y="360"/>
                    <a:pt x="210" y="360"/>
                    <a:pt x="206" y="363"/>
                  </a:cubicBezTo>
                  <a:cubicBezTo>
                    <a:pt x="203" y="365"/>
                    <a:pt x="200" y="360"/>
                    <a:pt x="193" y="362"/>
                  </a:cubicBezTo>
                  <a:cubicBezTo>
                    <a:pt x="187" y="363"/>
                    <a:pt x="183" y="359"/>
                    <a:pt x="185" y="357"/>
                  </a:cubicBezTo>
                  <a:cubicBezTo>
                    <a:pt x="187" y="355"/>
                    <a:pt x="196" y="357"/>
                    <a:pt x="196" y="354"/>
                  </a:cubicBezTo>
                  <a:cubicBezTo>
                    <a:pt x="195" y="350"/>
                    <a:pt x="192" y="354"/>
                    <a:pt x="186" y="350"/>
                  </a:cubicBezTo>
                  <a:cubicBezTo>
                    <a:pt x="180" y="346"/>
                    <a:pt x="177" y="348"/>
                    <a:pt x="176" y="352"/>
                  </a:cubicBezTo>
                  <a:cubicBezTo>
                    <a:pt x="174" y="355"/>
                    <a:pt x="170" y="354"/>
                    <a:pt x="167" y="351"/>
                  </a:cubicBezTo>
                  <a:cubicBezTo>
                    <a:pt x="166" y="351"/>
                    <a:pt x="166" y="351"/>
                    <a:pt x="166" y="351"/>
                  </a:cubicBezTo>
                  <a:cubicBezTo>
                    <a:pt x="165" y="356"/>
                    <a:pt x="162" y="357"/>
                    <a:pt x="158" y="356"/>
                  </a:cubicBezTo>
                  <a:cubicBezTo>
                    <a:pt x="155" y="355"/>
                    <a:pt x="151" y="361"/>
                    <a:pt x="146" y="361"/>
                  </a:cubicBezTo>
                  <a:cubicBezTo>
                    <a:pt x="142" y="361"/>
                    <a:pt x="137" y="366"/>
                    <a:pt x="137" y="370"/>
                  </a:cubicBezTo>
                  <a:cubicBezTo>
                    <a:pt x="136" y="374"/>
                    <a:pt x="131" y="372"/>
                    <a:pt x="131" y="374"/>
                  </a:cubicBezTo>
                  <a:cubicBezTo>
                    <a:pt x="131" y="377"/>
                    <a:pt x="131" y="379"/>
                    <a:pt x="129" y="382"/>
                  </a:cubicBezTo>
                  <a:cubicBezTo>
                    <a:pt x="127" y="385"/>
                    <a:pt x="129" y="386"/>
                    <a:pt x="131" y="390"/>
                  </a:cubicBezTo>
                  <a:cubicBezTo>
                    <a:pt x="133" y="395"/>
                    <a:pt x="138" y="394"/>
                    <a:pt x="140" y="395"/>
                  </a:cubicBezTo>
                  <a:cubicBezTo>
                    <a:pt x="142" y="397"/>
                    <a:pt x="150" y="404"/>
                    <a:pt x="150" y="406"/>
                  </a:cubicBezTo>
                  <a:cubicBezTo>
                    <a:pt x="150" y="409"/>
                    <a:pt x="144" y="415"/>
                    <a:pt x="141" y="417"/>
                  </a:cubicBezTo>
                  <a:cubicBezTo>
                    <a:pt x="139" y="419"/>
                    <a:pt x="135" y="423"/>
                    <a:pt x="137" y="425"/>
                  </a:cubicBezTo>
                  <a:cubicBezTo>
                    <a:pt x="139" y="428"/>
                    <a:pt x="146" y="439"/>
                    <a:pt x="151" y="447"/>
                  </a:cubicBezTo>
                  <a:cubicBezTo>
                    <a:pt x="155" y="456"/>
                    <a:pt x="149" y="452"/>
                    <a:pt x="146" y="456"/>
                  </a:cubicBezTo>
                  <a:cubicBezTo>
                    <a:pt x="143" y="460"/>
                    <a:pt x="147" y="465"/>
                    <a:pt x="148" y="467"/>
                  </a:cubicBezTo>
                  <a:cubicBezTo>
                    <a:pt x="149" y="470"/>
                    <a:pt x="144" y="469"/>
                    <a:pt x="145" y="472"/>
                  </a:cubicBezTo>
                  <a:cubicBezTo>
                    <a:pt x="145" y="474"/>
                    <a:pt x="152" y="475"/>
                    <a:pt x="152" y="476"/>
                  </a:cubicBezTo>
                  <a:cubicBezTo>
                    <a:pt x="152" y="478"/>
                    <a:pt x="148" y="480"/>
                    <a:pt x="150" y="484"/>
                  </a:cubicBezTo>
                  <a:cubicBezTo>
                    <a:pt x="152" y="487"/>
                    <a:pt x="157" y="487"/>
                    <a:pt x="158" y="491"/>
                  </a:cubicBezTo>
                  <a:cubicBezTo>
                    <a:pt x="158" y="496"/>
                    <a:pt x="148" y="496"/>
                    <a:pt x="149" y="499"/>
                  </a:cubicBezTo>
                  <a:cubicBezTo>
                    <a:pt x="149" y="503"/>
                    <a:pt x="161" y="507"/>
                    <a:pt x="167" y="514"/>
                  </a:cubicBezTo>
                  <a:cubicBezTo>
                    <a:pt x="173" y="520"/>
                    <a:pt x="172" y="522"/>
                    <a:pt x="171" y="525"/>
                  </a:cubicBezTo>
                  <a:cubicBezTo>
                    <a:pt x="168" y="532"/>
                    <a:pt x="153" y="538"/>
                    <a:pt x="149" y="546"/>
                  </a:cubicBezTo>
                  <a:cubicBezTo>
                    <a:pt x="146" y="554"/>
                    <a:pt x="133" y="558"/>
                    <a:pt x="127" y="564"/>
                  </a:cubicBezTo>
                  <a:cubicBezTo>
                    <a:pt x="125" y="566"/>
                    <a:pt x="122" y="570"/>
                    <a:pt x="120" y="573"/>
                  </a:cubicBezTo>
                  <a:cubicBezTo>
                    <a:pt x="123" y="572"/>
                    <a:pt x="125" y="571"/>
                    <a:pt x="126" y="571"/>
                  </a:cubicBezTo>
                  <a:cubicBezTo>
                    <a:pt x="130" y="569"/>
                    <a:pt x="132" y="577"/>
                    <a:pt x="135" y="580"/>
                  </a:cubicBezTo>
                  <a:cubicBezTo>
                    <a:pt x="139" y="583"/>
                    <a:pt x="146" y="580"/>
                    <a:pt x="148" y="583"/>
                  </a:cubicBezTo>
                  <a:cubicBezTo>
                    <a:pt x="151" y="585"/>
                    <a:pt x="146" y="586"/>
                    <a:pt x="141" y="585"/>
                  </a:cubicBezTo>
                  <a:cubicBezTo>
                    <a:pt x="136" y="584"/>
                    <a:pt x="135" y="587"/>
                    <a:pt x="127" y="590"/>
                  </a:cubicBezTo>
                  <a:cubicBezTo>
                    <a:pt x="122" y="592"/>
                    <a:pt x="122" y="594"/>
                    <a:pt x="120" y="595"/>
                  </a:cubicBezTo>
                  <a:cubicBezTo>
                    <a:pt x="124" y="600"/>
                    <a:pt x="119" y="601"/>
                    <a:pt x="117" y="605"/>
                  </a:cubicBezTo>
                  <a:cubicBezTo>
                    <a:pt x="115" y="609"/>
                    <a:pt x="113" y="610"/>
                    <a:pt x="112" y="612"/>
                  </a:cubicBezTo>
                  <a:cubicBezTo>
                    <a:pt x="112" y="615"/>
                    <a:pt x="113" y="617"/>
                    <a:pt x="113" y="621"/>
                  </a:cubicBezTo>
                  <a:cubicBezTo>
                    <a:pt x="114" y="624"/>
                    <a:pt x="114" y="625"/>
                    <a:pt x="117" y="628"/>
                  </a:cubicBezTo>
                  <a:cubicBezTo>
                    <a:pt x="119" y="632"/>
                    <a:pt x="115" y="632"/>
                    <a:pt x="113" y="633"/>
                  </a:cubicBezTo>
                  <a:cubicBezTo>
                    <a:pt x="111" y="635"/>
                    <a:pt x="112" y="638"/>
                    <a:pt x="115" y="641"/>
                  </a:cubicBezTo>
                  <a:cubicBezTo>
                    <a:pt x="117" y="643"/>
                    <a:pt x="117" y="647"/>
                    <a:pt x="116" y="649"/>
                  </a:cubicBezTo>
                  <a:cubicBezTo>
                    <a:pt x="115" y="651"/>
                    <a:pt x="118" y="655"/>
                    <a:pt x="121" y="657"/>
                  </a:cubicBezTo>
                  <a:cubicBezTo>
                    <a:pt x="123" y="660"/>
                    <a:pt x="123" y="666"/>
                    <a:pt x="125" y="667"/>
                  </a:cubicBezTo>
                  <a:cubicBezTo>
                    <a:pt x="127" y="669"/>
                    <a:pt x="129" y="671"/>
                    <a:pt x="132" y="670"/>
                  </a:cubicBezTo>
                  <a:cubicBezTo>
                    <a:pt x="136" y="669"/>
                    <a:pt x="138" y="670"/>
                    <a:pt x="140" y="673"/>
                  </a:cubicBezTo>
                  <a:cubicBezTo>
                    <a:pt x="141" y="676"/>
                    <a:pt x="144" y="675"/>
                    <a:pt x="148" y="673"/>
                  </a:cubicBezTo>
                  <a:cubicBezTo>
                    <a:pt x="151" y="672"/>
                    <a:pt x="159" y="676"/>
                    <a:pt x="161" y="677"/>
                  </a:cubicBezTo>
                  <a:cubicBezTo>
                    <a:pt x="163" y="678"/>
                    <a:pt x="162" y="683"/>
                    <a:pt x="162" y="687"/>
                  </a:cubicBezTo>
                  <a:cubicBezTo>
                    <a:pt x="163" y="691"/>
                    <a:pt x="160" y="695"/>
                    <a:pt x="164" y="697"/>
                  </a:cubicBezTo>
                  <a:cubicBezTo>
                    <a:pt x="167" y="700"/>
                    <a:pt x="167" y="705"/>
                    <a:pt x="171" y="706"/>
                  </a:cubicBezTo>
                  <a:cubicBezTo>
                    <a:pt x="175" y="708"/>
                    <a:pt x="177" y="714"/>
                    <a:pt x="179" y="714"/>
                  </a:cubicBezTo>
                  <a:cubicBezTo>
                    <a:pt x="182" y="715"/>
                    <a:pt x="187" y="719"/>
                    <a:pt x="187" y="722"/>
                  </a:cubicBezTo>
                  <a:cubicBezTo>
                    <a:pt x="188" y="725"/>
                    <a:pt x="183" y="727"/>
                    <a:pt x="180" y="729"/>
                  </a:cubicBezTo>
                  <a:cubicBezTo>
                    <a:pt x="177" y="730"/>
                    <a:pt x="171" y="725"/>
                    <a:pt x="169" y="727"/>
                  </a:cubicBezTo>
                  <a:cubicBezTo>
                    <a:pt x="167" y="729"/>
                    <a:pt x="170" y="733"/>
                    <a:pt x="172" y="741"/>
                  </a:cubicBezTo>
                  <a:cubicBezTo>
                    <a:pt x="173" y="748"/>
                    <a:pt x="175" y="748"/>
                    <a:pt x="178" y="748"/>
                  </a:cubicBezTo>
                  <a:cubicBezTo>
                    <a:pt x="181" y="748"/>
                    <a:pt x="182" y="746"/>
                    <a:pt x="185" y="745"/>
                  </a:cubicBezTo>
                  <a:cubicBezTo>
                    <a:pt x="187" y="743"/>
                    <a:pt x="192" y="745"/>
                    <a:pt x="194" y="744"/>
                  </a:cubicBezTo>
                  <a:cubicBezTo>
                    <a:pt x="197" y="743"/>
                    <a:pt x="205" y="743"/>
                    <a:pt x="206" y="746"/>
                  </a:cubicBezTo>
                  <a:cubicBezTo>
                    <a:pt x="208" y="748"/>
                    <a:pt x="209" y="754"/>
                    <a:pt x="208" y="757"/>
                  </a:cubicBezTo>
                  <a:cubicBezTo>
                    <a:pt x="207" y="759"/>
                    <a:pt x="210" y="762"/>
                    <a:pt x="211" y="765"/>
                  </a:cubicBezTo>
                  <a:cubicBezTo>
                    <a:pt x="213" y="768"/>
                    <a:pt x="220" y="766"/>
                    <a:pt x="222" y="767"/>
                  </a:cubicBezTo>
                  <a:cubicBezTo>
                    <a:pt x="224" y="768"/>
                    <a:pt x="229" y="775"/>
                    <a:pt x="228" y="779"/>
                  </a:cubicBezTo>
                  <a:cubicBezTo>
                    <a:pt x="227" y="782"/>
                    <a:pt x="232" y="782"/>
                    <a:pt x="234" y="782"/>
                  </a:cubicBezTo>
                  <a:cubicBezTo>
                    <a:pt x="236" y="781"/>
                    <a:pt x="238" y="783"/>
                    <a:pt x="241" y="785"/>
                  </a:cubicBezTo>
                  <a:cubicBezTo>
                    <a:pt x="244" y="786"/>
                    <a:pt x="246" y="786"/>
                    <a:pt x="248" y="784"/>
                  </a:cubicBezTo>
                  <a:cubicBezTo>
                    <a:pt x="251" y="782"/>
                    <a:pt x="255" y="781"/>
                    <a:pt x="257" y="783"/>
                  </a:cubicBezTo>
                  <a:cubicBezTo>
                    <a:pt x="258" y="786"/>
                    <a:pt x="263" y="790"/>
                    <a:pt x="263" y="791"/>
                  </a:cubicBezTo>
                  <a:cubicBezTo>
                    <a:pt x="263" y="792"/>
                    <a:pt x="271" y="791"/>
                    <a:pt x="275" y="793"/>
                  </a:cubicBezTo>
                  <a:cubicBezTo>
                    <a:pt x="279" y="795"/>
                    <a:pt x="283" y="794"/>
                    <a:pt x="287" y="796"/>
                  </a:cubicBezTo>
                  <a:cubicBezTo>
                    <a:pt x="291" y="799"/>
                    <a:pt x="295" y="799"/>
                    <a:pt x="296" y="802"/>
                  </a:cubicBezTo>
                  <a:cubicBezTo>
                    <a:pt x="296" y="804"/>
                    <a:pt x="291" y="806"/>
                    <a:pt x="291" y="808"/>
                  </a:cubicBezTo>
                  <a:cubicBezTo>
                    <a:pt x="291" y="809"/>
                    <a:pt x="295" y="810"/>
                    <a:pt x="295" y="812"/>
                  </a:cubicBezTo>
                  <a:cubicBezTo>
                    <a:pt x="295" y="814"/>
                    <a:pt x="290" y="814"/>
                    <a:pt x="290" y="815"/>
                  </a:cubicBezTo>
                  <a:cubicBezTo>
                    <a:pt x="289" y="817"/>
                    <a:pt x="292" y="819"/>
                    <a:pt x="293" y="821"/>
                  </a:cubicBezTo>
                  <a:cubicBezTo>
                    <a:pt x="294" y="822"/>
                    <a:pt x="290" y="828"/>
                    <a:pt x="290" y="830"/>
                  </a:cubicBezTo>
                  <a:cubicBezTo>
                    <a:pt x="290" y="831"/>
                    <a:pt x="281" y="829"/>
                    <a:pt x="278" y="829"/>
                  </a:cubicBezTo>
                  <a:cubicBezTo>
                    <a:pt x="276" y="829"/>
                    <a:pt x="269" y="837"/>
                    <a:pt x="267" y="837"/>
                  </a:cubicBezTo>
                  <a:cubicBezTo>
                    <a:pt x="265" y="837"/>
                    <a:pt x="266" y="841"/>
                    <a:pt x="267" y="844"/>
                  </a:cubicBezTo>
                  <a:cubicBezTo>
                    <a:pt x="274" y="843"/>
                    <a:pt x="281" y="842"/>
                    <a:pt x="282" y="844"/>
                  </a:cubicBezTo>
                  <a:cubicBezTo>
                    <a:pt x="283" y="846"/>
                    <a:pt x="267" y="853"/>
                    <a:pt x="264" y="854"/>
                  </a:cubicBezTo>
                  <a:cubicBezTo>
                    <a:pt x="261" y="855"/>
                    <a:pt x="269" y="860"/>
                    <a:pt x="269" y="862"/>
                  </a:cubicBezTo>
                  <a:cubicBezTo>
                    <a:pt x="269" y="865"/>
                    <a:pt x="260" y="866"/>
                    <a:pt x="261" y="871"/>
                  </a:cubicBezTo>
                  <a:cubicBezTo>
                    <a:pt x="261" y="876"/>
                    <a:pt x="258" y="877"/>
                    <a:pt x="253" y="877"/>
                  </a:cubicBezTo>
                  <a:cubicBezTo>
                    <a:pt x="248" y="877"/>
                    <a:pt x="246" y="880"/>
                    <a:pt x="249" y="880"/>
                  </a:cubicBezTo>
                  <a:cubicBezTo>
                    <a:pt x="251" y="881"/>
                    <a:pt x="251" y="887"/>
                    <a:pt x="260" y="890"/>
                  </a:cubicBezTo>
                  <a:cubicBezTo>
                    <a:pt x="269" y="892"/>
                    <a:pt x="279" y="901"/>
                    <a:pt x="287" y="909"/>
                  </a:cubicBezTo>
                  <a:cubicBezTo>
                    <a:pt x="288" y="910"/>
                    <a:pt x="290" y="911"/>
                    <a:pt x="291" y="912"/>
                  </a:cubicBezTo>
                  <a:cubicBezTo>
                    <a:pt x="293" y="911"/>
                    <a:pt x="295" y="910"/>
                    <a:pt x="297" y="910"/>
                  </a:cubicBezTo>
                  <a:cubicBezTo>
                    <a:pt x="301" y="909"/>
                    <a:pt x="309" y="912"/>
                    <a:pt x="314" y="915"/>
                  </a:cubicBezTo>
                  <a:cubicBezTo>
                    <a:pt x="318" y="918"/>
                    <a:pt x="335" y="914"/>
                    <a:pt x="337" y="917"/>
                  </a:cubicBezTo>
                  <a:cubicBezTo>
                    <a:pt x="338" y="919"/>
                    <a:pt x="342" y="922"/>
                    <a:pt x="346" y="922"/>
                  </a:cubicBezTo>
                  <a:cubicBezTo>
                    <a:pt x="349" y="922"/>
                    <a:pt x="352" y="929"/>
                    <a:pt x="355" y="927"/>
                  </a:cubicBezTo>
                  <a:cubicBezTo>
                    <a:pt x="357" y="925"/>
                    <a:pt x="367" y="925"/>
                    <a:pt x="369" y="925"/>
                  </a:cubicBezTo>
                  <a:cubicBezTo>
                    <a:pt x="372" y="925"/>
                    <a:pt x="372" y="927"/>
                    <a:pt x="375" y="927"/>
                  </a:cubicBezTo>
                  <a:cubicBezTo>
                    <a:pt x="377" y="927"/>
                    <a:pt x="377" y="937"/>
                    <a:pt x="379" y="936"/>
                  </a:cubicBezTo>
                  <a:cubicBezTo>
                    <a:pt x="381" y="935"/>
                    <a:pt x="388" y="942"/>
                    <a:pt x="393" y="942"/>
                  </a:cubicBezTo>
                  <a:cubicBezTo>
                    <a:pt x="397" y="943"/>
                    <a:pt x="402" y="951"/>
                    <a:pt x="404" y="950"/>
                  </a:cubicBezTo>
                  <a:cubicBezTo>
                    <a:pt x="406" y="950"/>
                    <a:pt x="409" y="953"/>
                    <a:pt x="410" y="950"/>
                  </a:cubicBezTo>
                  <a:cubicBezTo>
                    <a:pt x="411" y="947"/>
                    <a:pt x="418" y="949"/>
                    <a:pt x="419" y="943"/>
                  </a:cubicBezTo>
                  <a:cubicBezTo>
                    <a:pt x="411" y="933"/>
                    <a:pt x="403" y="922"/>
                    <a:pt x="403" y="918"/>
                  </a:cubicBezTo>
                  <a:cubicBezTo>
                    <a:pt x="403" y="911"/>
                    <a:pt x="406" y="906"/>
                    <a:pt x="397" y="898"/>
                  </a:cubicBezTo>
                  <a:cubicBezTo>
                    <a:pt x="388" y="890"/>
                    <a:pt x="398" y="885"/>
                    <a:pt x="405" y="877"/>
                  </a:cubicBezTo>
                  <a:cubicBezTo>
                    <a:pt x="410" y="870"/>
                    <a:pt x="423" y="867"/>
                    <a:pt x="430" y="861"/>
                  </a:cubicBezTo>
                  <a:cubicBezTo>
                    <a:pt x="429" y="860"/>
                    <a:pt x="427" y="859"/>
                    <a:pt x="426" y="859"/>
                  </a:cubicBezTo>
                  <a:cubicBezTo>
                    <a:pt x="420" y="856"/>
                    <a:pt x="418" y="853"/>
                    <a:pt x="422" y="852"/>
                  </a:cubicBezTo>
                  <a:cubicBezTo>
                    <a:pt x="427" y="851"/>
                    <a:pt x="425" y="848"/>
                    <a:pt x="420" y="843"/>
                  </a:cubicBezTo>
                  <a:cubicBezTo>
                    <a:pt x="416" y="838"/>
                    <a:pt x="414" y="833"/>
                    <a:pt x="411" y="833"/>
                  </a:cubicBezTo>
                  <a:cubicBezTo>
                    <a:pt x="409" y="833"/>
                    <a:pt x="405" y="832"/>
                    <a:pt x="401" y="833"/>
                  </a:cubicBezTo>
                  <a:cubicBezTo>
                    <a:pt x="397" y="835"/>
                    <a:pt x="398" y="830"/>
                    <a:pt x="398" y="826"/>
                  </a:cubicBezTo>
                  <a:cubicBezTo>
                    <a:pt x="399" y="821"/>
                    <a:pt x="391" y="822"/>
                    <a:pt x="390" y="820"/>
                  </a:cubicBezTo>
                  <a:cubicBezTo>
                    <a:pt x="389" y="818"/>
                    <a:pt x="392" y="812"/>
                    <a:pt x="393" y="811"/>
                  </a:cubicBezTo>
                  <a:cubicBezTo>
                    <a:pt x="395" y="810"/>
                    <a:pt x="398" y="808"/>
                    <a:pt x="398" y="806"/>
                  </a:cubicBezTo>
                  <a:cubicBezTo>
                    <a:pt x="398" y="804"/>
                    <a:pt x="391" y="804"/>
                    <a:pt x="394" y="799"/>
                  </a:cubicBezTo>
                  <a:cubicBezTo>
                    <a:pt x="397" y="795"/>
                    <a:pt x="402" y="795"/>
                    <a:pt x="402" y="790"/>
                  </a:cubicBezTo>
                  <a:cubicBezTo>
                    <a:pt x="402" y="786"/>
                    <a:pt x="406" y="782"/>
                    <a:pt x="410" y="785"/>
                  </a:cubicBezTo>
                  <a:cubicBezTo>
                    <a:pt x="415" y="788"/>
                    <a:pt x="417" y="797"/>
                    <a:pt x="422" y="795"/>
                  </a:cubicBezTo>
                  <a:cubicBezTo>
                    <a:pt x="427" y="793"/>
                    <a:pt x="424" y="788"/>
                    <a:pt x="423" y="786"/>
                  </a:cubicBezTo>
                  <a:cubicBezTo>
                    <a:pt x="422" y="783"/>
                    <a:pt x="421" y="779"/>
                    <a:pt x="427" y="778"/>
                  </a:cubicBezTo>
                  <a:cubicBezTo>
                    <a:pt x="433" y="777"/>
                    <a:pt x="430" y="771"/>
                    <a:pt x="435" y="771"/>
                  </a:cubicBezTo>
                  <a:cubicBezTo>
                    <a:pt x="439" y="771"/>
                    <a:pt x="448" y="765"/>
                    <a:pt x="450" y="764"/>
                  </a:cubicBezTo>
                  <a:cubicBezTo>
                    <a:pt x="453" y="762"/>
                    <a:pt x="458" y="759"/>
                    <a:pt x="461" y="761"/>
                  </a:cubicBezTo>
                  <a:cubicBezTo>
                    <a:pt x="464" y="762"/>
                    <a:pt x="467" y="765"/>
                    <a:pt x="469" y="761"/>
                  </a:cubicBezTo>
                  <a:cubicBezTo>
                    <a:pt x="471" y="756"/>
                    <a:pt x="478" y="758"/>
                    <a:pt x="479" y="761"/>
                  </a:cubicBezTo>
                  <a:cubicBezTo>
                    <a:pt x="480" y="763"/>
                    <a:pt x="492" y="763"/>
                    <a:pt x="496" y="766"/>
                  </a:cubicBezTo>
                  <a:cubicBezTo>
                    <a:pt x="500" y="768"/>
                    <a:pt x="508" y="773"/>
                    <a:pt x="508" y="776"/>
                  </a:cubicBezTo>
                  <a:cubicBezTo>
                    <a:pt x="508" y="779"/>
                    <a:pt x="512" y="782"/>
                    <a:pt x="512" y="778"/>
                  </a:cubicBezTo>
                  <a:cubicBezTo>
                    <a:pt x="512" y="773"/>
                    <a:pt x="515" y="775"/>
                    <a:pt x="520" y="778"/>
                  </a:cubicBezTo>
                  <a:cubicBezTo>
                    <a:pt x="526" y="781"/>
                    <a:pt x="533" y="780"/>
                    <a:pt x="534" y="777"/>
                  </a:cubicBezTo>
                  <a:cubicBezTo>
                    <a:pt x="535" y="773"/>
                    <a:pt x="545" y="770"/>
                    <a:pt x="548" y="772"/>
                  </a:cubicBezTo>
                  <a:cubicBezTo>
                    <a:pt x="551" y="775"/>
                    <a:pt x="553" y="777"/>
                    <a:pt x="557" y="773"/>
                  </a:cubicBezTo>
                  <a:cubicBezTo>
                    <a:pt x="560" y="769"/>
                    <a:pt x="569" y="770"/>
                    <a:pt x="571" y="773"/>
                  </a:cubicBezTo>
                  <a:cubicBezTo>
                    <a:pt x="572" y="777"/>
                    <a:pt x="577" y="778"/>
                    <a:pt x="580" y="778"/>
                  </a:cubicBezTo>
                  <a:cubicBezTo>
                    <a:pt x="584" y="778"/>
                    <a:pt x="585" y="784"/>
                    <a:pt x="588" y="782"/>
                  </a:cubicBezTo>
                  <a:cubicBezTo>
                    <a:pt x="590" y="781"/>
                    <a:pt x="589" y="775"/>
                    <a:pt x="593" y="775"/>
                  </a:cubicBezTo>
                  <a:cubicBezTo>
                    <a:pt x="596" y="776"/>
                    <a:pt x="598" y="780"/>
                    <a:pt x="604" y="780"/>
                  </a:cubicBezTo>
                  <a:cubicBezTo>
                    <a:pt x="609" y="780"/>
                    <a:pt x="613" y="779"/>
                    <a:pt x="613" y="775"/>
                  </a:cubicBezTo>
                  <a:cubicBezTo>
                    <a:pt x="613" y="771"/>
                    <a:pt x="612" y="764"/>
                    <a:pt x="609" y="764"/>
                  </a:cubicBezTo>
                  <a:cubicBezTo>
                    <a:pt x="606" y="764"/>
                    <a:pt x="602" y="761"/>
                    <a:pt x="598" y="761"/>
                  </a:cubicBezTo>
                  <a:cubicBezTo>
                    <a:pt x="595" y="761"/>
                    <a:pt x="591" y="755"/>
                    <a:pt x="595" y="753"/>
                  </a:cubicBezTo>
                  <a:cubicBezTo>
                    <a:pt x="598" y="752"/>
                    <a:pt x="605" y="749"/>
                    <a:pt x="604" y="746"/>
                  </a:cubicBezTo>
                  <a:cubicBezTo>
                    <a:pt x="602" y="742"/>
                    <a:pt x="601" y="736"/>
                    <a:pt x="606" y="735"/>
                  </a:cubicBezTo>
                  <a:cubicBezTo>
                    <a:pt x="611" y="735"/>
                    <a:pt x="622" y="735"/>
                    <a:pt x="622" y="733"/>
                  </a:cubicBezTo>
                  <a:cubicBezTo>
                    <a:pt x="621" y="731"/>
                    <a:pt x="611" y="730"/>
                    <a:pt x="609" y="726"/>
                  </a:cubicBezTo>
                  <a:cubicBezTo>
                    <a:pt x="607" y="723"/>
                    <a:pt x="606" y="715"/>
                    <a:pt x="608" y="714"/>
                  </a:cubicBezTo>
                  <a:cubicBezTo>
                    <a:pt x="610" y="713"/>
                    <a:pt x="617" y="715"/>
                    <a:pt x="620" y="713"/>
                  </a:cubicBezTo>
                  <a:cubicBezTo>
                    <a:pt x="624" y="712"/>
                    <a:pt x="633" y="715"/>
                    <a:pt x="638" y="712"/>
                  </a:cubicBezTo>
                  <a:cubicBezTo>
                    <a:pt x="643" y="708"/>
                    <a:pt x="654" y="707"/>
                    <a:pt x="660" y="707"/>
                  </a:cubicBezTo>
                  <a:cubicBezTo>
                    <a:pt x="666" y="707"/>
                    <a:pt x="670" y="703"/>
                    <a:pt x="675" y="702"/>
                  </a:cubicBezTo>
                  <a:cubicBezTo>
                    <a:pt x="679" y="702"/>
                    <a:pt x="692" y="700"/>
                    <a:pt x="695" y="699"/>
                  </a:cubicBezTo>
                  <a:cubicBezTo>
                    <a:pt x="698" y="697"/>
                    <a:pt x="716" y="695"/>
                    <a:pt x="717" y="692"/>
                  </a:cubicBezTo>
                  <a:cubicBezTo>
                    <a:pt x="717" y="688"/>
                    <a:pt x="731" y="686"/>
                    <a:pt x="735" y="687"/>
                  </a:cubicBezTo>
                  <a:cubicBezTo>
                    <a:pt x="738" y="689"/>
                    <a:pt x="743" y="690"/>
                    <a:pt x="746" y="689"/>
                  </a:cubicBezTo>
                  <a:cubicBezTo>
                    <a:pt x="749" y="688"/>
                    <a:pt x="756" y="691"/>
                    <a:pt x="755" y="695"/>
                  </a:cubicBezTo>
                  <a:cubicBezTo>
                    <a:pt x="755" y="698"/>
                    <a:pt x="758" y="702"/>
                    <a:pt x="758" y="705"/>
                  </a:cubicBezTo>
                  <a:cubicBezTo>
                    <a:pt x="758" y="708"/>
                    <a:pt x="754" y="709"/>
                    <a:pt x="756" y="711"/>
                  </a:cubicBezTo>
                  <a:cubicBezTo>
                    <a:pt x="758" y="713"/>
                    <a:pt x="767" y="712"/>
                    <a:pt x="769" y="709"/>
                  </a:cubicBezTo>
                  <a:cubicBezTo>
                    <a:pt x="772" y="706"/>
                    <a:pt x="775" y="710"/>
                    <a:pt x="775" y="712"/>
                  </a:cubicBezTo>
                  <a:cubicBezTo>
                    <a:pt x="775" y="715"/>
                    <a:pt x="779" y="716"/>
                    <a:pt x="779" y="713"/>
                  </a:cubicBezTo>
                  <a:cubicBezTo>
                    <a:pt x="779" y="711"/>
                    <a:pt x="784" y="712"/>
                    <a:pt x="786" y="714"/>
                  </a:cubicBezTo>
                  <a:cubicBezTo>
                    <a:pt x="788" y="716"/>
                    <a:pt x="794" y="712"/>
                    <a:pt x="794" y="715"/>
                  </a:cubicBezTo>
                  <a:cubicBezTo>
                    <a:pt x="794" y="719"/>
                    <a:pt x="785" y="721"/>
                    <a:pt x="788" y="725"/>
                  </a:cubicBezTo>
                  <a:cubicBezTo>
                    <a:pt x="792" y="728"/>
                    <a:pt x="795" y="721"/>
                    <a:pt x="799" y="722"/>
                  </a:cubicBezTo>
                  <a:cubicBezTo>
                    <a:pt x="804" y="724"/>
                    <a:pt x="811" y="717"/>
                    <a:pt x="815" y="716"/>
                  </a:cubicBezTo>
                  <a:cubicBezTo>
                    <a:pt x="820" y="715"/>
                    <a:pt x="825" y="711"/>
                    <a:pt x="828" y="708"/>
                  </a:cubicBezTo>
                  <a:cubicBezTo>
                    <a:pt x="832" y="706"/>
                    <a:pt x="841" y="707"/>
                    <a:pt x="838" y="709"/>
                  </a:cubicBezTo>
                  <a:cubicBezTo>
                    <a:pt x="836" y="712"/>
                    <a:pt x="833" y="717"/>
                    <a:pt x="842" y="720"/>
                  </a:cubicBezTo>
                  <a:cubicBezTo>
                    <a:pt x="852" y="724"/>
                    <a:pt x="863" y="742"/>
                    <a:pt x="869" y="752"/>
                  </a:cubicBezTo>
                  <a:cubicBezTo>
                    <a:pt x="875" y="761"/>
                    <a:pt x="881" y="778"/>
                    <a:pt x="884" y="778"/>
                  </a:cubicBezTo>
                  <a:cubicBezTo>
                    <a:pt x="888" y="778"/>
                    <a:pt x="888" y="770"/>
                    <a:pt x="893" y="769"/>
                  </a:cubicBezTo>
                  <a:cubicBezTo>
                    <a:pt x="897" y="768"/>
                    <a:pt x="899" y="776"/>
                    <a:pt x="904" y="777"/>
                  </a:cubicBezTo>
                  <a:cubicBezTo>
                    <a:pt x="909" y="778"/>
                    <a:pt x="915" y="780"/>
                    <a:pt x="918" y="779"/>
                  </a:cubicBezTo>
                  <a:cubicBezTo>
                    <a:pt x="922" y="778"/>
                    <a:pt x="930" y="773"/>
                    <a:pt x="933" y="775"/>
                  </a:cubicBezTo>
                  <a:cubicBezTo>
                    <a:pt x="936" y="776"/>
                    <a:pt x="939" y="776"/>
                    <a:pt x="942" y="782"/>
                  </a:cubicBezTo>
                  <a:cubicBezTo>
                    <a:pt x="945" y="789"/>
                    <a:pt x="949" y="790"/>
                    <a:pt x="951" y="790"/>
                  </a:cubicBezTo>
                  <a:cubicBezTo>
                    <a:pt x="954" y="790"/>
                    <a:pt x="954" y="793"/>
                    <a:pt x="954" y="795"/>
                  </a:cubicBezTo>
                  <a:cubicBezTo>
                    <a:pt x="954" y="798"/>
                    <a:pt x="959" y="801"/>
                    <a:pt x="962" y="801"/>
                  </a:cubicBezTo>
                  <a:cubicBezTo>
                    <a:pt x="964" y="801"/>
                    <a:pt x="971" y="801"/>
                    <a:pt x="973" y="799"/>
                  </a:cubicBezTo>
                  <a:cubicBezTo>
                    <a:pt x="975" y="798"/>
                    <a:pt x="978" y="797"/>
                    <a:pt x="978" y="800"/>
                  </a:cubicBezTo>
                  <a:cubicBezTo>
                    <a:pt x="979" y="803"/>
                    <a:pt x="983" y="807"/>
                    <a:pt x="985" y="807"/>
                  </a:cubicBezTo>
                  <a:cubicBezTo>
                    <a:pt x="988" y="807"/>
                    <a:pt x="993" y="810"/>
                    <a:pt x="993" y="807"/>
                  </a:cubicBezTo>
                  <a:cubicBezTo>
                    <a:pt x="994" y="805"/>
                    <a:pt x="1001" y="804"/>
                    <a:pt x="1003" y="804"/>
                  </a:cubicBezTo>
                  <a:cubicBezTo>
                    <a:pt x="1006" y="803"/>
                    <a:pt x="1015" y="801"/>
                    <a:pt x="1017" y="798"/>
                  </a:cubicBezTo>
                  <a:cubicBezTo>
                    <a:pt x="1018" y="794"/>
                    <a:pt x="1026" y="794"/>
                    <a:pt x="1028" y="791"/>
                  </a:cubicBezTo>
                  <a:cubicBezTo>
                    <a:pt x="1030" y="789"/>
                    <a:pt x="1036" y="787"/>
                    <a:pt x="1037" y="785"/>
                  </a:cubicBezTo>
                  <a:cubicBezTo>
                    <a:pt x="1039" y="782"/>
                    <a:pt x="1046" y="783"/>
                    <a:pt x="1047" y="780"/>
                  </a:cubicBezTo>
                  <a:cubicBezTo>
                    <a:pt x="1048" y="778"/>
                    <a:pt x="1054" y="778"/>
                    <a:pt x="1057" y="779"/>
                  </a:cubicBezTo>
                  <a:cubicBezTo>
                    <a:pt x="1060" y="779"/>
                    <a:pt x="1076" y="782"/>
                    <a:pt x="1078" y="782"/>
                  </a:cubicBezTo>
                  <a:cubicBezTo>
                    <a:pt x="1080" y="782"/>
                    <a:pt x="1080" y="790"/>
                    <a:pt x="1082" y="790"/>
                  </a:cubicBezTo>
                  <a:cubicBezTo>
                    <a:pt x="1085" y="791"/>
                    <a:pt x="1092" y="797"/>
                    <a:pt x="1094" y="795"/>
                  </a:cubicBezTo>
                  <a:cubicBezTo>
                    <a:pt x="1097" y="793"/>
                    <a:pt x="1102" y="792"/>
                    <a:pt x="1106" y="794"/>
                  </a:cubicBezTo>
                  <a:cubicBezTo>
                    <a:pt x="1110" y="797"/>
                    <a:pt x="1115" y="800"/>
                    <a:pt x="1116" y="797"/>
                  </a:cubicBezTo>
                  <a:cubicBezTo>
                    <a:pt x="1118" y="794"/>
                    <a:pt x="1127" y="793"/>
                    <a:pt x="1128" y="791"/>
                  </a:cubicBezTo>
                  <a:cubicBezTo>
                    <a:pt x="1130" y="789"/>
                    <a:pt x="1131" y="784"/>
                    <a:pt x="1129" y="782"/>
                  </a:cubicBezTo>
                  <a:cubicBezTo>
                    <a:pt x="1127" y="781"/>
                    <a:pt x="1125" y="774"/>
                    <a:pt x="1124" y="770"/>
                  </a:cubicBezTo>
                  <a:cubicBezTo>
                    <a:pt x="1123" y="767"/>
                    <a:pt x="1129" y="766"/>
                    <a:pt x="1130" y="763"/>
                  </a:cubicBezTo>
                  <a:cubicBezTo>
                    <a:pt x="1131" y="760"/>
                    <a:pt x="1136" y="760"/>
                    <a:pt x="1137" y="758"/>
                  </a:cubicBezTo>
                  <a:cubicBezTo>
                    <a:pt x="1139" y="756"/>
                    <a:pt x="1140" y="752"/>
                    <a:pt x="1143" y="753"/>
                  </a:cubicBezTo>
                  <a:cubicBezTo>
                    <a:pt x="1146" y="754"/>
                    <a:pt x="1152" y="756"/>
                    <a:pt x="1153" y="758"/>
                  </a:cubicBezTo>
                  <a:cubicBezTo>
                    <a:pt x="1155" y="759"/>
                    <a:pt x="1159" y="760"/>
                    <a:pt x="1162" y="760"/>
                  </a:cubicBezTo>
                  <a:cubicBezTo>
                    <a:pt x="1165" y="760"/>
                    <a:pt x="1170" y="762"/>
                    <a:pt x="1173" y="764"/>
                  </a:cubicBezTo>
                  <a:cubicBezTo>
                    <a:pt x="1176" y="766"/>
                    <a:pt x="1186" y="766"/>
                    <a:pt x="1187" y="768"/>
                  </a:cubicBezTo>
                  <a:cubicBezTo>
                    <a:pt x="1189" y="771"/>
                    <a:pt x="1187" y="778"/>
                    <a:pt x="1189" y="781"/>
                  </a:cubicBezTo>
                  <a:cubicBezTo>
                    <a:pt x="1191" y="783"/>
                    <a:pt x="1196" y="789"/>
                    <a:pt x="1198" y="788"/>
                  </a:cubicBezTo>
                  <a:cubicBezTo>
                    <a:pt x="1200" y="786"/>
                    <a:pt x="1208" y="792"/>
                    <a:pt x="1211" y="792"/>
                  </a:cubicBezTo>
                  <a:cubicBezTo>
                    <a:pt x="1214" y="791"/>
                    <a:pt x="1219" y="786"/>
                    <a:pt x="1221" y="786"/>
                  </a:cubicBezTo>
                  <a:cubicBezTo>
                    <a:pt x="1224" y="786"/>
                    <a:pt x="1232" y="784"/>
                    <a:pt x="1235" y="785"/>
                  </a:cubicBezTo>
                  <a:cubicBezTo>
                    <a:pt x="1237" y="785"/>
                    <a:pt x="1247" y="789"/>
                    <a:pt x="1248" y="788"/>
                  </a:cubicBezTo>
                  <a:cubicBezTo>
                    <a:pt x="1249" y="787"/>
                    <a:pt x="1258" y="788"/>
                    <a:pt x="1259" y="791"/>
                  </a:cubicBezTo>
                  <a:cubicBezTo>
                    <a:pt x="1260" y="793"/>
                    <a:pt x="1271" y="793"/>
                    <a:pt x="1271" y="796"/>
                  </a:cubicBezTo>
                  <a:cubicBezTo>
                    <a:pt x="1271" y="799"/>
                    <a:pt x="1277" y="801"/>
                    <a:pt x="1279" y="804"/>
                  </a:cubicBezTo>
                  <a:cubicBezTo>
                    <a:pt x="1281" y="808"/>
                    <a:pt x="1295" y="806"/>
                    <a:pt x="1297" y="808"/>
                  </a:cubicBezTo>
                  <a:cubicBezTo>
                    <a:pt x="1300" y="810"/>
                    <a:pt x="1316" y="810"/>
                    <a:pt x="1317" y="808"/>
                  </a:cubicBezTo>
                  <a:cubicBezTo>
                    <a:pt x="1317" y="806"/>
                    <a:pt x="1333" y="805"/>
                    <a:pt x="1336" y="803"/>
                  </a:cubicBezTo>
                  <a:cubicBezTo>
                    <a:pt x="1339" y="801"/>
                    <a:pt x="1347" y="802"/>
                    <a:pt x="1347" y="799"/>
                  </a:cubicBezTo>
                  <a:cubicBezTo>
                    <a:pt x="1348" y="796"/>
                    <a:pt x="1356" y="794"/>
                    <a:pt x="1359" y="791"/>
                  </a:cubicBezTo>
                  <a:cubicBezTo>
                    <a:pt x="1362" y="789"/>
                    <a:pt x="1376" y="789"/>
                    <a:pt x="1377" y="792"/>
                  </a:cubicBezTo>
                  <a:cubicBezTo>
                    <a:pt x="1378" y="795"/>
                    <a:pt x="1386" y="796"/>
                    <a:pt x="1389" y="795"/>
                  </a:cubicBezTo>
                  <a:cubicBezTo>
                    <a:pt x="1393" y="793"/>
                    <a:pt x="1402" y="795"/>
                    <a:pt x="1403" y="798"/>
                  </a:cubicBezTo>
                  <a:cubicBezTo>
                    <a:pt x="1405" y="801"/>
                    <a:pt x="1415" y="803"/>
                    <a:pt x="1417" y="802"/>
                  </a:cubicBezTo>
                  <a:cubicBezTo>
                    <a:pt x="1420" y="801"/>
                    <a:pt x="1428" y="795"/>
                    <a:pt x="1431" y="795"/>
                  </a:cubicBezTo>
                  <a:cubicBezTo>
                    <a:pt x="1434" y="794"/>
                    <a:pt x="1439" y="791"/>
                    <a:pt x="1438" y="788"/>
                  </a:cubicBezTo>
                  <a:cubicBezTo>
                    <a:pt x="1437" y="785"/>
                    <a:pt x="1444" y="776"/>
                    <a:pt x="1445" y="773"/>
                  </a:cubicBezTo>
                  <a:cubicBezTo>
                    <a:pt x="1445" y="770"/>
                    <a:pt x="1451" y="760"/>
                    <a:pt x="1454" y="759"/>
                  </a:cubicBezTo>
                  <a:cubicBezTo>
                    <a:pt x="1456" y="758"/>
                    <a:pt x="1460" y="755"/>
                    <a:pt x="1460" y="752"/>
                  </a:cubicBezTo>
                  <a:cubicBezTo>
                    <a:pt x="1460" y="749"/>
                    <a:pt x="1458" y="742"/>
                    <a:pt x="1456" y="742"/>
                  </a:cubicBezTo>
                  <a:cubicBezTo>
                    <a:pt x="1453" y="742"/>
                    <a:pt x="1448" y="742"/>
                    <a:pt x="1454" y="734"/>
                  </a:cubicBezTo>
                  <a:cubicBezTo>
                    <a:pt x="1460" y="726"/>
                    <a:pt x="1471" y="728"/>
                    <a:pt x="1473" y="728"/>
                  </a:cubicBezTo>
                  <a:cubicBezTo>
                    <a:pt x="1475" y="728"/>
                    <a:pt x="1488" y="724"/>
                    <a:pt x="1494" y="726"/>
                  </a:cubicBezTo>
                  <a:cubicBezTo>
                    <a:pt x="1500" y="728"/>
                    <a:pt x="1504" y="725"/>
                    <a:pt x="1511" y="729"/>
                  </a:cubicBezTo>
                  <a:cubicBezTo>
                    <a:pt x="1517" y="732"/>
                    <a:pt x="1526" y="731"/>
                    <a:pt x="1528" y="734"/>
                  </a:cubicBezTo>
                  <a:cubicBezTo>
                    <a:pt x="1531" y="737"/>
                    <a:pt x="1539" y="739"/>
                    <a:pt x="1538" y="745"/>
                  </a:cubicBezTo>
                  <a:cubicBezTo>
                    <a:pt x="1537" y="750"/>
                    <a:pt x="1543" y="747"/>
                    <a:pt x="1545" y="758"/>
                  </a:cubicBezTo>
                  <a:cubicBezTo>
                    <a:pt x="1547" y="769"/>
                    <a:pt x="1552" y="770"/>
                    <a:pt x="1553" y="775"/>
                  </a:cubicBezTo>
                  <a:cubicBezTo>
                    <a:pt x="1555" y="780"/>
                    <a:pt x="1562" y="790"/>
                    <a:pt x="1561" y="793"/>
                  </a:cubicBezTo>
                  <a:cubicBezTo>
                    <a:pt x="1560" y="796"/>
                    <a:pt x="1559" y="801"/>
                    <a:pt x="1566" y="801"/>
                  </a:cubicBezTo>
                  <a:cubicBezTo>
                    <a:pt x="1574" y="801"/>
                    <a:pt x="1579" y="807"/>
                    <a:pt x="1580" y="806"/>
                  </a:cubicBezTo>
                  <a:cubicBezTo>
                    <a:pt x="1582" y="805"/>
                    <a:pt x="1591" y="808"/>
                    <a:pt x="1595" y="813"/>
                  </a:cubicBezTo>
                  <a:cubicBezTo>
                    <a:pt x="1599" y="817"/>
                    <a:pt x="1606" y="815"/>
                    <a:pt x="1605" y="819"/>
                  </a:cubicBezTo>
                  <a:cubicBezTo>
                    <a:pt x="1605" y="824"/>
                    <a:pt x="1609" y="828"/>
                    <a:pt x="1608" y="832"/>
                  </a:cubicBezTo>
                  <a:cubicBezTo>
                    <a:pt x="1608" y="836"/>
                    <a:pt x="1617" y="838"/>
                    <a:pt x="1623" y="838"/>
                  </a:cubicBezTo>
                  <a:cubicBezTo>
                    <a:pt x="1629" y="837"/>
                    <a:pt x="1633" y="840"/>
                    <a:pt x="1636" y="835"/>
                  </a:cubicBezTo>
                  <a:cubicBezTo>
                    <a:pt x="1638" y="829"/>
                    <a:pt x="1647" y="832"/>
                    <a:pt x="1650" y="829"/>
                  </a:cubicBezTo>
                  <a:cubicBezTo>
                    <a:pt x="1653" y="827"/>
                    <a:pt x="1662" y="825"/>
                    <a:pt x="1661" y="832"/>
                  </a:cubicBezTo>
                  <a:cubicBezTo>
                    <a:pt x="1661" y="840"/>
                    <a:pt x="1666" y="842"/>
                    <a:pt x="1662" y="844"/>
                  </a:cubicBezTo>
                  <a:cubicBezTo>
                    <a:pt x="1657" y="847"/>
                    <a:pt x="1655" y="858"/>
                    <a:pt x="1654" y="863"/>
                  </a:cubicBezTo>
                  <a:cubicBezTo>
                    <a:pt x="1653" y="868"/>
                    <a:pt x="1646" y="869"/>
                    <a:pt x="1645" y="874"/>
                  </a:cubicBezTo>
                  <a:cubicBezTo>
                    <a:pt x="1645" y="879"/>
                    <a:pt x="1639" y="880"/>
                    <a:pt x="1639" y="884"/>
                  </a:cubicBezTo>
                  <a:cubicBezTo>
                    <a:pt x="1639" y="887"/>
                    <a:pt x="1630" y="887"/>
                    <a:pt x="1626" y="884"/>
                  </a:cubicBezTo>
                  <a:cubicBezTo>
                    <a:pt x="1621" y="881"/>
                    <a:pt x="1617" y="889"/>
                    <a:pt x="1614" y="889"/>
                  </a:cubicBezTo>
                  <a:cubicBezTo>
                    <a:pt x="1610" y="889"/>
                    <a:pt x="1611" y="896"/>
                    <a:pt x="1611" y="899"/>
                  </a:cubicBezTo>
                  <a:cubicBezTo>
                    <a:pt x="1612" y="902"/>
                    <a:pt x="1610" y="906"/>
                    <a:pt x="1612" y="912"/>
                  </a:cubicBezTo>
                  <a:cubicBezTo>
                    <a:pt x="1613" y="914"/>
                    <a:pt x="1613" y="920"/>
                    <a:pt x="1613" y="925"/>
                  </a:cubicBezTo>
                  <a:cubicBezTo>
                    <a:pt x="1619" y="922"/>
                    <a:pt x="1623" y="919"/>
                    <a:pt x="1625" y="919"/>
                  </a:cubicBezTo>
                  <a:cubicBezTo>
                    <a:pt x="1631" y="919"/>
                    <a:pt x="1636" y="928"/>
                    <a:pt x="1642" y="928"/>
                  </a:cubicBezTo>
                  <a:cubicBezTo>
                    <a:pt x="1648" y="929"/>
                    <a:pt x="1676" y="910"/>
                    <a:pt x="1676" y="907"/>
                  </a:cubicBezTo>
                  <a:cubicBezTo>
                    <a:pt x="1676" y="904"/>
                    <a:pt x="1692" y="889"/>
                    <a:pt x="1699" y="881"/>
                  </a:cubicBezTo>
                  <a:cubicBezTo>
                    <a:pt x="1707" y="873"/>
                    <a:pt x="1717" y="861"/>
                    <a:pt x="1721" y="852"/>
                  </a:cubicBezTo>
                  <a:cubicBezTo>
                    <a:pt x="1723" y="847"/>
                    <a:pt x="1734" y="836"/>
                    <a:pt x="1736" y="832"/>
                  </a:cubicBezTo>
                  <a:cubicBezTo>
                    <a:pt x="1739" y="827"/>
                    <a:pt x="1740" y="827"/>
                    <a:pt x="1745" y="817"/>
                  </a:cubicBezTo>
                  <a:cubicBezTo>
                    <a:pt x="1750" y="807"/>
                    <a:pt x="1750" y="780"/>
                    <a:pt x="1751" y="779"/>
                  </a:cubicBezTo>
                  <a:cubicBezTo>
                    <a:pt x="1753" y="777"/>
                    <a:pt x="1752" y="772"/>
                    <a:pt x="1754" y="770"/>
                  </a:cubicBezTo>
                  <a:cubicBezTo>
                    <a:pt x="1756" y="767"/>
                    <a:pt x="1755" y="763"/>
                    <a:pt x="1760" y="759"/>
                  </a:cubicBezTo>
                  <a:cubicBezTo>
                    <a:pt x="1764" y="756"/>
                    <a:pt x="1763" y="752"/>
                    <a:pt x="1762" y="750"/>
                  </a:cubicBezTo>
                  <a:cubicBezTo>
                    <a:pt x="1761" y="747"/>
                    <a:pt x="1762" y="741"/>
                    <a:pt x="1761" y="739"/>
                  </a:cubicBezTo>
                  <a:cubicBezTo>
                    <a:pt x="1760" y="737"/>
                    <a:pt x="1760" y="736"/>
                    <a:pt x="1763" y="734"/>
                  </a:cubicBezTo>
                  <a:cubicBezTo>
                    <a:pt x="1765" y="733"/>
                    <a:pt x="1761" y="729"/>
                    <a:pt x="1757" y="727"/>
                  </a:cubicBezTo>
                  <a:cubicBezTo>
                    <a:pt x="1754" y="725"/>
                    <a:pt x="1749" y="724"/>
                    <a:pt x="1749" y="720"/>
                  </a:cubicBezTo>
                  <a:cubicBezTo>
                    <a:pt x="1748" y="716"/>
                    <a:pt x="1742" y="711"/>
                    <a:pt x="1737" y="711"/>
                  </a:cubicBezTo>
                  <a:cubicBezTo>
                    <a:pt x="1733" y="712"/>
                    <a:pt x="1724" y="709"/>
                    <a:pt x="1725" y="712"/>
                  </a:cubicBezTo>
                  <a:cubicBezTo>
                    <a:pt x="1726" y="715"/>
                    <a:pt x="1724" y="717"/>
                    <a:pt x="1722" y="717"/>
                  </a:cubicBezTo>
                  <a:cubicBezTo>
                    <a:pt x="1720" y="716"/>
                    <a:pt x="1719" y="718"/>
                    <a:pt x="1716" y="722"/>
                  </a:cubicBezTo>
                  <a:cubicBezTo>
                    <a:pt x="1713" y="727"/>
                    <a:pt x="1703" y="727"/>
                    <a:pt x="1708" y="723"/>
                  </a:cubicBezTo>
                  <a:cubicBezTo>
                    <a:pt x="1712" y="719"/>
                    <a:pt x="1706" y="719"/>
                    <a:pt x="1707" y="714"/>
                  </a:cubicBezTo>
                  <a:cubicBezTo>
                    <a:pt x="1708" y="710"/>
                    <a:pt x="1711" y="706"/>
                    <a:pt x="1707" y="709"/>
                  </a:cubicBezTo>
                  <a:cubicBezTo>
                    <a:pt x="1702" y="711"/>
                    <a:pt x="1702" y="718"/>
                    <a:pt x="1697" y="719"/>
                  </a:cubicBezTo>
                  <a:cubicBezTo>
                    <a:pt x="1693" y="720"/>
                    <a:pt x="1695" y="707"/>
                    <a:pt x="1696" y="704"/>
                  </a:cubicBezTo>
                  <a:cubicBezTo>
                    <a:pt x="1697" y="701"/>
                    <a:pt x="1688" y="704"/>
                    <a:pt x="1679" y="704"/>
                  </a:cubicBezTo>
                  <a:cubicBezTo>
                    <a:pt x="1670" y="703"/>
                    <a:pt x="1673" y="697"/>
                    <a:pt x="1680" y="693"/>
                  </a:cubicBezTo>
                  <a:cubicBezTo>
                    <a:pt x="1687" y="689"/>
                    <a:pt x="1686" y="685"/>
                    <a:pt x="1690" y="684"/>
                  </a:cubicBezTo>
                  <a:cubicBezTo>
                    <a:pt x="1693" y="682"/>
                    <a:pt x="1703" y="676"/>
                    <a:pt x="1708" y="673"/>
                  </a:cubicBezTo>
                  <a:cubicBezTo>
                    <a:pt x="1714" y="670"/>
                    <a:pt x="1715" y="666"/>
                    <a:pt x="1716" y="662"/>
                  </a:cubicBezTo>
                  <a:cubicBezTo>
                    <a:pt x="1717" y="659"/>
                    <a:pt x="1728" y="654"/>
                    <a:pt x="1737" y="647"/>
                  </a:cubicBezTo>
                  <a:cubicBezTo>
                    <a:pt x="1746" y="639"/>
                    <a:pt x="1751" y="635"/>
                    <a:pt x="1753" y="630"/>
                  </a:cubicBezTo>
                  <a:cubicBezTo>
                    <a:pt x="1755" y="626"/>
                    <a:pt x="1769" y="620"/>
                    <a:pt x="1769" y="617"/>
                  </a:cubicBezTo>
                  <a:cubicBezTo>
                    <a:pt x="1769" y="613"/>
                    <a:pt x="1785" y="605"/>
                    <a:pt x="1796" y="602"/>
                  </a:cubicBezTo>
                  <a:cubicBezTo>
                    <a:pt x="1807" y="600"/>
                    <a:pt x="1825" y="603"/>
                    <a:pt x="1828" y="606"/>
                  </a:cubicBezTo>
                  <a:cubicBezTo>
                    <a:pt x="1831" y="610"/>
                    <a:pt x="1834" y="608"/>
                    <a:pt x="1836" y="606"/>
                  </a:cubicBezTo>
                  <a:cubicBezTo>
                    <a:pt x="1837" y="604"/>
                    <a:pt x="1842" y="605"/>
                    <a:pt x="1849" y="606"/>
                  </a:cubicBezTo>
                  <a:cubicBezTo>
                    <a:pt x="1856" y="607"/>
                    <a:pt x="1858" y="602"/>
                    <a:pt x="1863" y="604"/>
                  </a:cubicBezTo>
                  <a:cubicBezTo>
                    <a:pt x="1868" y="605"/>
                    <a:pt x="1872" y="606"/>
                    <a:pt x="1875" y="601"/>
                  </a:cubicBezTo>
                  <a:cubicBezTo>
                    <a:pt x="1878" y="595"/>
                    <a:pt x="1892" y="596"/>
                    <a:pt x="1896" y="598"/>
                  </a:cubicBezTo>
                  <a:cubicBezTo>
                    <a:pt x="1899" y="601"/>
                    <a:pt x="1901" y="604"/>
                    <a:pt x="1907" y="600"/>
                  </a:cubicBezTo>
                  <a:cubicBezTo>
                    <a:pt x="1912" y="597"/>
                    <a:pt x="1912" y="605"/>
                    <a:pt x="1917" y="605"/>
                  </a:cubicBezTo>
                  <a:cubicBezTo>
                    <a:pt x="1922" y="606"/>
                    <a:pt x="1918" y="610"/>
                    <a:pt x="1914" y="610"/>
                  </a:cubicBezTo>
                  <a:cubicBezTo>
                    <a:pt x="1910" y="610"/>
                    <a:pt x="1904" y="612"/>
                    <a:pt x="1909" y="615"/>
                  </a:cubicBezTo>
                  <a:cubicBezTo>
                    <a:pt x="1914" y="618"/>
                    <a:pt x="1920" y="612"/>
                    <a:pt x="1924" y="613"/>
                  </a:cubicBezTo>
                  <a:cubicBezTo>
                    <a:pt x="1928" y="613"/>
                    <a:pt x="1934" y="614"/>
                    <a:pt x="1939" y="610"/>
                  </a:cubicBezTo>
                  <a:cubicBezTo>
                    <a:pt x="1945" y="607"/>
                    <a:pt x="1946" y="613"/>
                    <a:pt x="1950" y="610"/>
                  </a:cubicBezTo>
                  <a:cubicBezTo>
                    <a:pt x="1953" y="607"/>
                    <a:pt x="1961" y="606"/>
                    <a:pt x="1965" y="606"/>
                  </a:cubicBezTo>
                  <a:cubicBezTo>
                    <a:pt x="1968" y="607"/>
                    <a:pt x="1965" y="602"/>
                    <a:pt x="1959" y="602"/>
                  </a:cubicBezTo>
                  <a:cubicBezTo>
                    <a:pt x="1952" y="602"/>
                    <a:pt x="1953" y="598"/>
                    <a:pt x="1958" y="590"/>
                  </a:cubicBezTo>
                  <a:cubicBezTo>
                    <a:pt x="1963" y="581"/>
                    <a:pt x="1973" y="576"/>
                    <a:pt x="1979" y="571"/>
                  </a:cubicBezTo>
                  <a:cubicBezTo>
                    <a:pt x="1985" y="565"/>
                    <a:pt x="1990" y="568"/>
                    <a:pt x="1990" y="564"/>
                  </a:cubicBezTo>
                  <a:cubicBezTo>
                    <a:pt x="1990" y="561"/>
                    <a:pt x="1993" y="551"/>
                    <a:pt x="1997" y="551"/>
                  </a:cubicBezTo>
                  <a:cubicBezTo>
                    <a:pt x="2002" y="551"/>
                    <a:pt x="2014" y="553"/>
                    <a:pt x="2021" y="549"/>
                  </a:cubicBezTo>
                  <a:cubicBezTo>
                    <a:pt x="2029" y="545"/>
                    <a:pt x="2028" y="552"/>
                    <a:pt x="2031" y="553"/>
                  </a:cubicBezTo>
                  <a:cubicBezTo>
                    <a:pt x="2034" y="554"/>
                    <a:pt x="2038" y="547"/>
                    <a:pt x="2042" y="549"/>
                  </a:cubicBezTo>
                  <a:cubicBezTo>
                    <a:pt x="2045" y="551"/>
                    <a:pt x="2036" y="556"/>
                    <a:pt x="2034" y="562"/>
                  </a:cubicBezTo>
                  <a:cubicBezTo>
                    <a:pt x="2033" y="569"/>
                    <a:pt x="2039" y="566"/>
                    <a:pt x="2043" y="568"/>
                  </a:cubicBezTo>
                  <a:cubicBezTo>
                    <a:pt x="2046" y="570"/>
                    <a:pt x="2038" y="572"/>
                    <a:pt x="2039" y="574"/>
                  </a:cubicBezTo>
                  <a:cubicBezTo>
                    <a:pt x="2040" y="576"/>
                    <a:pt x="2047" y="576"/>
                    <a:pt x="2056" y="566"/>
                  </a:cubicBezTo>
                  <a:cubicBezTo>
                    <a:pt x="2066" y="557"/>
                    <a:pt x="2074" y="554"/>
                    <a:pt x="2081" y="555"/>
                  </a:cubicBezTo>
                  <a:cubicBezTo>
                    <a:pt x="2087" y="556"/>
                    <a:pt x="2083" y="550"/>
                    <a:pt x="2084" y="541"/>
                  </a:cubicBezTo>
                  <a:cubicBezTo>
                    <a:pt x="2084" y="532"/>
                    <a:pt x="2102" y="529"/>
                    <a:pt x="2108" y="532"/>
                  </a:cubicBezTo>
                  <a:cubicBezTo>
                    <a:pt x="2114" y="535"/>
                    <a:pt x="2114" y="537"/>
                    <a:pt x="2108" y="535"/>
                  </a:cubicBezTo>
                  <a:cubicBezTo>
                    <a:pt x="2102" y="534"/>
                    <a:pt x="2097" y="539"/>
                    <a:pt x="2097" y="546"/>
                  </a:cubicBezTo>
                  <a:cubicBezTo>
                    <a:pt x="2097" y="554"/>
                    <a:pt x="2092" y="556"/>
                    <a:pt x="2095" y="559"/>
                  </a:cubicBezTo>
                  <a:cubicBezTo>
                    <a:pt x="2098" y="562"/>
                    <a:pt x="2091" y="562"/>
                    <a:pt x="2091" y="565"/>
                  </a:cubicBezTo>
                  <a:cubicBezTo>
                    <a:pt x="2090" y="568"/>
                    <a:pt x="2091" y="571"/>
                    <a:pt x="2086" y="572"/>
                  </a:cubicBezTo>
                  <a:cubicBezTo>
                    <a:pt x="2082" y="573"/>
                    <a:pt x="2068" y="575"/>
                    <a:pt x="2067" y="580"/>
                  </a:cubicBezTo>
                  <a:cubicBezTo>
                    <a:pt x="2067" y="586"/>
                    <a:pt x="2059" y="587"/>
                    <a:pt x="2055" y="593"/>
                  </a:cubicBezTo>
                  <a:cubicBezTo>
                    <a:pt x="2052" y="600"/>
                    <a:pt x="2038" y="604"/>
                    <a:pt x="2028" y="618"/>
                  </a:cubicBezTo>
                  <a:cubicBezTo>
                    <a:pt x="2019" y="632"/>
                    <a:pt x="2005" y="632"/>
                    <a:pt x="2005" y="635"/>
                  </a:cubicBezTo>
                  <a:cubicBezTo>
                    <a:pt x="2005" y="637"/>
                    <a:pt x="1994" y="637"/>
                    <a:pt x="1991" y="637"/>
                  </a:cubicBezTo>
                  <a:cubicBezTo>
                    <a:pt x="1988" y="638"/>
                    <a:pt x="1994" y="646"/>
                    <a:pt x="1986" y="655"/>
                  </a:cubicBezTo>
                  <a:cubicBezTo>
                    <a:pt x="1978" y="664"/>
                    <a:pt x="1973" y="676"/>
                    <a:pt x="1973" y="688"/>
                  </a:cubicBezTo>
                  <a:cubicBezTo>
                    <a:pt x="1973" y="701"/>
                    <a:pt x="1977" y="736"/>
                    <a:pt x="1981" y="742"/>
                  </a:cubicBezTo>
                  <a:cubicBezTo>
                    <a:pt x="1984" y="748"/>
                    <a:pt x="1982" y="764"/>
                    <a:pt x="1985" y="767"/>
                  </a:cubicBezTo>
                  <a:cubicBezTo>
                    <a:pt x="1988" y="770"/>
                    <a:pt x="1987" y="775"/>
                    <a:pt x="1989" y="777"/>
                  </a:cubicBezTo>
                  <a:cubicBezTo>
                    <a:pt x="1991" y="779"/>
                    <a:pt x="1999" y="769"/>
                    <a:pt x="2004" y="764"/>
                  </a:cubicBezTo>
                  <a:cubicBezTo>
                    <a:pt x="2010" y="760"/>
                    <a:pt x="2008" y="758"/>
                    <a:pt x="2012" y="756"/>
                  </a:cubicBezTo>
                  <a:cubicBezTo>
                    <a:pt x="2015" y="753"/>
                    <a:pt x="2014" y="744"/>
                    <a:pt x="2015" y="741"/>
                  </a:cubicBezTo>
                  <a:cubicBezTo>
                    <a:pt x="2016" y="738"/>
                    <a:pt x="2023" y="737"/>
                    <a:pt x="2025" y="734"/>
                  </a:cubicBezTo>
                  <a:cubicBezTo>
                    <a:pt x="2027" y="732"/>
                    <a:pt x="2033" y="733"/>
                    <a:pt x="2036" y="732"/>
                  </a:cubicBezTo>
                  <a:cubicBezTo>
                    <a:pt x="2039" y="731"/>
                    <a:pt x="2035" y="724"/>
                    <a:pt x="2034" y="720"/>
                  </a:cubicBezTo>
                  <a:cubicBezTo>
                    <a:pt x="2033" y="716"/>
                    <a:pt x="2043" y="710"/>
                    <a:pt x="2048" y="707"/>
                  </a:cubicBezTo>
                  <a:cubicBezTo>
                    <a:pt x="2053" y="703"/>
                    <a:pt x="2060" y="709"/>
                    <a:pt x="2066" y="704"/>
                  </a:cubicBezTo>
                  <a:cubicBezTo>
                    <a:pt x="2071" y="698"/>
                    <a:pt x="2065" y="692"/>
                    <a:pt x="2063" y="689"/>
                  </a:cubicBezTo>
                  <a:cubicBezTo>
                    <a:pt x="2061" y="686"/>
                    <a:pt x="2069" y="673"/>
                    <a:pt x="2073" y="672"/>
                  </a:cubicBezTo>
                  <a:cubicBezTo>
                    <a:pt x="2078" y="670"/>
                    <a:pt x="2080" y="675"/>
                    <a:pt x="2085" y="671"/>
                  </a:cubicBezTo>
                  <a:cubicBezTo>
                    <a:pt x="2089" y="667"/>
                    <a:pt x="2081" y="661"/>
                    <a:pt x="2078" y="661"/>
                  </a:cubicBezTo>
                  <a:cubicBezTo>
                    <a:pt x="2075" y="662"/>
                    <a:pt x="2074" y="650"/>
                    <a:pt x="2081" y="645"/>
                  </a:cubicBezTo>
                  <a:cubicBezTo>
                    <a:pt x="2088" y="639"/>
                    <a:pt x="2085" y="638"/>
                    <a:pt x="2080" y="637"/>
                  </a:cubicBezTo>
                  <a:cubicBezTo>
                    <a:pt x="2076" y="636"/>
                    <a:pt x="2075" y="638"/>
                    <a:pt x="2071" y="638"/>
                  </a:cubicBezTo>
                  <a:cubicBezTo>
                    <a:pt x="2067" y="638"/>
                    <a:pt x="2064" y="630"/>
                    <a:pt x="2069" y="623"/>
                  </a:cubicBezTo>
                  <a:cubicBezTo>
                    <a:pt x="2075" y="615"/>
                    <a:pt x="2080" y="616"/>
                    <a:pt x="2082" y="610"/>
                  </a:cubicBezTo>
                  <a:cubicBezTo>
                    <a:pt x="2083" y="604"/>
                    <a:pt x="2091" y="595"/>
                    <a:pt x="2093" y="592"/>
                  </a:cubicBezTo>
                  <a:cubicBezTo>
                    <a:pt x="2094" y="588"/>
                    <a:pt x="2102" y="592"/>
                    <a:pt x="2105" y="591"/>
                  </a:cubicBezTo>
                  <a:cubicBezTo>
                    <a:pt x="2108" y="590"/>
                    <a:pt x="2107" y="597"/>
                    <a:pt x="2111" y="593"/>
                  </a:cubicBezTo>
                  <a:cubicBezTo>
                    <a:pt x="2114" y="590"/>
                    <a:pt x="2120" y="579"/>
                    <a:pt x="2125" y="579"/>
                  </a:cubicBezTo>
                  <a:cubicBezTo>
                    <a:pt x="2130" y="579"/>
                    <a:pt x="2127" y="587"/>
                    <a:pt x="2128" y="592"/>
                  </a:cubicBezTo>
                  <a:cubicBezTo>
                    <a:pt x="2130" y="597"/>
                    <a:pt x="2133" y="591"/>
                    <a:pt x="2142" y="584"/>
                  </a:cubicBezTo>
                  <a:cubicBezTo>
                    <a:pt x="2151" y="578"/>
                    <a:pt x="2172" y="579"/>
                    <a:pt x="2178" y="582"/>
                  </a:cubicBezTo>
                  <a:cubicBezTo>
                    <a:pt x="2185" y="585"/>
                    <a:pt x="2186" y="592"/>
                    <a:pt x="2189" y="591"/>
                  </a:cubicBezTo>
                  <a:cubicBezTo>
                    <a:pt x="2194" y="590"/>
                    <a:pt x="2190" y="584"/>
                    <a:pt x="2195" y="582"/>
                  </a:cubicBezTo>
                  <a:cubicBezTo>
                    <a:pt x="2200" y="581"/>
                    <a:pt x="2209" y="575"/>
                    <a:pt x="2216" y="570"/>
                  </a:cubicBezTo>
                  <a:cubicBezTo>
                    <a:pt x="2223" y="565"/>
                    <a:pt x="2221" y="569"/>
                    <a:pt x="2225" y="565"/>
                  </a:cubicBezTo>
                  <a:cubicBezTo>
                    <a:pt x="2228" y="560"/>
                    <a:pt x="2232" y="562"/>
                    <a:pt x="2233" y="559"/>
                  </a:cubicBezTo>
                  <a:cubicBezTo>
                    <a:pt x="2234" y="556"/>
                    <a:pt x="2244" y="551"/>
                    <a:pt x="2258" y="548"/>
                  </a:cubicBezTo>
                  <a:cubicBezTo>
                    <a:pt x="2271" y="545"/>
                    <a:pt x="2289" y="536"/>
                    <a:pt x="2288" y="533"/>
                  </a:cubicBezTo>
                  <a:cubicBezTo>
                    <a:pt x="2287" y="530"/>
                    <a:pt x="2293" y="529"/>
                    <a:pt x="2294" y="532"/>
                  </a:cubicBezTo>
                  <a:cubicBezTo>
                    <a:pt x="2294" y="535"/>
                    <a:pt x="2300" y="534"/>
                    <a:pt x="2307" y="535"/>
                  </a:cubicBezTo>
                  <a:cubicBezTo>
                    <a:pt x="2314" y="537"/>
                    <a:pt x="2317" y="539"/>
                    <a:pt x="2323" y="534"/>
                  </a:cubicBezTo>
                  <a:cubicBezTo>
                    <a:pt x="2328" y="528"/>
                    <a:pt x="2322" y="526"/>
                    <a:pt x="2322" y="522"/>
                  </a:cubicBezTo>
                  <a:cubicBezTo>
                    <a:pt x="2322" y="518"/>
                    <a:pt x="2313" y="513"/>
                    <a:pt x="2314" y="509"/>
                  </a:cubicBezTo>
                  <a:cubicBezTo>
                    <a:pt x="2315" y="504"/>
                    <a:pt x="2307" y="492"/>
                    <a:pt x="2304" y="495"/>
                  </a:cubicBezTo>
                  <a:cubicBezTo>
                    <a:pt x="2301" y="497"/>
                    <a:pt x="2295" y="493"/>
                    <a:pt x="2295" y="489"/>
                  </a:cubicBezTo>
                  <a:cubicBezTo>
                    <a:pt x="2295" y="486"/>
                    <a:pt x="2295" y="482"/>
                    <a:pt x="2291" y="484"/>
                  </a:cubicBezTo>
                  <a:cubicBezTo>
                    <a:pt x="2287" y="487"/>
                    <a:pt x="2280" y="485"/>
                    <a:pt x="2279" y="482"/>
                  </a:cubicBezTo>
                  <a:cubicBezTo>
                    <a:pt x="2277" y="478"/>
                    <a:pt x="2287" y="475"/>
                    <a:pt x="2293" y="478"/>
                  </a:cubicBezTo>
                  <a:cubicBezTo>
                    <a:pt x="2299" y="480"/>
                    <a:pt x="2298" y="483"/>
                    <a:pt x="2301" y="485"/>
                  </a:cubicBezTo>
                  <a:cubicBezTo>
                    <a:pt x="2304" y="487"/>
                    <a:pt x="2313" y="486"/>
                    <a:pt x="2317" y="484"/>
                  </a:cubicBezTo>
                  <a:cubicBezTo>
                    <a:pt x="2322" y="481"/>
                    <a:pt x="2334" y="477"/>
                    <a:pt x="2337" y="474"/>
                  </a:cubicBezTo>
                  <a:cubicBezTo>
                    <a:pt x="2339" y="470"/>
                    <a:pt x="2336" y="468"/>
                    <a:pt x="2341" y="466"/>
                  </a:cubicBezTo>
                  <a:cubicBezTo>
                    <a:pt x="2345" y="464"/>
                    <a:pt x="2342" y="459"/>
                    <a:pt x="2338" y="458"/>
                  </a:cubicBezTo>
                  <a:cubicBezTo>
                    <a:pt x="2334" y="456"/>
                    <a:pt x="2335" y="450"/>
                    <a:pt x="2339" y="450"/>
                  </a:cubicBezTo>
                  <a:cubicBezTo>
                    <a:pt x="2343" y="450"/>
                    <a:pt x="2342" y="446"/>
                    <a:pt x="2345" y="446"/>
                  </a:cubicBezTo>
                  <a:cubicBezTo>
                    <a:pt x="2347" y="445"/>
                    <a:pt x="2348" y="448"/>
                    <a:pt x="2352" y="445"/>
                  </a:cubicBezTo>
                  <a:cubicBezTo>
                    <a:pt x="2357" y="443"/>
                    <a:pt x="2353" y="449"/>
                    <a:pt x="2350" y="453"/>
                  </a:cubicBezTo>
                  <a:cubicBezTo>
                    <a:pt x="2348" y="457"/>
                    <a:pt x="2355" y="461"/>
                    <a:pt x="2356" y="463"/>
                  </a:cubicBezTo>
                  <a:cubicBezTo>
                    <a:pt x="2356" y="465"/>
                    <a:pt x="2365" y="466"/>
                    <a:pt x="2371" y="463"/>
                  </a:cubicBezTo>
                  <a:cubicBezTo>
                    <a:pt x="2376" y="461"/>
                    <a:pt x="2392" y="467"/>
                    <a:pt x="2393" y="471"/>
                  </a:cubicBezTo>
                  <a:cubicBezTo>
                    <a:pt x="2394" y="475"/>
                    <a:pt x="2397" y="480"/>
                    <a:pt x="2404" y="483"/>
                  </a:cubicBezTo>
                  <a:cubicBezTo>
                    <a:pt x="2411" y="487"/>
                    <a:pt x="2417" y="485"/>
                    <a:pt x="2418" y="489"/>
                  </a:cubicBezTo>
                  <a:cubicBezTo>
                    <a:pt x="2419" y="492"/>
                    <a:pt x="2422" y="493"/>
                    <a:pt x="2426" y="493"/>
                  </a:cubicBezTo>
                  <a:cubicBezTo>
                    <a:pt x="2430" y="492"/>
                    <a:pt x="2432" y="496"/>
                    <a:pt x="2435" y="493"/>
                  </a:cubicBezTo>
                  <a:cubicBezTo>
                    <a:pt x="2438" y="491"/>
                    <a:pt x="2439" y="495"/>
                    <a:pt x="2443" y="492"/>
                  </a:cubicBezTo>
                  <a:cubicBezTo>
                    <a:pt x="2446" y="489"/>
                    <a:pt x="2435" y="486"/>
                    <a:pt x="2436" y="484"/>
                  </a:cubicBezTo>
                  <a:cubicBezTo>
                    <a:pt x="2438" y="481"/>
                    <a:pt x="2440" y="486"/>
                    <a:pt x="2443" y="485"/>
                  </a:cubicBezTo>
                  <a:cubicBezTo>
                    <a:pt x="2447" y="485"/>
                    <a:pt x="2442" y="479"/>
                    <a:pt x="2445" y="478"/>
                  </a:cubicBezTo>
                  <a:cubicBezTo>
                    <a:pt x="2447" y="478"/>
                    <a:pt x="2445" y="465"/>
                    <a:pt x="2443" y="464"/>
                  </a:cubicBezTo>
                  <a:cubicBezTo>
                    <a:pt x="2440" y="463"/>
                    <a:pt x="2442" y="459"/>
                    <a:pt x="2447" y="462"/>
                  </a:cubicBezTo>
                  <a:cubicBezTo>
                    <a:pt x="2452" y="466"/>
                    <a:pt x="2460" y="466"/>
                    <a:pt x="2464" y="466"/>
                  </a:cubicBezTo>
                  <a:cubicBezTo>
                    <a:pt x="2467" y="466"/>
                    <a:pt x="2464" y="462"/>
                    <a:pt x="2460" y="462"/>
                  </a:cubicBezTo>
                  <a:cubicBezTo>
                    <a:pt x="2456" y="461"/>
                    <a:pt x="2461" y="458"/>
                    <a:pt x="2463" y="460"/>
                  </a:cubicBezTo>
                  <a:cubicBezTo>
                    <a:pt x="2466" y="463"/>
                    <a:pt x="2471" y="464"/>
                    <a:pt x="2471" y="461"/>
                  </a:cubicBezTo>
                  <a:cubicBezTo>
                    <a:pt x="2472" y="459"/>
                    <a:pt x="2474" y="453"/>
                    <a:pt x="2479" y="453"/>
                  </a:cubicBezTo>
                  <a:cubicBezTo>
                    <a:pt x="2483" y="453"/>
                    <a:pt x="2485" y="451"/>
                    <a:pt x="2481" y="449"/>
                  </a:cubicBezTo>
                  <a:close/>
                  <a:moveTo>
                    <a:pt x="1281" y="732"/>
                  </a:moveTo>
                  <a:cubicBezTo>
                    <a:pt x="1269" y="742"/>
                    <a:pt x="1244" y="745"/>
                    <a:pt x="1244" y="754"/>
                  </a:cubicBezTo>
                  <a:cubicBezTo>
                    <a:pt x="1244" y="763"/>
                    <a:pt x="1215" y="768"/>
                    <a:pt x="1212" y="764"/>
                  </a:cubicBezTo>
                  <a:cubicBezTo>
                    <a:pt x="1210" y="760"/>
                    <a:pt x="1234" y="759"/>
                    <a:pt x="1240" y="746"/>
                  </a:cubicBezTo>
                  <a:cubicBezTo>
                    <a:pt x="1246" y="733"/>
                    <a:pt x="1268" y="727"/>
                    <a:pt x="1279" y="710"/>
                  </a:cubicBezTo>
                  <a:cubicBezTo>
                    <a:pt x="1286" y="697"/>
                    <a:pt x="1293" y="679"/>
                    <a:pt x="1297" y="680"/>
                  </a:cubicBezTo>
                  <a:cubicBezTo>
                    <a:pt x="1302" y="681"/>
                    <a:pt x="1293" y="721"/>
                    <a:pt x="1281" y="732"/>
                  </a:cubicBezTo>
                  <a:close/>
                  <a:moveTo>
                    <a:pt x="1336" y="226"/>
                  </a:moveTo>
                  <a:cubicBezTo>
                    <a:pt x="1334" y="230"/>
                    <a:pt x="1325" y="230"/>
                    <a:pt x="1327" y="233"/>
                  </a:cubicBezTo>
                  <a:cubicBezTo>
                    <a:pt x="1331" y="239"/>
                    <a:pt x="1353" y="236"/>
                    <a:pt x="1353" y="229"/>
                  </a:cubicBezTo>
                  <a:cubicBezTo>
                    <a:pt x="1354" y="222"/>
                    <a:pt x="1337" y="223"/>
                    <a:pt x="1336" y="226"/>
                  </a:cubicBezTo>
                  <a:close/>
                  <a:moveTo>
                    <a:pt x="552" y="14"/>
                  </a:moveTo>
                  <a:cubicBezTo>
                    <a:pt x="563" y="14"/>
                    <a:pt x="560" y="7"/>
                    <a:pt x="567" y="8"/>
                  </a:cubicBezTo>
                  <a:cubicBezTo>
                    <a:pt x="574" y="9"/>
                    <a:pt x="583" y="9"/>
                    <a:pt x="579" y="4"/>
                  </a:cubicBezTo>
                  <a:cubicBezTo>
                    <a:pt x="576" y="0"/>
                    <a:pt x="551" y="2"/>
                    <a:pt x="553" y="5"/>
                  </a:cubicBezTo>
                  <a:cubicBezTo>
                    <a:pt x="556" y="9"/>
                    <a:pt x="533" y="7"/>
                    <a:pt x="534" y="9"/>
                  </a:cubicBezTo>
                  <a:cubicBezTo>
                    <a:pt x="534" y="11"/>
                    <a:pt x="542" y="14"/>
                    <a:pt x="552" y="14"/>
                  </a:cubicBezTo>
                  <a:close/>
                  <a:moveTo>
                    <a:pt x="499" y="43"/>
                  </a:moveTo>
                  <a:cubicBezTo>
                    <a:pt x="499" y="36"/>
                    <a:pt x="477" y="43"/>
                    <a:pt x="481" y="45"/>
                  </a:cubicBezTo>
                  <a:cubicBezTo>
                    <a:pt x="485" y="46"/>
                    <a:pt x="499" y="50"/>
                    <a:pt x="499" y="43"/>
                  </a:cubicBezTo>
                  <a:close/>
                  <a:moveTo>
                    <a:pt x="555" y="37"/>
                  </a:moveTo>
                  <a:cubicBezTo>
                    <a:pt x="556" y="41"/>
                    <a:pt x="552" y="41"/>
                    <a:pt x="544" y="41"/>
                  </a:cubicBezTo>
                  <a:cubicBezTo>
                    <a:pt x="535" y="41"/>
                    <a:pt x="531" y="46"/>
                    <a:pt x="535" y="50"/>
                  </a:cubicBezTo>
                  <a:cubicBezTo>
                    <a:pt x="540" y="54"/>
                    <a:pt x="563" y="52"/>
                    <a:pt x="567" y="47"/>
                  </a:cubicBezTo>
                  <a:cubicBezTo>
                    <a:pt x="571" y="42"/>
                    <a:pt x="581" y="46"/>
                    <a:pt x="583" y="41"/>
                  </a:cubicBezTo>
                  <a:cubicBezTo>
                    <a:pt x="584" y="36"/>
                    <a:pt x="553" y="34"/>
                    <a:pt x="555" y="37"/>
                  </a:cubicBezTo>
                  <a:close/>
                  <a:moveTo>
                    <a:pt x="628" y="29"/>
                  </a:moveTo>
                  <a:cubicBezTo>
                    <a:pt x="631" y="25"/>
                    <a:pt x="623" y="25"/>
                    <a:pt x="622" y="21"/>
                  </a:cubicBezTo>
                  <a:cubicBezTo>
                    <a:pt x="621" y="17"/>
                    <a:pt x="597" y="16"/>
                    <a:pt x="598" y="21"/>
                  </a:cubicBezTo>
                  <a:cubicBezTo>
                    <a:pt x="599" y="25"/>
                    <a:pt x="581" y="30"/>
                    <a:pt x="587" y="34"/>
                  </a:cubicBezTo>
                  <a:cubicBezTo>
                    <a:pt x="597" y="42"/>
                    <a:pt x="625" y="33"/>
                    <a:pt x="628" y="29"/>
                  </a:cubicBezTo>
                  <a:close/>
                  <a:moveTo>
                    <a:pt x="560" y="22"/>
                  </a:moveTo>
                  <a:cubicBezTo>
                    <a:pt x="561" y="13"/>
                    <a:pt x="546" y="20"/>
                    <a:pt x="535" y="16"/>
                  </a:cubicBezTo>
                  <a:cubicBezTo>
                    <a:pt x="524" y="11"/>
                    <a:pt x="517" y="11"/>
                    <a:pt x="525" y="18"/>
                  </a:cubicBezTo>
                  <a:cubicBezTo>
                    <a:pt x="528" y="21"/>
                    <a:pt x="505" y="23"/>
                    <a:pt x="509" y="27"/>
                  </a:cubicBezTo>
                  <a:cubicBezTo>
                    <a:pt x="517" y="35"/>
                    <a:pt x="558" y="31"/>
                    <a:pt x="560" y="22"/>
                  </a:cubicBezTo>
                  <a:close/>
                  <a:moveTo>
                    <a:pt x="496" y="261"/>
                  </a:moveTo>
                  <a:cubicBezTo>
                    <a:pt x="496" y="265"/>
                    <a:pt x="494" y="268"/>
                    <a:pt x="485" y="268"/>
                  </a:cubicBezTo>
                  <a:cubicBezTo>
                    <a:pt x="477" y="268"/>
                    <a:pt x="489" y="273"/>
                    <a:pt x="490" y="278"/>
                  </a:cubicBezTo>
                  <a:cubicBezTo>
                    <a:pt x="491" y="283"/>
                    <a:pt x="482" y="279"/>
                    <a:pt x="481" y="287"/>
                  </a:cubicBezTo>
                  <a:cubicBezTo>
                    <a:pt x="481" y="294"/>
                    <a:pt x="466" y="287"/>
                    <a:pt x="463" y="296"/>
                  </a:cubicBezTo>
                  <a:cubicBezTo>
                    <a:pt x="461" y="305"/>
                    <a:pt x="471" y="304"/>
                    <a:pt x="478" y="305"/>
                  </a:cubicBezTo>
                  <a:cubicBezTo>
                    <a:pt x="485" y="305"/>
                    <a:pt x="475" y="311"/>
                    <a:pt x="481" y="315"/>
                  </a:cubicBezTo>
                  <a:cubicBezTo>
                    <a:pt x="486" y="319"/>
                    <a:pt x="490" y="318"/>
                    <a:pt x="486" y="311"/>
                  </a:cubicBezTo>
                  <a:cubicBezTo>
                    <a:pt x="483" y="303"/>
                    <a:pt x="504" y="313"/>
                    <a:pt x="498" y="319"/>
                  </a:cubicBezTo>
                  <a:cubicBezTo>
                    <a:pt x="491" y="324"/>
                    <a:pt x="508" y="329"/>
                    <a:pt x="516" y="329"/>
                  </a:cubicBezTo>
                  <a:cubicBezTo>
                    <a:pt x="525" y="330"/>
                    <a:pt x="554" y="336"/>
                    <a:pt x="554" y="329"/>
                  </a:cubicBezTo>
                  <a:cubicBezTo>
                    <a:pt x="555" y="325"/>
                    <a:pt x="543" y="321"/>
                    <a:pt x="534" y="311"/>
                  </a:cubicBezTo>
                  <a:cubicBezTo>
                    <a:pt x="525" y="302"/>
                    <a:pt x="519" y="287"/>
                    <a:pt x="529" y="280"/>
                  </a:cubicBezTo>
                  <a:cubicBezTo>
                    <a:pt x="540" y="274"/>
                    <a:pt x="531" y="271"/>
                    <a:pt x="541" y="263"/>
                  </a:cubicBezTo>
                  <a:cubicBezTo>
                    <a:pt x="551" y="256"/>
                    <a:pt x="545" y="249"/>
                    <a:pt x="554" y="248"/>
                  </a:cubicBezTo>
                  <a:cubicBezTo>
                    <a:pt x="562" y="247"/>
                    <a:pt x="553" y="240"/>
                    <a:pt x="561" y="238"/>
                  </a:cubicBezTo>
                  <a:cubicBezTo>
                    <a:pt x="570" y="237"/>
                    <a:pt x="572" y="228"/>
                    <a:pt x="571" y="224"/>
                  </a:cubicBezTo>
                  <a:cubicBezTo>
                    <a:pt x="569" y="221"/>
                    <a:pt x="580" y="225"/>
                    <a:pt x="584" y="219"/>
                  </a:cubicBezTo>
                  <a:cubicBezTo>
                    <a:pt x="589" y="214"/>
                    <a:pt x="600" y="218"/>
                    <a:pt x="604" y="210"/>
                  </a:cubicBezTo>
                  <a:cubicBezTo>
                    <a:pt x="607" y="203"/>
                    <a:pt x="657" y="186"/>
                    <a:pt x="685" y="180"/>
                  </a:cubicBezTo>
                  <a:cubicBezTo>
                    <a:pt x="712" y="173"/>
                    <a:pt x="732" y="162"/>
                    <a:pt x="722" y="154"/>
                  </a:cubicBezTo>
                  <a:cubicBezTo>
                    <a:pt x="712" y="146"/>
                    <a:pt x="684" y="157"/>
                    <a:pt x="677" y="163"/>
                  </a:cubicBezTo>
                  <a:cubicBezTo>
                    <a:pt x="670" y="168"/>
                    <a:pt x="660" y="164"/>
                    <a:pt x="654" y="168"/>
                  </a:cubicBezTo>
                  <a:cubicBezTo>
                    <a:pt x="647" y="172"/>
                    <a:pt x="632" y="176"/>
                    <a:pt x="625" y="171"/>
                  </a:cubicBezTo>
                  <a:cubicBezTo>
                    <a:pt x="617" y="166"/>
                    <a:pt x="609" y="176"/>
                    <a:pt x="603" y="176"/>
                  </a:cubicBezTo>
                  <a:cubicBezTo>
                    <a:pt x="598" y="176"/>
                    <a:pt x="591" y="182"/>
                    <a:pt x="585" y="181"/>
                  </a:cubicBezTo>
                  <a:cubicBezTo>
                    <a:pt x="579" y="181"/>
                    <a:pt x="567" y="186"/>
                    <a:pt x="566" y="189"/>
                  </a:cubicBezTo>
                  <a:cubicBezTo>
                    <a:pt x="565" y="193"/>
                    <a:pt x="555" y="192"/>
                    <a:pt x="555" y="196"/>
                  </a:cubicBezTo>
                  <a:cubicBezTo>
                    <a:pt x="555" y="201"/>
                    <a:pt x="547" y="204"/>
                    <a:pt x="543" y="201"/>
                  </a:cubicBezTo>
                  <a:cubicBezTo>
                    <a:pt x="538" y="197"/>
                    <a:pt x="533" y="205"/>
                    <a:pt x="539" y="210"/>
                  </a:cubicBezTo>
                  <a:cubicBezTo>
                    <a:pt x="545" y="216"/>
                    <a:pt x="528" y="216"/>
                    <a:pt x="531" y="220"/>
                  </a:cubicBezTo>
                  <a:cubicBezTo>
                    <a:pt x="534" y="223"/>
                    <a:pt x="525" y="225"/>
                    <a:pt x="527" y="229"/>
                  </a:cubicBezTo>
                  <a:cubicBezTo>
                    <a:pt x="529" y="233"/>
                    <a:pt x="521" y="235"/>
                    <a:pt x="514" y="236"/>
                  </a:cubicBezTo>
                  <a:cubicBezTo>
                    <a:pt x="508" y="237"/>
                    <a:pt x="504" y="246"/>
                    <a:pt x="512" y="246"/>
                  </a:cubicBezTo>
                  <a:cubicBezTo>
                    <a:pt x="521" y="247"/>
                    <a:pt x="508" y="248"/>
                    <a:pt x="509" y="254"/>
                  </a:cubicBezTo>
                  <a:cubicBezTo>
                    <a:pt x="509" y="261"/>
                    <a:pt x="495" y="256"/>
                    <a:pt x="496" y="2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6" name="Freeform 344"/>
            <p:cNvSpPr>
              <a:spLocks noEditPoints="1"/>
            </p:cNvSpPr>
            <p:nvPr/>
          </p:nvSpPr>
          <p:spPr>
            <a:xfrm>
              <a:off x="5259388" y="1108075"/>
              <a:ext cx="4214813" cy="1614488"/>
            </a:xfrm>
            <a:custGeom>
              <a:gdLst>
                <a:gd name="T0" fmla="*/ 282 w 2485"/>
                <a:gd name="T1" fmla="*/ 794 h 951"/>
                <a:gd name="T2" fmla="*/ 113 w 2485"/>
                <a:gd name="T3" fmla="*/ 611 h 951"/>
                <a:gd name="T4" fmla="*/ 168 w 2485"/>
                <a:gd name="T5" fmla="*/ 350 h 951"/>
                <a:gd name="T6" fmla="*/ 254 w 2485"/>
                <a:gd name="T7" fmla="*/ 464 h 951"/>
                <a:gd name="T8" fmla="*/ 483 w 2485"/>
                <a:gd name="T9" fmla="*/ 388 h 951"/>
                <a:gd name="T10" fmla="*/ 700 w 2485"/>
                <a:gd name="T11" fmla="*/ 338 h 951"/>
                <a:gd name="T12" fmla="*/ 776 w 2485"/>
                <a:gd name="T13" fmla="*/ 439 h 951"/>
                <a:gd name="T14" fmla="*/ 833 w 2485"/>
                <a:gd name="T15" fmla="*/ 298 h 951"/>
                <a:gd name="T16" fmla="*/ 987 w 2485"/>
                <a:gd name="T17" fmla="*/ 209 h 951"/>
                <a:gd name="T18" fmla="*/ 1228 w 2485"/>
                <a:gd name="T19" fmla="*/ 145 h 951"/>
                <a:gd name="T20" fmla="*/ 1304 w 2485"/>
                <a:gd name="T21" fmla="*/ 249 h 951"/>
                <a:gd name="T22" fmla="*/ 1585 w 2485"/>
                <a:gd name="T23" fmla="*/ 277 h 951"/>
                <a:gd name="T24" fmla="*/ 1838 w 2485"/>
                <a:gd name="T25" fmla="*/ 283 h 951"/>
                <a:gd name="T26" fmla="*/ 2175 w 2485"/>
                <a:gd name="T27" fmla="*/ 374 h 951"/>
                <a:gd name="T28" fmla="*/ 2438 w 2485"/>
                <a:gd name="T29" fmla="*/ 482 h 951"/>
                <a:gd name="T30" fmla="*/ 2290 w 2485"/>
                <a:gd name="T31" fmla="*/ 532 h 951"/>
                <a:gd name="T32" fmla="*/ 2013 w 2485"/>
                <a:gd name="T33" fmla="*/ 755 h 951"/>
                <a:gd name="T34" fmla="*/ 1974 w 2485"/>
                <a:gd name="T35" fmla="*/ 575 h 951"/>
                <a:gd name="T36" fmla="*/ 1707 w 2485"/>
                <a:gd name="T37" fmla="*/ 707 h 951"/>
                <a:gd name="T38" fmla="*/ 1662 w 2485"/>
                <a:gd name="T39" fmla="*/ 831 h 951"/>
                <a:gd name="T40" fmla="*/ 1298 w 2485"/>
                <a:gd name="T41" fmla="*/ 807 h 951"/>
                <a:gd name="T42" fmla="*/ 963 w 2485"/>
                <a:gd name="T43" fmla="*/ 801 h 951"/>
                <a:gd name="T44" fmla="*/ 631 w 2485"/>
                <a:gd name="T45" fmla="*/ 713 h 951"/>
                <a:gd name="T46" fmla="*/ 423 w 2485"/>
                <a:gd name="T47" fmla="*/ 794 h 951"/>
                <a:gd name="T48" fmla="*/ 399 w 2485"/>
                <a:gd name="T49" fmla="*/ 832 h 951"/>
                <a:gd name="T50" fmla="*/ 604 w 2485"/>
                <a:gd name="T51" fmla="*/ 745 h 951"/>
                <a:gd name="T52" fmla="*/ 894 w 2485"/>
                <a:gd name="T53" fmla="*/ 767 h 951"/>
                <a:gd name="T54" fmla="*/ 1212 w 2485"/>
                <a:gd name="T55" fmla="*/ 790 h 951"/>
                <a:gd name="T56" fmla="*/ 1581 w 2485"/>
                <a:gd name="T57" fmla="*/ 805 h 951"/>
                <a:gd name="T58" fmla="*/ 1726 w 2485"/>
                <a:gd name="T59" fmla="*/ 715 h 951"/>
                <a:gd name="T60" fmla="*/ 1943 w 2485"/>
                <a:gd name="T61" fmla="*/ 608 h 951"/>
                <a:gd name="T62" fmla="*/ 1974 w 2485"/>
                <a:gd name="T63" fmla="*/ 687 h 951"/>
                <a:gd name="T64" fmla="*/ 2180 w 2485"/>
                <a:gd name="T65" fmla="*/ 580 h 951"/>
                <a:gd name="T66" fmla="*/ 2425 w 2485"/>
                <a:gd name="T67" fmla="*/ 491 h 951"/>
                <a:gd name="T68" fmla="*/ 2243 w 2485"/>
                <a:gd name="T69" fmla="*/ 353 h 951"/>
                <a:gd name="T70" fmla="*/ 1844 w 2485"/>
                <a:gd name="T71" fmla="*/ 288 h 951"/>
                <a:gd name="T72" fmla="*/ 1616 w 2485"/>
                <a:gd name="T73" fmla="*/ 329 h 951"/>
                <a:gd name="T74" fmla="*/ 1358 w 2485"/>
                <a:gd name="T75" fmla="*/ 256 h 951"/>
                <a:gd name="T76" fmla="*/ 1291 w 2485"/>
                <a:gd name="T77" fmla="*/ 158 h 951"/>
                <a:gd name="T78" fmla="*/ 1072 w 2485"/>
                <a:gd name="T79" fmla="*/ 182 h 951"/>
                <a:gd name="T80" fmla="*/ 869 w 2485"/>
                <a:gd name="T81" fmla="*/ 284 h 951"/>
                <a:gd name="T82" fmla="*/ 868 w 2485"/>
                <a:gd name="T83" fmla="*/ 412 h 951"/>
                <a:gd name="T84" fmla="*/ 769 w 2485"/>
                <a:gd name="T85" fmla="*/ 309 h 951"/>
                <a:gd name="T86" fmla="*/ 584 w 2485"/>
                <a:gd name="T87" fmla="*/ 378 h 951"/>
                <a:gd name="T88" fmla="*/ 361 w 2485"/>
                <a:gd name="T89" fmla="*/ 418 h 951"/>
                <a:gd name="T90" fmla="*/ 314 w 2485"/>
                <a:gd name="T91" fmla="*/ 424 h 951"/>
                <a:gd name="T92" fmla="*/ 157 w 2485"/>
                <a:gd name="T93" fmla="*/ 504 h 951"/>
                <a:gd name="T94" fmla="*/ 191 w 2485"/>
                <a:gd name="T95" fmla="*/ 743 h 951"/>
                <a:gd name="T96" fmla="*/ 338 w 2485"/>
                <a:gd name="T97" fmla="*/ 915 h 951"/>
                <a:gd name="T98" fmla="*/ 1808 w 2485"/>
                <a:gd name="T99" fmla="*/ 815 h 951"/>
                <a:gd name="T100" fmla="*/ 18 w 2485"/>
                <a:gd name="T101" fmla="*/ 696 h 951"/>
                <a:gd name="T102" fmla="*/ 497 w 2485"/>
                <a:gd name="T103" fmla="*/ 321 h 951"/>
                <a:gd name="T104" fmla="*/ 586 w 2485"/>
                <a:gd name="T105" fmla="*/ 219 h 951"/>
                <a:gd name="T106" fmla="*/ 532 w 2485"/>
                <a:gd name="T107" fmla="*/ 218 h 951"/>
                <a:gd name="T108" fmla="*/ 881 w 2485"/>
                <a:gd name="T109" fmla="*/ 267 h 951"/>
                <a:gd name="T110" fmla="*/ 1332 w 2485"/>
                <a:gd name="T111" fmla="*/ 229 h 951"/>
                <a:gd name="T112" fmla="*/ 1778 w 2485"/>
                <a:gd name="T113" fmla="*/ 213 h 951"/>
                <a:gd name="T114" fmla="*/ 1240 w 2485"/>
                <a:gd name="T115" fmla="*/ 97 h 951"/>
                <a:gd name="T116" fmla="*/ 1134 w 2485"/>
                <a:gd name="T117" fmla="*/ 58 h 951"/>
                <a:gd name="T118" fmla="*/ 1103 w 2485"/>
                <a:gd name="T119" fmla="*/ 8 h 951"/>
                <a:gd name="T120" fmla="*/ 441 w 2485"/>
                <a:gd name="T121" fmla="*/ 39 h 951"/>
                <a:gd name="T122" fmla="*/ 399 w 2485"/>
                <a:gd name="T123" fmla="*/ 31 h 951"/>
                <a:gd name="T124" fmla="*/ 1051 w 2485"/>
                <a:gd name="T125" fmla="*/ 15 h 9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5" h="951">
                  <a:moveTo>
                    <a:pt x="409" y="951"/>
                  </a:moveTo>
                  <a:cubicBezTo>
                    <a:pt x="409" y="951"/>
                    <a:pt x="408" y="951"/>
                    <a:pt x="407" y="950"/>
                  </a:cubicBezTo>
                  <a:cubicBezTo>
                    <a:pt x="406" y="950"/>
                    <a:pt x="405" y="950"/>
                    <a:pt x="405" y="950"/>
                  </a:cubicBezTo>
                  <a:cubicBezTo>
                    <a:pt x="404" y="950"/>
                    <a:pt x="402" y="949"/>
                    <a:pt x="400" y="947"/>
                  </a:cubicBezTo>
                  <a:cubicBezTo>
                    <a:pt x="398" y="945"/>
                    <a:pt x="396" y="942"/>
                    <a:pt x="394" y="942"/>
                  </a:cubicBezTo>
                  <a:cubicBezTo>
                    <a:pt x="391" y="942"/>
                    <a:pt x="388" y="940"/>
                    <a:pt x="385" y="938"/>
                  </a:cubicBezTo>
                  <a:cubicBezTo>
                    <a:pt x="383" y="937"/>
                    <a:pt x="381" y="936"/>
                    <a:pt x="380" y="936"/>
                  </a:cubicBezTo>
                  <a:cubicBezTo>
                    <a:pt x="380" y="936"/>
                    <a:pt x="380" y="936"/>
                    <a:pt x="380" y="936"/>
                  </a:cubicBezTo>
                  <a:cubicBezTo>
                    <a:pt x="380" y="936"/>
                    <a:pt x="380" y="936"/>
                    <a:pt x="380" y="936"/>
                  </a:cubicBezTo>
                  <a:cubicBezTo>
                    <a:pt x="379" y="936"/>
                    <a:pt x="378" y="934"/>
                    <a:pt x="378" y="931"/>
                  </a:cubicBezTo>
                  <a:cubicBezTo>
                    <a:pt x="377" y="929"/>
                    <a:pt x="377" y="927"/>
                    <a:pt x="376" y="927"/>
                  </a:cubicBezTo>
                  <a:cubicBezTo>
                    <a:pt x="374" y="927"/>
                    <a:pt x="373" y="926"/>
                    <a:pt x="373" y="925"/>
                  </a:cubicBezTo>
                  <a:cubicBezTo>
                    <a:pt x="372" y="925"/>
                    <a:pt x="372" y="925"/>
                    <a:pt x="370" y="925"/>
                  </a:cubicBezTo>
                  <a:cubicBezTo>
                    <a:pt x="360" y="925"/>
                    <a:pt x="357" y="926"/>
                    <a:pt x="356" y="926"/>
                  </a:cubicBezTo>
                  <a:cubicBezTo>
                    <a:pt x="355" y="927"/>
                    <a:pt x="355" y="927"/>
                    <a:pt x="355" y="927"/>
                  </a:cubicBezTo>
                  <a:cubicBezTo>
                    <a:pt x="353" y="927"/>
                    <a:pt x="352" y="926"/>
                    <a:pt x="351" y="924"/>
                  </a:cubicBezTo>
                  <a:cubicBezTo>
                    <a:pt x="349" y="923"/>
                    <a:pt x="348" y="922"/>
                    <a:pt x="347" y="922"/>
                  </a:cubicBezTo>
                  <a:cubicBezTo>
                    <a:pt x="343" y="922"/>
                    <a:pt x="339" y="918"/>
                    <a:pt x="337" y="916"/>
                  </a:cubicBezTo>
                  <a:cubicBezTo>
                    <a:pt x="337" y="915"/>
                    <a:pt x="335" y="915"/>
                    <a:pt x="333" y="915"/>
                  </a:cubicBezTo>
                  <a:cubicBezTo>
                    <a:pt x="332" y="915"/>
                    <a:pt x="330" y="915"/>
                    <a:pt x="328" y="915"/>
                  </a:cubicBezTo>
                  <a:cubicBezTo>
                    <a:pt x="326" y="916"/>
                    <a:pt x="324" y="916"/>
                    <a:pt x="322" y="916"/>
                  </a:cubicBezTo>
                  <a:cubicBezTo>
                    <a:pt x="319" y="916"/>
                    <a:pt x="316" y="915"/>
                    <a:pt x="315" y="914"/>
                  </a:cubicBezTo>
                  <a:cubicBezTo>
                    <a:pt x="311" y="911"/>
                    <a:pt x="304" y="909"/>
                    <a:pt x="299" y="909"/>
                  </a:cubicBezTo>
                  <a:cubicBezTo>
                    <a:pt x="298" y="909"/>
                    <a:pt x="298" y="909"/>
                    <a:pt x="298" y="909"/>
                  </a:cubicBezTo>
                  <a:cubicBezTo>
                    <a:pt x="297" y="909"/>
                    <a:pt x="295" y="910"/>
                    <a:pt x="292" y="912"/>
                  </a:cubicBezTo>
                  <a:cubicBezTo>
                    <a:pt x="292" y="912"/>
                    <a:pt x="292" y="912"/>
                    <a:pt x="292" y="912"/>
                  </a:cubicBezTo>
                  <a:cubicBezTo>
                    <a:pt x="292" y="912"/>
                    <a:pt x="292" y="912"/>
                    <a:pt x="292" y="912"/>
                  </a:cubicBezTo>
                  <a:cubicBezTo>
                    <a:pt x="290" y="911"/>
                    <a:pt x="289" y="910"/>
                    <a:pt x="288" y="908"/>
                  </a:cubicBezTo>
                  <a:cubicBezTo>
                    <a:pt x="278" y="898"/>
                    <a:pt x="269" y="891"/>
                    <a:pt x="261" y="889"/>
                  </a:cubicBezTo>
                  <a:cubicBezTo>
                    <a:pt x="255" y="887"/>
                    <a:pt x="253" y="884"/>
                    <a:pt x="251" y="882"/>
                  </a:cubicBezTo>
                  <a:cubicBezTo>
                    <a:pt x="251" y="881"/>
                    <a:pt x="250" y="880"/>
                    <a:pt x="250" y="880"/>
                  </a:cubicBezTo>
                  <a:cubicBezTo>
                    <a:pt x="248" y="880"/>
                    <a:pt x="248" y="879"/>
                    <a:pt x="248" y="878"/>
                  </a:cubicBezTo>
                  <a:cubicBezTo>
                    <a:pt x="248" y="877"/>
                    <a:pt x="250" y="875"/>
                    <a:pt x="254" y="875"/>
                  </a:cubicBezTo>
                  <a:cubicBezTo>
                    <a:pt x="257" y="875"/>
                    <a:pt x="259" y="875"/>
                    <a:pt x="260" y="874"/>
                  </a:cubicBezTo>
                  <a:cubicBezTo>
                    <a:pt x="261" y="873"/>
                    <a:pt x="261" y="871"/>
                    <a:pt x="261" y="870"/>
                  </a:cubicBezTo>
                  <a:cubicBezTo>
                    <a:pt x="261" y="866"/>
                    <a:pt x="264" y="865"/>
                    <a:pt x="267" y="863"/>
                  </a:cubicBezTo>
                  <a:cubicBezTo>
                    <a:pt x="268" y="863"/>
                    <a:pt x="270" y="862"/>
                    <a:pt x="270" y="861"/>
                  </a:cubicBezTo>
                  <a:cubicBezTo>
                    <a:pt x="270" y="860"/>
                    <a:pt x="268" y="859"/>
                    <a:pt x="266" y="857"/>
                  </a:cubicBezTo>
                  <a:cubicBezTo>
                    <a:pt x="265" y="856"/>
                    <a:pt x="263" y="855"/>
                    <a:pt x="264" y="854"/>
                  </a:cubicBezTo>
                  <a:cubicBezTo>
                    <a:pt x="264" y="853"/>
                    <a:pt x="264" y="853"/>
                    <a:pt x="264" y="853"/>
                  </a:cubicBezTo>
                  <a:cubicBezTo>
                    <a:pt x="268" y="851"/>
                    <a:pt x="281" y="846"/>
                    <a:pt x="282" y="843"/>
                  </a:cubicBezTo>
                  <a:cubicBezTo>
                    <a:pt x="282" y="843"/>
                    <a:pt x="282" y="843"/>
                    <a:pt x="282" y="843"/>
                  </a:cubicBezTo>
                  <a:cubicBezTo>
                    <a:pt x="282" y="843"/>
                    <a:pt x="282" y="842"/>
                    <a:pt x="279" y="842"/>
                  </a:cubicBezTo>
                  <a:cubicBezTo>
                    <a:pt x="276" y="842"/>
                    <a:pt x="272" y="843"/>
                    <a:pt x="268" y="843"/>
                  </a:cubicBezTo>
                  <a:cubicBezTo>
                    <a:pt x="267" y="843"/>
                    <a:pt x="267" y="843"/>
                    <a:pt x="267" y="843"/>
                  </a:cubicBezTo>
                  <a:cubicBezTo>
                    <a:pt x="267" y="843"/>
                    <a:pt x="267" y="843"/>
                    <a:pt x="267" y="843"/>
                  </a:cubicBezTo>
                  <a:cubicBezTo>
                    <a:pt x="267" y="840"/>
                    <a:pt x="266" y="837"/>
                    <a:pt x="267" y="836"/>
                  </a:cubicBezTo>
                  <a:cubicBezTo>
                    <a:pt x="268" y="836"/>
                    <a:pt x="268" y="836"/>
                    <a:pt x="268" y="836"/>
                  </a:cubicBezTo>
                  <a:cubicBezTo>
                    <a:pt x="269" y="835"/>
                    <a:pt x="271" y="834"/>
                    <a:pt x="273" y="832"/>
                  </a:cubicBezTo>
                  <a:cubicBezTo>
                    <a:pt x="276" y="829"/>
                    <a:pt x="278" y="828"/>
                    <a:pt x="279" y="828"/>
                  </a:cubicBezTo>
                  <a:cubicBezTo>
                    <a:pt x="280" y="828"/>
                    <a:pt x="282" y="828"/>
                    <a:pt x="283" y="828"/>
                  </a:cubicBezTo>
                  <a:cubicBezTo>
                    <a:pt x="285" y="828"/>
                    <a:pt x="288" y="829"/>
                    <a:pt x="289" y="829"/>
                  </a:cubicBezTo>
                  <a:cubicBezTo>
                    <a:pt x="291" y="829"/>
                    <a:pt x="291" y="829"/>
                    <a:pt x="291" y="829"/>
                  </a:cubicBezTo>
                  <a:cubicBezTo>
                    <a:pt x="291" y="828"/>
                    <a:pt x="291" y="826"/>
                    <a:pt x="292" y="825"/>
                  </a:cubicBezTo>
                  <a:cubicBezTo>
                    <a:pt x="293" y="823"/>
                    <a:pt x="294" y="821"/>
                    <a:pt x="294" y="820"/>
                  </a:cubicBezTo>
                  <a:cubicBezTo>
                    <a:pt x="293" y="820"/>
                    <a:pt x="293" y="819"/>
                    <a:pt x="292" y="818"/>
                  </a:cubicBezTo>
                  <a:cubicBezTo>
                    <a:pt x="291" y="817"/>
                    <a:pt x="290" y="815"/>
                    <a:pt x="290" y="814"/>
                  </a:cubicBezTo>
                  <a:cubicBezTo>
                    <a:pt x="291" y="813"/>
                    <a:pt x="292" y="813"/>
                    <a:pt x="293" y="812"/>
                  </a:cubicBezTo>
                  <a:cubicBezTo>
                    <a:pt x="294" y="812"/>
                    <a:pt x="295" y="812"/>
                    <a:pt x="295" y="811"/>
                  </a:cubicBezTo>
                  <a:cubicBezTo>
                    <a:pt x="295" y="810"/>
                    <a:pt x="294" y="809"/>
                    <a:pt x="294" y="809"/>
                  </a:cubicBezTo>
                  <a:cubicBezTo>
                    <a:pt x="293" y="808"/>
                    <a:pt x="292" y="807"/>
                    <a:pt x="292" y="807"/>
                  </a:cubicBezTo>
                  <a:cubicBezTo>
                    <a:pt x="292" y="806"/>
                    <a:pt x="293" y="805"/>
                    <a:pt x="294" y="804"/>
                  </a:cubicBezTo>
                  <a:cubicBezTo>
                    <a:pt x="295" y="803"/>
                    <a:pt x="296" y="802"/>
                    <a:pt x="296" y="801"/>
                  </a:cubicBezTo>
                  <a:cubicBezTo>
                    <a:pt x="296" y="799"/>
                    <a:pt x="294" y="798"/>
                    <a:pt x="292" y="798"/>
                  </a:cubicBezTo>
                  <a:cubicBezTo>
                    <a:pt x="291" y="797"/>
                    <a:pt x="289" y="797"/>
                    <a:pt x="288" y="796"/>
                  </a:cubicBezTo>
                  <a:cubicBezTo>
                    <a:pt x="286" y="795"/>
                    <a:pt x="284" y="794"/>
                    <a:pt x="282" y="794"/>
                  </a:cubicBezTo>
                  <a:cubicBezTo>
                    <a:pt x="280" y="794"/>
                    <a:pt x="278" y="794"/>
                    <a:pt x="276" y="793"/>
                  </a:cubicBezTo>
                  <a:cubicBezTo>
                    <a:pt x="274" y="792"/>
                    <a:pt x="270" y="791"/>
                    <a:pt x="268" y="791"/>
                  </a:cubicBezTo>
                  <a:cubicBezTo>
                    <a:pt x="265" y="791"/>
                    <a:pt x="263" y="791"/>
                    <a:pt x="263" y="790"/>
                  </a:cubicBezTo>
                  <a:cubicBezTo>
                    <a:pt x="263" y="790"/>
                    <a:pt x="262" y="788"/>
                    <a:pt x="261" y="787"/>
                  </a:cubicBezTo>
                  <a:cubicBezTo>
                    <a:pt x="259" y="785"/>
                    <a:pt x="258" y="784"/>
                    <a:pt x="257" y="783"/>
                  </a:cubicBezTo>
                  <a:cubicBezTo>
                    <a:pt x="257" y="782"/>
                    <a:pt x="256" y="782"/>
                    <a:pt x="255" y="782"/>
                  </a:cubicBezTo>
                  <a:cubicBezTo>
                    <a:pt x="254" y="782"/>
                    <a:pt x="251" y="782"/>
                    <a:pt x="250" y="784"/>
                  </a:cubicBezTo>
                  <a:cubicBezTo>
                    <a:pt x="248" y="785"/>
                    <a:pt x="246" y="785"/>
                    <a:pt x="245" y="785"/>
                  </a:cubicBezTo>
                  <a:cubicBezTo>
                    <a:pt x="244" y="785"/>
                    <a:pt x="243" y="785"/>
                    <a:pt x="242" y="784"/>
                  </a:cubicBezTo>
                  <a:cubicBezTo>
                    <a:pt x="241" y="784"/>
                    <a:pt x="240" y="783"/>
                    <a:pt x="240" y="783"/>
                  </a:cubicBezTo>
                  <a:cubicBezTo>
                    <a:pt x="238" y="782"/>
                    <a:pt x="237" y="780"/>
                    <a:pt x="235" y="781"/>
                  </a:cubicBezTo>
                  <a:cubicBezTo>
                    <a:pt x="234" y="781"/>
                    <a:pt x="234" y="781"/>
                    <a:pt x="233" y="781"/>
                  </a:cubicBezTo>
                  <a:cubicBezTo>
                    <a:pt x="231" y="781"/>
                    <a:pt x="230" y="781"/>
                    <a:pt x="229" y="780"/>
                  </a:cubicBezTo>
                  <a:cubicBezTo>
                    <a:pt x="229" y="780"/>
                    <a:pt x="229" y="779"/>
                    <a:pt x="229" y="777"/>
                  </a:cubicBezTo>
                  <a:cubicBezTo>
                    <a:pt x="230" y="775"/>
                    <a:pt x="225" y="768"/>
                    <a:pt x="223" y="767"/>
                  </a:cubicBezTo>
                  <a:cubicBezTo>
                    <a:pt x="222" y="766"/>
                    <a:pt x="221" y="766"/>
                    <a:pt x="219" y="766"/>
                  </a:cubicBezTo>
                  <a:cubicBezTo>
                    <a:pt x="217" y="766"/>
                    <a:pt x="213" y="766"/>
                    <a:pt x="212" y="764"/>
                  </a:cubicBezTo>
                  <a:cubicBezTo>
                    <a:pt x="211" y="763"/>
                    <a:pt x="211" y="762"/>
                    <a:pt x="210" y="761"/>
                  </a:cubicBezTo>
                  <a:cubicBezTo>
                    <a:pt x="209" y="759"/>
                    <a:pt x="208" y="757"/>
                    <a:pt x="209" y="755"/>
                  </a:cubicBezTo>
                  <a:cubicBezTo>
                    <a:pt x="210" y="753"/>
                    <a:pt x="208" y="747"/>
                    <a:pt x="207" y="745"/>
                  </a:cubicBezTo>
                  <a:cubicBezTo>
                    <a:pt x="206" y="744"/>
                    <a:pt x="204" y="743"/>
                    <a:pt x="200" y="743"/>
                  </a:cubicBezTo>
                  <a:cubicBezTo>
                    <a:pt x="198" y="743"/>
                    <a:pt x="196" y="743"/>
                    <a:pt x="195" y="744"/>
                  </a:cubicBezTo>
                  <a:cubicBezTo>
                    <a:pt x="195" y="744"/>
                    <a:pt x="194" y="744"/>
                    <a:pt x="193" y="744"/>
                  </a:cubicBezTo>
                  <a:cubicBezTo>
                    <a:pt x="193" y="744"/>
                    <a:pt x="192" y="744"/>
                    <a:pt x="191" y="744"/>
                  </a:cubicBezTo>
                  <a:cubicBezTo>
                    <a:pt x="190" y="744"/>
                    <a:pt x="189" y="744"/>
                    <a:pt x="188" y="744"/>
                  </a:cubicBezTo>
                  <a:cubicBezTo>
                    <a:pt x="187" y="744"/>
                    <a:pt x="186" y="744"/>
                    <a:pt x="186" y="744"/>
                  </a:cubicBezTo>
                  <a:cubicBezTo>
                    <a:pt x="185" y="745"/>
                    <a:pt x="185" y="745"/>
                    <a:pt x="184" y="746"/>
                  </a:cubicBezTo>
                  <a:cubicBezTo>
                    <a:pt x="183" y="747"/>
                    <a:pt x="181" y="748"/>
                    <a:pt x="179" y="748"/>
                  </a:cubicBezTo>
                  <a:cubicBezTo>
                    <a:pt x="175" y="748"/>
                    <a:pt x="174" y="747"/>
                    <a:pt x="172" y="740"/>
                  </a:cubicBezTo>
                  <a:cubicBezTo>
                    <a:pt x="172" y="737"/>
                    <a:pt x="171" y="735"/>
                    <a:pt x="171" y="734"/>
                  </a:cubicBezTo>
                  <a:cubicBezTo>
                    <a:pt x="169" y="730"/>
                    <a:pt x="169" y="727"/>
                    <a:pt x="170" y="726"/>
                  </a:cubicBezTo>
                  <a:cubicBezTo>
                    <a:pt x="170" y="725"/>
                    <a:pt x="171" y="725"/>
                    <a:pt x="172" y="725"/>
                  </a:cubicBezTo>
                  <a:cubicBezTo>
                    <a:pt x="173" y="725"/>
                    <a:pt x="174" y="725"/>
                    <a:pt x="176" y="726"/>
                  </a:cubicBezTo>
                  <a:cubicBezTo>
                    <a:pt x="178" y="727"/>
                    <a:pt x="179" y="728"/>
                    <a:pt x="181" y="727"/>
                  </a:cubicBezTo>
                  <a:cubicBezTo>
                    <a:pt x="187" y="724"/>
                    <a:pt x="188" y="722"/>
                    <a:pt x="188" y="721"/>
                  </a:cubicBezTo>
                  <a:cubicBezTo>
                    <a:pt x="187" y="718"/>
                    <a:pt x="182" y="714"/>
                    <a:pt x="180" y="714"/>
                  </a:cubicBezTo>
                  <a:cubicBezTo>
                    <a:pt x="179" y="714"/>
                    <a:pt x="178" y="712"/>
                    <a:pt x="176" y="711"/>
                  </a:cubicBezTo>
                  <a:cubicBezTo>
                    <a:pt x="175" y="709"/>
                    <a:pt x="174" y="707"/>
                    <a:pt x="172" y="706"/>
                  </a:cubicBezTo>
                  <a:cubicBezTo>
                    <a:pt x="169" y="705"/>
                    <a:pt x="168" y="703"/>
                    <a:pt x="167" y="701"/>
                  </a:cubicBezTo>
                  <a:cubicBezTo>
                    <a:pt x="167" y="699"/>
                    <a:pt x="166" y="698"/>
                    <a:pt x="165" y="697"/>
                  </a:cubicBezTo>
                  <a:cubicBezTo>
                    <a:pt x="162" y="695"/>
                    <a:pt x="162" y="692"/>
                    <a:pt x="163" y="689"/>
                  </a:cubicBezTo>
                  <a:cubicBezTo>
                    <a:pt x="163" y="688"/>
                    <a:pt x="163" y="687"/>
                    <a:pt x="163" y="686"/>
                  </a:cubicBezTo>
                  <a:cubicBezTo>
                    <a:pt x="163" y="685"/>
                    <a:pt x="163" y="684"/>
                    <a:pt x="163" y="682"/>
                  </a:cubicBezTo>
                  <a:cubicBezTo>
                    <a:pt x="163" y="680"/>
                    <a:pt x="163" y="677"/>
                    <a:pt x="162" y="676"/>
                  </a:cubicBezTo>
                  <a:cubicBezTo>
                    <a:pt x="161" y="676"/>
                    <a:pt x="161" y="676"/>
                    <a:pt x="161" y="676"/>
                  </a:cubicBezTo>
                  <a:cubicBezTo>
                    <a:pt x="159" y="675"/>
                    <a:pt x="154" y="672"/>
                    <a:pt x="150" y="672"/>
                  </a:cubicBezTo>
                  <a:cubicBezTo>
                    <a:pt x="150" y="672"/>
                    <a:pt x="149" y="672"/>
                    <a:pt x="149" y="673"/>
                  </a:cubicBezTo>
                  <a:cubicBezTo>
                    <a:pt x="148" y="673"/>
                    <a:pt x="148" y="673"/>
                    <a:pt x="148" y="673"/>
                  </a:cubicBezTo>
                  <a:cubicBezTo>
                    <a:pt x="146" y="674"/>
                    <a:pt x="145" y="674"/>
                    <a:pt x="143" y="674"/>
                  </a:cubicBezTo>
                  <a:cubicBezTo>
                    <a:pt x="142" y="674"/>
                    <a:pt x="141" y="674"/>
                    <a:pt x="140" y="672"/>
                  </a:cubicBezTo>
                  <a:cubicBezTo>
                    <a:pt x="139" y="669"/>
                    <a:pt x="136" y="668"/>
                    <a:pt x="133" y="669"/>
                  </a:cubicBezTo>
                  <a:cubicBezTo>
                    <a:pt x="133" y="669"/>
                    <a:pt x="132" y="669"/>
                    <a:pt x="131" y="669"/>
                  </a:cubicBezTo>
                  <a:cubicBezTo>
                    <a:pt x="129" y="669"/>
                    <a:pt x="127" y="668"/>
                    <a:pt x="125" y="667"/>
                  </a:cubicBezTo>
                  <a:cubicBezTo>
                    <a:pt x="124" y="666"/>
                    <a:pt x="124" y="664"/>
                    <a:pt x="123" y="662"/>
                  </a:cubicBezTo>
                  <a:cubicBezTo>
                    <a:pt x="123" y="660"/>
                    <a:pt x="122" y="658"/>
                    <a:pt x="121" y="657"/>
                  </a:cubicBezTo>
                  <a:cubicBezTo>
                    <a:pt x="119" y="654"/>
                    <a:pt x="116" y="650"/>
                    <a:pt x="117" y="648"/>
                  </a:cubicBezTo>
                  <a:cubicBezTo>
                    <a:pt x="118" y="646"/>
                    <a:pt x="118" y="643"/>
                    <a:pt x="115" y="640"/>
                  </a:cubicBezTo>
                  <a:cubicBezTo>
                    <a:pt x="113" y="638"/>
                    <a:pt x="112" y="636"/>
                    <a:pt x="112" y="634"/>
                  </a:cubicBezTo>
                  <a:cubicBezTo>
                    <a:pt x="112" y="633"/>
                    <a:pt x="113" y="632"/>
                    <a:pt x="113" y="632"/>
                  </a:cubicBezTo>
                  <a:cubicBezTo>
                    <a:pt x="114" y="631"/>
                    <a:pt x="115" y="631"/>
                    <a:pt x="116" y="631"/>
                  </a:cubicBezTo>
                  <a:cubicBezTo>
                    <a:pt x="117" y="630"/>
                    <a:pt x="117" y="630"/>
                    <a:pt x="118" y="629"/>
                  </a:cubicBezTo>
                  <a:cubicBezTo>
                    <a:pt x="118" y="629"/>
                    <a:pt x="118" y="628"/>
                    <a:pt x="117" y="628"/>
                  </a:cubicBezTo>
                  <a:cubicBezTo>
                    <a:pt x="117" y="627"/>
                    <a:pt x="117" y="627"/>
                    <a:pt x="117" y="627"/>
                  </a:cubicBezTo>
                  <a:cubicBezTo>
                    <a:pt x="115" y="624"/>
                    <a:pt x="114" y="623"/>
                    <a:pt x="114" y="620"/>
                  </a:cubicBezTo>
                  <a:cubicBezTo>
                    <a:pt x="114" y="618"/>
                    <a:pt x="113" y="617"/>
                    <a:pt x="113" y="616"/>
                  </a:cubicBezTo>
                  <a:cubicBezTo>
                    <a:pt x="113" y="614"/>
                    <a:pt x="113" y="613"/>
                    <a:pt x="113" y="611"/>
                  </a:cubicBezTo>
                  <a:cubicBezTo>
                    <a:pt x="113" y="610"/>
                    <a:pt x="114" y="609"/>
                    <a:pt x="115" y="608"/>
                  </a:cubicBezTo>
                  <a:cubicBezTo>
                    <a:pt x="116" y="607"/>
                    <a:pt x="117" y="606"/>
                    <a:pt x="118" y="604"/>
                  </a:cubicBezTo>
                  <a:cubicBezTo>
                    <a:pt x="118" y="602"/>
                    <a:pt x="119" y="601"/>
                    <a:pt x="120" y="600"/>
                  </a:cubicBezTo>
                  <a:cubicBezTo>
                    <a:pt x="122" y="599"/>
                    <a:pt x="123" y="598"/>
                    <a:pt x="121" y="594"/>
                  </a:cubicBezTo>
                  <a:cubicBezTo>
                    <a:pt x="120" y="594"/>
                    <a:pt x="120" y="594"/>
                    <a:pt x="120" y="594"/>
                  </a:cubicBezTo>
                  <a:cubicBezTo>
                    <a:pt x="121" y="594"/>
                    <a:pt x="121" y="594"/>
                    <a:pt x="121" y="594"/>
                  </a:cubicBezTo>
                  <a:cubicBezTo>
                    <a:pt x="121" y="593"/>
                    <a:pt x="122" y="593"/>
                    <a:pt x="122" y="592"/>
                  </a:cubicBezTo>
                  <a:cubicBezTo>
                    <a:pt x="123" y="591"/>
                    <a:pt x="124" y="589"/>
                    <a:pt x="128" y="588"/>
                  </a:cubicBezTo>
                  <a:cubicBezTo>
                    <a:pt x="131" y="587"/>
                    <a:pt x="133" y="586"/>
                    <a:pt x="135" y="585"/>
                  </a:cubicBezTo>
                  <a:cubicBezTo>
                    <a:pt x="137" y="584"/>
                    <a:pt x="138" y="583"/>
                    <a:pt x="141" y="583"/>
                  </a:cubicBezTo>
                  <a:cubicBezTo>
                    <a:pt x="142" y="583"/>
                    <a:pt x="142" y="583"/>
                    <a:pt x="142" y="583"/>
                  </a:cubicBezTo>
                  <a:cubicBezTo>
                    <a:pt x="144" y="584"/>
                    <a:pt x="146" y="584"/>
                    <a:pt x="147" y="584"/>
                  </a:cubicBezTo>
                  <a:cubicBezTo>
                    <a:pt x="149" y="584"/>
                    <a:pt x="149" y="583"/>
                    <a:pt x="149" y="583"/>
                  </a:cubicBezTo>
                  <a:cubicBezTo>
                    <a:pt x="149" y="583"/>
                    <a:pt x="149" y="583"/>
                    <a:pt x="149" y="582"/>
                  </a:cubicBezTo>
                  <a:cubicBezTo>
                    <a:pt x="148" y="581"/>
                    <a:pt x="146" y="581"/>
                    <a:pt x="143" y="581"/>
                  </a:cubicBezTo>
                  <a:cubicBezTo>
                    <a:pt x="141" y="581"/>
                    <a:pt x="138" y="581"/>
                    <a:pt x="136" y="580"/>
                  </a:cubicBezTo>
                  <a:cubicBezTo>
                    <a:pt x="135" y="578"/>
                    <a:pt x="134" y="576"/>
                    <a:pt x="132" y="575"/>
                  </a:cubicBezTo>
                  <a:cubicBezTo>
                    <a:pt x="131" y="572"/>
                    <a:pt x="130" y="570"/>
                    <a:pt x="128" y="570"/>
                  </a:cubicBezTo>
                  <a:cubicBezTo>
                    <a:pt x="128" y="570"/>
                    <a:pt x="128" y="570"/>
                    <a:pt x="127" y="570"/>
                  </a:cubicBezTo>
                  <a:cubicBezTo>
                    <a:pt x="126" y="571"/>
                    <a:pt x="124" y="572"/>
                    <a:pt x="121" y="572"/>
                  </a:cubicBezTo>
                  <a:cubicBezTo>
                    <a:pt x="120" y="573"/>
                    <a:pt x="120" y="573"/>
                    <a:pt x="120" y="573"/>
                  </a:cubicBezTo>
                  <a:cubicBezTo>
                    <a:pt x="121" y="572"/>
                    <a:pt x="121" y="572"/>
                    <a:pt x="121" y="572"/>
                  </a:cubicBezTo>
                  <a:cubicBezTo>
                    <a:pt x="123" y="568"/>
                    <a:pt x="126" y="565"/>
                    <a:pt x="128" y="563"/>
                  </a:cubicBezTo>
                  <a:cubicBezTo>
                    <a:pt x="130" y="560"/>
                    <a:pt x="133" y="558"/>
                    <a:pt x="137" y="556"/>
                  </a:cubicBezTo>
                  <a:cubicBezTo>
                    <a:pt x="142" y="553"/>
                    <a:pt x="148" y="549"/>
                    <a:pt x="150" y="545"/>
                  </a:cubicBezTo>
                  <a:cubicBezTo>
                    <a:pt x="152" y="541"/>
                    <a:pt x="157" y="537"/>
                    <a:pt x="161" y="534"/>
                  </a:cubicBezTo>
                  <a:cubicBezTo>
                    <a:pt x="166" y="531"/>
                    <a:pt x="170" y="527"/>
                    <a:pt x="171" y="524"/>
                  </a:cubicBezTo>
                  <a:cubicBezTo>
                    <a:pt x="173" y="521"/>
                    <a:pt x="173" y="519"/>
                    <a:pt x="168" y="513"/>
                  </a:cubicBezTo>
                  <a:cubicBezTo>
                    <a:pt x="165" y="510"/>
                    <a:pt x="161" y="507"/>
                    <a:pt x="157" y="505"/>
                  </a:cubicBezTo>
                  <a:cubicBezTo>
                    <a:pt x="153" y="502"/>
                    <a:pt x="149" y="501"/>
                    <a:pt x="149" y="499"/>
                  </a:cubicBezTo>
                  <a:cubicBezTo>
                    <a:pt x="149" y="497"/>
                    <a:pt x="151" y="495"/>
                    <a:pt x="154" y="494"/>
                  </a:cubicBezTo>
                  <a:cubicBezTo>
                    <a:pt x="156" y="493"/>
                    <a:pt x="158" y="492"/>
                    <a:pt x="158" y="490"/>
                  </a:cubicBezTo>
                  <a:cubicBezTo>
                    <a:pt x="158" y="488"/>
                    <a:pt x="156" y="487"/>
                    <a:pt x="154" y="486"/>
                  </a:cubicBezTo>
                  <a:cubicBezTo>
                    <a:pt x="153" y="485"/>
                    <a:pt x="151" y="484"/>
                    <a:pt x="150" y="483"/>
                  </a:cubicBezTo>
                  <a:cubicBezTo>
                    <a:pt x="149" y="480"/>
                    <a:pt x="150" y="478"/>
                    <a:pt x="152" y="477"/>
                  </a:cubicBezTo>
                  <a:cubicBezTo>
                    <a:pt x="152" y="476"/>
                    <a:pt x="153" y="476"/>
                    <a:pt x="153" y="475"/>
                  </a:cubicBezTo>
                  <a:cubicBezTo>
                    <a:pt x="152" y="475"/>
                    <a:pt x="151" y="474"/>
                    <a:pt x="149" y="474"/>
                  </a:cubicBezTo>
                  <a:cubicBezTo>
                    <a:pt x="148" y="473"/>
                    <a:pt x="145" y="472"/>
                    <a:pt x="145" y="471"/>
                  </a:cubicBezTo>
                  <a:cubicBezTo>
                    <a:pt x="145" y="469"/>
                    <a:pt x="146" y="469"/>
                    <a:pt x="147" y="468"/>
                  </a:cubicBezTo>
                  <a:cubicBezTo>
                    <a:pt x="148" y="468"/>
                    <a:pt x="149" y="467"/>
                    <a:pt x="149" y="466"/>
                  </a:cubicBezTo>
                  <a:cubicBezTo>
                    <a:pt x="148" y="466"/>
                    <a:pt x="148" y="465"/>
                    <a:pt x="148" y="464"/>
                  </a:cubicBezTo>
                  <a:cubicBezTo>
                    <a:pt x="146" y="462"/>
                    <a:pt x="144" y="458"/>
                    <a:pt x="147" y="455"/>
                  </a:cubicBezTo>
                  <a:cubicBezTo>
                    <a:pt x="148" y="453"/>
                    <a:pt x="149" y="453"/>
                    <a:pt x="151" y="452"/>
                  </a:cubicBezTo>
                  <a:cubicBezTo>
                    <a:pt x="152" y="452"/>
                    <a:pt x="153" y="452"/>
                    <a:pt x="153" y="451"/>
                  </a:cubicBezTo>
                  <a:cubicBezTo>
                    <a:pt x="153" y="451"/>
                    <a:pt x="153" y="449"/>
                    <a:pt x="151" y="447"/>
                  </a:cubicBezTo>
                  <a:cubicBezTo>
                    <a:pt x="147" y="439"/>
                    <a:pt x="141" y="429"/>
                    <a:pt x="138" y="426"/>
                  </a:cubicBezTo>
                  <a:cubicBezTo>
                    <a:pt x="138" y="425"/>
                    <a:pt x="138" y="425"/>
                    <a:pt x="138" y="425"/>
                  </a:cubicBezTo>
                  <a:cubicBezTo>
                    <a:pt x="137" y="424"/>
                    <a:pt x="137" y="423"/>
                    <a:pt x="137" y="422"/>
                  </a:cubicBezTo>
                  <a:cubicBezTo>
                    <a:pt x="138" y="420"/>
                    <a:pt x="140" y="417"/>
                    <a:pt x="142" y="415"/>
                  </a:cubicBezTo>
                  <a:cubicBezTo>
                    <a:pt x="145" y="414"/>
                    <a:pt x="151" y="407"/>
                    <a:pt x="151" y="405"/>
                  </a:cubicBezTo>
                  <a:cubicBezTo>
                    <a:pt x="151" y="403"/>
                    <a:pt x="143" y="396"/>
                    <a:pt x="141" y="395"/>
                  </a:cubicBezTo>
                  <a:cubicBezTo>
                    <a:pt x="140" y="394"/>
                    <a:pt x="139" y="394"/>
                    <a:pt x="138" y="394"/>
                  </a:cubicBezTo>
                  <a:cubicBezTo>
                    <a:pt x="136" y="393"/>
                    <a:pt x="133" y="393"/>
                    <a:pt x="131" y="389"/>
                  </a:cubicBezTo>
                  <a:cubicBezTo>
                    <a:pt x="131" y="388"/>
                    <a:pt x="130" y="387"/>
                    <a:pt x="130" y="387"/>
                  </a:cubicBezTo>
                  <a:cubicBezTo>
                    <a:pt x="129" y="384"/>
                    <a:pt x="128" y="383"/>
                    <a:pt x="129" y="381"/>
                  </a:cubicBezTo>
                  <a:cubicBezTo>
                    <a:pt x="131" y="378"/>
                    <a:pt x="131" y="376"/>
                    <a:pt x="131" y="373"/>
                  </a:cubicBezTo>
                  <a:cubicBezTo>
                    <a:pt x="131" y="372"/>
                    <a:pt x="133" y="371"/>
                    <a:pt x="134" y="371"/>
                  </a:cubicBezTo>
                  <a:cubicBezTo>
                    <a:pt x="135" y="371"/>
                    <a:pt x="137" y="371"/>
                    <a:pt x="137" y="369"/>
                  </a:cubicBezTo>
                  <a:cubicBezTo>
                    <a:pt x="138" y="365"/>
                    <a:pt x="143" y="360"/>
                    <a:pt x="147" y="360"/>
                  </a:cubicBezTo>
                  <a:cubicBezTo>
                    <a:pt x="149" y="360"/>
                    <a:pt x="151" y="358"/>
                    <a:pt x="153" y="357"/>
                  </a:cubicBezTo>
                  <a:cubicBezTo>
                    <a:pt x="155" y="356"/>
                    <a:pt x="157" y="354"/>
                    <a:pt x="159" y="354"/>
                  </a:cubicBezTo>
                  <a:cubicBezTo>
                    <a:pt x="159" y="354"/>
                    <a:pt x="159" y="354"/>
                    <a:pt x="160" y="354"/>
                  </a:cubicBezTo>
                  <a:cubicBezTo>
                    <a:pt x="164" y="355"/>
                    <a:pt x="166" y="354"/>
                    <a:pt x="166" y="350"/>
                  </a:cubicBezTo>
                  <a:cubicBezTo>
                    <a:pt x="167" y="349"/>
                    <a:pt x="167" y="349"/>
                    <a:pt x="167" y="349"/>
                  </a:cubicBezTo>
                  <a:cubicBezTo>
                    <a:pt x="167" y="349"/>
                    <a:pt x="167" y="349"/>
                    <a:pt x="167" y="349"/>
                  </a:cubicBezTo>
                  <a:cubicBezTo>
                    <a:pt x="168" y="349"/>
                    <a:pt x="168" y="350"/>
                    <a:pt x="168" y="350"/>
                  </a:cubicBezTo>
                  <a:cubicBezTo>
                    <a:pt x="170" y="351"/>
                    <a:pt x="172" y="352"/>
                    <a:pt x="173" y="352"/>
                  </a:cubicBezTo>
                  <a:cubicBezTo>
                    <a:pt x="174" y="352"/>
                    <a:pt x="176" y="352"/>
                    <a:pt x="176" y="351"/>
                  </a:cubicBezTo>
                  <a:cubicBezTo>
                    <a:pt x="177" y="348"/>
                    <a:pt x="179" y="346"/>
                    <a:pt x="182" y="346"/>
                  </a:cubicBezTo>
                  <a:cubicBezTo>
                    <a:pt x="183" y="346"/>
                    <a:pt x="185" y="347"/>
                    <a:pt x="187" y="348"/>
                  </a:cubicBezTo>
                  <a:cubicBezTo>
                    <a:pt x="190" y="350"/>
                    <a:pt x="192" y="350"/>
                    <a:pt x="194" y="350"/>
                  </a:cubicBezTo>
                  <a:cubicBezTo>
                    <a:pt x="196" y="351"/>
                    <a:pt x="197" y="351"/>
                    <a:pt x="197" y="353"/>
                  </a:cubicBezTo>
                  <a:cubicBezTo>
                    <a:pt x="197" y="354"/>
                    <a:pt x="197" y="354"/>
                    <a:pt x="197" y="354"/>
                  </a:cubicBezTo>
                  <a:cubicBezTo>
                    <a:pt x="196" y="355"/>
                    <a:pt x="194" y="355"/>
                    <a:pt x="191" y="355"/>
                  </a:cubicBezTo>
                  <a:cubicBezTo>
                    <a:pt x="189" y="356"/>
                    <a:pt x="187" y="356"/>
                    <a:pt x="186" y="356"/>
                  </a:cubicBezTo>
                  <a:cubicBezTo>
                    <a:pt x="186" y="357"/>
                    <a:pt x="186" y="358"/>
                    <a:pt x="186" y="358"/>
                  </a:cubicBezTo>
                  <a:cubicBezTo>
                    <a:pt x="187" y="359"/>
                    <a:pt x="189" y="361"/>
                    <a:pt x="191" y="361"/>
                  </a:cubicBezTo>
                  <a:cubicBezTo>
                    <a:pt x="192" y="361"/>
                    <a:pt x="193" y="361"/>
                    <a:pt x="194" y="360"/>
                  </a:cubicBezTo>
                  <a:cubicBezTo>
                    <a:pt x="195" y="360"/>
                    <a:pt x="196" y="360"/>
                    <a:pt x="197" y="360"/>
                  </a:cubicBezTo>
                  <a:cubicBezTo>
                    <a:pt x="199" y="360"/>
                    <a:pt x="200" y="361"/>
                    <a:pt x="202" y="361"/>
                  </a:cubicBezTo>
                  <a:cubicBezTo>
                    <a:pt x="204" y="362"/>
                    <a:pt x="206" y="362"/>
                    <a:pt x="207" y="361"/>
                  </a:cubicBezTo>
                  <a:cubicBezTo>
                    <a:pt x="209" y="360"/>
                    <a:pt x="211" y="359"/>
                    <a:pt x="213" y="359"/>
                  </a:cubicBezTo>
                  <a:cubicBezTo>
                    <a:pt x="215" y="359"/>
                    <a:pt x="217" y="360"/>
                    <a:pt x="218" y="362"/>
                  </a:cubicBezTo>
                  <a:cubicBezTo>
                    <a:pt x="219" y="363"/>
                    <a:pt x="220" y="364"/>
                    <a:pt x="221" y="364"/>
                  </a:cubicBezTo>
                  <a:cubicBezTo>
                    <a:pt x="222" y="364"/>
                    <a:pt x="224" y="363"/>
                    <a:pt x="225" y="362"/>
                  </a:cubicBezTo>
                  <a:cubicBezTo>
                    <a:pt x="226" y="362"/>
                    <a:pt x="226" y="362"/>
                    <a:pt x="227" y="362"/>
                  </a:cubicBezTo>
                  <a:cubicBezTo>
                    <a:pt x="232" y="362"/>
                    <a:pt x="248" y="368"/>
                    <a:pt x="260" y="376"/>
                  </a:cubicBezTo>
                  <a:cubicBezTo>
                    <a:pt x="262" y="377"/>
                    <a:pt x="262" y="377"/>
                    <a:pt x="262" y="377"/>
                  </a:cubicBezTo>
                  <a:cubicBezTo>
                    <a:pt x="273" y="384"/>
                    <a:pt x="276" y="387"/>
                    <a:pt x="281" y="386"/>
                  </a:cubicBezTo>
                  <a:cubicBezTo>
                    <a:pt x="283" y="386"/>
                    <a:pt x="285" y="388"/>
                    <a:pt x="286" y="389"/>
                  </a:cubicBezTo>
                  <a:cubicBezTo>
                    <a:pt x="288" y="391"/>
                    <a:pt x="290" y="393"/>
                    <a:pt x="293" y="393"/>
                  </a:cubicBezTo>
                  <a:cubicBezTo>
                    <a:pt x="299" y="393"/>
                    <a:pt x="304" y="398"/>
                    <a:pt x="305" y="401"/>
                  </a:cubicBezTo>
                  <a:cubicBezTo>
                    <a:pt x="306" y="402"/>
                    <a:pt x="307" y="402"/>
                    <a:pt x="309" y="403"/>
                  </a:cubicBezTo>
                  <a:cubicBezTo>
                    <a:pt x="311" y="404"/>
                    <a:pt x="314" y="405"/>
                    <a:pt x="314" y="407"/>
                  </a:cubicBezTo>
                  <a:cubicBezTo>
                    <a:pt x="314" y="408"/>
                    <a:pt x="314" y="410"/>
                    <a:pt x="315" y="412"/>
                  </a:cubicBezTo>
                  <a:cubicBezTo>
                    <a:pt x="316" y="416"/>
                    <a:pt x="318" y="421"/>
                    <a:pt x="315" y="425"/>
                  </a:cubicBezTo>
                  <a:cubicBezTo>
                    <a:pt x="310" y="430"/>
                    <a:pt x="291" y="444"/>
                    <a:pt x="276" y="444"/>
                  </a:cubicBezTo>
                  <a:cubicBezTo>
                    <a:pt x="275" y="444"/>
                    <a:pt x="273" y="444"/>
                    <a:pt x="272" y="443"/>
                  </a:cubicBezTo>
                  <a:cubicBezTo>
                    <a:pt x="259" y="442"/>
                    <a:pt x="252" y="440"/>
                    <a:pt x="244" y="439"/>
                  </a:cubicBezTo>
                  <a:cubicBezTo>
                    <a:pt x="242" y="439"/>
                    <a:pt x="240" y="438"/>
                    <a:pt x="238" y="438"/>
                  </a:cubicBezTo>
                  <a:cubicBezTo>
                    <a:pt x="233" y="437"/>
                    <a:pt x="229" y="435"/>
                    <a:pt x="225" y="434"/>
                  </a:cubicBezTo>
                  <a:cubicBezTo>
                    <a:pt x="222" y="432"/>
                    <a:pt x="218" y="431"/>
                    <a:pt x="213" y="430"/>
                  </a:cubicBezTo>
                  <a:cubicBezTo>
                    <a:pt x="204" y="429"/>
                    <a:pt x="197" y="426"/>
                    <a:pt x="192" y="421"/>
                  </a:cubicBezTo>
                  <a:cubicBezTo>
                    <a:pt x="189" y="417"/>
                    <a:pt x="183" y="416"/>
                    <a:pt x="181" y="417"/>
                  </a:cubicBezTo>
                  <a:cubicBezTo>
                    <a:pt x="182" y="417"/>
                    <a:pt x="182" y="417"/>
                    <a:pt x="182" y="417"/>
                  </a:cubicBezTo>
                  <a:cubicBezTo>
                    <a:pt x="184" y="418"/>
                    <a:pt x="186" y="419"/>
                    <a:pt x="187" y="421"/>
                  </a:cubicBezTo>
                  <a:cubicBezTo>
                    <a:pt x="187" y="424"/>
                    <a:pt x="196" y="432"/>
                    <a:pt x="201" y="433"/>
                  </a:cubicBezTo>
                  <a:cubicBezTo>
                    <a:pt x="203" y="433"/>
                    <a:pt x="204" y="435"/>
                    <a:pt x="205" y="436"/>
                  </a:cubicBezTo>
                  <a:cubicBezTo>
                    <a:pt x="206" y="438"/>
                    <a:pt x="207" y="439"/>
                    <a:pt x="209" y="439"/>
                  </a:cubicBezTo>
                  <a:cubicBezTo>
                    <a:pt x="213" y="439"/>
                    <a:pt x="217" y="441"/>
                    <a:pt x="219" y="444"/>
                  </a:cubicBezTo>
                  <a:cubicBezTo>
                    <a:pt x="220" y="445"/>
                    <a:pt x="221" y="446"/>
                    <a:pt x="221" y="448"/>
                  </a:cubicBezTo>
                  <a:cubicBezTo>
                    <a:pt x="221" y="449"/>
                    <a:pt x="221" y="450"/>
                    <a:pt x="221" y="451"/>
                  </a:cubicBezTo>
                  <a:cubicBezTo>
                    <a:pt x="222" y="453"/>
                    <a:pt x="222" y="456"/>
                    <a:pt x="220" y="457"/>
                  </a:cubicBezTo>
                  <a:cubicBezTo>
                    <a:pt x="218" y="459"/>
                    <a:pt x="218" y="461"/>
                    <a:pt x="219" y="463"/>
                  </a:cubicBezTo>
                  <a:cubicBezTo>
                    <a:pt x="219" y="465"/>
                    <a:pt x="220" y="466"/>
                    <a:pt x="220" y="466"/>
                  </a:cubicBezTo>
                  <a:cubicBezTo>
                    <a:pt x="219" y="467"/>
                    <a:pt x="220" y="468"/>
                    <a:pt x="221" y="469"/>
                  </a:cubicBezTo>
                  <a:cubicBezTo>
                    <a:pt x="222" y="471"/>
                    <a:pt x="223" y="474"/>
                    <a:pt x="223" y="477"/>
                  </a:cubicBezTo>
                  <a:cubicBezTo>
                    <a:pt x="223" y="480"/>
                    <a:pt x="223" y="482"/>
                    <a:pt x="224" y="484"/>
                  </a:cubicBezTo>
                  <a:cubicBezTo>
                    <a:pt x="225" y="485"/>
                    <a:pt x="227" y="485"/>
                    <a:pt x="230" y="485"/>
                  </a:cubicBezTo>
                  <a:cubicBezTo>
                    <a:pt x="231" y="485"/>
                    <a:pt x="231" y="485"/>
                    <a:pt x="232" y="485"/>
                  </a:cubicBezTo>
                  <a:cubicBezTo>
                    <a:pt x="238" y="485"/>
                    <a:pt x="244" y="489"/>
                    <a:pt x="244" y="493"/>
                  </a:cubicBezTo>
                  <a:cubicBezTo>
                    <a:pt x="244" y="494"/>
                    <a:pt x="246" y="494"/>
                    <a:pt x="249" y="494"/>
                  </a:cubicBezTo>
                  <a:cubicBezTo>
                    <a:pt x="251" y="494"/>
                    <a:pt x="254" y="495"/>
                    <a:pt x="255" y="496"/>
                  </a:cubicBezTo>
                  <a:cubicBezTo>
                    <a:pt x="256" y="497"/>
                    <a:pt x="257" y="497"/>
                    <a:pt x="258" y="497"/>
                  </a:cubicBezTo>
                  <a:cubicBezTo>
                    <a:pt x="261" y="497"/>
                    <a:pt x="265" y="496"/>
                    <a:pt x="265" y="494"/>
                  </a:cubicBezTo>
                  <a:cubicBezTo>
                    <a:pt x="266" y="492"/>
                    <a:pt x="267" y="489"/>
                    <a:pt x="266" y="487"/>
                  </a:cubicBezTo>
                  <a:cubicBezTo>
                    <a:pt x="266" y="487"/>
                    <a:pt x="265" y="486"/>
                    <a:pt x="264" y="486"/>
                  </a:cubicBezTo>
                  <a:cubicBezTo>
                    <a:pt x="261" y="486"/>
                    <a:pt x="252" y="486"/>
                    <a:pt x="250" y="481"/>
                  </a:cubicBezTo>
                  <a:cubicBezTo>
                    <a:pt x="249" y="479"/>
                    <a:pt x="248" y="478"/>
                    <a:pt x="247" y="477"/>
                  </a:cubicBezTo>
                  <a:cubicBezTo>
                    <a:pt x="246" y="475"/>
                    <a:pt x="244" y="474"/>
                    <a:pt x="245" y="472"/>
                  </a:cubicBezTo>
                  <a:cubicBezTo>
                    <a:pt x="246" y="472"/>
                    <a:pt x="246" y="472"/>
                    <a:pt x="246" y="472"/>
                  </a:cubicBezTo>
                  <a:cubicBezTo>
                    <a:pt x="247" y="469"/>
                    <a:pt x="250" y="464"/>
                    <a:pt x="254" y="464"/>
                  </a:cubicBezTo>
                  <a:cubicBezTo>
                    <a:pt x="255" y="464"/>
                    <a:pt x="255" y="464"/>
                    <a:pt x="255" y="464"/>
                  </a:cubicBezTo>
                  <a:cubicBezTo>
                    <a:pt x="257" y="464"/>
                    <a:pt x="261" y="467"/>
                    <a:pt x="264" y="469"/>
                  </a:cubicBezTo>
                  <a:cubicBezTo>
                    <a:pt x="267" y="471"/>
                    <a:pt x="270" y="474"/>
                    <a:pt x="271" y="474"/>
                  </a:cubicBezTo>
                  <a:cubicBezTo>
                    <a:pt x="271" y="474"/>
                    <a:pt x="271" y="474"/>
                    <a:pt x="271" y="474"/>
                  </a:cubicBezTo>
                  <a:cubicBezTo>
                    <a:pt x="274" y="473"/>
                    <a:pt x="284" y="474"/>
                    <a:pt x="287" y="477"/>
                  </a:cubicBezTo>
                  <a:cubicBezTo>
                    <a:pt x="288" y="479"/>
                    <a:pt x="293" y="480"/>
                    <a:pt x="298" y="480"/>
                  </a:cubicBezTo>
                  <a:cubicBezTo>
                    <a:pt x="302" y="480"/>
                    <a:pt x="303" y="479"/>
                    <a:pt x="303" y="479"/>
                  </a:cubicBezTo>
                  <a:cubicBezTo>
                    <a:pt x="304" y="477"/>
                    <a:pt x="303" y="473"/>
                    <a:pt x="297" y="468"/>
                  </a:cubicBezTo>
                  <a:cubicBezTo>
                    <a:pt x="294" y="464"/>
                    <a:pt x="293" y="461"/>
                    <a:pt x="293" y="459"/>
                  </a:cubicBezTo>
                  <a:cubicBezTo>
                    <a:pt x="294" y="457"/>
                    <a:pt x="295" y="455"/>
                    <a:pt x="297" y="454"/>
                  </a:cubicBezTo>
                  <a:cubicBezTo>
                    <a:pt x="298" y="453"/>
                    <a:pt x="299" y="452"/>
                    <a:pt x="301" y="450"/>
                  </a:cubicBezTo>
                  <a:cubicBezTo>
                    <a:pt x="305" y="447"/>
                    <a:pt x="308" y="444"/>
                    <a:pt x="311" y="444"/>
                  </a:cubicBezTo>
                  <a:cubicBezTo>
                    <a:pt x="312" y="444"/>
                    <a:pt x="321" y="443"/>
                    <a:pt x="323" y="439"/>
                  </a:cubicBezTo>
                  <a:cubicBezTo>
                    <a:pt x="325" y="436"/>
                    <a:pt x="327" y="434"/>
                    <a:pt x="330" y="434"/>
                  </a:cubicBezTo>
                  <a:cubicBezTo>
                    <a:pt x="331" y="434"/>
                    <a:pt x="332" y="434"/>
                    <a:pt x="333" y="434"/>
                  </a:cubicBezTo>
                  <a:cubicBezTo>
                    <a:pt x="335" y="434"/>
                    <a:pt x="337" y="434"/>
                    <a:pt x="340" y="434"/>
                  </a:cubicBezTo>
                  <a:cubicBezTo>
                    <a:pt x="344" y="434"/>
                    <a:pt x="348" y="435"/>
                    <a:pt x="348" y="437"/>
                  </a:cubicBezTo>
                  <a:cubicBezTo>
                    <a:pt x="349" y="440"/>
                    <a:pt x="350" y="442"/>
                    <a:pt x="351" y="442"/>
                  </a:cubicBezTo>
                  <a:cubicBezTo>
                    <a:pt x="351" y="442"/>
                    <a:pt x="351" y="441"/>
                    <a:pt x="352" y="441"/>
                  </a:cubicBezTo>
                  <a:cubicBezTo>
                    <a:pt x="352" y="441"/>
                    <a:pt x="352" y="441"/>
                    <a:pt x="353" y="441"/>
                  </a:cubicBezTo>
                  <a:cubicBezTo>
                    <a:pt x="354" y="441"/>
                    <a:pt x="354" y="441"/>
                    <a:pt x="355" y="442"/>
                  </a:cubicBezTo>
                  <a:cubicBezTo>
                    <a:pt x="356" y="442"/>
                    <a:pt x="357" y="443"/>
                    <a:pt x="357" y="443"/>
                  </a:cubicBezTo>
                  <a:cubicBezTo>
                    <a:pt x="357" y="443"/>
                    <a:pt x="358" y="443"/>
                    <a:pt x="358" y="442"/>
                  </a:cubicBezTo>
                  <a:cubicBezTo>
                    <a:pt x="358" y="440"/>
                    <a:pt x="359" y="438"/>
                    <a:pt x="360" y="437"/>
                  </a:cubicBezTo>
                  <a:cubicBezTo>
                    <a:pt x="361" y="435"/>
                    <a:pt x="362" y="433"/>
                    <a:pt x="362" y="431"/>
                  </a:cubicBezTo>
                  <a:cubicBezTo>
                    <a:pt x="362" y="429"/>
                    <a:pt x="362" y="429"/>
                    <a:pt x="362" y="429"/>
                  </a:cubicBezTo>
                  <a:cubicBezTo>
                    <a:pt x="362" y="426"/>
                    <a:pt x="362" y="421"/>
                    <a:pt x="360" y="419"/>
                  </a:cubicBezTo>
                  <a:cubicBezTo>
                    <a:pt x="360" y="418"/>
                    <a:pt x="359" y="418"/>
                    <a:pt x="358" y="418"/>
                  </a:cubicBezTo>
                  <a:cubicBezTo>
                    <a:pt x="357" y="418"/>
                    <a:pt x="357" y="418"/>
                    <a:pt x="357" y="418"/>
                  </a:cubicBezTo>
                  <a:cubicBezTo>
                    <a:pt x="354" y="418"/>
                    <a:pt x="351" y="418"/>
                    <a:pt x="350" y="417"/>
                  </a:cubicBezTo>
                  <a:cubicBezTo>
                    <a:pt x="350" y="416"/>
                    <a:pt x="350" y="415"/>
                    <a:pt x="352" y="412"/>
                  </a:cubicBezTo>
                  <a:cubicBezTo>
                    <a:pt x="356" y="406"/>
                    <a:pt x="359" y="399"/>
                    <a:pt x="358" y="396"/>
                  </a:cubicBezTo>
                  <a:cubicBezTo>
                    <a:pt x="357" y="395"/>
                    <a:pt x="357" y="394"/>
                    <a:pt x="358" y="393"/>
                  </a:cubicBezTo>
                  <a:cubicBezTo>
                    <a:pt x="358" y="390"/>
                    <a:pt x="358" y="388"/>
                    <a:pt x="354" y="387"/>
                  </a:cubicBezTo>
                  <a:cubicBezTo>
                    <a:pt x="350" y="386"/>
                    <a:pt x="348" y="383"/>
                    <a:pt x="348" y="381"/>
                  </a:cubicBezTo>
                  <a:cubicBezTo>
                    <a:pt x="348" y="380"/>
                    <a:pt x="350" y="379"/>
                    <a:pt x="352" y="380"/>
                  </a:cubicBezTo>
                  <a:cubicBezTo>
                    <a:pt x="355" y="382"/>
                    <a:pt x="359" y="383"/>
                    <a:pt x="363" y="383"/>
                  </a:cubicBezTo>
                  <a:cubicBezTo>
                    <a:pt x="365" y="383"/>
                    <a:pt x="367" y="383"/>
                    <a:pt x="369" y="382"/>
                  </a:cubicBezTo>
                  <a:cubicBezTo>
                    <a:pt x="371" y="382"/>
                    <a:pt x="373" y="381"/>
                    <a:pt x="375" y="381"/>
                  </a:cubicBezTo>
                  <a:cubicBezTo>
                    <a:pt x="381" y="381"/>
                    <a:pt x="388" y="383"/>
                    <a:pt x="388" y="388"/>
                  </a:cubicBezTo>
                  <a:cubicBezTo>
                    <a:pt x="389" y="390"/>
                    <a:pt x="391" y="393"/>
                    <a:pt x="394" y="396"/>
                  </a:cubicBezTo>
                  <a:cubicBezTo>
                    <a:pt x="396" y="398"/>
                    <a:pt x="398" y="401"/>
                    <a:pt x="397" y="402"/>
                  </a:cubicBezTo>
                  <a:cubicBezTo>
                    <a:pt x="397" y="403"/>
                    <a:pt x="396" y="403"/>
                    <a:pt x="395" y="403"/>
                  </a:cubicBezTo>
                  <a:cubicBezTo>
                    <a:pt x="394" y="403"/>
                    <a:pt x="393" y="403"/>
                    <a:pt x="392" y="402"/>
                  </a:cubicBezTo>
                  <a:cubicBezTo>
                    <a:pt x="391" y="402"/>
                    <a:pt x="389" y="402"/>
                    <a:pt x="388" y="402"/>
                  </a:cubicBezTo>
                  <a:cubicBezTo>
                    <a:pt x="387" y="402"/>
                    <a:pt x="385" y="402"/>
                    <a:pt x="384" y="403"/>
                  </a:cubicBezTo>
                  <a:cubicBezTo>
                    <a:pt x="381" y="405"/>
                    <a:pt x="379" y="405"/>
                    <a:pt x="377" y="405"/>
                  </a:cubicBezTo>
                  <a:cubicBezTo>
                    <a:pt x="375" y="405"/>
                    <a:pt x="375" y="405"/>
                    <a:pt x="374" y="406"/>
                  </a:cubicBezTo>
                  <a:cubicBezTo>
                    <a:pt x="372" y="410"/>
                    <a:pt x="372" y="413"/>
                    <a:pt x="372" y="414"/>
                  </a:cubicBezTo>
                  <a:cubicBezTo>
                    <a:pt x="373" y="414"/>
                    <a:pt x="373" y="415"/>
                    <a:pt x="374" y="415"/>
                  </a:cubicBezTo>
                  <a:cubicBezTo>
                    <a:pt x="376" y="415"/>
                    <a:pt x="378" y="418"/>
                    <a:pt x="379" y="420"/>
                  </a:cubicBezTo>
                  <a:cubicBezTo>
                    <a:pt x="381" y="423"/>
                    <a:pt x="383" y="426"/>
                    <a:pt x="386" y="426"/>
                  </a:cubicBezTo>
                  <a:cubicBezTo>
                    <a:pt x="386" y="426"/>
                    <a:pt x="386" y="426"/>
                    <a:pt x="386" y="426"/>
                  </a:cubicBezTo>
                  <a:cubicBezTo>
                    <a:pt x="387" y="426"/>
                    <a:pt x="388" y="426"/>
                    <a:pt x="390" y="426"/>
                  </a:cubicBezTo>
                  <a:cubicBezTo>
                    <a:pt x="391" y="426"/>
                    <a:pt x="393" y="426"/>
                    <a:pt x="394" y="426"/>
                  </a:cubicBezTo>
                  <a:cubicBezTo>
                    <a:pt x="398" y="426"/>
                    <a:pt x="409" y="426"/>
                    <a:pt x="410" y="423"/>
                  </a:cubicBezTo>
                  <a:cubicBezTo>
                    <a:pt x="411" y="421"/>
                    <a:pt x="411" y="419"/>
                    <a:pt x="411" y="417"/>
                  </a:cubicBezTo>
                  <a:cubicBezTo>
                    <a:pt x="410" y="413"/>
                    <a:pt x="410" y="409"/>
                    <a:pt x="413" y="407"/>
                  </a:cubicBezTo>
                  <a:cubicBezTo>
                    <a:pt x="415" y="407"/>
                    <a:pt x="418" y="406"/>
                    <a:pt x="421" y="406"/>
                  </a:cubicBezTo>
                  <a:cubicBezTo>
                    <a:pt x="425" y="405"/>
                    <a:pt x="429" y="404"/>
                    <a:pt x="429" y="403"/>
                  </a:cubicBezTo>
                  <a:cubicBezTo>
                    <a:pt x="429" y="401"/>
                    <a:pt x="431" y="400"/>
                    <a:pt x="434" y="399"/>
                  </a:cubicBezTo>
                  <a:cubicBezTo>
                    <a:pt x="437" y="398"/>
                    <a:pt x="441" y="397"/>
                    <a:pt x="443" y="394"/>
                  </a:cubicBezTo>
                  <a:cubicBezTo>
                    <a:pt x="448" y="389"/>
                    <a:pt x="469" y="384"/>
                    <a:pt x="475" y="384"/>
                  </a:cubicBezTo>
                  <a:cubicBezTo>
                    <a:pt x="476" y="384"/>
                    <a:pt x="477" y="384"/>
                    <a:pt x="477" y="384"/>
                  </a:cubicBezTo>
                  <a:cubicBezTo>
                    <a:pt x="479" y="385"/>
                    <a:pt x="480" y="386"/>
                    <a:pt x="480" y="387"/>
                  </a:cubicBezTo>
                  <a:cubicBezTo>
                    <a:pt x="481" y="388"/>
                    <a:pt x="482" y="389"/>
                    <a:pt x="483" y="388"/>
                  </a:cubicBezTo>
                  <a:cubicBezTo>
                    <a:pt x="484" y="387"/>
                    <a:pt x="484" y="386"/>
                    <a:pt x="484" y="385"/>
                  </a:cubicBezTo>
                  <a:cubicBezTo>
                    <a:pt x="484" y="383"/>
                    <a:pt x="484" y="381"/>
                    <a:pt x="486" y="380"/>
                  </a:cubicBezTo>
                  <a:cubicBezTo>
                    <a:pt x="488" y="378"/>
                    <a:pt x="501" y="373"/>
                    <a:pt x="505" y="373"/>
                  </a:cubicBezTo>
                  <a:cubicBezTo>
                    <a:pt x="506" y="373"/>
                    <a:pt x="506" y="374"/>
                    <a:pt x="506" y="374"/>
                  </a:cubicBezTo>
                  <a:cubicBezTo>
                    <a:pt x="507" y="375"/>
                    <a:pt x="506" y="377"/>
                    <a:pt x="505" y="378"/>
                  </a:cubicBezTo>
                  <a:cubicBezTo>
                    <a:pt x="503" y="380"/>
                    <a:pt x="502" y="382"/>
                    <a:pt x="503" y="384"/>
                  </a:cubicBezTo>
                  <a:cubicBezTo>
                    <a:pt x="504" y="385"/>
                    <a:pt x="505" y="387"/>
                    <a:pt x="504" y="388"/>
                  </a:cubicBezTo>
                  <a:cubicBezTo>
                    <a:pt x="504" y="389"/>
                    <a:pt x="502" y="389"/>
                    <a:pt x="499" y="389"/>
                  </a:cubicBezTo>
                  <a:cubicBezTo>
                    <a:pt x="499" y="389"/>
                    <a:pt x="499" y="389"/>
                    <a:pt x="498" y="389"/>
                  </a:cubicBezTo>
                  <a:cubicBezTo>
                    <a:pt x="496" y="389"/>
                    <a:pt x="494" y="390"/>
                    <a:pt x="494" y="390"/>
                  </a:cubicBezTo>
                  <a:cubicBezTo>
                    <a:pt x="494" y="391"/>
                    <a:pt x="494" y="391"/>
                    <a:pt x="496" y="392"/>
                  </a:cubicBezTo>
                  <a:cubicBezTo>
                    <a:pt x="498" y="393"/>
                    <a:pt x="502" y="393"/>
                    <a:pt x="504" y="393"/>
                  </a:cubicBezTo>
                  <a:cubicBezTo>
                    <a:pt x="506" y="393"/>
                    <a:pt x="507" y="393"/>
                    <a:pt x="508" y="393"/>
                  </a:cubicBezTo>
                  <a:cubicBezTo>
                    <a:pt x="510" y="393"/>
                    <a:pt x="511" y="393"/>
                    <a:pt x="512" y="393"/>
                  </a:cubicBezTo>
                  <a:cubicBezTo>
                    <a:pt x="513" y="393"/>
                    <a:pt x="515" y="393"/>
                    <a:pt x="515" y="393"/>
                  </a:cubicBezTo>
                  <a:cubicBezTo>
                    <a:pt x="517" y="394"/>
                    <a:pt x="517" y="393"/>
                    <a:pt x="518" y="391"/>
                  </a:cubicBezTo>
                  <a:cubicBezTo>
                    <a:pt x="520" y="389"/>
                    <a:pt x="522" y="385"/>
                    <a:pt x="529" y="384"/>
                  </a:cubicBezTo>
                  <a:cubicBezTo>
                    <a:pt x="531" y="383"/>
                    <a:pt x="533" y="383"/>
                    <a:pt x="536" y="383"/>
                  </a:cubicBezTo>
                  <a:cubicBezTo>
                    <a:pt x="539" y="383"/>
                    <a:pt x="542" y="383"/>
                    <a:pt x="545" y="383"/>
                  </a:cubicBezTo>
                  <a:cubicBezTo>
                    <a:pt x="549" y="384"/>
                    <a:pt x="552" y="384"/>
                    <a:pt x="553" y="384"/>
                  </a:cubicBezTo>
                  <a:cubicBezTo>
                    <a:pt x="554" y="383"/>
                    <a:pt x="557" y="382"/>
                    <a:pt x="560" y="380"/>
                  </a:cubicBezTo>
                  <a:cubicBezTo>
                    <a:pt x="565" y="376"/>
                    <a:pt x="572" y="372"/>
                    <a:pt x="575" y="372"/>
                  </a:cubicBezTo>
                  <a:cubicBezTo>
                    <a:pt x="576" y="372"/>
                    <a:pt x="576" y="372"/>
                    <a:pt x="576" y="372"/>
                  </a:cubicBezTo>
                  <a:cubicBezTo>
                    <a:pt x="582" y="375"/>
                    <a:pt x="585" y="376"/>
                    <a:pt x="585" y="378"/>
                  </a:cubicBezTo>
                  <a:cubicBezTo>
                    <a:pt x="585" y="379"/>
                    <a:pt x="585" y="379"/>
                    <a:pt x="585" y="380"/>
                  </a:cubicBezTo>
                  <a:cubicBezTo>
                    <a:pt x="583" y="381"/>
                    <a:pt x="581" y="384"/>
                    <a:pt x="582" y="385"/>
                  </a:cubicBezTo>
                  <a:cubicBezTo>
                    <a:pt x="582" y="386"/>
                    <a:pt x="583" y="387"/>
                    <a:pt x="585" y="388"/>
                  </a:cubicBezTo>
                  <a:cubicBezTo>
                    <a:pt x="588" y="389"/>
                    <a:pt x="591" y="389"/>
                    <a:pt x="592" y="388"/>
                  </a:cubicBezTo>
                  <a:cubicBezTo>
                    <a:pt x="592" y="387"/>
                    <a:pt x="592" y="386"/>
                    <a:pt x="592" y="385"/>
                  </a:cubicBezTo>
                  <a:cubicBezTo>
                    <a:pt x="591" y="384"/>
                    <a:pt x="591" y="383"/>
                    <a:pt x="591" y="382"/>
                  </a:cubicBezTo>
                  <a:cubicBezTo>
                    <a:pt x="592" y="381"/>
                    <a:pt x="596" y="380"/>
                    <a:pt x="602" y="380"/>
                  </a:cubicBezTo>
                  <a:cubicBezTo>
                    <a:pt x="604" y="380"/>
                    <a:pt x="606" y="379"/>
                    <a:pt x="607" y="377"/>
                  </a:cubicBezTo>
                  <a:cubicBezTo>
                    <a:pt x="608" y="375"/>
                    <a:pt x="607" y="374"/>
                    <a:pt x="606" y="373"/>
                  </a:cubicBezTo>
                  <a:cubicBezTo>
                    <a:pt x="603" y="370"/>
                    <a:pt x="599" y="365"/>
                    <a:pt x="599" y="360"/>
                  </a:cubicBezTo>
                  <a:cubicBezTo>
                    <a:pt x="599" y="358"/>
                    <a:pt x="599" y="357"/>
                    <a:pt x="598" y="356"/>
                  </a:cubicBezTo>
                  <a:cubicBezTo>
                    <a:pt x="597" y="354"/>
                    <a:pt x="594" y="354"/>
                    <a:pt x="590" y="354"/>
                  </a:cubicBezTo>
                  <a:cubicBezTo>
                    <a:pt x="586" y="354"/>
                    <a:pt x="585" y="353"/>
                    <a:pt x="584" y="352"/>
                  </a:cubicBezTo>
                  <a:cubicBezTo>
                    <a:pt x="584" y="351"/>
                    <a:pt x="583" y="350"/>
                    <a:pt x="580" y="350"/>
                  </a:cubicBezTo>
                  <a:cubicBezTo>
                    <a:pt x="575" y="349"/>
                    <a:pt x="573" y="346"/>
                    <a:pt x="573" y="343"/>
                  </a:cubicBezTo>
                  <a:cubicBezTo>
                    <a:pt x="572" y="340"/>
                    <a:pt x="573" y="338"/>
                    <a:pt x="575" y="337"/>
                  </a:cubicBezTo>
                  <a:cubicBezTo>
                    <a:pt x="576" y="336"/>
                    <a:pt x="577" y="336"/>
                    <a:pt x="578" y="336"/>
                  </a:cubicBezTo>
                  <a:cubicBezTo>
                    <a:pt x="581" y="336"/>
                    <a:pt x="584" y="338"/>
                    <a:pt x="587" y="339"/>
                  </a:cubicBezTo>
                  <a:cubicBezTo>
                    <a:pt x="589" y="340"/>
                    <a:pt x="591" y="342"/>
                    <a:pt x="593" y="343"/>
                  </a:cubicBezTo>
                  <a:cubicBezTo>
                    <a:pt x="598" y="344"/>
                    <a:pt x="599" y="347"/>
                    <a:pt x="600" y="348"/>
                  </a:cubicBezTo>
                  <a:cubicBezTo>
                    <a:pt x="601" y="350"/>
                    <a:pt x="602" y="351"/>
                    <a:pt x="604" y="350"/>
                  </a:cubicBezTo>
                  <a:cubicBezTo>
                    <a:pt x="606" y="350"/>
                    <a:pt x="609" y="351"/>
                    <a:pt x="612" y="351"/>
                  </a:cubicBezTo>
                  <a:cubicBezTo>
                    <a:pt x="617" y="352"/>
                    <a:pt x="623" y="353"/>
                    <a:pt x="630" y="353"/>
                  </a:cubicBezTo>
                  <a:cubicBezTo>
                    <a:pt x="644" y="353"/>
                    <a:pt x="650" y="355"/>
                    <a:pt x="658" y="360"/>
                  </a:cubicBezTo>
                  <a:cubicBezTo>
                    <a:pt x="662" y="363"/>
                    <a:pt x="665" y="364"/>
                    <a:pt x="669" y="365"/>
                  </a:cubicBezTo>
                  <a:cubicBezTo>
                    <a:pt x="671" y="366"/>
                    <a:pt x="674" y="366"/>
                    <a:pt x="677" y="368"/>
                  </a:cubicBezTo>
                  <a:cubicBezTo>
                    <a:pt x="680" y="369"/>
                    <a:pt x="684" y="371"/>
                    <a:pt x="689" y="373"/>
                  </a:cubicBezTo>
                  <a:cubicBezTo>
                    <a:pt x="694" y="375"/>
                    <a:pt x="699" y="377"/>
                    <a:pt x="700" y="378"/>
                  </a:cubicBezTo>
                  <a:cubicBezTo>
                    <a:pt x="702" y="379"/>
                    <a:pt x="703" y="381"/>
                    <a:pt x="705" y="382"/>
                  </a:cubicBezTo>
                  <a:cubicBezTo>
                    <a:pt x="709" y="386"/>
                    <a:pt x="716" y="392"/>
                    <a:pt x="718" y="392"/>
                  </a:cubicBezTo>
                  <a:cubicBezTo>
                    <a:pt x="719" y="392"/>
                    <a:pt x="723" y="387"/>
                    <a:pt x="726" y="382"/>
                  </a:cubicBezTo>
                  <a:cubicBezTo>
                    <a:pt x="726" y="380"/>
                    <a:pt x="727" y="379"/>
                    <a:pt x="726" y="378"/>
                  </a:cubicBezTo>
                  <a:cubicBezTo>
                    <a:pt x="726" y="377"/>
                    <a:pt x="725" y="377"/>
                    <a:pt x="724" y="377"/>
                  </a:cubicBezTo>
                  <a:cubicBezTo>
                    <a:pt x="722" y="377"/>
                    <a:pt x="720" y="377"/>
                    <a:pt x="718" y="374"/>
                  </a:cubicBezTo>
                  <a:cubicBezTo>
                    <a:pt x="716" y="372"/>
                    <a:pt x="715" y="370"/>
                    <a:pt x="715" y="368"/>
                  </a:cubicBezTo>
                  <a:cubicBezTo>
                    <a:pt x="714" y="365"/>
                    <a:pt x="714" y="363"/>
                    <a:pt x="711" y="362"/>
                  </a:cubicBezTo>
                  <a:cubicBezTo>
                    <a:pt x="710" y="361"/>
                    <a:pt x="706" y="360"/>
                    <a:pt x="703" y="359"/>
                  </a:cubicBezTo>
                  <a:cubicBezTo>
                    <a:pt x="699" y="358"/>
                    <a:pt x="695" y="357"/>
                    <a:pt x="694" y="356"/>
                  </a:cubicBezTo>
                  <a:cubicBezTo>
                    <a:pt x="694" y="355"/>
                    <a:pt x="693" y="354"/>
                    <a:pt x="693" y="353"/>
                  </a:cubicBezTo>
                  <a:cubicBezTo>
                    <a:pt x="694" y="350"/>
                    <a:pt x="697" y="347"/>
                    <a:pt x="699" y="345"/>
                  </a:cubicBezTo>
                  <a:cubicBezTo>
                    <a:pt x="701" y="344"/>
                    <a:pt x="701" y="342"/>
                    <a:pt x="700" y="341"/>
                  </a:cubicBezTo>
                  <a:cubicBezTo>
                    <a:pt x="700" y="340"/>
                    <a:pt x="699" y="339"/>
                    <a:pt x="700" y="338"/>
                  </a:cubicBezTo>
                  <a:cubicBezTo>
                    <a:pt x="701" y="337"/>
                    <a:pt x="703" y="332"/>
                    <a:pt x="702" y="329"/>
                  </a:cubicBezTo>
                  <a:cubicBezTo>
                    <a:pt x="702" y="328"/>
                    <a:pt x="702" y="328"/>
                    <a:pt x="702" y="327"/>
                  </a:cubicBezTo>
                  <a:cubicBezTo>
                    <a:pt x="701" y="327"/>
                    <a:pt x="700" y="327"/>
                    <a:pt x="699" y="327"/>
                  </a:cubicBezTo>
                  <a:cubicBezTo>
                    <a:pt x="698" y="327"/>
                    <a:pt x="698" y="327"/>
                    <a:pt x="697" y="327"/>
                  </a:cubicBezTo>
                  <a:cubicBezTo>
                    <a:pt x="696" y="327"/>
                    <a:pt x="695" y="327"/>
                    <a:pt x="693" y="325"/>
                  </a:cubicBezTo>
                  <a:cubicBezTo>
                    <a:pt x="693" y="324"/>
                    <a:pt x="692" y="322"/>
                    <a:pt x="693" y="320"/>
                  </a:cubicBezTo>
                  <a:cubicBezTo>
                    <a:pt x="694" y="316"/>
                    <a:pt x="697" y="313"/>
                    <a:pt x="700" y="312"/>
                  </a:cubicBezTo>
                  <a:cubicBezTo>
                    <a:pt x="700" y="311"/>
                    <a:pt x="701" y="311"/>
                    <a:pt x="702" y="311"/>
                  </a:cubicBezTo>
                  <a:cubicBezTo>
                    <a:pt x="708" y="309"/>
                    <a:pt x="716" y="305"/>
                    <a:pt x="719" y="297"/>
                  </a:cubicBezTo>
                  <a:cubicBezTo>
                    <a:pt x="721" y="290"/>
                    <a:pt x="724" y="284"/>
                    <a:pt x="726" y="280"/>
                  </a:cubicBezTo>
                  <a:cubicBezTo>
                    <a:pt x="727" y="279"/>
                    <a:pt x="728" y="278"/>
                    <a:pt x="729" y="277"/>
                  </a:cubicBezTo>
                  <a:cubicBezTo>
                    <a:pt x="729" y="276"/>
                    <a:pt x="729" y="275"/>
                    <a:pt x="729" y="275"/>
                  </a:cubicBezTo>
                  <a:cubicBezTo>
                    <a:pt x="731" y="271"/>
                    <a:pt x="733" y="268"/>
                    <a:pt x="736" y="268"/>
                  </a:cubicBezTo>
                  <a:cubicBezTo>
                    <a:pt x="737" y="268"/>
                    <a:pt x="737" y="268"/>
                    <a:pt x="737" y="268"/>
                  </a:cubicBezTo>
                  <a:cubicBezTo>
                    <a:pt x="741" y="269"/>
                    <a:pt x="754" y="269"/>
                    <a:pt x="761" y="269"/>
                  </a:cubicBezTo>
                  <a:cubicBezTo>
                    <a:pt x="763" y="269"/>
                    <a:pt x="764" y="269"/>
                    <a:pt x="765" y="269"/>
                  </a:cubicBezTo>
                  <a:cubicBezTo>
                    <a:pt x="770" y="269"/>
                    <a:pt x="783" y="272"/>
                    <a:pt x="783" y="276"/>
                  </a:cubicBezTo>
                  <a:cubicBezTo>
                    <a:pt x="784" y="279"/>
                    <a:pt x="783" y="296"/>
                    <a:pt x="777" y="301"/>
                  </a:cubicBezTo>
                  <a:cubicBezTo>
                    <a:pt x="772" y="305"/>
                    <a:pt x="770" y="308"/>
                    <a:pt x="770" y="309"/>
                  </a:cubicBezTo>
                  <a:cubicBezTo>
                    <a:pt x="771" y="310"/>
                    <a:pt x="771" y="311"/>
                    <a:pt x="772" y="311"/>
                  </a:cubicBezTo>
                  <a:cubicBezTo>
                    <a:pt x="776" y="313"/>
                    <a:pt x="786" y="321"/>
                    <a:pt x="784" y="328"/>
                  </a:cubicBezTo>
                  <a:cubicBezTo>
                    <a:pt x="784" y="331"/>
                    <a:pt x="783" y="334"/>
                    <a:pt x="782" y="336"/>
                  </a:cubicBezTo>
                  <a:cubicBezTo>
                    <a:pt x="781" y="339"/>
                    <a:pt x="780" y="341"/>
                    <a:pt x="781" y="343"/>
                  </a:cubicBezTo>
                  <a:cubicBezTo>
                    <a:pt x="781" y="344"/>
                    <a:pt x="781" y="344"/>
                    <a:pt x="781" y="345"/>
                  </a:cubicBezTo>
                  <a:cubicBezTo>
                    <a:pt x="781" y="349"/>
                    <a:pt x="782" y="354"/>
                    <a:pt x="781" y="357"/>
                  </a:cubicBezTo>
                  <a:cubicBezTo>
                    <a:pt x="780" y="359"/>
                    <a:pt x="781" y="362"/>
                    <a:pt x="781" y="365"/>
                  </a:cubicBezTo>
                  <a:cubicBezTo>
                    <a:pt x="781" y="368"/>
                    <a:pt x="782" y="370"/>
                    <a:pt x="781" y="372"/>
                  </a:cubicBezTo>
                  <a:cubicBezTo>
                    <a:pt x="781" y="375"/>
                    <a:pt x="789" y="381"/>
                    <a:pt x="792" y="383"/>
                  </a:cubicBezTo>
                  <a:cubicBezTo>
                    <a:pt x="792" y="384"/>
                    <a:pt x="792" y="384"/>
                    <a:pt x="792" y="384"/>
                  </a:cubicBezTo>
                  <a:cubicBezTo>
                    <a:pt x="794" y="385"/>
                    <a:pt x="795" y="387"/>
                    <a:pt x="794" y="388"/>
                  </a:cubicBezTo>
                  <a:cubicBezTo>
                    <a:pt x="794" y="389"/>
                    <a:pt x="793" y="390"/>
                    <a:pt x="792" y="390"/>
                  </a:cubicBezTo>
                  <a:cubicBezTo>
                    <a:pt x="791" y="391"/>
                    <a:pt x="789" y="393"/>
                    <a:pt x="788" y="395"/>
                  </a:cubicBezTo>
                  <a:cubicBezTo>
                    <a:pt x="788" y="397"/>
                    <a:pt x="788" y="398"/>
                    <a:pt x="788" y="399"/>
                  </a:cubicBezTo>
                  <a:cubicBezTo>
                    <a:pt x="789" y="401"/>
                    <a:pt x="789" y="403"/>
                    <a:pt x="788" y="405"/>
                  </a:cubicBezTo>
                  <a:cubicBezTo>
                    <a:pt x="788" y="406"/>
                    <a:pt x="787" y="407"/>
                    <a:pt x="785" y="407"/>
                  </a:cubicBezTo>
                  <a:cubicBezTo>
                    <a:pt x="784" y="407"/>
                    <a:pt x="783" y="408"/>
                    <a:pt x="782" y="409"/>
                  </a:cubicBezTo>
                  <a:cubicBezTo>
                    <a:pt x="781" y="410"/>
                    <a:pt x="780" y="412"/>
                    <a:pt x="778" y="412"/>
                  </a:cubicBezTo>
                  <a:cubicBezTo>
                    <a:pt x="777" y="412"/>
                    <a:pt x="777" y="412"/>
                    <a:pt x="777" y="413"/>
                  </a:cubicBezTo>
                  <a:cubicBezTo>
                    <a:pt x="776" y="414"/>
                    <a:pt x="776" y="416"/>
                    <a:pt x="775" y="416"/>
                  </a:cubicBezTo>
                  <a:cubicBezTo>
                    <a:pt x="773" y="417"/>
                    <a:pt x="773" y="418"/>
                    <a:pt x="773" y="420"/>
                  </a:cubicBezTo>
                  <a:cubicBezTo>
                    <a:pt x="772" y="421"/>
                    <a:pt x="772" y="423"/>
                    <a:pt x="770" y="424"/>
                  </a:cubicBezTo>
                  <a:cubicBezTo>
                    <a:pt x="770" y="424"/>
                    <a:pt x="769" y="424"/>
                    <a:pt x="769" y="425"/>
                  </a:cubicBezTo>
                  <a:cubicBezTo>
                    <a:pt x="767" y="425"/>
                    <a:pt x="764" y="427"/>
                    <a:pt x="764" y="428"/>
                  </a:cubicBezTo>
                  <a:cubicBezTo>
                    <a:pt x="764" y="428"/>
                    <a:pt x="764" y="428"/>
                    <a:pt x="764" y="429"/>
                  </a:cubicBezTo>
                  <a:cubicBezTo>
                    <a:pt x="764" y="430"/>
                    <a:pt x="765" y="431"/>
                    <a:pt x="764" y="432"/>
                  </a:cubicBezTo>
                  <a:cubicBezTo>
                    <a:pt x="764" y="433"/>
                    <a:pt x="763" y="433"/>
                    <a:pt x="760" y="433"/>
                  </a:cubicBezTo>
                  <a:cubicBezTo>
                    <a:pt x="758" y="433"/>
                    <a:pt x="758" y="433"/>
                    <a:pt x="757" y="434"/>
                  </a:cubicBezTo>
                  <a:cubicBezTo>
                    <a:pt x="757" y="435"/>
                    <a:pt x="756" y="436"/>
                    <a:pt x="752" y="436"/>
                  </a:cubicBezTo>
                  <a:cubicBezTo>
                    <a:pt x="749" y="436"/>
                    <a:pt x="748" y="434"/>
                    <a:pt x="747" y="433"/>
                  </a:cubicBezTo>
                  <a:cubicBezTo>
                    <a:pt x="747" y="432"/>
                    <a:pt x="746" y="432"/>
                    <a:pt x="746" y="432"/>
                  </a:cubicBezTo>
                  <a:cubicBezTo>
                    <a:pt x="745" y="432"/>
                    <a:pt x="745" y="432"/>
                    <a:pt x="744" y="432"/>
                  </a:cubicBezTo>
                  <a:cubicBezTo>
                    <a:pt x="741" y="434"/>
                    <a:pt x="739" y="435"/>
                    <a:pt x="738" y="435"/>
                  </a:cubicBezTo>
                  <a:cubicBezTo>
                    <a:pt x="736" y="435"/>
                    <a:pt x="735" y="434"/>
                    <a:pt x="735" y="433"/>
                  </a:cubicBezTo>
                  <a:cubicBezTo>
                    <a:pt x="735" y="431"/>
                    <a:pt x="732" y="429"/>
                    <a:pt x="731" y="429"/>
                  </a:cubicBezTo>
                  <a:cubicBezTo>
                    <a:pt x="729" y="429"/>
                    <a:pt x="729" y="430"/>
                    <a:pt x="728" y="431"/>
                  </a:cubicBezTo>
                  <a:cubicBezTo>
                    <a:pt x="728" y="432"/>
                    <a:pt x="728" y="434"/>
                    <a:pt x="729" y="435"/>
                  </a:cubicBezTo>
                  <a:cubicBezTo>
                    <a:pt x="730" y="437"/>
                    <a:pt x="732" y="437"/>
                    <a:pt x="735" y="436"/>
                  </a:cubicBezTo>
                  <a:cubicBezTo>
                    <a:pt x="736" y="436"/>
                    <a:pt x="736" y="436"/>
                    <a:pt x="737" y="436"/>
                  </a:cubicBezTo>
                  <a:cubicBezTo>
                    <a:pt x="739" y="436"/>
                    <a:pt x="740" y="437"/>
                    <a:pt x="741" y="438"/>
                  </a:cubicBezTo>
                  <a:cubicBezTo>
                    <a:pt x="742" y="439"/>
                    <a:pt x="744" y="440"/>
                    <a:pt x="747" y="440"/>
                  </a:cubicBezTo>
                  <a:cubicBezTo>
                    <a:pt x="749" y="440"/>
                    <a:pt x="752" y="440"/>
                    <a:pt x="754" y="439"/>
                  </a:cubicBezTo>
                  <a:cubicBezTo>
                    <a:pt x="756" y="438"/>
                    <a:pt x="758" y="438"/>
                    <a:pt x="760" y="438"/>
                  </a:cubicBezTo>
                  <a:cubicBezTo>
                    <a:pt x="761" y="438"/>
                    <a:pt x="763" y="438"/>
                    <a:pt x="764" y="439"/>
                  </a:cubicBezTo>
                  <a:cubicBezTo>
                    <a:pt x="766" y="440"/>
                    <a:pt x="770" y="442"/>
                    <a:pt x="773" y="442"/>
                  </a:cubicBezTo>
                  <a:cubicBezTo>
                    <a:pt x="774" y="442"/>
                    <a:pt x="775" y="442"/>
                    <a:pt x="775" y="441"/>
                  </a:cubicBezTo>
                  <a:cubicBezTo>
                    <a:pt x="776" y="441"/>
                    <a:pt x="776" y="440"/>
                    <a:pt x="776" y="439"/>
                  </a:cubicBezTo>
                  <a:cubicBezTo>
                    <a:pt x="776" y="434"/>
                    <a:pt x="781" y="432"/>
                    <a:pt x="787" y="429"/>
                  </a:cubicBezTo>
                  <a:cubicBezTo>
                    <a:pt x="788" y="428"/>
                    <a:pt x="789" y="428"/>
                    <a:pt x="790" y="427"/>
                  </a:cubicBezTo>
                  <a:cubicBezTo>
                    <a:pt x="790" y="427"/>
                    <a:pt x="791" y="426"/>
                    <a:pt x="792" y="426"/>
                  </a:cubicBezTo>
                  <a:cubicBezTo>
                    <a:pt x="797" y="423"/>
                    <a:pt x="801" y="422"/>
                    <a:pt x="800" y="418"/>
                  </a:cubicBezTo>
                  <a:cubicBezTo>
                    <a:pt x="800" y="416"/>
                    <a:pt x="803" y="413"/>
                    <a:pt x="806" y="411"/>
                  </a:cubicBezTo>
                  <a:cubicBezTo>
                    <a:pt x="810" y="407"/>
                    <a:pt x="814" y="404"/>
                    <a:pt x="812" y="401"/>
                  </a:cubicBezTo>
                  <a:cubicBezTo>
                    <a:pt x="812" y="401"/>
                    <a:pt x="812" y="401"/>
                    <a:pt x="812" y="401"/>
                  </a:cubicBezTo>
                  <a:cubicBezTo>
                    <a:pt x="810" y="395"/>
                    <a:pt x="805" y="384"/>
                    <a:pt x="809" y="380"/>
                  </a:cubicBezTo>
                  <a:cubicBezTo>
                    <a:pt x="813" y="377"/>
                    <a:pt x="822" y="376"/>
                    <a:pt x="828" y="375"/>
                  </a:cubicBezTo>
                  <a:cubicBezTo>
                    <a:pt x="830" y="375"/>
                    <a:pt x="831" y="374"/>
                    <a:pt x="832" y="374"/>
                  </a:cubicBezTo>
                  <a:cubicBezTo>
                    <a:pt x="835" y="373"/>
                    <a:pt x="838" y="376"/>
                    <a:pt x="842" y="380"/>
                  </a:cubicBezTo>
                  <a:cubicBezTo>
                    <a:pt x="842" y="381"/>
                    <a:pt x="844" y="382"/>
                    <a:pt x="845" y="383"/>
                  </a:cubicBezTo>
                  <a:cubicBezTo>
                    <a:pt x="847" y="385"/>
                    <a:pt x="850" y="387"/>
                    <a:pt x="849" y="390"/>
                  </a:cubicBezTo>
                  <a:cubicBezTo>
                    <a:pt x="849" y="392"/>
                    <a:pt x="848" y="394"/>
                    <a:pt x="847" y="396"/>
                  </a:cubicBezTo>
                  <a:cubicBezTo>
                    <a:pt x="846" y="398"/>
                    <a:pt x="845" y="400"/>
                    <a:pt x="845" y="400"/>
                  </a:cubicBezTo>
                  <a:cubicBezTo>
                    <a:pt x="846" y="401"/>
                    <a:pt x="846" y="402"/>
                    <a:pt x="847" y="403"/>
                  </a:cubicBezTo>
                  <a:cubicBezTo>
                    <a:pt x="848" y="405"/>
                    <a:pt x="849" y="408"/>
                    <a:pt x="852" y="409"/>
                  </a:cubicBezTo>
                  <a:cubicBezTo>
                    <a:pt x="855" y="410"/>
                    <a:pt x="861" y="411"/>
                    <a:pt x="865" y="411"/>
                  </a:cubicBezTo>
                  <a:cubicBezTo>
                    <a:pt x="867" y="411"/>
                    <a:pt x="868" y="411"/>
                    <a:pt x="868" y="411"/>
                  </a:cubicBezTo>
                  <a:cubicBezTo>
                    <a:pt x="867" y="411"/>
                    <a:pt x="865" y="410"/>
                    <a:pt x="863" y="409"/>
                  </a:cubicBezTo>
                  <a:cubicBezTo>
                    <a:pt x="858" y="407"/>
                    <a:pt x="851" y="404"/>
                    <a:pt x="851" y="400"/>
                  </a:cubicBezTo>
                  <a:cubicBezTo>
                    <a:pt x="851" y="396"/>
                    <a:pt x="853" y="395"/>
                    <a:pt x="856" y="393"/>
                  </a:cubicBezTo>
                  <a:cubicBezTo>
                    <a:pt x="858" y="392"/>
                    <a:pt x="859" y="391"/>
                    <a:pt x="858" y="389"/>
                  </a:cubicBezTo>
                  <a:cubicBezTo>
                    <a:pt x="856" y="387"/>
                    <a:pt x="856" y="386"/>
                    <a:pt x="856" y="384"/>
                  </a:cubicBezTo>
                  <a:cubicBezTo>
                    <a:pt x="856" y="382"/>
                    <a:pt x="855" y="380"/>
                    <a:pt x="852" y="378"/>
                  </a:cubicBezTo>
                  <a:cubicBezTo>
                    <a:pt x="852" y="378"/>
                    <a:pt x="851" y="377"/>
                    <a:pt x="850" y="377"/>
                  </a:cubicBezTo>
                  <a:cubicBezTo>
                    <a:pt x="844" y="374"/>
                    <a:pt x="834" y="369"/>
                    <a:pt x="827" y="369"/>
                  </a:cubicBezTo>
                  <a:cubicBezTo>
                    <a:pt x="826" y="369"/>
                    <a:pt x="825" y="369"/>
                    <a:pt x="825" y="369"/>
                  </a:cubicBezTo>
                  <a:cubicBezTo>
                    <a:pt x="822" y="369"/>
                    <a:pt x="819" y="370"/>
                    <a:pt x="816" y="371"/>
                  </a:cubicBezTo>
                  <a:cubicBezTo>
                    <a:pt x="813" y="372"/>
                    <a:pt x="810" y="373"/>
                    <a:pt x="807" y="372"/>
                  </a:cubicBezTo>
                  <a:cubicBezTo>
                    <a:pt x="807" y="372"/>
                    <a:pt x="806" y="372"/>
                    <a:pt x="805" y="372"/>
                  </a:cubicBezTo>
                  <a:cubicBezTo>
                    <a:pt x="804" y="372"/>
                    <a:pt x="804" y="372"/>
                    <a:pt x="803" y="372"/>
                  </a:cubicBezTo>
                  <a:cubicBezTo>
                    <a:pt x="802" y="372"/>
                    <a:pt x="801" y="372"/>
                    <a:pt x="800" y="372"/>
                  </a:cubicBezTo>
                  <a:cubicBezTo>
                    <a:pt x="799" y="372"/>
                    <a:pt x="797" y="372"/>
                    <a:pt x="796" y="370"/>
                  </a:cubicBezTo>
                  <a:cubicBezTo>
                    <a:pt x="795" y="368"/>
                    <a:pt x="795" y="366"/>
                    <a:pt x="795" y="364"/>
                  </a:cubicBezTo>
                  <a:cubicBezTo>
                    <a:pt x="796" y="362"/>
                    <a:pt x="796" y="359"/>
                    <a:pt x="795" y="356"/>
                  </a:cubicBezTo>
                  <a:cubicBezTo>
                    <a:pt x="794" y="351"/>
                    <a:pt x="798" y="345"/>
                    <a:pt x="800" y="340"/>
                  </a:cubicBezTo>
                  <a:cubicBezTo>
                    <a:pt x="803" y="336"/>
                    <a:pt x="805" y="333"/>
                    <a:pt x="804" y="331"/>
                  </a:cubicBezTo>
                  <a:cubicBezTo>
                    <a:pt x="802" y="327"/>
                    <a:pt x="790" y="314"/>
                    <a:pt x="788" y="311"/>
                  </a:cubicBezTo>
                  <a:cubicBezTo>
                    <a:pt x="787" y="311"/>
                    <a:pt x="787" y="310"/>
                    <a:pt x="787" y="310"/>
                  </a:cubicBezTo>
                  <a:cubicBezTo>
                    <a:pt x="787" y="308"/>
                    <a:pt x="788" y="307"/>
                    <a:pt x="790" y="306"/>
                  </a:cubicBezTo>
                  <a:cubicBezTo>
                    <a:pt x="791" y="305"/>
                    <a:pt x="793" y="303"/>
                    <a:pt x="793" y="302"/>
                  </a:cubicBezTo>
                  <a:cubicBezTo>
                    <a:pt x="793" y="300"/>
                    <a:pt x="796" y="299"/>
                    <a:pt x="800" y="298"/>
                  </a:cubicBezTo>
                  <a:cubicBezTo>
                    <a:pt x="804" y="296"/>
                    <a:pt x="809" y="295"/>
                    <a:pt x="811" y="293"/>
                  </a:cubicBezTo>
                  <a:cubicBezTo>
                    <a:pt x="815" y="287"/>
                    <a:pt x="815" y="279"/>
                    <a:pt x="814" y="278"/>
                  </a:cubicBezTo>
                  <a:cubicBezTo>
                    <a:pt x="813" y="277"/>
                    <a:pt x="813" y="274"/>
                    <a:pt x="814" y="273"/>
                  </a:cubicBezTo>
                  <a:cubicBezTo>
                    <a:pt x="814" y="272"/>
                    <a:pt x="815" y="271"/>
                    <a:pt x="817" y="271"/>
                  </a:cubicBezTo>
                  <a:cubicBezTo>
                    <a:pt x="817" y="271"/>
                    <a:pt x="818" y="271"/>
                    <a:pt x="819" y="271"/>
                  </a:cubicBezTo>
                  <a:cubicBezTo>
                    <a:pt x="822" y="272"/>
                    <a:pt x="824" y="275"/>
                    <a:pt x="826" y="279"/>
                  </a:cubicBezTo>
                  <a:cubicBezTo>
                    <a:pt x="827" y="283"/>
                    <a:pt x="827" y="287"/>
                    <a:pt x="825" y="290"/>
                  </a:cubicBezTo>
                  <a:cubicBezTo>
                    <a:pt x="821" y="297"/>
                    <a:pt x="819" y="302"/>
                    <a:pt x="822" y="304"/>
                  </a:cubicBezTo>
                  <a:cubicBezTo>
                    <a:pt x="823" y="305"/>
                    <a:pt x="823" y="307"/>
                    <a:pt x="822" y="309"/>
                  </a:cubicBezTo>
                  <a:cubicBezTo>
                    <a:pt x="822" y="310"/>
                    <a:pt x="821" y="312"/>
                    <a:pt x="823" y="313"/>
                  </a:cubicBezTo>
                  <a:cubicBezTo>
                    <a:pt x="824" y="315"/>
                    <a:pt x="827" y="315"/>
                    <a:pt x="829" y="315"/>
                  </a:cubicBezTo>
                  <a:cubicBezTo>
                    <a:pt x="830" y="315"/>
                    <a:pt x="832" y="315"/>
                    <a:pt x="834" y="314"/>
                  </a:cubicBezTo>
                  <a:cubicBezTo>
                    <a:pt x="836" y="314"/>
                    <a:pt x="838" y="314"/>
                    <a:pt x="840" y="314"/>
                  </a:cubicBezTo>
                  <a:cubicBezTo>
                    <a:pt x="843" y="314"/>
                    <a:pt x="846" y="315"/>
                    <a:pt x="847" y="315"/>
                  </a:cubicBezTo>
                  <a:cubicBezTo>
                    <a:pt x="849" y="316"/>
                    <a:pt x="851" y="318"/>
                    <a:pt x="853" y="319"/>
                  </a:cubicBezTo>
                  <a:cubicBezTo>
                    <a:pt x="857" y="321"/>
                    <a:pt x="861" y="324"/>
                    <a:pt x="864" y="324"/>
                  </a:cubicBezTo>
                  <a:cubicBezTo>
                    <a:pt x="864" y="324"/>
                    <a:pt x="864" y="324"/>
                    <a:pt x="864" y="324"/>
                  </a:cubicBezTo>
                  <a:cubicBezTo>
                    <a:pt x="866" y="324"/>
                    <a:pt x="868" y="323"/>
                    <a:pt x="868" y="322"/>
                  </a:cubicBezTo>
                  <a:cubicBezTo>
                    <a:pt x="868" y="322"/>
                    <a:pt x="868" y="321"/>
                    <a:pt x="866" y="321"/>
                  </a:cubicBezTo>
                  <a:cubicBezTo>
                    <a:pt x="864" y="320"/>
                    <a:pt x="863" y="319"/>
                    <a:pt x="862" y="318"/>
                  </a:cubicBezTo>
                  <a:cubicBezTo>
                    <a:pt x="861" y="316"/>
                    <a:pt x="860" y="314"/>
                    <a:pt x="853" y="313"/>
                  </a:cubicBezTo>
                  <a:cubicBezTo>
                    <a:pt x="843" y="312"/>
                    <a:pt x="835" y="305"/>
                    <a:pt x="833" y="301"/>
                  </a:cubicBezTo>
                  <a:cubicBezTo>
                    <a:pt x="833" y="300"/>
                    <a:pt x="833" y="298"/>
                    <a:pt x="833" y="298"/>
                  </a:cubicBezTo>
                  <a:cubicBezTo>
                    <a:pt x="835" y="295"/>
                    <a:pt x="839" y="292"/>
                    <a:pt x="843" y="292"/>
                  </a:cubicBezTo>
                  <a:cubicBezTo>
                    <a:pt x="845" y="292"/>
                    <a:pt x="847" y="293"/>
                    <a:pt x="849" y="294"/>
                  </a:cubicBezTo>
                  <a:cubicBezTo>
                    <a:pt x="851" y="295"/>
                    <a:pt x="854" y="296"/>
                    <a:pt x="857" y="296"/>
                  </a:cubicBezTo>
                  <a:cubicBezTo>
                    <a:pt x="860" y="296"/>
                    <a:pt x="862" y="295"/>
                    <a:pt x="863" y="294"/>
                  </a:cubicBezTo>
                  <a:cubicBezTo>
                    <a:pt x="863" y="294"/>
                    <a:pt x="862" y="293"/>
                    <a:pt x="861" y="293"/>
                  </a:cubicBezTo>
                  <a:cubicBezTo>
                    <a:pt x="859" y="292"/>
                    <a:pt x="857" y="291"/>
                    <a:pt x="855" y="291"/>
                  </a:cubicBezTo>
                  <a:cubicBezTo>
                    <a:pt x="853" y="290"/>
                    <a:pt x="852" y="290"/>
                    <a:pt x="852" y="289"/>
                  </a:cubicBezTo>
                  <a:cubicBezTo>
                    <a:pt x="852" y="289"/>
                    <a:pt x="852" y="288"/>
                    <a:pt x="853" y="287"/>
                  </a:cubicBezTo>
                  <a:cubicBezTo>
                    <a:pt x="854" y="287"/>
                    <a:pt x="854" y="286"/>
                    <a:pt x="854" y="286"/>
                  </a:cubicBezTo>
                  <a:cubicBezTo>
                    <a:pt x="854" y="286"/>
                    <a:pt x="853" y="286"/>
                    <a:pt x="851" y="286"/>
                  </a:cubicBezTo>
                  <a:cubicBezTo>
                    <a:pt x="850" y="286"/>
                    <a:pt x="850" y="286"/>
                    <a:pt x="849" y="286"/>
                  </a:cubicBezTo>
                  <a:cubicBezTo>
                    <a:pt x="849" y="286"/>
                    <a:pt x="848" y="286"/>
                    <a:pt x="847" y="286"/>
                  </a:cubicBezTo>
                  <a:cubicBezTo>
                    <a:pt x="845" y="286"/>
                    <a:pt x="845" y="285"/>
                    <a:pt x="845" y="284"/>
                  </a:cubicBezTo>
                  <a:cubicBezTo>
                    <a:pt x="845" y="282"/>
                    <a:pt x="850" y="278"/>
                    <a:pt x="856" y="278"/>
                  </a:cubicBezTo>
                  <a:cubicBezTo>
                    <a:pt x="857" y="278"/>
                    <a:pt x="857" y="278"/>
                    <a:pt x="857" y="278"/>
                  </a:cubicBezTo>
                  <a:cubicBezTo>
                    <a:pt x="861" y="278"/>
                    <a:pt x="862" y="280"/>
                    <a:pt x="863" y="281"/>
                  </a:cubicBezTo>
                  <a:cubicBezTo>
                    <a:pt x="864" y="282"/>
                    <a:pt x="864" y="283"/>
                    <a:pt x="867" y="283"/>
                  </a:cubicBezTo>
                  <a:cubicBezTo>
                    <a:pt x="873" y="283"/>
                    <a:pt x="892" y="285"/>
                    <a:pt x="901" y="292"/>
                  </a:cubicBezTo>
                  <a:cubicBezTo>
                    <a:pt x="906" y="296"/>
                    <a:pt x="915" y="302"/>
                    <a:pt x="921" y="302"/>
                  </a:cubicBezTo>
                  <a:cubicBezTo>
                    <a:pt x="922" y="302"/>
                    <a:pt x="924" y="301"/>
                    <a:pt x="925" y="300"/>
                  </a:cubicBezTo>
                  <a:cubicBezTo>
                    <a:pt x="926" y="298"/>
                    <a:pt x="926" y="296"/>
                    <a:pt x="925" y="293"/>
                  </a:cubicBezTo>
                  <a:cubicBezTo>
                    <a:pt x="924" y="290"/>
                    <a:pt x="920" y="287"/>
                    <a:pt x="917" y="286"/>
                  </a:cubicBezTo>
                  <a:cubicBezTo>
                    <a:pt x="910" y="286"/>
                    <a:pt x="896" y="279"/>
                    <a:pt x="896" y="275"/>
                  </a:cubicBezTo>
                  <a:cubicBezTo>
                    <a:pt x="896" y="274"/>
                    <a:pt x="897" y="273"/>
                    <a:pt x="897" y="272"/>
                  </a:cubicBezTo>
                  <a:cubicBezTo>
                    <a:pt x="899" y="270"/>
                    <a:pt x="899" y="269"/>
                    <a:pt x="896" y="265"/>
                  </a:cubicBezTo>
                  <a:cubicBezTo>
                    <a:pt x="894" y="264"/>
                    <a:pt x="894" y="261"/>
                    <a:pt x="894" y="258"/>
                  </a:cubicBezTo>
                  <a:cubicBezTo>
                    <a:pt x="895" y="255"/>
                    <a:pt x="898" y="251"/>
                    <a:pt x="901" y="250"/>
                  </a:cubicBezTo>
                  <a:cubicBezTo>
                    <a:pt x="907" y="248"/>
                    <a:pt x="928" y="247"/>
                    <a:pt x="939" y="247"/>
                  </a:cubicBezTo>
                  <a:cubicBezTo>
                    <a:pt x="939" y="247"/>
                    <a:pt x="939" y="247"/>
                    <a:pt x="939" y="247"/>
                  </a:cubicBezTo>
                  <a:cubicBezTo>
                    <a:pt x="943" y="247"/>
                    <a:pt x="947" y="246"/>
                    <a:pt x="950" y="246"/>
                  </a:cubicBezTo>
                  <a:cubicBezTo>
                    <a:pt x="953" y="245"/>
                    <a:pt x="955" y="245"/>
                    <a:pt x="957" y="245"/>
                  </a:cubicBezTo>
                  <a:cubicBezTo>
                    <a:pt x="959" y="245"/>
                    <a:pt x="960" y="245"/>
                    <a:pt x="961" y="246"/>
                  </a:cubicBezTo>
                  <a:cubicBezTo>
                    <a:pt x="962" y="247"/>
                    <a:pt x="963" y="247"/>
                    <a:pt x="963" y="247"/>
                  </a:cubicBezTo>
                  <a:cubicBezTo>
                    <a:pt x="964" y="247"/>
                    <a:pt x="966" y="246"/>
                    <a:pt x="967" y="244"/>
                  </a:cubicBezTo>
                  <a:cubicBezTo>
                    <a:pt x="967" y="244"/>
                    <a:pt x="967" y="244"/>
                    <a:pt x="967" y="244"/>
                  </a:cubicBezTo>
                  <a:cubicBezTo>
                    <a:pt x="969" y="242"/>
                    <a:pt x="973" y="242"/>
                    <a:pt x="974" y="242"/>
                  </a:cubicBezTo>
                  <a:cubicBezTo>
                    <a:pt x="977" y="242"/>
                    <a:pt x="982" y="243"/>
                    <a:pt x="982" y="245"/>
                  </a:cubicBezTo>
                  <a:cubicBezTo>
                    <a:pt x="982" y="245"/>
                    <a:pt x="982" y="245"/>
                    <a:pt x="982" y="245"/>
                  </a:cubicBezTo>
                  <a:cubicBezTo>
                    <a:pt x="983" y="246"/>
                    <a:pt x="984" y="246"/>
                    <a:pt x="985" y="245"/>
                  </a:cubicBezTo>
                  <a:cubicBezTo>
                    <a:pt x="985" y="245"/>
                    <a:pt x="985" y="244"/>
                    <a:pt x="985" y="243"/>
                  </a:cubicBezTo>
                  <a:cubicBezTo>
                    <a:pt x="985" y="242"/>
                    <a:pt x="986" y="241"/>
                    <a:pt x="986" y="240"/>
                  </a:cubicBezTo>
                  <a:cubicBezTo>
                    <a:pt x="987" y="239"/>
                    <a:pt x="988" y="239"/>
                    <a:pt x="987" y="238"/>
                  </a:cubicBezTo>
                  <a:cubicBezTo>
                    <a:pt x="987" y="237"/>
                    <a:pt x="986" y="237"/>
                    <a:pt x="986" y="237"/>
                  </a:cubicBezTo>
                  <a:cubicBezTo>
                    <a:pt x="984" y="235"/>
                    <a:pt x="984" y="234"/>
                    <a:pt x="984" y="233"/>
                  </a:cubicBezTo>
                  <a:cubicBezTo>
                    <a:pt x="984" y="232"/>
                    <a:pt x="983" y="232"/>
                    <a:pt x="982" y="232"/>
                  </a:cubicBezTo>
                  <a:cubicBezTo>
                    <a:pt x="978" y="231"/>
                    <a:pt x="976" y="231"/>
                    <a:pt x="975" y="229"/>
                  </a:cubicBezTo>
                  <a:cubicBezTo>
                    <a:pt x="975" y="229"/>
                    <a:pt x="975" y="228"/>
                    <a:pt x="976" y="227"/>
                  </a:cubicBezTo>
                  <a:cubicBezTo>
                    <a:pt x="976" y="227"/>
                    <a:pt x="977" y="226"/>
                    <a:pt x="978" y="226"/>
                  </a:cubicBezTo>
                  <a:cubicBezTo>
                    <a:pt x="980" y="226"/>
                    <a:pt x="981" y="227"/>
                    <a:pt x="983" y="227"/>
                  </a:cubicBezTo>
                  <a:cubicBezTo>
                    <a:pt x="984" y="227"/>
                    <a:pt x="985" y="227"/>
                    <a:pt x="986" y="227"/>
                  </a:cubicBezTo>
                  <a:cubicBezTo>
                    <a:pt x="986" y="227"/>
                    <a:pt x="986" y="227"/>
                    <a:pt x="987" y="227"/>
                  </a:cubicBezTo>
                  <a:cubicBezTo>
                    <a:pt x="987" y="227"/>
                    <a:pt x="987" y="227"/>
                    <a:pt x="987" y="227"/>
                  </a:cubicBezTo>
                  <a:cubicBezTo>
                    <a:pt x="986" y="225"/>
                    <a:pt x="985" y="222"/>
                    <a:pt x="981" y="222"/>
                  </a:cubicBezTo>
                  <a:cubicBezTo>
                    <a:pt x="981" y="222"/>
                    <a:pt x="981" y="222"/>
                    <a:pt x="981" y="222"/>
                  </a:cubicBezTo>
                  <a:cubicBezTo>
                    <a:pt x="978" y="223"/>
                    <a:pt x="973" y="221"/>
                    <a:pt x="972" y="219"/>
                  </a:cubicBezTo>
                  <a:cubicBezTo>
                    <a:pt x="972" y="218"/>
                    <a:pt x="972" y="218"/>
                    <a:pt x="972" y="217"/>
                  </a:cubicBezTo>
                  <a:cubicBezTo>
                    <a:pt x="973" y="217"/>
                    <a:pt x="973" y="216"/>
                    <a:pt x="974" y="216"/>
                  </a:cubicBezTo>
                  <a:cubicBezTo>
                    <a:pt x="976" y="216"/>
                    <a:pt x="977" y="217"/>
                    <a:pt x="979" y="217"/>
                  </a:cubicBezTo>
                  <a:cubicBezTo>
                    <a:pt x="981" y="218"/>
                    <a:pt x="982" y="218"/>
                    <a:pt x="983" y="218"/>
                  </a:cubicBezTo>
                  <a:cubicBezTo>
                    <a:pt x="984" y="218"/>
                    <a:pt x="984" y="218"/>
                    <a:pt x="985" y="218"/>
                  </a:cubicBezTo>
                  <a:cubicBezTo>
                    <a:pt x="985" y="217"/>
                    <a:pt x="986" y="216"/>
                    <a:pt x="985" y="215"/>
                  </a:cubicBezTo>
                  <a:cubicBezTo>
                    <a:pt x="985" y="214"/>
                    <a:pt x="983" y="213"/>
                    <a:pt x="981" y="213"/>
                  </a:cubicBezTo>
                  <a:cubicBezTo>
                    <a:pt x="980" y="213"/>
                    <a:pt x="980" y="213"/>
                    <a:pt x="980" y="213"/>
                  </a:cubicBezTo>
                  <a:cubicBezTo>
                    <a:pt x="980" y="213"/>
                    <a:pt x="980" y="213"/>
                    <a:pt x="980" y="213"/>
                  </a:cubicBezTo>
                  <a:cubicBezTo>
                    <a:pt x="980" y="211"/>
                    <a:pt x="984" y="209"/>
                    <a:pt x="986" y="209"/>
                  </a:cubicBezTo>
                  <a:cubicBezTo>
                    <a:pt x="987" y="209"/>
                    <a:pt x="987" y="209"/>
                    <a:pt x="987" y="209"/>
                  </a:cubicBezTo>
                  <a:cubicBezTo>
                    <a:pt x="987" y="209"/>
                    <a:pt x="987" y="209"/>
                    <a:pt x="987" y="209"/>
                  </a:cubicBezTo>
                  <a:cubicBezTo>
                    <a:pt x="989" y="209"/>
                    <a:pt x="990" y="208"/>
                    <a:pt x="990" y="207"/>
                  </a:cubicBezTo>
                  <a:cubicBezTo>
                    <a:pt x="990" y="206"/>
                    <a:pt x="989" y="206"/>
                    <a:pt x="989" y="206"/>
                  </a:cubicBezTo>
                  <a:cubicBezTo>
                    <a:pt x="987" y="206"/>
                    <a:pt x="987" y="205"/>
                    <a:pt x="987" y="205"/>
                  </a:cubicBezTo>
                  <a:cubicBezTo>
                    <a:pt x="987" y="204"/>
                    <a:pt x="990" y="202"/>
                    <a:pt x="992" y="202"/>
                  </a:cubicBezTo>
                  <a:cubicBezTo>
                    <a:pt x="993" y="202"/>
                    <a:pt x="994" y="203"/>
                    <a:pt x="995" y="204"/>
                  </a:cubicBezTo>
                  <a:cubicBezTo>
                    <a:pt x="996" y="205"/>
                    <a:pt x="997" y="205"/>
                    <a:pt x="999" y="205"/>
                  </a:cubicBezTo>
                  <a:cubicBezTo>
                    <a:pt x="1002" y="205"/>
                    <a:pt x="1004" y="204"/>
                    <a:pt x="1005" y="202"/>
                  </a:cubicBezTo>
                  <a:cubicBezTo>
                    <a:pt x="1008" y="198"/>
                    <a:pt x="1011" y="198"/>
                    <a:pt x="1017" y="197"/>
                  </a:cubicBezTo>
                  <a:cubicBezTo>
                    <a:pt x="1018" y="197"/>
                    <a:pt x="1019" y="196"/>
                    <a:pt x="1019" y="196"/>
                  </a:cubicBezTo>
                  <a:cubicBezTo>
                    <a:pt x="1023" y="196"/>
                    <a:pt x="1024" y="194"/>
                    <a:pt x="1025" y="193"/>
                  </a:cubicBezTo>
                  <a:cubicBezTo>
                    <a:pt x="1026" y="192"/>
                    <a:pt x="1028" y="190"/>
                    <a:pt x="1033" y="190"/>
                  </a:cubicBezTo>
                  <a:cubicBezTo>
                    <a:pt x="1035" y="190"/>
                    <a:pt x="1035" y="190"/>
                    <a:pt x="1035" y="190"/>
                  </a:cubicBezTo>
                  <a:cubicBezTo>
                    <a:pt x="1043" y="190"/>
                    <a:pt x="1050" y="189"/>
                    <a:pt x="1051" y="188"/>
                  </a:cubicBezTo>
                  <a:cubicBezTo>
                    <a:pt x="1051" y="186"/>
                    <a:pt x="1056" y="186"/>
                    <a:pt x="1066" y="185"/>
                  </a:cubicBezTo>
                  <a:cubicBezTo>
                    <a:pt x="1069" y="185"/>
                    <a:pt x="1074" y="184"/>
                    <a:pt x="1075" y="184"/>
                  </a:cubicBezTo>
                  <a:cubicBezTo>
                    <a:pt x="1074" y="184"/>
                    <a:pt x="1073" y="183"/>
                    <a:pt x="1072" y="183"/>
                  </a:cubicBezTo>
                  <a:cubicBezTo>
                    <a:pt x="1069" y="182"/>
                    <a:pt x="1067" y="181"/>
                    <a:pt x="1066" y="180"/>
                  </a:cubicBezTo>
                  <a:cubicBezTo>
                    <a:pt x="1066" y="179"/>
                    <a:pt x="1066" y="178"/>
                    <a:pt x="1066" y="178"/>
                  </a:cubicBezTo>
                  <a:cubicBezTo>
                    <a:pt x="1067" y="176"/>
                    <a:pt x="1069" y="176"/>
                    <a:pt x="1070" y="176"/>
                  </a:cubicBezTo>
                  <a:cubicBezTo>
                    <a:pt x="1071" y="176"/>
                    <a:pt x="1072" y="176"/>
                    <a:pt x="1073" y="176"/>
                  </a:cubicBezTo>
                  <a:cubicBezTo>
                    <a:pt x="1075" y="177"/>
                    <a:pt x="1076" y="177"/>
                    <a:pt x="1077" y="177"/>
                  </a:cubicBezTo>
                  <a:cubicBezTo>
                    <a:pt x="1079" y="177"/>
                    <a:pt x="1080" y="177"/>
                    <a:pt x="1080" y="176"/>
                  </a:cubicBezTo>
                  <a:cubicBezTo>
                    <a:pt x="1084" y="175"/>
                    <a:pt x="1087" y="173"/>
                    <a:pt x="1089" y="172"/>
                  </a:cubicBezTo>
                  <a:cubicBezTo>
                    <a:pt x="1090" y="172"/>
                    <a:pt x="1090" y="172"/>
                    <a:pt x="1090" y="172"/>
                  </a:cubicBezTo>
                  <a:cubicBezTo>
                    <a:pt x="1090" y="171"/>
                    <a:pt x="1090" y="171"/>
                    <a:pt x="1091" y="171"/>
                  </a:cubicBezTo>
                  <a:cubicBezTo>
                    <a:pt x="1092" y="171"/>
                    <a:pt x="1093" y="172"/>
                    <a:pt x="1095" y="173"/>
                  </a:cubicBezTo>
                  <a:cubicBezTo>
                    <a:pt x="1096" y="174"/>
                    <a:pt x="1097" y="174"/>
                    <a:pt x="1098" y="174"/>
                  </a:cubicBezTo>
                  <a:cubicBezTo>
                    <a:pt x="1099" y="174"/>
                    <a:pt x="1099" y="174"/>
                    <a:pt x="1099" y="173"/>
                  </a:cubicBezTo>
                  <a:cubicBezTo>
                    <a:pt x="1100" y="170"/>
                    <a:pt x="1106" y="168"/>
                    <a:pt x="1110" y="168"/>
                  </a:cubicBezTo>
                  <a:cubicBezTo>
                    <a:pt x="1111" y="168"/>
                    <a:pt x="1113" y="169"/>
                    <a:pt x="1114" y="169"/>
                  </a:cubicBezTo>
                  <a:cubicBezTo>
                    <a:pt x="1114" y="170"/>
                    <a:pt x="1114" y="170"/>
                    <a:pt x="1114" y="171"/>
                  </a:cubicBezTo>
                  <a:cubicBezTo>
                    <a:pt x="1114" y="172"/>
                    <a:pt x="1113" y="174"/>
                    <a:pt x="1111" y="175"/>
                  </a:cubicBezTo>
                  <a:cubicBezTo>
                    <a:pt x="1111" y="176"/>
                    <a:pt x="1109" y="177"/>
                    <a:pt x="1109" y="177"/>
                  </a:cubicBezTo>
                  <a:cubicBezTo>
                    <a:pt x="1109" y="177"/>
                    <a:pt x="1109" y="177"/>
                    <a:pt x="1110" y="178"/>
                  </a:cubicBezTo>
                  <a:cubicBezTo>
                    <a:pt x="1111" y="178"/>
                    <a:pt x="1113" y="178"/>
                    <a:pt x="1115" y="177"/>
                  </a:cubicBezTo>
                  <a:cubicBezTo>
                    <a:pt x="1117" y="177"/>
                    <a:pt x="1118" y="177"/>
                    <a:pt x="1119" y="177"/>
                  </a:cubicBezTo>
                  <a:cubicBezTo>
                    <a:pt x="1120" y="177"/>
                    <a:pt x="1121" y="178"/>
                    <a:pt x="1123" y="178"/>
                  </a:cubicBezTo>
                  <a:cubicBezTo>
                    <a:pt x="1125" y="178"/>
                    <a:pt x="1127" y="177"/>
                    <a:pt x="1128" y="175"/>
                  </a:cubicBezTo>
                  <a:cubicBezTo>
                    <a:pt x="1129" y="172"/>
                    <a:pt x="1133" y="171"/>
                    <a:pt x="1137" y="171"/>
                  </a:cubicBezTo>
                  <a:cubicBezTo>
                    <a:pt x="1138" y="171"/>
                    <a:pt x="1140" y="172"/>
                    <a:pt x="1141" y="172"/>
                  </a:cubicBezTo>
                  <a:cubicBezTo>
                    <a:pt x="1144" y="174"/>
                    <a:pt x="1148" y="175"/>
                    <a:pt x="1150" y="175"/>
                  </a:cubicBezTo>
                  <a:cubicBezTo>
                    <a:pt x="1151" y="175"/>
                    <a:pt x="1151" y="175"/>
                    <a:pt x="1152" y="175"/>
                  </a:cubicBezTo>
                  <a:cubicBezTo>
                    <a:pt x="1152" y="174"/>
                    <a:pt x="1149" y="173"/>
                    <a:pt x="1148" y="173"/>
                  </a:cubicBezTo>
                  <a:cubicBezTo>
                    <a:pt x="1145" y="171"/>
                    <a:pt x="1142" y="170"/>
                    <a:pt x="1142" y="168"/>
                  </a:cubicBezTo>
                  <a:cubicBezTo>
                    <a:pt x="1142" y="167"/>
                    <a:pt x="1142" y="167"/>
                    <a:pt x="1143" y="166"/>
                  </a:cubicBezTo>
                  <a:cubicBezTo>
                    <a:pt x="1145" y="164"/>
                    <a:pt x="1155" y="164"/>
                    <a:pt x="1158" y="164"/>
                  </a:cubicBezTo>
                  <a:cubicBezTo>
                    <a:pt x="1161" y="164"/>
                    <a:pt x="1163" y="164"/>
                    <a:pt x="1165" y="164"/>
                  </a:cubicBezTo>
                  <a:cubicBezTo>
                    <a:pt x="1168" y="165"/>
                    <a:pt x="1171" y="164"/>
                    <a:pt x="1172" y="163"/>
                  </a:cubicBezTo>
                  <a:cubicBezTo>
                    <a:pt x="1172" y="163"/>
                    <a:pt x="1172" y="163"/>
                    <a:pt x="1172" y="162"/>
                  </a:cubicBezTo>
                  <a:cubicBezTo>
                    <a:pt x="1172" y="161"/>
                    <a:pt x="1172" y="160"/>
                    <a:pt x="1172" y="159"/>
                  </a:cubicBezTo>
                  <a:cubicBezTo>
                    <a:pt x="1172" y="158"/>
                    <a:pt x="1173" y="157"/>
                    <a:pt x="1170" y="156"/>
                  </a:cubicBezTo>
                  <a:cubicBezTo>
                    <a:pt x="1169" y="156"/>
                    <a:pt x="1168" y="155"/>
                    <a:pt x="1168" y="155"/>
                  </a:cubicBezTo>
                  <a:cubicBezTo>
                    <a:pt x="1168" y="152"/>
                    <a:pt x="1176" y="144"/>
                    <a:pt x="1180" y="143"/>
                  </a:cubicBezTo>
                  <a:cubicBezTo>
                    <a:pt x="1182" y="142"/>
                    <a:pt x="1183" y="140"/>
                    <a:pt x="1184" y="138"/>
                  </a:cubicBezTo>
                  <a:cubicBezTo>
                    <a:pt x="1187" y="135"/>
                    <a:pt x="1190" y="132"/>
                    <a:pt x="1196" y="130"/>
                  </a:cubicBezTo>
                  <a:cubicBezTo>
                    <a:pt x="1200" y="130"/>
                    <a:pt x="1204" y="129"/>
                    <a:pt x="1206" y="128"/>
                  </a:cubicBezTo>
                  <a:cubicBezTo>
                    <a:pt x="1210" y="127"/>
                    <a:pt x="1213" y="126"/>
                    <a:pt x="1215" y="126"/>
                  </a:cubicBezTo>
                  <a:cubicBezTo>
                    <a:pt x="1219" y="127"/>
                    <a:pt x="1224" y="128"/>
                    <a:pt x="1228" y="129"/>
                  </a:cubicBezTo>
                  <a:cubicBezTo>
                    <a:pt x="1229" y="130"/>
                    <a:pt x="1230" y="130"/>
                    <a:pt x="1231" y="130"/>
                  </a:cubicBezTo>
                  <a:cubicBezTo>
                    <a:pt x="1233" y="131"/>
                    <a:pt x="1234" y="131"/>
                    <a:pt x="1236" y="131"/>
                  </a:cubicBezTo>
                  <a:cubicBezTo>
                    <a:pt x="1239" y="131"/>
                    <a:pt x="1242" y="131"/>
                    <a:pt x="1243" y="133"/>
                  </a:cubicBezTo>
                  <a:cubicBezTo>
                    <a:pt x="1244" y="135"/>
                    <a:pt x="1245" y="137"/>
                    <a:pt x="1245" y="138"/>
                  </a:cubicBezTo>
                  <a:cubicBezTo>
                    <a:pt x="1245" y="139"/>
                    <a:pt x="1243" y="139"/>
                    <a:pt x="1241" y="140"/>
                  </a:cubicBezTo>
                  <a:cubicBezTo>
                    <a:pt x="1239" y="140"/>
                    <a:pt x="1237" y="141"/>
                    <a:pt x="1235" y="142"/>
                  </a:cubicBezTo>
                  <a:cubicBezTo>
                    <a:pt x="1232" y="144"/>
                    <a:pt x="1230" y="145"/>
                    <a:pt x="1228" y="145"/>
                  </a:cubicBezTo>
                  <a:cubicBezTo>
                    <a:pt x="1226" y="145"/>
                    <a:pt x="1224" y="145"/>
                    <a:pt x="1223" y="146"/>
                  </a:cubicBezTo>
                  <a:cubicBezTo>
                    <a:pt x="1223" y="146"/>
                    <a:pt x="1223" y="146"/>
                    <a:pt x="1223" y="146"/>
                  </a:cubicBezTo>
                  <a:cubicBezTo>
                    <a:pt x="1224" y="146"/>
                    <a:pt x="1224" y="146"/>
                    <a:pt x="1225" y="146"/>
                  </a:cubicBezTo>
                  <a:cubicBezTo>
                    <a:pt x="1225" y="146"/>
                    <a:pt x="1239" y="146"/>
                    <a:pt x="1241" y="149"/>
                  </a:cubicBezTo>
                  <a:cubicBezTo>
                    <a:pt x="1241" y="149"/>
                    <a:pt x="1242" y="149"/>
                    <a:pt x="1249" y="149"/>
                  </a:cubicBezTo>
                  <a:cubicBezTo>
                    <a:pt x="1250" y="149"/>
                    <a:pt x="1252" y="149"/>
                    <a:pt x="1253" y="149"/>
                  </a:cubicBezTo>
                  <a:cubicBezTo>
                    <a:pt x="1255" y="149"/>
                    <a:pt x="1256" y="149"/>
                    <a:pt x="1258" y="149"/>
                  </a:cubicBezTo>
                  <a:cubicBezTo>
                    <a:pt x="1263" y="149"/>
                    <a:pt x="1265" y="149"/>
                    <a:pt x="1265" y="150"/>
                  </a:cubicBezTo>
                  <a:cubicBezTo>
                    <a:pt x="1265" y="151"/>
                    <a:pt x="1263" y="153"/>
                    <a:pt x="1260" y="157"/>
                  </a:cubicBezTo>
                  <a:cubicBezTo>
                    <a:pt x="1257" y="159"/>
                    <a:pt x="1254" y="163"/>
                    <a:pt x="1254" y="164"/>
                  </a:cubicBezTo>
                  <a:cubicBezTo>
                    <a:pt x="1255" y="164"/>
                    <a:pt x="1259" y="164"/>
                    <a:pt x="1264" y="164"/>
                  </a:cubicBezTo>
                  <a:cubicBezTo>
                    <a:pt x="1268" y="164"/>
                    <a:pt x="1271" y="164"/>
                    <a:pt x="1271" y="162"/>
                  </a:cubicBezTo>
                  <a:cubicBezTo>
                    <a:pt x="1272" y="159"/>
                    <a:pt x="1276" y="156"/>
                    <a:pt x="1280" y="156"/>
                  </a:cubicBezTo>
                  <a:cubicBezTo>
                    <a:pt x="1280" y="156"/>
                    <a:pt x="1281" y="156"/>
                    <a:pt x="1282" y="156"/>
                  </a:cubicBezTo>
                  <a:cubicBezTo>
                    <a:pt x="1283" y="157"/>
                    <a:pt x="1287" y="157"/>
                    <a:pt x="1291" y="157"/>
                  </a:cubicBezTo>
                  <a:cubicBezTo>
                    <a:pt x="1296" y="157"/>
                    <a:pt x="1298" y="157"/>
                    <a:pt x="1299" y="156"/>
                  </a:cubicBezTo>
                  <a:cubicBezTo>
                    <a:pt x="1299" y="156"/>
                    <a:pt x="1300" y="156"/>
                    <a:pt x="1301" y="156"/>
                  </a:cubicBezTo>
                  <a:cubicBezTo>
                    <a:pt x="1302" y="156"/>
                    <a:pt x="1303" y="156"/>
                    <a:pt x="1305" y="157"/>
                  </a:cubicBezTo>
                  <a:cubicBezTo>
                    <a:pt x="1306" y="157"/>
                    <a:pt x="1307" y="157"/>
                    <a:pt x="1308" y="157"/>
                  </a:cubicBezTo>
                  <a:cubicBezTo>
                    <a:pt x="1308" y="157"/>
                    <a:pt x="1308" y="157"/>
                    <a:pt x="1308" y="157"/>
                  </a:cubicBezTo>
                  <a:cubicBezTo>
                    <a:pt x="1308" y="156"/>
                    <a:pt x="1310" y="156"/>
                    <a:pt x="1310" y="156"/>
                  </a:cubicBezTo>
                  <a:cubicBezTo>
                    <a:pt x="1314" y="156"/>
                    <a:pt x="1325" y="159"/>
                    <a:pt x="1330" y="162"/>
                  </a:cubicBezTo>
                  <a:cubicBezTo>
                    <a:pt x="1331" y="163"/>
                    <a:pt x="1332" y="163"/>
                    <a:pt x="1333" y="163"/>
                  </a:cubicBezTo>
                  <a:cubicBezTo>
                    <a:pt x="1335" y="163"/>
                    <a:pt x="1336" y="162"/>
                    <a:pt x="1337" y="162"/>
                  </a:cubicBezTo>
                  <a:cubicBezTo>
                    <a:pt x="1339" y="161"/>
                    <a:pt x="1340" y="161"/>
                    <a:pt x="1341" y="161"/>
                  </a:cubicBezTo>
                  <a:cubicBezTo>
                    <a:pt x="1341" y="161"/>
                    <a:pt x="1342" y="161"/>
                    <a:pt x="1342" y="162"/>
                  </a:cubicBezTo>
                  <a:cubicBezTo>
                    <a:pt x="1346" y="165"/>
                    <a:pt x="1346" y="172"/>
                    <a:pt x="1346" y="174"/>
                  </a:cubicBezTo>
                  <a:cubicBezTo>
                    <a:pt x="1346" y="174"/>
                    <a:pt x="1346" y="174"/>
                    <a:pt x="1346" y="175"/>
                  </a:cubicBezTo>
                  <a:cubicBezTo>
                    <a:pt x="1346" y="175"/>
                    <a:pt x="1346" y="175"/>
                    <a:pt x="1346" y="175"/>
                  </a:cubicBezTo>
                  <a:cubicBezTo>
                    <a:pt x="1347" y="175"/>
                    <a:pt x="1347" y="174"/>
                    <a:pt x="1348" y="174"/>
                  </a:cubicBezTo>
                  <a:cubicBezTo>
                    <a:pt x="1349" y="174"/>
                    <a:pt x="1350" y="174"/>
                    <a:pt x="1352" y="174"/>
                  </a:cubicBezTo>
                  <a:cubicBezTo>
                    <a:pt x="1353" y="174"/>
                    <a:pt x="1354" y="174"/>
                    <a:pt x="1355" y="175"/>
                  </a:cubicBezTo>
                  <a:cubicBezTo>
                    <a:pt x="1357" y="177"/>
                    <a:pt x="1356" y="180"/>
                    <a:pt x="1355" y="181"/>
                  </a:cubicBezTo>
                  <a:cubicBezTo>
                    <a:pt x="1355" y="182"/>
                    <a:pt x="1355" y="182"/>
                    <a:pt x="1355" y="182"/>
                  </a:cubicBezTo>
                  <a:cubicBezTo>
                    <a:pt x="1355" y="182"/>
                    <a:pt x="1355" y="182"/>
                    <a:pt x="1356" y="182"/>
                  </a:cubicBezTo>
                  <a:cubicBezTo>
                    <a:pt x="1356" y="182"/>
                    <a:pt x="1356" y="182"/>
                    <a:pt x="1357" y="182"/>
                  </a:cubicBezTo>
                  <a:cubicBezTo>
                    <a:pt x="1359" y="182"/>
                    <a:pt x="1361" y="184"/>
                    <a:pt x="1362" y="186"/>
                  </a:cubicBezTo>
                  <a:cubicBezTo>
                    <a:pt x="1362" y="188"/>
                    <a:pt x="1361" y="189"/>
                    <a:pt x="1360" y="190"/>
                  </a:cubicBezTo>
                  <a:cubicBezTo>
                    <a:pt x="1358" y="190"/>
                    <a:pt x="1356" y="191"/>
                    <a:pt x="1355" y="191"/>
                  </a:cubicBezTo>
                  <a:cubicBezTo>
                    <a:pt x="1354" y="191"/>
                    <a:pt x="1353" y="191"/>
                    <a:pt x="1353" y="191"/>
                  </a:cubicBezTo>
                  <a:cubicBezTo>
                    <a:pt x="1353" y="191"/>
                    <a:pt x="1353" y="191"/>
                    <a:pt x="1353" y="192"/>
                  </a:cubicBezTo>
                  <a:cubicBezTo>
                    <a:pt x="1353" y="193"/>
                    <a:pt x="1354" y="193"/>
                    <a:pt x="1356" y="194"/>
                  </a:cubicBezTo>
                  <a:cubicBezTo>
                    <a:pt x="1357" y="194"/>
                    <a:pt x="1359" y="195"/>
                    <a:pt x="1359" y="197"/>
                  </a:cubicBezTo>
                  <a:cubicBezTo>
                    <a:pt x="1359" y="200"/>
                    <a:pt x="1357" y="204"/>
                    <a:pt x="1352" y="206"/>
                  </a:cubicBezTo>
                  <a:cubicBezTo>
                    <a:pt x="1345" y="209"/>
                    <a:pt x="1336" y="213"/>
                    <a:pt x="1334" y="213"/>
                  </a:cubicBezTo>
                  <a:cubicBezTo>
                    <a:pt x="1334" y="213"/>
                    <a:pt x="1333" y="214"/>
                    <a:pt x="1332" y="216"/>
                  </a:cubicBezTo>
                  <a:cubicBezTo>
                    <a:pt x="1331" y="218"/>
                    <a:pt x="1330" y="221"/>
                    <a:pt x="1328" y="221"/>
                  </a:cubicBezTo>
                  <a:cubicBezTo>
                    <a:pt x="1327" y="221"/>
                    <a:pt x="1327" y="221"/>
                    <a:pt x="1327" y="221"/>
                  </a:cubicBezTo>
                  <a:cubicBezTo>
                    <a:pt x="1323" y="221"/>
                    <a:pt x="1305" y="227"/>
                    <a:pt x="1303" y="230"/>
                  </a:cubicBezTo>
                  <a:cubicBezTo>
                    <a:pt x="1301" y="234"/>
                    <a:pt x="1294" y="237"/>
                    <a:pt x="1289" y="239"/>
                  </a:cubicBezTo>
                  <a:cubicBezTo>
                    <a:pt x="1289" y="240"/>
                    <a:pt x="1288" y="240"/>
                    <a:pt x="1288" y="240"/>
                  </a:cubicBezTo>
                  <a:cubicBezTo>
                    <a:pt x="1286" y="241"/>
                    <a:pt x="1286" y="242"/>
                    <a:pt x="1285" y="243"/>
                  </a:cubicBezTo>
                  <a:cubicBezTo>
                    <a:pt x="1283" y="245"/>
                    <a:pt x="1281" y="247"/>
                    <a:pt x="1276" y="248"/>
                  </a:cubicBezTo>
                  <a:cubicBezTo>
                    <a:pt x="1274" y="248"/>
                    <a:pt x="1273" y="248"/>
                    <a:pt x="1271" y="248"/>
                  </a:cubicBezTo>
                  <a:cubicBezTo>
                    <a:pt x="1266" y="249"/>
                    <a:pt x="1263" y="249"/>
                    <a:pt x="1260" y="253"/>
                  </a:cubicBezTo>
                  <a:cubicBezTo>
                    <a:pt x="1259" y="255"/>
                    <a:pt x="1257" y="255"/>
                    <a:pt x="1254" y="256"/>
                  </a:cubicBezTo>
                  <a:cubicBezTo>
                    <a:pt x="1252" y="256"/>
                    <a:pt x="1249" y="257"/>
                    <a:pt x="1247" y="260"/>
                  </a:cubicBezTo>
                  <a:cubicBezTo>
                    <a:pt x="1243" y="264"/>
                    <a:pt x="1240" y="270"/>
                    <a:pt x="1240" y="271"/>
                  </a:cubicBezTo>
                  <a:cubicBezTo>
                    <a:pt x="1240" y="271"/>
                    <a:pt x="1241" y="270"/>
                    <a:pt x="1242" y="269"/>
                  </a:cubicBezTo>
                  <a:cubicBezTo>
                    <a:pt x="1249" y="264"/>
                    <a:pt x="1252" y="263"/>
                    <a:pt x="1263" y="262"/>
                  </a:cubicBezTo>
                  <a:cubicBezTo>
                    <a:pt x="1267" y="262"/>
                    <a:pt x="1267" y="262"/>
                    <a:pt x="1267" y="262"/>
                  </a:cubicBezTo>
                  <a:cubicBezTo>
                    <a:pt x="1273" y="261"/>
                    <a:pt x="1288" y="257"/>
                    <a:pt x="1288" y="254"/>
                  </a:cubicBezTo>
                  <a:cubicBezTo>
                    <a:pt x="1288" y="253"/>
                    <a:pt x="1292" y="252"/>
                    <a:pt x="1297" y="252"/>
                  </a:cubicBezTo>
                  <a:cubicBezTo>
                    <a:pt x="1301" y="251"/>
                    <a:pt x="1305" y="251"/>
                    <a:pt x="1306" y="250"/>
                  </a:cubicBezTo>
                  <a:cubicBezTo>
                    <a:pt x="1306" y="249"/>
                    <a:pt x="1306" y="249"/>
                    <a:pt x="1306" y="249"/>
                  </a:cubicBezTo>
                  <a:cubicBezTo>
                    <a:pt x="1306" y="249"/>
                    <a:pt x="1305" y="249"/>
                    <a:pt x="1304" y="249"/>
                  </a:cubicBezTo>
                  <a:cubicBezTo>
                    <a:pt x="1301" y="249"/>
                    <a:pt x="1299" y="249"/>
                    <a:pt x="1297" y="247"/>
                  </a:cubicBezTo>
                  <a:cubicBezTo>
                    <a:pt x="1297" y="247"/>
                    <a:pt x="1297" y="246"/>
                    <a:pt x="1297" y="245"/>
                  </a:cubicBezTo>
                  <a:cubicBezTo>
                    <a:pt x="1299" y="241"/>
                    <a:pt x="1305" y="237"/>
                    <a:pt x="1311" y="237"/>
                  </a:cubicBezTo>
                  <a:cubicBezTo>
                    <a:pt x="1312" y="237"/>
                    <a:pt x="1313" y="237"/>
                    <a:pt x="1314" y="237"/>
                  </a:cubicBezTo>
                  <a:cubicBezTo>
                    <a:pt x="1321" y="239"/>
                    <a:pt x="1326" y="241"/>
                    <a:pt x="1331" y="246"/>
                  </a:cubicBezTo>
                  <a:cubicBezTo>
                    <a:pt x="1332" y="246"/>
                    <a:pt x="1335" y="247"/>
                    <a:pt x="1337" y="247"/>
                  </a:cubicBezTo>
                  <a:cubicBezTo>
                    <a:pt x="1341" y="247"/>
                    <a:pt x="1344" y="246"/>
                    <a:pt x="1345" y="245"/>
                  </a:cubicBezTo>
                  <a:cubicBezTo>
                    <a:pt x="1346" y="245"/>
                    <a:pt x="1346" y="244"/>
                    <a:pt x="1345" y="244"/>
                  </a:cubicBezTo>
                  <a:cubicBezTo>
                    <a:pt x="1345" y="243"/>
                    <a:pt x="1345" y="242"/>
                    <a:pt x="1346" y="242"/>
                  </a:cubicBezTo>
                  <a:cubicBezTo>
                    <a:pt x="1346" y="241"/>
                    <a:pt x="1347" y="241"/>
                    <a:pt x="1348" y="241"/>
                  </a:cubicBezTo>
                  <a:cubicBezTo>
                    <a:pt x="1351" y="241"/>
                    <a:pt x="1353" y="243"/>
                    <a:pt x="1354" y="245"/>
                  </a:cubicBezTo>
                  <a:cubicBezTo>
                    <a:pt x="1354" y="247"/>
                    <a:pt x="1354" y="249"/>
                    <a:pt x="1354" y="252"/>
                  </a:cubicBezTo>
                  <a:cubicBezTo>
                    <a:pt x="1353" y="255"/>
                    <a:pt x="1353" y="258"/>
                    <a:pt x="1354" y="259"/>
                  </a:cubicBezTo>
                  <a:cubicBezTo>
                    <a:pt x="1354" y="259"/>
                    <a:pt x="1355" y="259"/>
                    <a:pt x="1356" y="259"/>
                  </a:cubicBezTo>
                  <a:cubicBezTo>
                    <a:pt x="1357" y="259"/>
                    <a:pt x="1357" y="259"/>
                    <a:pt x="1357" y="259"/>
                  </a:cubicBezTo>
                  <a:cubicBezTo>
                    <a:pt x="1357" y="258"/>
                    <a:pt x="1357" y="257"/>
                    <a:pt x="1357" y="256"/>
                  </a:cubicBezTo>
                  <a:cubicBezTo>
                    <a:pt x="1356" y="254"/>
                    <a:pt x="1355" y="252"/>
                    <a:pt x="1357" y="252"/>
                  </a:cubicBezTo>
                  <a:cubicBezTo>
                    <a:pt x="1360" y="250"/>
                    <a:pt x="1378" y="248"/>
                    <a:pt x="1389" y="247"/>
                  </a:cubicBezTo>
                  <a:cubicBezTo>
                    <a:pt x="1391" y="247"/>
                    <a:pt x="1393" y="247"/>
                    <a:pt x="1394" y="247"/>
                  </a:cubicBezTo>
                  <a:cubicBezTo>
                    <a:pt x="1395" y="247"/>
                    <a:pt x="1396" y="247"/>
                    <a:pt x="1397" y="247"/>
                  </a:cubicBezTo>
                  <a:cubicBezTo>
                    <a:pt x="1401" y="247"/>
                    <a:pt x="1405" y="248"/>
                    <a:pt x="1408" y="249"/>
                  </a:cubicBezTo>
                  <a:cubicBezTo>
                    <a:pt x="1412" y="250"/>
                    <a:pt x="1416" y="251"/>
                    <a:pt x="1421" y="251"/>
                  </a:cubicBezTo>
                  <a:cubicBezTo>
                    <a:pt x="1422" y="251"/>
                    <a:pt x="1424" y="251"/>
                    <a:pt x="1425" y="251"/>
                  </a:cubicBezTo>
                  <a:cubicBezTo>
                    <a:pt x="1430" y="251"/>
                    <a:pt x="1435" y="251"/>
                    <a:pt x="1435" y="253"/>
                  </a:cubicBezTo>
                  <a:cubicBezTo>
                    <a:pt x="1435" y="253"/>
                    <a:pt x="1435" y="254"/>
                    <a:pt x="1434" y="254"/>
                  </a:cubicBezTo>
                  <a:cubicBezTo>
                    <a:pt x="1434" y="255"/>
                    <a:pt x="1433" y="255"/>
                    <a:pt x="1433" y="255"/>
                  </a:cubicBezTo>
                  <a:cubicBezTo>
                    <a:pt x="1430" y="256"/>
                    <a:pt x="1427" y="257"/>
                    <a:pt x="1429" y="261"/>
                  </a:cubicBezTo>
                  <a:cubicBezTo>
                    <a:pt x="1429" y="263"/>
                    <a:pt x="1436" y="265"/>
                    <a:pt x="1442" y="265"/>
                  </a:cubicBezTo>
                  <a:cubicBezTo>
                    <a:pt x="1446" y="265"/>
                    <a:pt x="1448" y="264"/>
                    <a:pt x="1448" y="264"/>
                  </a:cubicBezTo>
                  <a:cubicBezTo>
                    <a:pt x="1448" y="262"/>
                    <a:pt x="1449" y="261"/>
                    <a:pt x="1451" y="261"/>
                  </a:cubicBezTo>
                  <a:cubicBezTo>
                    <a:pt x="1452" y="261"/>
                    <a:pt x="1454" y="262"/>
                    <a:pt x="1455" y="264"/>
                  </a:cubicBezTo>
                  <a:cubicBezTo>
                    <a:pt x="1456" y="266"/>
                    <a:pt x="1458" y="266"/>
                    <a:pt x="1462" y="266"/>
                  </a:cubicBezTo>
                  <a:cubicBezTo>
                    <a:pt x="1465" y="266"/>
                    <a:pt x="1469" y="266"/>
                    <a:pt x="1474" y="268"/>
                  </a:cubicBezTo>
                  <a:cubicBezTo>
                    <a:pt x="1477" y="268"/>
                    <a:pt x="1478" y="269"/>
                    <a:pt x="1480" y="269"/>
                  </a:cubicBezTo>
                  <a:cubicBezTo>
                    <a:pt x="1483" y="269"/>
                    <a:pt x="1485" y="268"/>
                    <a:pt x="1486" y="267"/>
                  </a:cubicBezTo>
                  <a:cubicBezTo>
                    <a:pt x="1488" y="266"/>
                    <a:pt x="1489" y="266"/>
                    <a:pt x="1490" y="266"/>
                  </a:cubicBezTo>
                  <a:cubicBezTo>
                    <a:pt x="1491" y="266"/>
                    <a:pt x="1491" y="266"/>
                    <a:pt x="1492" y="266"/>
                  </a:cubicBezTo>
                  <a:cubicBezTo>
                    <a:pt x="1493" y="266"/>
                    <a:pt x="1494" y="267"/>
                    <a:pt x="1495" y="267"/>
                  </a:cubicBezTo>
                  <a:cubicBezTo>
                    <a:pt x="1496" y="268"/>
                    <a:pt x="1498" y="268"/>
                    <a:pt x="1499" y="268"/>
                  </a:cubicBezTo>
                  <a:cubicBezTo>
                    <a:pt x="1499" y="268"/>
                    <a:pt x="1500" y="268"/>
                    <a:pt x="1500" y="266"/>
                  </a:cubicBezTo>
                  <a:cubicBezTo>
                    <a:pt x="1500" y="264"/>
                    <a:pt x="1501" y="263"/>
                    <a:pt x="1501" y="262"/>
                  </a:cubicBezTo>
                  <a:cubicBezTo>
                    <a:pt x="1502" y="260"/>
                    <a:pt x="1502" y="259"/>
                    <a:pt x="1500" y="255"/>
                  </a:cubicBezTo>
                  <a:cubicBezTo>
                    <a:pt x="1499" y="253"/>
                    <a:pt x="1499" y="251"/>
                    <a:pt x="1501" y="249"/>
                  </a:cubicBezTo>
                  <a:cubicBezTo>
                    <a:pt x="1502" y="247"/>
                    <a:pt x="1505" y="246"/>
                    <a:pt x="1508" y="247"/>
                  </a:cubicBezTo>
                  <a:cubicBezTo>
                    <a:pt x="1509" y="247"/>
                    <a:pt x="1509" y="247"/>
                    <a:pt x="1509" y="247"/>
                  </a:cubicBezTo>
                  <a:cubicBezTo>
                    <a:pt x="1511" y="247"/>
                    <a:pt x="1511" y="245"/>
                    <a:pt x="1512" y="244"/>
                  </a:cubicBezTo>
                  <a:cubicBezTo>
                    <a:pt x="1513" y="242"/>
                    <a:pt x="1513" y="240"/>
                    <a:pt x="1515" y="240"/>
                  </a:cubicBezTo>
                  <a:cubicBezTo>
                    <a:pt x="1517" y="240"/>
                    <a:pt x="1517" y="241"/>
                    <a:pt x="1518" y="243"/>
                  </a:cubicBezTo>
                  <a:cubicBezTo>
                    <a:pt x="1520" y="245"/>
                    <a:pt x="1522" y="248"/>
                    <a:pt x="1528" y="250"/>
                  </a:cubicBezTo>
                  <a:cubicBezTo>
                    <a:pt x="1532" y="251"/>
                    <a:pt x="1535" y="251"/>
                    <a:pt x="1538" y="251"/>
                  </a:cubicBezTo>
                  <a:cubicBezTo>
                    <a:pt x="1542" y="252"/>
                    <a:pt x="1544" y="252"/>
                    <a:pt x="1545" y="253"/>
                  </a:cubicBezTo>
                  <a:cubicBezTo>
                    <a:pt x="1545" y="254"/>
                    <a:pt x="1545" y="254"/>
                    <a:pt x="1545" y="255"/>
                  </a:cubicBezTo>
                  <a:cubicBezTo>
                    <a:pt x="1545" y="255"/>
                    <a:pt x="1545" y="255"/>
                    <a:pt x="1545" y="256"/>
                  </a:cubicBezTo>
                  <a:cubicBezTo>
                    <a:pt x="1545" y="256"/>
                    <a:pt x="1547" y="257"/>
                    <a:pt x="1548" y="257"/>
                  </a:cubicBezTo>
                  <a:cubicBezTo>
                    <a:pt x="1549" y="256"/>
                    <a:pt x="1549" y="256"/>
                    <a:pt x="1549" y="256"/>
                  </a:cubicBezTo>
                  <a:cubicBezTo>
                    <a:pt x="1549" y="256"/>
                    <a:pt x="1549" y="256"/>
                    <a:pt x="1549" y="255"/>
                  </a:cubicBezTo>
                  <a:cubicBezTo>
                    <a:pt x="1549" y="255"/>
                    <a:pt x="1549" y="254"/>
                    <a:pt x="1550" y="254"/>
                  </a:cubicBezTo>
                  <a:cubicBezTo>
                    <a:pt x="1551" y="252"/>
                    <a:pt x="1556" y="252"/>
                    <a:pt x="1558" y="252"/>
                  </a:cubicBezTo>
                  <a:cubicBezTo>
                    <a:pt x="1558" y="252"/>
                    <a:pt x="1569" y="252"/>
                    <a:pt x="1570" y="255"/>
                  </a:cubicBezTo>
                  <a:cubicBezTo>
                    <a:pt x="1570" y="257"/>
                    <a:pt x="1574" y="261"/>
                    <a:pt x="1579" y="261"/>
                  </a:cubicBezTo>
                  <a:cubicBezTo>
                    <a:pt x="1582" y="262"/>
                    <a:pt x="1584" y="263"/>
                    <a:pt x="1584" y="265"/>
                  </a:cubicBezTo>
                  <a:cubicBezTo>
                    <a:pt x="1584" y="266"/>
                    <a:pt x="1583" y="267"/>
                    <a:pt x="1582" y="267"/>
                  </a:cubicBezTo>
                  <a:cubicBezTo>
                    <a:pt x="1582" y="268"/>
                    <a:pt x="1582" y="268"/>
                    <a:pt x="1582" y="268"/>
                  </a:cubicBezTo>
                  <a:cubicBezTo>
                    <a:pt x="1581" y="268"/>
                    <a:pt x="1583" y="270"/>
                    <a:pt x="1584" y="272"/>
                  </a:cubicBezTo>
                  <a:cubicBezTo>
                    <a:pt x="1585" y="274"/>
                    <a:pt x="1586" y="276"/>
                    <a:pt x="1586" y="277"/>
                  </a:cubicBezTo>
                  <a:cubicBezTo>
                    <a:pt x="1586" y="277"/>
                    <a:pt x="1586" y="277"/>
                    <a:pt x="1585" y="277"/>
                  </a:cubicBezTo>
                  <a:cubicBezTo>
                    <a:pt x="1584" y="278"/>
                    <a:pt x="1582" y="279"/>
                    <a:pt x="1583" y="281"/>
                  </a:cubicBezTo>
                  <a:cubicBezTo>
                    <a:pt x="1583" y="282"/>
                    <a:pt x="1584" y="282"/>
                    <a:pt x="1586" y="282"/>
                  </a:cubicBezTo>
                  <a:cubicBezTo>
                    <a:pt x="1588" y="282"/>
                    <a:pt x="1590" y="284"/>
                    <a:pt x="1591" y="287"/>
                  </a:cubicBezTo>
                  <a:cubicBezTo>
                    <a:pt x="1591" y="289"/>
                    <a:pt x="1590" y="292"/>
                    <a:pt x="1589" y="293"/>
                  </a:cubicBezTo>
                  <a:cubicBezTo>
                    <a:pt x="1587" y="294"/>
                    <a:pt x="1585" y="294"/>
                    <a:pt x="1584" y="294"/>
                  </a:cubicBezTo>
                  <a:cubicBezTo>
                    <a:pt x="1581" y="294"/>
                    <a:pt x="1579" y="294"/>
                    <a:pt x="1577" y="292"/>
                  </a:cubicBezTo>
                  <a:cubicBezTo>
                    <a:pt x="1576" y="291"/>
                    <a:pt x="1574" y="290"/>
                    <a:pt x="1573" y="290"/>
                  </a:cubicBezTo>
                  <a:cubicBezTo>
                    <a:pt x="1572" y="290"/>
                    <a:pt x="1572" y="290"/>
                    <a:pt x="1572" y="291"/>
                  </a:cubicBezTo>
                  <a:cubicBezTo>
                    <a:pt x="1572" y="291"/>
                    <a:pt x="1572" y="291"/>
                    <a:pt x="1572" y="291"/>
                  </a:cubicBezTo>
                  <a:cubicBezTo>
                    <a:pt x="1575" y="293"/>
                    <a:pt x="1585" y="301"/>
                    <a:pt x="1586" y="306"/>
                  </a:cubicBezTo>
                  <a:cubicBezTo>
                    <a:pt x="1587" y="310"/>
                    <a:pt x="1602" y="325"/>
                    <a:pt x="1607" y="325"/>
                  </a:cubicBezTo>
                  <a:cubicBezTo>
                    <a:pt x="1607" y="325"/>
                    <a:pt x="1607" y="325"/>
                    <a:pt x="1607" y="325"/>
                  </a:cubicBezTo>
                  <a:cubicBezTo>
                    <a:pt x="1610" y="325"/>
                    <a:pt x="1611" y="326"/>
                    <a:pt x="1612" y="327"/>
                  </a:cubicBezTo>
                  <a:cubicBezTo>
                    <a:pt x="1613" y="328"/>
                    <a:pt x="1614" y="329"/>
                    <a:pt x="1616" y="328"/>
                  </a:cubicBezTo>
                  <a:cubicBezTo>
                    <a:pt x="1618" y="327"/>
                    <a:pt x="1619" y="325"/>
                    <a:pt x="1620" y="323"/>
                  </a:cubicBezTo>
                  <a:cubicBezTo>
                    <a:pt x="1622" y="320"/>
                    <a:pt x="1623" y="317"/>
                    <a:pt x="1625" y="317"/>
                  </a:cubicBezTo>
                  <a:cubicBezTo>
                    <a:pt x="1627" y="317"/>
                    <a:pt x="1628" y="313"/>
                    <a:pt x="1629" y="310"/>
                  </a:cubicBezTo>
                  <a:cubicBezTo>
                    <a:pt x="1630" y="307"/>
                    <a:pt x="1631" y="304"/>
                    <a:pt x="1633" y="302"/>
                  </a:cubicBezTo>
                  <a:cubicBezTo>
                    <a:pt x="1635" y="300"/>
                    <a:pt x="1636" y="299"/>
                    <a:pt x="1637" y="299"/>
                  </a:cubicBezTo>
                  <a:cubicBezTo>
                    <a:pt x="1639" y="299"/>
                    <a:pt x="1640" y="300"/>
                    <a:pt x="1642" y="303"/>
                  </a:cubicBezTo>
                  <a:cubicBezTo>
                    <a:pt x="1645" y="307"/>
                    <a:pt x="1655" y="312"/>
                    <a:pt x="1663" y="311"/>
                  </a:cubicBezTo>
                  <a:cubicBezTo>
                    <a:pt x="1667" y="311"/>
                    <a:pt x="1670" y="309"/>
                    <a:pt x="1673" y="308"/>
                  </a:cubicBezTo>
                  <a:cubicBezTo>
                    <a:pt x="1675" y="307"/>
                    <a:pt x="1677" y="305"/>
                    <a:pt x="1680" y="305"/>
                  </a:cubicBezTo>
                  <a:cubicBezTo>
                    <a:pt x="1683" y="305"/>
                    <a:pt x="1687" y="306"/>
                    <a:pt x="1691" y="307"/>
                  </a:cubicBezTo>
                  <a:cubicBezTo>
                    <a:pt x="1695" y="308"/>
                    <a:pt x="1698" y="309"/>
                    <a:pt x="1701" y="309"/>
                  </a:cubicBezTo>
                  <a:cubicBezTo>
                    <a:pt x="1702" y="309"/>
                    <a:pt x="1702" y="309"/>
                    <a:pt x="1702" y="309"/>
                  </a:cubicBezTo>
                  <a:cubicBezTo>
                    <a:pt x="1703" y="309"/>
                    <a:pt x="1703" y="309"/>
                    <a:pt x="1703" y="309"/>
                  </a:cubicBezTo>
                  <a:cubicBezTo>
                    <a:pt x="1705" y="309"/>
                    <a:pt x="1706" y="311"/>
                    <a:pt x="1707" y="312"/>
                  </a:cubicBezTo>
                  <a:cubicBezTo>
                    <a:pt x="1708" y="314"/>
                    <a:pt x="1709" y="316"/>
                    <a:pt x="1713" y="316"/>
                  </a:cubicBezTo>
                  <a:cubicBezTo>
                    <a:pt x="1714" y="316"/>
                    <a:pt x="1714" y="316"/>
                    <a:pt x="1714" y="316"/>
                  </a:cubicBezTo>
                  <a:cubicBezTo>
                    <a:pt x="1718" y="316"/>
                    <a:pt x="1719" y="315"/>
                    <a:pt x="1719" y="314"/>
                  </a:cubicBezTo>
                  <a:cubicBezTo>
                    <a:pt x="1719" y="313"/>
                    <a:pt x="1717" y="312"/>
                    <a:pt x="1714" y="311"/>
                  </a:cubicBezTo>
                  <a:cubicBezTo>
                    <a:pt x="1712" y="311"/>
                    <a:pt x="1710" y="310"/>
                    <a:pt x="1711" y="309"/>
                  </a:cubicBezTo>
                  <a:cubicBezTo>
                    <a:pt x="1711" y="308"/>
                    <a:pt x="1714" y="307"/>
                    <a:pt x="1717" y="307"/>
                  </a:cubicBezTo>
                  <a:cubicBezTo>
                    <a:pt x="1718" y="307"/>
                    <a:pt x="1718" y="307"/>
                    <a:pt x="1718" y="307"/>
                  </a:cubicBezTo>
                  <a:cubicBezTo>
                    <a:pt x="1720" y="307"/>
                    <a:pt x="1722" y="307"/>
                    <a:pt x="1724" y="306"/>
                  </a:cubicBezTo>
                  <a:cubicBezTo>
                    <a:pt x="1726" y="306"/>
                    <a:pt x="1727" y="306"/>
                    <a:pt x="1728" y="306"/>
                  </a:cubicBezTo>
                  <a:cubicBezTo>
                    <a:pt x="1730" y="306"/>
                    <a:pt x="1731" y="307"/>
                    <a:pt x="1732" y="308"/>
                  </a:cubicBezTo>
                  <a:cubicBezTo>
                    <a:pt x="1734" y="309"/>
                    <a:pt x="1736" y="310"/>
                    <a:pt x="1738" y="310"/>
                  </a:cubicBezTo>
                  <a:cubicBezTo>
                    <a:pt x="1740" y="310"/>
                    <a:pt x="1742" y="310"/>
                    <a:pt x="1743" y="309"/>
                  </a:cubicBezTo>
                  <a:cubicBezTo>
                    <a:pt x="1743" y="309"/>
                    <a:pt x="1743" y="309"/>
                    <a:pt x="1743" y="308"/>
                  </a:cubicBezTo>
                  <a:cubicBezTo>
                    <a:pt x="1743" y="308"/>
                    <a:pt x="1743" y="308"/>
                    <a:pt x="1743" y="307"/>
                  </a:cubicBezTo>
                  <a:cubicBezTo>
                    <a:pt x="1743" y="304"/>
                    <a:pt x="1743" y="301"/>
                    <a:pt x="1739" y="299"/>
                  </a:cubicBezTo>
                  <a:cubicBezTo>
                    <a:pt x="1738" y="298"/>
                    <a:pt x="1738" y="298"/>
                    <a:pt x="1738" y="297"/>
                  </a:cubicBezTo>
                  <a:cubicBezTo>
                    <a:pt x="1737" y="296"/>
                    <a:pt x="1739" y="295"/>
                    <a:pt x="1741" y="294"/>
                  </a:cubicBezTo>
                  <a:cubicBezTo>
                    <a:pt x="1742" y="293"/>
                    <a:pt x="1743" y="292"/>
                    <a:pt x="1743" y="291"/>
                  </a:cubicBezTo>
                  <a:cubicBezTo>
                    <a:pt x="1743" y="291"/>
                    <a:pt x="1743" y="291"/>
                    <a:pt x="1743" y="291"/>
                  </a:cubicBezTo>
                  <a:cubicBezTo>
                    <a:pt x="1742" y="291"/>
                    <a:pt x="1740" y="291"/>
                    <a:pt x="1739" y="292"/>
                  </a:cubicBezTo>
                  <a:cubicBezTo>
                    <a:pt x="1738" y="292"/>
                    <a:pt x="1736" y="293"/>
                    <a:pt x="1735" y="293"/>
                  </a:cubicBezTo>
                  <a:cubicBezTo>
                    <a:pt x="1734" y="293"/>
                    <a:pt x="1732" y="292"/>
                    <a:pt x="1731" y="291"/>
                  </a:cubicBezTo>
                  <a:cubicBezTo>
                    <a:pt x="1730" y="289"/>
                    <a:pt x="1730" y="288"/>
                    <a:pt x="1731" y="286"/>
                  </a:cubicBezTo>
                  <a:cubicBezTo>
                    <a:pt x="1732" y="283"/>
                    <a:pt x="1738" y="281"/>
                    <a:pt x="1743" y="281"/>
                  </a:cubicBezTo>
                  <a:cubicBezTo>
                    <a:pt x="1744" y="281"/>
                    <a:pt x="1744" y="281"/>
                    <a:pt x="1745" y="281"/>
                  </a:cubicBezTo>
                  <a:cubicBezTo>
                    <a:pt x="1746" y="281"/>
                    <a:pt x="1747" y="281"/>
                    <a:pt x="1749" y="281"/>
                  </a:cubicBezTo>
                  <a:cubicBezTo>
                    <a:pt x="1753" y="281"/>
                    <a:pt x="1757" y="280"/>
                    <a:pt x="1758" y="279"/>
                  </a:cubicBezTo>
                  <a:cubicBezTo>
                    <a:pt x="1758" y="279"/>
                    <a:pt x="1758" y="278"/>
                    <a:pt x="1757" y="277"/>
                  </a:cubicBezTo>
                  <a:cubicBezTo>
                    <a:pt x="1756" y="275"/>
                    <a:pt x="1755" y="273"/>
                    <a:pt x="1756" y="272"/>
                  </a:cubicBezTo>
                  <a:cubicBezTo>
                    <a:pt x="1756" y="271"/>
                    <a:pt x="1758" y="270"/>
                    <a:pt x="1761" y="270"/>
                  </a:cubicBezTo>
                  <a:cubicBezTo>
                    <a:pt x="1763" y="270"/>
                    <a:pt x="1766" y="271"/>
                    <a:pt x="1768" y="272"/>
                  </a:cubicBezTo>
                  <a:cubicBezTo>
                    <a:pt x="1771" y="273"/>
                    <a:pt x="1775" y="274"/>
                    <a:pt x="1780" y="274"/>
                  </a:cubicBezTo>
                  <a:cubicBezTo>
                    <a:pt x="1781" y="274"/>
                    <a:pt x="1782" y="274"/>
                    <a:pt x="1783" y="274"/>
                  </a:cubicBezTo>
                  <a:cubicBezTo>
                    <a:pt x="1784" y="274"/>
                    <a:pt x="1785" y="274"/>
                    <a:pt x="1786" y="274"/>
                  </a:cubicBezTo>
                  <a:cubicBezTo>
                    <a:pt x="1795" y="274"/>
                    <a:pt x="1808" y="277"/>
                    <a:pt x="1817" y="278"/>
                  </a:cubicBezTo>
                  <a:cubicBezTo>
                    <a:pt x="1820" y="279"/>
                    <a:pt x="1822" y="279"/>
                    <a:pt x="1824" y="280"/>
                  </a:cubicBezTo>
                  <a:cubicBezTo>
                    <a:pt x="1825" y="280"/>
                    <a:pt x="1826" y="280"/>
                    <a:pt x="1828" y="280"/>
                  </a:cubicBezTo>
                  <a:cubicBezTo>
                    <a:pt x="1833" y="281"/>
                    <a:pt x="1837" y="282"/>
                    <a:pt x="1838" y="283"/>
                  </a:cubicBezTo>
                  <a:cubicBezTo>
                    <a:pt x="1838" y="284"/>
                    <a:pt x="1838" y="284"/>
                    <a:pt x="1838" y="285"/>
                  </a:cubicBezTo>
                  <a:cubicBezTo>
                    <a:pt x="1838" y="286"/>
                    <a:pt x="1836" y="286"/>
                    <a:pt x="1833" y="286"/>
                  </a:cubicBezTo>
                  <a:cubicBezTo>
                    <a:pt x="1830" y="286"/>
                    <a:pt x="1826" y="286"/>
                    <a:pt x="1823" y="285"/>
                  </a:cubicBezTo>
                  <a:cubicBezTo>
                    <a:pt x="1822" y="285"/>
                    <a:pt x="1820" y="284"/>
                    <a:pt x="1819" y="284"/>
                  </a:cubicBezTo>
                  <a:cubicBezTo>
                    <a:pt x="1817" y="284"/>
                    <a:pt x="1815" y="285"/>
                    <a:pt x="1815" y="286"/>
                  </a:cubicBezTo>
                  <a:cubicBezTo>
                    <a:pt x="1814" y="287"/>
                    <a:pt x="1815" y="287"/>
                    <a:pt x="1815" y="288"/>
                  </a:cubicBezTo>
                  <a:cubicBezTo>
                    <a:pt x="1816" y="289"/>
                    <a:pt x="1820" y="290"/>
                    <a:pt x="1823" y="290"/>
                  </a:cubicBezTo>
                  <a:cubicBezTo>
                    <a:pt x="1827" y="290"/>
                    <a:pt x="1831" y="291"/>
                    <a:pt x="1831" y="293"/>
                  </a:cubicBezTo>
                  <a:cubicBezTo>
                    <a:pt x="1831" y="296"/>
                    <a:pt x="1828" y="297"/>
                    <a:pt x="1826" y="297"/>
                  </a:cubicBezTo>
                  <a:cubicBezTo>
                    <a:pt x="1823" y="298"/>
                    <a:pt x="1820" y="299"/>
                    <a:pt x="1820" y="301"/>
                  </a:cubicBezTo>
                  <a:cubicBezTo>
                    <a:pt x="1820" y="301"/>
                    <a:pt x="1820" y="302"/>
                    <a:pt x="1821" y="303"/>
                  </a:cubicBezTo>
                  <a:cubicBezTo>
                    <a:pt x="1822" y="304"/>
                    <a:pt x="1823" y="305"/>
                    <a:pt x="1826" y="305"/>
                  </a:cubicBezTo>
                  <a:cubicBezTo>
                    <a:pt x="1828" y="305"/>
                    <a:pt x="1831" y="305"/>
                    <a:pt x="1835" y="301"/>
                  </a:cubicBezTo>
                  <a:cubicBezTo>
                    <a:pt x="1839" y="297"/>
                    <a:pt x="1840" y="293"/>
                    <a:pt x="1841" y="291"/>
                  </a:cubicBezTo>
                  <a:cubicBezTo>
                    <a:pt x="1841" y="289"/>
                    <a:pt x="1842" y="288"/>
                    <a:pt x="1843" y="287"/>
                  </a:cubicBezTo>
                  <a:cubicBezTo>
                    <a:pt x="1844" y="287"/>
                    <a:pt x="1847" y="287"/>
                    <a:pt x="1849" y="287"/>
                  </a:cubicBezTo>
                  <a:cubicBezTo>
                    <a:pt x="1858" y="287"/>
                    <a:pt x="1887" y="289"/>
                    <a:pt x="1891" y="295"/>
                  </a:cubicBezTo>
                  <a:cubicBezTo>
                    <a:pt x="1892" y="297"/>
                    <a:pt x="1892" y="298"/>
                    <a:pt x="1892" y="299"/>
                  </a:cubicBezTo>
                  <a:cubicBezTo>
                    <a:pt x="1891" y="301"/>
                    <a:pt x="1887" y="301"/>
                    <a:pt x="1884" y="301"/>
                  </a:cubicBezTo>
                  <a:cubicBezTo>
                    <a:pt x="1883" y="301"/>
                    <a:pt x="1882" y="301"/>
                    <a:pt x="1881" y="301"/>
                  </a:cubicBezTo>
                  <a:cubicBezTo>
                    <a:pt x="1880" y="301"/>
                    <a:pt x="1879" y="301"/>
                    <a:pt x="1879" y="301"/>
                  </a:cubicBezTo>
                  <a:cubicBezTo>
                    <a:pt x="1877" y="301"/>
                    <a:pt x="1876" y="302"/>
                    <a:pt x="1876" y="302"/>
                  </a:cubicBezTo>
                  <a:cubicBezTo>
                    <a:pt x="1876" y="303"/>
                    <a:pt x="1876" y="303"/>
                    <a:pt x="1876" y="304"/>
                  </a:cubicBezTo>
                  <a:cubicBezTo>
                    <a:pt x="1876" y="304"/>
                    <a:pt x="1877" y="305"/>
                    <a:pt x="1879" y="305"/>
                  </a:cubicBezTo>
                  <a:cubicBezTo>
                    <a:pt x="1880" y="305"/>
                    <a:pt x="1880" y="305"/>
                    <a:pt x="1880" y="305"/>
                  </a:cubicBezTo>
                  <a:cubicBezTo>
                    <a:pt x="1881" y="305"/>
                    <a:pt x="1881" y="305"/>
                    <a:pt x="1882" y="305"/>
                  </a:cubicBezTo>
                  <a:cubicBezTo>
                    <a:pt x="1888" y="305"/>
                    <a:pt x="1899" y="309"/>
                    <a:pt x="1899" y="312"/>
                  </a:cubicBezTo>
                  <a:cubicBezTo>
                    <a:pt x="1899" y="312"/>
                    <a:pt x="1899" y="313"/>
                    <a:pt x="1900" y="314"/>
                  </a:cubicBezTo>
                  <a:cubicBezTo>
                    <a:pt x="1901" y="314"/>
                    <a:pt x="1901" y="315"/>
                    <a:pt x="1902" y="315"/>
                  </a:cubicBezTo>
                  <a:cubicBezTo>
                    <a:pt x="1903" y="315"/>
                    <a:pt x="1903" y="314"/>
                    <a:pt x="1904" y="314"/>
                  </a:cubicBezTo>
                  <a:cubicBezTo>
                    <a:pt x="1904" y="313"/>
                    <a:pt x="1905" y="312"/>
                    <a:pt x="1907" y="312"/>
                  </a:cubicBezTo>
                  <a:cubicBezTo>
                    <a:pt x="1912" y="312"/>
                    <a:pt x="1921" y="316"/>
                    <a:pt x="1923" y="319"/>
                  </a:cubicBezTo>
                  <a:cubicBezTo>
                    <a:pt x="1924" y="321"/>
                    <a:pt x="1923" y="323"/>
                    <a:pt x="1923" y="324"/>
                  </a:cubicBezTo>
                  <a:cubicBezTo>
                    <a:pt x="1923" y="324"/>
                    <a:pt x="1922" y="325"/>
                    <a:pt x="1923" y="325"/>
                  </a:cubicBezTo>
                  <a:cubicBezTo>
                    <a:pt x="1923" y="326"/>
                    <a:pt x="1924" y="326"/>
                    <a:pt x="1926" y="326"/>
                  </a:cubicBezTo>
                  <a:cubicBezTo>
                    <a:pt x="1927" y="326"/>
                    <a:pt x="1929" y="326"/>
                    <a:pt x="1930" y="326"/>
                  </a:cubicBezTo>
                  <a:cubicBezTo>
                    <a:pt x="1933" y="326"/>
                    <a:pt x="1933" y="326"/>
                    <a:pt x="1933" y="326"/>
                  </a:cubicBezTo>
                  <a:cubicBezTo>
                    <a:pt x="1934" y="326"/>
                    <a:pt x="1936" y="326"/>
                    <a:pt x="1937" y="326"/>
                  </a:cubicBezTo>
                  <a:cubicBezTo>
                    <a:pt x="1945" y="326"/>
                    <a:pt x="1955" y="326"/>
                    <a:pt x="1960" y="324"/>
                  </a:cubicBezTo>
                  <a:cubicBezTo>
                    <a:pt x="1965" y="322"/>
                    <a:pt x="1979" y="321"/>
                    <a:pt x="1992" y="321"/>
                  </a:cubicBezTo>
                  <a:cubicBezTo>
                    <a:pt x="1999" y="321"/>
                    <a:pt x="2009" y="321"/>
                    <a:pt x="2015" y="324"/>
                  </a:cubicBezTo>
                  <a:cubicBezTo>
                    <a:pt x="2027" y="328"/>
                    <a:pt x="2040" y="337"/>
                    <a:pt x="2040" y="343"/>
                  </a:cubicBezTo>
                  <a:cubicBezTo>
                    <a:pt x="2041" y="344"/>
                    <a:pt x="2040" y="345"/>
                    <a:pt x="2039" y="345"/>
                  </a:cubicBezTo>
                  <a:cubicBezTo>
                    <a:pt x="2037" y="347"/>
                    <a:pt x="2037" y="349"/>
                    <a:pt x="2037" y="350"/>
                  </a:cubicBezTo>
                  <a:cubicBezTo>
                    <a:pt x="2038" y="352"/>
                    <a:pt x="2038" y="353"/>
                    <a:pt x="2037" y="355"/>
                  </a:cubicBezTo>
                  <a:cubicBezTo>
                    <a:pt x="2036" y="355"/>
                    <a:pt x="2036" y="356"/>
                    <a:pt x="2036" y="356"/>
                  </a:cubicBezTo>
                  <a:cubicBezTo>
                    <a:pt x="2036" y="357"/>
                    <a:pt x="2041" y="357"/>
                    <a:pt x="2044" y="357"/>
                  </a:cubicBezTo>
                  <a:cubicBezTo>
                    <a:pt x="2051" y="357"/>
                    <a:pt x="2056" y="359"/>
                    <a:pt x="2056" y="361"/>
                  </a:cubicBezTo>
                  <a:cubicBezTo>
                    <a:pt x="2056" y="364"/>
                    <a:pt x="2058" y="374"/>
                    <a:pt x="2059" y="375"/>
                  </a:cubicBezTo>
                  <a:cubicBezTo>
                    <a:pt x="2059" y="375"/>
                    <a:pt x="2059" y="372"/>
                    <a:pt x="2059" y="371"/>
                  </a:cubicBezTo>
                  <a:cubicBezTo>
                    <a:pt x="2059" y="367"/>
                    <a:pt x="2059" y="363"/>
                    <a:pt x="2062" y="361"/>
                  </a:cubicBezTo>
                  <a:cubicBezTo>
                    <a:pt x="2065" y="359"/>
                    <a:pt x="2085" y="358"/>
                    <a:pt x="2096" y="358"/>
                  </a:cubicBezTo>
                  <a:cubicBezTo>
                    <a:pt x="2105" y="358"/>
                    <a:pt x="2106" y="358"/>
                    <a:pt x="2106" y="359"/>
                  </a:cubicBezTo>
                  <a:cubicBezTo>
                    <a:pt x="2108" y="361"/>
                    <a:pt x="2124" y="364"/>
                    <a:pt x="2134" y="364"/>
                  </a:cubicBezTo>
                  <a:cubicBezTo>
                    <a:pt x="2138" y="364"/>
                    <a:pt x="2141" y="364"/>
                    <a:pt x="2142" y="363"/>
                  </a:cubicBezTo>
                  <a:cubicBezTo>
                    <a:pt x="2145" y="361"/>
                    <a:pt x="2147" y="359"/>
                    <a:pt x="2149" y="356"/>
                  </a:cubicBezTo>
                  <a:cubicBezTo>
                    <a:pt x="2153" y="353"/>
                    <a:pt x="2155" y="349"/>
                    <a:pt x="2160" y="349"/>
                  </a:cubicBezTo>
                  <a:cubicBezTo>
                    <a:pt x="2165" y="349"/>
                    <a:pt x="2174" y="351"/>
                    <a:pt x="2177" y="354"/>
                  </a:cubicBezTo>
                  <a:cubicBezTo>
                    <a:pt x="2178" y="355"/>
                    <a:pt x="2178" y="356"/>
                    <a:pt x="2178" y="357"/>
                  </a:cubicBezTo>
                  <a:cubicBezTo>
                    <a:pt x="2178" y="361"/>
                    <a:pt x="2175" y="363"/>
                    <a:pt x="2171" y="363"/>
                  </a:cubicBezTo>
                  <a:cubicBezTo>
                    <a:pt x="2170" y="363"/>
                    <a:pt x="2168" y="363"/>
                    <a:pt x="2167" y="362"/>
                  </a:cubicBezTo>
                  <a:cubicBezTo>
                    <a:pt x="2165" y="360"/>
                    <a:pt x="2164" y="360"/>
                    <a:pt x="2162" y="360"/>
                  </a:cubicBezTo>
                  <a:cubicBezTo>
                    <a:pt x="2161" y="360"/>
                    <a:pt x="2161" y="360"/>
                    <a:pt x="2161" y="360"/>
                  </a:cubicBezTo>
                  <a:cubicBezTo>
                    <a:pt x="2160" y="361"/>
                    <a:pt x="2160" y="363"/>
                    <a:pt x="2161" y="365"/>
                  </a:cubicBezTo>
                  <a:cubicBezTo>
                    <a:pt x="2162" y="368"/>
                    <a:pt x="2165" y="369"/>
                    <a:pt x="2168" y="370"/>
                  </a:cubicBezTo>
                  <a:cubicBezTo>
                    <a:pt x="2171" y="371"/>
                    <a:pt x="2173" y="372"/>
                    <a:pt x="2175" y="374"/>
                  </a:cubicBezTo>
                  <a:cubicBezTo>
                    <a:pt x="2177" y="378"/>
                    <a:pt x="2184" y="382"/>
                    <a:pt x="2190" y="382"/>
                  </a:cubicBezTo>
                  <a:cubicBezTo>
                    <a:pt x="2192" y="382"/>
                    <a:pt x="2193" y="382"/>
                    <a:pt x="2194" y="381"/>
                  </a:cubicBezTo>
                  <a:cubicBezTo>
                    <a:pt x="2198" y="380"/>
                    <a:pt x="2201" y="377"/>
                    <a:pt x="2201" y="375"/>
                  </a:cubicBezTo>
                  <a:cubicBezTo>
                    <a:pt x="2202" y="373"/>
                    <a:pt x="2200" y="370"/>
                    <a:pt x="2198" y="368"/>
                  </a:cubicBezTo>
                  <a:cubicBezTo>
                    <a:pt x="2192" y="363"/>
                    <a:pt x="2189" y="359"/>
                    <a:pt x="2189" y="357"/>
                  </a:cubicBezTo>
                  <a:cubicBezTo>
                    <a:pt x="2189" y="357"/>
                    <a:pt x="2190" y="356"/>
                    <a:pt x="2191" y="356"/>
                  </a:cubicBezTo>
                  <a:cubicBezTo>
                    <a:pt x="2192" y="355"/>
                    <a:pt x="2192" y="354"/>
                    <a:pt x="2193" y="352"/>
                  </a:cubicBezTo>
                  <a:cubicBezTo>
                    <a:pt x="2193" y="350"/>
                    <a:pt x="2194" y="348"/>
                    <a:pt x="2195" y="347"/>
                  </a:cubicBezTo>
                  <a:cubicBezTo>
                    <a:pt x="2196" y="346"/>
                    <a:pt x="2197" y="346"/>
                    <a:pt x="2199" y="346"/>
                  </a:cubicBezTo>
                  <a:cubicBezTo>
                    <a:pt x="2207" y="346"/>
                    <a:pt x="2229" y="354"/>
                    <a:pt x="2229" y="354"/>
                  </a:cubicBezTo>
                  <a:cubicBezTo>
                    <a:pt x="2230" y="354"/>
                    <a:pt x="2231" y="355"/>
                    <a:pt x="2231" y="355"/>
                  </a:cubicBezTo>
                  <a:cubicBezTo>
                    <a:pt x="2233" y="355"/>
                    <a:pt x="2234" y="354"/>
                    <a:pt x="2235" y="353"/>
                  </a:cubicBezTo>
                  <a:cubicBezTo>
                    <a:pt x="2236" y="353"/>
                    <a:pt x="2238" y="352"/>
                    <a:pt x="2241" y="352"/>
                  </a:cubicBezTo>
                  <a:cubicBezTo>
                    <a:pt x="2241" y="352"/>
                    <a:pt x="2242" y="352"/>
                    <a:pt x="2243" y="352"/>
                  </a:cubicBezTo>
                  <a:cubicBezTo>
                    <a:pt x="2248" y="353"/>
                    <a:pt x="2261" y="354"/>
                    <a:pt x="2270" y="354"/>
                  </a:cubicBezTo>
                  <a:cubicBezTo>
                    <a:pt x="2273" y="354"/>
                    <a:pt x="2275" y="353"/>
                    <a:pt x="2277" y="353"/>
                  </a:cubicBezTo>
                  <a:cubicBezTo>
                    <a:pt x="2279" y="353"/>
                    <a:pt x="2280" y="354"/>
                    <a:pt x="2281" y="355"/>
                  </a:cubicBezTo>
                  <a:cubicBezTo>
                    <a:pt x="2283" y="357"/>
                    <a:pt x="2284" y="358"/>
                    <a:pt x="2290" y="359"/>
                  </a:cubicBezTo>
                  <a:cubicBezTo>
                    <a:pt x="2300" y="359"/>
                    <a:pt x="2325" y="370"/>
                    <a:pt x="2331" y="376"/>
                  </a:cubicBezTo>
                  <a:cubicBezTo>
                    <a:pt x="2334" y="379"/>
                    <a:pt x="2339" y="380"/>
                    <a:pt x="2344" y="382"/>
                  </a:cubicBezTo>
                  <a:cubicBezTo>
                    <a:pt x="2349" y="383"/>
                    <a:pt x="2353" y="384"/>
                    <a:pt x="2354" y="386"/>
                  </a:cubicBezTo>
                  <a:cubicBezTo>
                    <a:pt x="2356" y="389"/>
                    <a:pt x="2363" y="392"/>
                    <a:pt x="2369" y="395"/>
                  </a:cubicBezTo>
                  <a:cubicBezTo>
                    <a:pt x="2371" y="395"/>
                    <a:pt x="2374" y="396"/>
                    <a:pt x="2375" y="397"/>
                  </a:cubicBezTo>
                  <a:cubicBezTo>
                    <a:pt x="2380" y="399"/>
                    <a:pt x="2403" y="409"/>
                    <a:pt x="2404" y="414"/>
                  </a:cubicBezTo>
                  <a:cubicBezTo>
                    <a:pt x="2404" y="416"/>
                    <a:pt x="2405" y="416"/>
                    <a:pt x="2407" y="417"/>
                  </a:cubicBezTo>
                  <a:cubicBezTo>
                    <a:pt x="2408" y="418"/>
                    <a:pt x="2410" y="419"/>
                    <a:pt x="2410" y="422"/>
                  </a:cubicBezTo>
                  <a:cubicBezTo>
                    <a:pt x="2408" y="430"/>
                    <a:pt x="2408" y="435"/>
                    <a:pt x="2410" y="436"/>
                  </a:cubicBezTo>
                  <a:cubicBezTo>
                    <a:pt x="2416" y="441"/>
                    <a:pt x="2418" y="441"/>
                    <a:pt x="2418" y="441"/>
                  </a:cubicBezTo>
                  <a:cubicBezTo>
                    <a:pt x="2419" y="441"/>
                    <a:pt x="2419" y="441"/>
                    <a:pt x="2419" y="441"/>
                  </a:cubicBezTo>
                  <a:cubicBezTo>
                    <a:pt x="2419" y="441"/>
                    <a:pt x="2419" y="441"/>
                    <a:pt x="2418" y="441"/>
                  </a:cubicBezTo>
                  <a:cubicBezTo>
                    <a:pt x="2418" y="439"/>
                    <a:pt x="2419" y="437"/>
                    <a:pt x="2420" y="436"/>
                  </a:cubicBezTo>
                  <a:cubicBezTo>
                    <a:pt x="2421" y="434"/>
                    <a:pt x="2422" y="433"/>
                    <a:pt x="2421" y="432"/>
                  </a:cubicBezTo>
                  <a:cubicBezTo>
                    <a:pt x="2420" y="430"/>
                    <a:pt x="2418" y="429"/>
                    <a:pt x="2417" y="429"/>
                  </a:cubicBezTo>
                  <a:cubicBezTo>
                    <a:pt x="2415" y="428"/>
                    <a:pt x="2414" y="427"/>
                    <a:pt x="2414" y="425"/>
                  </a:cubicBezTo>
                  <a:cubicBezTo>
                    <a:pt x="2414" y="422"/>
                    <a:pt x="2420" y="422"/>
                    <a:pt x="2423" y="422"/>
                  </a:cubicBezTo>
                  <a:cubicBezTo>
                    <a:pt x="2426" y="422"/>
                    <a:pt x="2433" y="423"/>
                    <a:pt x="2434" y="425"/>
                  </a:cubicBezTo>
                  <a:cubicBezTo>
                    <a:pt x="2435" y="427"/>
                    <a:pt x="2438" y="429"/>
                    <a:pt x="2439" y="429"/>
                  </a:cubicBezTo>
                  <a:cubicBezTo>
                    <a:pt x="2439" y="429"/>
                    <a:pt x="2440" y="429"/>
                    <a:pt x="2440" y="428"/>
                  </a:cubicBezTo>
                  <a:cubicBezTo>
                    <a:pt x="2440" y="427"/>
                    <a:pt x="2441" y="427"/>
                    <a:pt x="2443" y="427"/>
                  </a:cubicBezTo>
                  <a:cubicBezTo>
                    <a:pt x="2449" y="427"/>
                    <a:pt x="2458" y="429"/>
                    <a:pt x="2460" y="433"/>
                  </a:cubicBezTo>
                  <a:cubicBezTo>
                    <a:pt x="2464" y="438"/>
                    <a:pt x="2477" y="446"/>
                    <a:pt x="2482" y="448"/>
                  </a:cubicBezTo>
                  <a:cubicBezTo>
                    <a:pt x="2485" y="449"/>
                    <a:pt x="2485" y="450"/>
                    <a:pt x="2485" y="451"/>
                  </a:cubicBezTo>
                  <a:cubicBezTo>
                    <a:pt x="2484" y="452"/>
                    <a:pt x="2483" y="453"/>
                    <a:pt x="2480" y="453"/>
                  </a:cubicBezTo>
                  <a:cubicBezTo>
                    <a:pt x="2480" y="453"/>
                    <a:pt x="2480" y="453"/>
                    <a:pt x="2480" y="453"/>
                  </a:cubicBezTo>
                  <a:cubicBezTo>
                    <a:pt x="2480" y="453"/>
                    <a:pt x="2480" y="453"/>
                    <a:pt x="2480" y="453"/>
                  </a:cubicBezTo>
                  <a:cubicBezTo>
                    <a:pt x="2480" y="453"/>
                    <a:pt x="2480" y="453"/>
                    <a:pt x="2480" y="453"/>
                  </a:cubicBezTo>
                  <a:cubicBezTo>
                    <a:pt x="2476" y="453"/>
                    <a:pt x="2473" y="458"/>
                    <a:pt x="2473" y="460"/>
                  </a:cubicBezTo>
                  <a:cubicBezTo>
                    <a:pt x="2473" y="461"/>
                    <a:pt x="2472" y="462"/>
                    <a:pt x="2470" y="462"/>
                  </a:cubicBezTo>
                  <a:cubicBezTo>
                    <a:pt x="2468" y="462"/>
                    <a:pt x="2466" y="461"/>
                    <a:pt x="2464" y="460"/>
                  </a:cubicBezTo>
                  <a:cubicBezTo>
                    <a:pt x="2463" y="459"/>
                    <a:pt x="2463" y="459"/>
                    <a:pt x="2462" y="459"/>
                  </a:cubicBezTo>
                  <a:cubicBezTo>
                    <a:pt x="2461" y="459"/>
                    <a:pt x="2460" y="459"/>
                    <a:pt x="2460" y="460"/>
                  </a:cubicBezTo>
                  <a:cubicBezTo>
                    <a:pt x="2460" y="460"/>
                    <a:pt x="2460" y="460"/>
                    <a:pt x="2461" y="460"/>
                  </a:cubicBezTo>
                  <a:cubicBezTo>
                    <a:pt x="2464" y="461"/>
                    <a:pt x="2467" y="463"/>
                    <a:pt x="2467" y="464"/>
                  </a:cubicBezTo>
                  <a:cubicBezTo>
                    <a:pt x="2467" y="464"/>
                    <a:pt x="2466" y="465"/>
                    <a:pt x="2465" y="465"/>
                  </a:cubicBezTo>
                  <a:cubicBezTo>
                    <a:pt x="2463" y="465"/>
                    <a:pt x="2463" y="465"/>
                    <a:pt x="2463" y="465"/>
                  </a:cubicBezTo>
                  <a:cubicBezTo>
                    <a:pt x="2460" y="465"/>
                    <a:pt x="2453" y="465"/>
                    <a:pt x="2448" y="462"/>
                  </a:cubicBezTo>
                  <a:cubicBezTo>
                    <a:pt x="2446" y="461"/>
                    <a:pt x="2445" y="460"/>
                    <a:pt x="2445" y="460"/>
                  </a:cubicBezTo>
                  <a:cubicBezTo>
                    <a:pt x="2444" y="460"/>
                    <a:pt x="2443" y="461"/>
                    <a:pt x="2443" y="461"/>
                  </a:cubicBezTo>
                  <a:cubicBezTo>
                    <a:pt x="2443" y="462"/>
                    <a:pt x="2443" y="462"/>
                    <a:pt x="2444" y="463"/>
                  </a:cubicBezTo>
                  <a:cubicBezTo>
                    <a:pt x="2446" y="463"/>
                    <a:pt x="2447" y="471"/>
                    <a:pt x="2447" y="474"/>
                  </a:cubicBezTo>
                  <a:cubicBezTo>
                    <a:pt x="2447" y="476"/>
                    <a:pt x="2447" y="478"/>
                    <a:pt x="2446" y="478"/>
                  </a:cubicBezTo>
                  <a:cubicBezTo>
                    <a:pt x="2445" y="478"/>
                    <a:pt x="2446" y="479"/>
                    <a:pt x="2446" y="481"/>
                  </a:cubicBezTo>
                  <a:cubicBezTo>
                    <a:pt x="2446" y="482"/>
                    <a:pt x="2446" y="483"/>
                    <a:pt x="2446" y="484"/>
                  </a:cubicBezTo>
                  <a:cubicBezTo>
                    <a:pt x="2445" y="485"/>
                    <a:pt x="2445" y="485"/>
                    <a:pt x="2444" y="485"/>
                  </a:cubicBezTo>
                  <a:cubicBezTo>
                    <a:pt x="2443" y="485"/>
                    <a:pt x="2441" y="484"/>
                    <a:pt x="2440" y="483"/>
                  </a:cubicBezTo>
                  <a:cubicBezTo>
                    <a:pt x="2440" y="483"/>
                    <a:pt x="2439" y="482"/>
                    <a:pt x="2438" y="482"/>
                  </a:cubicBezTo>
                  <a:cubicBezTo>
                    <a:pt x="2438" y="483"/>
                    <a:pt x="2438" y="483"/>
                    <a:pt x="2438" y="483"/>
                  </a:cubicBezTo>
                  <a:cubicBezTo>
                    <a:pt x="2438" y="483"/>
                    <a:pt x="2438" y="483"/>
                    <a:pt x="2438" y="483"/>
                  </a:cubicBezTo>
                  <a:cubicBezTo>
                    <a:pt x="2438" y="484"/>
                    <a:pt x="2439" y="485"/>
                    <a:pt x="2441" y="486"/>
                  </a:cubicBezTo>
                  <a:cubicBezTo>
                    <a:pt x="2443" y="487"/>
                    <a:pt x="2445" y="488"/>
                    <a:pt x="2445" y="489"/>
                  </a:cubicBezTo>
                  <a:cubicBezTo>
                    <a:pt x="2445" y="490"/>
                    <a:pt x="2445" y="491"/>
                    <a:pt x="2444" y="491"/>
                  </a:cubicBezTo>
                  <a:cubicBezTo>
                    <a:pt x="2443" y="492"/>
                    <a:pt x="2442" y="493"/>
                    <a:pt x="2441" y="493"/>
                  </a:cubicBezTo>
                  <a:cubicBezTo>
                    <a:pt x="2440" y="493"/>
                    <a:pt x="2440" y="492"/>
                    <a:pt x="2439" y="492"/>
                  </a:cubicBezTo>
                  <a:cubicBezTo>
                    <a:pt x="2438" y="492"/>
                    <a:pt x="2438" y="492"/>
                    <a:pt x="2438" y="492"/>
                  </a:cubicBezTo>
                  <a:cubicBezTo>
                    <a:pt x="2437" y="492"/>
                    <a:pt x="2437" y="492"/>
                    <a:pt x="2436" y="493"/>
                  </a:cubicBezTo>
                  <a:cubicBezTo>
                    <a:pt x="2435" y="493"/>
                    <a:pt x="2435" y="494"/>
                    <a:pt x="2434" y="494"/>
                  </a:cubicBezTo>
                  <a:cubicBezTo>
                    <a:pt x="2433" y="494"/>
                    <a:pt x="2432" y="493"/>
                    <a:pt x="2431" y="493"/>
                  </a:cubicBezTo>
                  <a:cubicBezTo>
                    <a:pt x="2430" y="492"/>
                    <a:pt x="2428" y="492"/>
                    <a:pt x="2427" y="492"/>
                  </a:cubicBezTo>
                  <a:cubicBezTo>
                    <a:pt x="2423" y="493"/>
                    <a:pt x="2420" y="491"/>
                    <a:pt x="2419" y="488"/>
                  </a:cubicBezTo>
                  <a:cubicBezTo>
                    <a:pt x="2418" y="486"/>
                    <a:pt x="2416" y="486"/>
                    <a:pt x="2413" y="485"/>
                  </a:cubicBezTo>
                  <a:cubicBezTo>
                    <a:pt x="2411" y="485"/>
                    <a:pt x="2408" y="484"/>
                    <a:pt x="2405" y="483"/>
                  </a:cubicBezTo>
                  <a:cubicBezTo>
                    <a:pt x="2397" y="479"/>
                    <a:pt x="2395" y="474"/>
                    <a:pt x="2394" y="470"/>
                  </a:cubicBezTo>
                  <a:cubicBezTo>
                    <a:pt x="2393" y="467"/>
                    <a:pt x="2382" y="462"/>
                    <a:pt x="2375" y="462"/>
                  </a:cubicBezTo>
                  <a:cubicBezTo>
                    <a:pt x="2374" y="462"/>
                    <a:pt x="2373" y="462"/>
                    <a:pt x="2372" y="463"/>
                  </a:cubicBezTo>
                  <a:cubicBezTo>
                    <a:pt x="2370" y="464"/>
                    <a:pt x="2367" y="465"/>
                    <a:pt x="2364" y="465"/>
                  </a:cubicBezTo>
                  <a:cubicBezTo>
                    <a:pt x="2360" y="465"/>
                    <a:pt x="2357" y="464"/>
                    <a:pt x="2356" y="462"/>
                  </a:cubicBezTo>
                  <a:cubicBezTo>
                    <a:pt x="2356" y="461"/>
                    <a:pt x="2355" y="460"/>
                    <a:pt x="2354" y="459"/>
                  </a:cubicBezTo>
                  <a:cubicBezTo>
                    <a:pt x="2352" y="457"/>
                    <a:pt x="2349" y="455"/>
                    <a:pt x="2351" y="452"/>
                  </a:cubicBezTo>
                  <a:cubicBezTo>
                    <a:pt x="2351" y="451"/>
                    <a:pt x="2352" y="450"/>
                    <a:pt x="2353" y="449"/>
                  </a:cubicBezTo>
                  <a:cubicBezTo>
                    <a:pt x="2354" y="447"/>
                    <a:pt x="2355" y="445"/>
                    <a:pt x="2355" y="444"/>
                  </a:cubicBezTo>
                  <a:cubicBezTo>
                    <a:pt x="2355" y="444"/>
                    <a:pt x="2354" y="444"/>
                    <a:pt x="2354" y="445"/>
                  </a:cubicBezTo>
                  <a:cubicBezTo>
                    <a:pt x="2352" y="446"/>
                    <a:pt x="2351" y="446"/>
                    <a:pt x="2350" y="446"/>
                  </a:cubicBezTo>
                  <a:cubicBezTo>
                    <a:pt x="2349" y="446"/>
                    <a:pt x="2348" y="446"/>
                    <a:pt x="2348" y="446"/>
                  </a:cubicBezTo>
                  <a:cubicBezTo>
                    <a:pt x="2347" y="445"/>
                    <a:pt x="2346" y="445"/>
                    <a:pt x="2346" y="445"/>
                  </a:cubicBezTo>
                  <a:cubicBezTo>
                    <a:pt x="2345" y="445"/>
                    <a:pt x="2345" y="446"/>
                    <a:pt x="2344" y="447"/>
                  </a:cubicBezTo>
                  <a:cubicBezTo>
                    <a:pt x="2343" y="448"/>
                    <a:pt x="2343" y="450"/>
                    <a:pt x="2340" y="450"/>
                  </a:cubicBezTo>
                  <a:cubicBezTo>
                    <a:pt x="2339" y="450"/>
                    <a:pt x="2338" y="451"/>
                    <a:pt x="2337" y="452"/>
                  </a:cubicBezTo>
                  <a:cubicBezTo>
                    <a:pt x="2337" y="453"/>
                    <a:pt x="2338" y="455"/>
                    <a:pt x="2339" y="456"/>
                  </a:cubicBezTo>
                  <a:cubicBezTo>
                    <a:pt x="2342" y="457"/>
                    <a:pt x="2344" y="460"/>
                    <a:pt x="2344" y="462"/>
                  </a:cubicBezTo>
                  <a:cubicBezTo>
                    <a:pt x="2344" y="463"/>
                    <a:pt x="2344" y="465"/>
                    <a:pt x="2342" y="466"/>
                  </a:cubicBezTo>
                  <a:cubicBezTo>
                    <a:pt x="2340" y="467"/>
                    <a:pt x="2339" y="468"/>
                    <a:pt x="2339" y="469"/>
                  </a:cubicBezTo>
                  <a:cubicBezTo>
                    <a:pt x="2339" y="470"/>
                    <a:pt x="2339" y="471"/>
                    <a:pt x="2338" y="473"/>
                  </a:cubicBezTo>
                  <a:cubicBezTo>
                    <a:pt x="2336" y="476"/>
                    <a:pt x="2329" y="479"/>
                    <a:pt x="2323" y="481"/>
                  </a:cubicBezTo>
                  <a:cubicBezTo>
                    <a:pt x="2321" y="482"/>
                    <a:pt x="2320" y="482"/>
                    <a:pt x="2318" y="483"/>
                  </a:cubicBezTo>
                  <a:cubicBezTo>
                    <a:pt x="2316" y="484"/>
                    <a:pt x="2311" y="485"/>
                    <a:pt x="2307" y="485"/>
                  </a:cubicBezTo>
                  <a:cubicBezTo>
                    <a:pt x="2306" y="485"/>
                    <a:pt x="2303" y="485"/>
                    <a:pt x="2301" y="484"/>
                  </a:cubicBezTo>
                  <a:cubicBezTo>
                    <a:pt x="2300" y="483"/>
                    <a:pt x="2300" y="482"/>
                    <a:pt x="2299" y="481"/>
                  </a:cubicBezTo>
                  <a:cubicBezTo>
                    <a:pt x="2298" y="480"/>
                    <a:pt x="2298" y="478"/>
                    <a:pt x="2294" y="477"/>
                  </a:cubicBezTo>
                  <a:cubicBezTo>
                    <a:pt x="2292" y="476"/>
                    <a:pt x="2290" y="476"/>
                    <a:pt x="2288" y="476"/>
                  </a:cubicBezTo>
                  <a:cubicBezTo>
                    <a:pt x="2285" y="476"/>
                    <a:pt x="2281" y="477"/>
                    <a:pt x="2280" y="479"/>
                  </a:cubicBezTo>
                  <a:cubicBezTo>
                    <a:pt x="2280" y="480"/>
                    <a:pt x="2280" y="480"/>
                    <a:pt x="2280" y="480"/>
                  </a:cubicBezTo>
                  <a:cubicBezTo>
                    <a:pt x="2281" y="483"/>
                    <a:pt x="2284" y="484"/>
                    <a:pt x="2287" y="484"/>
                  </a:cubicBezTo>
                  <a:cubicBezTo>
                    <a:pt x="2289" y="484"/>
                    <a:pt x="2290" y="484"/>
                    <a:pt x="2292" y="483"/>
                  </a:cubicBezTo>
                  <a:cubicBezTo>
                    <a:pt x="2293" y="482"/>
                    <a:pt x="2293" y="482"/>
                    <a:pt x="2294" y="482"/>
                  </a:cubicBezTo>
                  <a:cubicBezTo>
                    <a:pt x="2297" y="482"/>
                    <a:pt x="2297" y="486"/>
                    <a:pt x="2297" y="488"/>
                  </a:cubicBezTo>
                  <a:cubicBezTo>
                    <a:pt x="2297" y="489"/>
                    <a:pt x="2298" y="491"/>
                    <a:pt x="2299" y="492"/>
                  </a:cubicBezTo>
                  <a:cubicBezTo>
                    <a:pt x="2301" y="494"/>
                    <a:pt x="2303" y="494"/>
                    <a:pt x="2305" y="493"/>
                  </a:cubicBezTo>
                  <a:cubicBezTo>
                    <a:pt x="2305" y="493"/>
                    <a:pt x="2305" y="493"/>
                    <a:pt x="2306" y="493"/>
                  </a:cubicBezTo>
                  <a:cubicBezTo>
                    <a:pt x="2308" y="493"/>
                    <a:pt x="2310" y="496"/>
                    <a:pt x="2311" y="497"/>
                  </a:cubicBezTo>
                  <a:cubicBezTo>
                    <a:pt x="2314" y="500"/>
                    <a:pt x="2316" y="505"/>
                    <a:pt x="2315" y="508"/>
                  </a:cubicBezTo>
                  <a:cubicBezTo>
                    <a:pt x="2315" y="510"/>
                    <a:pt x="2317" y="512"/>
                    <a:pt x="2319" y="515"/>
                  </a:cubicBezTo>
                  <a:cubicBezTo>
                    <a:pt x="2322" y="517"/>
                    <a:pt x="2324" y="519"/>
                    <a:pt x="2324" y="521"/>
                  </a:cubicBezTo>
                  <a:cubicBezTo>
                    <a:pt x="2324" y="522"/>
                    <a:pt x="2324" y="524"/>
                    <a:pt x="2325" y="525"/>
                  </a:cubicBezTo>
                  <a:cubicBezTo>
                    <a:pt x="2326" y="527"/>
                    <a:pt x="2328" y="529"/>
                    <a:pt x="2324" y="533"/>
                  </a:cubicBezTo>
                  <a:cubicBezTo>
                    <a:pt x="2322" y="536"/>
                    <a:pt x="2319" y="537"/>
                    <a:pt x="2317" y="537"/>
                  </a:cubicBezTo>
                  <a:cubicBezTo>
                    <a:pt x="2315" y="537"/>
                    <a:pt x="2314" y="536"/>
                    <a:pt x="2312" y="536"/>
                  </a:cubicBezTo>
                  <a:cubicBezTo>
                    <a:pt x="2310" y="535"/>
                    <a:pt x="2309" y="535"/>
                    <a:pt x="2308" y="535"/>
                  </a:cubicBezTo>
                  <a:cubicBezTo>
                    <a:pt x="2305" y="534"/>
                    <a:pt x="2303" y="534"/>
                    <a:pt x="2301" y="534"/>
                  </a:cubicBezTo>
                  <a:cubicBezTo>
                    <a:pt x="2297" y="533"/>
                    <a:pt x="2295" y="533"/>
                    <a:pt x="2294" y="531"/>
                  </a:cubicBezTo>
                  <a:cubicBezTo>
                    <a:pt x="2294" y="530"/>
                    <a:pt x="2293" y="530"/>
                    <a:pt x="2292" y="530"/>
                  </a:cubicBezTo>
                  <a:cubicBezTo>
                    <a:pt x="2291" y="530"/>
                    <a:pt x="2290" y="530"/>
                    <a:pt x="2290" y="531"/>
                  </a:cubicBezTo>
                  <a:cubicBezTo>
                    <a:pt x="2289" y="531"/>
                    <a:pt x="2289" y="532"/>
                    <a:pt x="2290" y="532"/>
                  </a:cubicBezTo>
                  <a:cubicBezTo>
                    <a:pt x="2290" y="532"/>
                    <a:pt x="2290" y="533"/>
                    <a:pt x="2289" y="533"/>
                  </a:cubicBezTo>
                  <a:cubicBezTo>
                    <a:pt x="2287" y="537"/>
                    <a:pt x="2271" y="545"/>
                    <a:pt x="2259" y="548"/>
                  </a:cubicBezTo>
                  <a:cubicBezTo>
                    <a:pt x="2245" y="551"/>
                    <a:pt x="2236" y="555"/>
                    <a:pt x="2235" y="558"/>
                  </a:cubicBezTo>
                  <a:cubicBezTo>
                    <a:pt x="2234" y="560"/>
                    <a:pt x="2233" y="560"/>
                    <a:pt x="2231" y="561"/>
                  </a:cubicBezTo>
                  <a:cubicBezTo>
                    <a:pt x="2230" y="561"/>
                    <a:pt x="2228" y="562"/>
                    <a:pt x="2226" y="564"/>
                  </a:cubicBezTo>
                  <a:cubicBezTo>
                    <a:pt x="2224" y="566"/>
                    <a:pt x="2224" y="567"/>
                    <a:pt x="2223" y="567"/>
                  </a:cubicBezTo>
                  <a:cubicBezTo>
                    <a:pt x="2222" y="567"/>
                    <a:pt x="2221" y="568"/>
                    <a:pt x="2218" y="570"/>
                  </a:cubicBezTo>
                  <a:cubicBezTo>
                    <a:pt x="2211" y="575"/>
                    <a:pt x="2202" y="580"/>
                    <a:pt x="2196" y="582"/>
                  </a:cubicBezTo>
                  <a:cubicBezTo>
                    <a:pt x="2194" y="582"/>
                    <a:pt x="2194" y="584"/>
                    <a:pt x="2194" y="586"/>
                  </a:cubicBezTo>
                  <a:cubicBezTo>
                    <a:pt x="2193" y="588"/>
                    <a:pt x="2193" y="590"/>
                    <a:pt x="2190" y="590"/>
                  </a:cubicBezTo>
                  <a:cubicBezTo>
                    <a:pt x="2190" y="590"/>
                    <a:pt x="2190" y="590"/>
                    <a:pt x="2190" y="590"/>
                  </a:cubicBezTo>
                  <a:cubicBezTo>
                    <a:pt x="2188" y="590"/>
                    <a:pt x="2187" y="589"/>
                    <a:pt x="2185" y="587"/>
                  </a:cubicBezTo>
                  <a:cubicBezTo>
                    <a:pt x="2184" y="585"/>
                    <a:pt x="2182" y="583"/>
                    <a:pt x="2179" y="581"/>
                  </a:cubicBezTo>
                  <a:cubicBezTo>
                    <a:pt x="2176" y="580"/>
                    <a:pt x="2171" y="579"/>
                    <a:pt x="2165" y="579"/>
                  </a:cubicBezTo>
                  <a:cubicBezTo>
                    <a:pt x="2156" y="579"/>
                    <a:pt x="2148" y="581"/>
                    <a:pt x="2143" y="584"/>
                  </a:cubicBezTo>
                  <a:cubicBezTo>
                    <a:pt x="2140" y="586"/>
                    <a:pt x="2137" y="589"/>
                    <a:pt x="2135" y="590"/>
                  </a:cubicBezTo>
                  <a:cubicBezTo>
                    <a:pt x="2133" y="592"/>
                    <a:pt x="2132" y="593"/>
                    <a:pt x="2131" y="593"/>
                  </a:cubicBezTo>
                  <a:cubicBezTo>
                    <a:pt x="2130" y="593"/>
                    <a:pt x="2129" y="592"/>
                    <a:pt x="2129" y="591"/>
                  </a:cubicBezTo>
                  <a:cubicBezTo>
                    <a:pt x="2128" y="590"/>
                    <a:pt x="2129" y="587"/>
                    <a:pt x="2129" y="585"/>
                  </a:cubicBezTo>
                  <a:cubicBezTo>
                    <a:pt x="2129" y="583"/>
                    <a:pt x="2129" y="581"/>
                    <a:pt x="2128" y="580"/>
                  </a:cubicBezTo>
                  <a:cubicBezTo>
                    <a:pt x="2128" y="579"/>
                    <a:pt x="2127" y="579"/>
                    <a:pt x="2126" y="579"/>
                  </a:cubicBezTo>
                  <a:cubicBezTo>
                    <a:pt x="2123" y="579"/>
                    <a:pt x="2119" y="584"/>
                    <a:pt x="2116" y="588"/>
                  </a:cubicBezTo>
                  <a:cubicBezTo>
                    <a:pt x="2115" y="590"/>
                    <a:pt x="2113" y="592"/>
                    <a:pt x="2112" y="593"/>
                  </a:cubicBezTo>
                  <a:cubicBezTo>
                    <a:pt x="2111" y="594"/>
                    <a:pt x="2111" y="594"/>
                    <a:pt x="2110" y="594"/>
                  </a:cubicBezTo>
                  <a:cubicBezTo>
                    <a:pt x="2109" y="594"/>
                    <a:pt x="2109" y="593"/>
                    <a:pt x="2108" y="592"/>
                  </a:cubicBezTo>
                  <a:cubicBezTo>
                    <a:pt x="2108" y="591"/>
                    <a:pt x="2107" y="590"/>
                    <a:pt x="2106" y="590"/>
                  </a:cubicBezTo>
                  <a:cubicBezTo>
                    <a:pt x="2105" y="591"/>
                    <a:pt x="2103" y="590"/>
                    <a:pt x="2102" y="590"/>
                  </a:cubicBezTo>
                  <a:cubicBezTo>
                    <a:pt x="2100" y="590"/>
                    <a:pt x="2099" y="590"/>
                    <a:pt x="2097" y="590"/>
                  </a:cubicBezTo>
                  <a:cubicBezTo>
                    <a:pt x="2095" y="590"/>
                    <a:pt x="2094" y="590"/>
                    <a:pt x="2094" y="591"/>
                  </a:cubicBezTo>
                  <a:cubicBezTo>
                    <a:pt x="2093" y="592"/>
                    <a:pt x="2092" y="593"/>
                    <a:pt x="2091" y="594"/>
                  </a:cubicBezTo>
                  <a:cubicBezTo>
                    <a:pt x="2088" y="598"/>
                    <a:pt x="2084" y="604"/>
                    <a:pt x="2083" y="609"/>
                  </a:cubicBezTo>
                  <a:cubicBezTo>
                    <a:pt x="2082" y="612"/>
                    <a:pt x="2080" y="614"/>
                    <a:pt x="2078" y="616"/>
                  </a:cubicBezTo>
                  <a:cubicBezTo>
                    <a:pt x="2076" y="617"/>
                    <a:pt x="2073" y="619"/>
                    <a:pt x="2071" y="622"/>
                  </a:cubicBezTo>
                  <a:cubicBezTo>
                    <a:pt x="2067" y="627"/>
                    <a:pt x="2068" y="631"/>
                    <a:pt x="2069" y="634"/>
                  </a:cubicBezTo>
                  <a:cubicBezTo>
                    <a:pt x="2070" y="635"/>
                    <a:pt x="2071" y="636"/>
                    <a:pt x="2072" y="636"/>
                  </a:cubicBezTo>
                  <a:cubicBezTo>
                    <a:pt x="2073" y="636"/>
                    <a:pt x="2074" y="636"/>
                    <a:pt x="2075" y="636"/>
                  </a:cubicBezTo>
                  <a:cubicBezTo>
                    <a:pt x="2076" y="635"/>
                    <a:pt x="2077" y="635"/>
                    <a:pt x="2078" y="635"/>
                  </a:cubicBezTo>
                  <a:cubicBezTo>
                    <a:pt x="2079" y="635"/>
                    <a:pt x="2080" y="635"/>
                    <a:pt x="2081" y="636"/>
                  </a:cubicBezTo>
                  <a:cubicBezTo>
                    <a:pt x="2084" y="636"/>
                    <a:pt x="2086" y="637"/>
                    <a:pt x="2086" y="639"/>
                  </a:cubicBezTo>
                  <a:cubicBezTo>
                    <a:pt x="2087" y="640"/>
                    <a:pt x="2085" y="642"/>
                    <a:pt x="2082" y="644"/>
                  </a:cubicBezTo>
                  <a:cubicBezTo>
                    <a:pt x="2077" y="648"/>
                    <a:pt x="2076" y="655"/>
                    <a:pt x="2077" y="658"/>
                  </a:cubicBezTo>
                  <a:cubicBezTo>
                    <a:pt x="2078" y="659"/>
                    <a:pt x="2078" y="660"/>
                    <a:pt x="2079" y="660"/>
                  </a:cubicBezTo>
                  <a:cubicBezTo>
                    <a:pt x="2079" y="660"/>
                    <a:pt x="2079" y="660"/>
                    <a:pt x="2079" y="660"/>
                  </a:cubicBezTo>
                  <a:cubicBezTo>
                    <a:pt x="2081" y="660"/>
                    <a:pt x="2086" y="663"/>
                    <a:pt x="2087" y="666"/>
                  </a:cubicBezTo>
                  <a:cubicBezTo>
                    <a:pt x="2088" y="667"/>
                    <a:pt x="2087" y="669"/>
                    <a:pt x="2086" y="670"/>
                  </a:cubicBezTo>
                  <a:cubicBezTo>
                    <a:pt x="2085" y="671"/>
                    <a:pt x="2083" y="672"/>
                    <a:pt x="2082" y="672"/>
                  </a:cubicBezTo>
                  <a:cubicBezTo>
                    <a:pt x="2081" y="672"/>
                    <a:pt x="2080" y="672"/>
                    <a:pt x="2079" y="671"/>
                  </a:cubicBezTo>
                  <a:cubicBezTo>
                    <a:pt x="2078" y="671"/>
                    <a:pt x="2076" y="671"/>
                    <a:pt x="2075" y="671"/>
                  </a:cubicBezTo>
                  <a:cubicBezTo>
                    <a:pt x="2071" y="672"/>
                    <a:pt x="2066" y="679"/>
                    <a:pt x="2065" y="684"/>
                  </a:cubicBezTo>
                  <a:cubicBezTo>
                    <a:pt x="2064" y="686"/>
                    <a:pt x="2064" y="687"/>
                    <a:pt x="2064" y="688"/>
                  </a:cubicBezTo>
                  <a:cubicBezTo>
                    <a:pt x="2065" y="688"/>
                    <a:pt x="2065" y="688"/>
                    <a:pt x="2065" y="689"/>
                  </a:cubicBezTo>
                  <a:cubicBezTo>
                    <a:pt x="2068" y="692"/>
                    <a:pt x="2073" y="698"/>
                    <a:pt x="2067" y="703"/>
                  </a:cubicBezTo>
                  <a:cubicBezTo>
                    <a:pt x="2065" y="705"/>
                    <a:pt x="2063" y="705"/>
                    <a:pt x="2060" y="705"/>
                  </a:cubicBezTo>
                  <a:cubicBezTo>
                    <a:pt x="2059" y="705"/>
                    <a:pt x="2058" y="705"/>
                    <a:pt x="2057" y="705"/>
                  </a:cubicBezTo>
                  <a:cubicBezTo>
                    <a:pt x="2056" y="705"/>
                    <a:pt x="2055" y="705"/>
                    <a:pt x="2054" y="705"/>
                  </a:cubicBezTo>
                  <a:cubicBezTo>
                    <a:pt x="2052" y="705"/>
                    <a:pt x="2051" y="705"/>
                    <a:pt x="2050" y="706"/>
                  </a:cubicBezTo>
                  <a:cubicBezTo>
                    <a:pt x="2049" y="707"/>
                    <a:pt x="2048" y="707"/>
                    <a:pt x="2046" y="708"/>
                  </a:cubicBezTo>
                  <a:cubicBezTo>
                    <a:pt x="2042" y="711"/>
                    <a:pt x="2035" y="716"/>
                    <a:pt x="2036" y="719"/>
                  </a:cubicBezTo>
                  <a:cubicBezTo>
                    <a:pt x="2036" y="720"/>
                    <a:pt x="2036" y="721"/>
                    <a:pt x="2037" y="722"/>
                  </a:cubicBezTo>
                  <a:cubicBezTo>
                    <a:pt x="2038" y="726"/>
                    <a:pt x="2040" y="731"/>
                    <a:pt x="2037" y="732"/>
                  </a:cubicBezTo>
                  <a:cubicBezTo>
                    <a:pt x="2035" y="732"/>
                    <a:pt x="2034" y="732"/>
                    <a:pt x="2032" y="732"/>
                  </a:cubicBezTo>
                  <a:cubicBezTo>
                    <a:pt x="2030" y="732"/>
                    <a:pt x="2027" y="732"/>
                    <a:pt x="2026" y="734"/>
                  </a:cubicBezTo>
                  <a:cubicBezTo>
                    <a:pt x="2025" y="735"/>
                    <a:pt x="2023" y="736"/>
                    <a:pt x="2021" y="737"/>
                  </a:cubicBezTo>
                  <a:cubicBezTo>
                    <a:pt x="2019" y="738"/>
                    <a:pt x="2017" y="739"/>
                    <a:pt x="2016" y="740"/>
                  </a:cubicBezTo>
                  <a:cubicBezTo>
                    <a:pt x="2016" y="741"/>
                    <a:pt x="2016" y="743"/>
                    <a:pt x="2016" y="745"/>
                  </a:cubicBezTo>
                  <a:cubicBezTo>
                    <a:pt x="2016" y="749"/>
                    <a:pt x="2016" y="754"/>
                    <a:pt x="2013" y="755"/>
                  </a:cubicBezTo>
                  <a:cubicBezTo>
                    <a:pt x="2011" y="756"/>
                    <a:pt x="2011" y="757"/>
                    <a:pt x="2010" y="758"/>
                  </a:cubicBezTo>
                  <a:cubicBezTo>
                    <a:pt x="2009" y="760"/>
                    <a:pt x="2009" y="761"/>
                    <a:pt x="2006" y="764"/>
                  </a:cubicBezTo>
                  <a:cubicBezTo>
                    <a:pt x="2004" y="765"/>
                    <a:pt x="2002" y="767"/>
                    <a:pt x="2000" y="770"/>
                  </a:cubicBezTo>
                  <a:cubicBezTo>
                    <a:pt x="1995" y="774"/>
                    <a:pt x="1992" y="777"/>
                    <a:pt x="1991" y="777"/>
                  </a:cubicBezTo>
                  <a:cubicBezTo>
                    <a:pt x="1990" y="777"/>
                    <a:pt x="1990" y="777"/>
                    <a:pt x="1990" y="777"/>
                  </a:cubicBezTo>
                  <a:cubicBezTo>
                    <a:pt x="1989" y="776"/>
                    <a:pt x="1988" y="774"/>
                    <a:pt x="1988" y="772"/>
                  </a:cubicBezTo>
                  <a:cubicBezTo>
                    <a:pt x="1988" y="770"/>
                    <a:pt x="1987" y="768"/>
                    <a:pt x="1986" y="766"/>
                  </a:cubicBezTo>
                  <a:cubicBezTo>
                    <a:pt x="1984" y="764"/>
                    <a:pt x="1984" y="760"/>
                    <a:pt x="1984" y="755"/>
                  </a:cubicBezTo>
                  <a:cubicBezTo>
                    <a:pt x="1983" y="750"/>
                    <a:pt x="1983" y="744"/>
                    <a:pt x="1981" y="741"/>
                  </a:cubicBezTo>
                  <a:cubicBezTo>
                    <a:pt x="1977" y="735"/>
                    <a:pt x="1973" y="699"/>
                    <a:pt x="1973" y="687"/>
                  </a:cubicBezTo>
                  <a:cubicBezTo>
                    <a:pt x="1973" y="676"/>
                    <a:pt x="1978" y="663"/>
                    <a:pt x="1987" y="654"/>
                  </a:cubicBezTo>
                  <a:cubicBezTo>
                    <a:pt x="1992" y="648"/>
                    <a:pt x="1991" y="643"/>
                    <a:pt x="1991" y="640"/>
                  </a:cubicBezTo>
                  <a:cubicBezTo>
                    <a:pt x="1990" y="638"/>
                    <a:pt x="1990" y="636"/>
                    <a:pt x="1992" y="636"/>
                  </a:cubicBezTo>
                  <a:cubicBezTo>
                    <a:pt x="1993" y="636"/>
                    <a:pt x="1994" y="636"/>
                    <a:pt x="1995" y="636"/>
                  </a:cubicBezTo>
                  <a:cubicBezTo>
                    <a:pt x="1998" y="635"/>
                    <a:pt x="2005" y="635"/>
                    <a:pt x="2005" y="634"/>
                  </a:cubicBezTo>
                  <a:cubicBezTo>
                    <a:pt x="2005" y="632"/>
                    <a:pt x="2007" y="632"/>
                    <a:pt x="2010" y="631"/>
                  </a:cubicBezTo>
                  <a:cubicBezTo>
                    <a:pt x="2015" y="629"/>
                    <a:pt x="2023" y="626"/>
                    <a:pt x="2029" y="617"/>
                  </a:cubicBezTo>
                  <a:cubicBezTo>
                    <a:pt x="2034" y="609"/>
                    <a:pt x="2041" y="604"/>
                    <a:pt x="2047" y="600"/>
                  </a:cubicBezTo>
                  <a:cubicBezTo>
                    <a:pt x="2051" y="598"/>
                    <a:pt x="2054" y="595"/>
                    <a:pt x="2056" y="592"/>
                  </a:cubicBezTo>
                  <a:cubicBezTo>
                    <a:pt x="2058" y="589"/>
                    <a:pt x="2060" y="587"/>
                    <a:pt x="2063" y="585"/>
                  </a:cubicBezTo>
                  <a:cubicBezTo>
                    <a:pt x="2065" y="583"/>
                    <a:pt x="2067" y="582"/>
                    <a:pt x="2068" y="579"/>
                  </a:cubicBezTo>
                  <a:cubicBezTo>
                    <a:pt x="2068" y="575"/>
                    <a:pt x="2077" y="573"/>
                    <a:pt x="2083" y="571"/>
                  </a:cubicBezTo>
                  <a:cubicBezTo>
                    <a:pt x="2085" y="571"/>
                    <a:pt x="2086" y="571"/>
                    <a:pt x="2087" y="570"/>
                  </a:cubicBezTo>
                  <a:cubicBezTo>
                    <a:pt x="2091" y="569"/>
                    <a:pt x="2091" y="568"/>
                    <a:pt x="2091" y="565"/>
                  </a:cubicBezTo>
                  <a:cubicBezTo>
                    <a:pt x="2091" y="564"/>
                    <a:pt x="2091" y="564"/>
                    <a:pt x="2091" y="564"/>
                  </a:cubicBezTo>
                  <a:cubicBezTo>
                    <a:pt x="2091" y="563"/>
                    <a:pt x="2093" y="562"/>
                    <a:pt x="2094" y="561"/>
                  </a:cubicBezTo>
                  <a:cubicBezTo>
                    <a:pt x="2095" y="560"/>
                    <a:pt x="2096" y="560"/>
                    <a:pt x="2096" y="559"/>
                  </a:cubicBezTo>
                  <a:cubicBezTo>
                    <a:pt x="2096" y="559"/>
                    <a:pt x="2096" y="559"/>
                    <a:pt x="2096" y="558"/>
                  </a:cubicBezTo>
                  <a:cubicBezTo>
                    <a:pt x="2094" y="557"/>
                    <a:pt x="2095" y="555"/>
                    <a:pt x="2096" y="553"/>
                  </a:cubicBezTo>
                  <a:cubicBezTo>
                    <a:pt x="2097" y="551"/>
                    <a:pt x="2098" y="549"/>
                    <a:pt x="2098" y="545"/>
                  </a:cubicBezTo>
                  <a:cubicBezTo>
                    <a:pt x="2098" y="542"/>
                    <a:pt x="2099" y="539"/>
                    <a:pt x="2101" y="536"/>
                  </a:cubicBezTo>
                  <a:cubicBezTo>
                    <a:pt x="2103" y="534"/>
                    <a:pt x="2106" y="533"/>
                    <a:pt x="2109" y="534"/>
                  </a:cubicBezTo>
                  <a:cubicBezTo>
                    <a:pt x="2111" y="534"/>
                    <a:pt x="2112" y="534"/>
                    <a:pt x="2112" y="534"/>
                  </a:cubicBezTo>
                  <a:cubicBezTo>
                    <a:pt x="2113" y="534"/>
                    <a:pt x="2113" y="534"/>
                    <a:pt x="2113" y="534"/>
                  </a:cubicBezTo>
                  <a:cubicBezTo>
                    <a:pt x="2113" y="534"/>
                    <a:pt x="2112" y="533"/>
                    <a:pt x="2109" y="531"/>
                  </a:cubicBezTo>
                  <a:cubicBezTo>
                    <a:pt x="2108" y="531"/>
                    <a:pt x="2106" y="530"/>
                    <a:pt x="2103" y="530"/>
                  </a:cubicBezTo>
                  <a:cubicBezTo>
                    <a:pt x="2096" y="530"/>
                    <a:pt x="2085" y="533"/>
                    <a:pt x="2085" y="540"/>
                  </a:cubicBezTo>
                  <a:cubicBezTo>
                    <a:pt x="2085" y="543"/>
                    <a:pt x="2085" y="545"/>
                    <a:pt x="2085" y="547"/>
                  </a:cubicBezTo>
                  <a:cubicBezTo>
                    <a:pt x="2086" y="550"/>
                    <a:pt x="2086" y="552"/>
                    <a:pt x="2085" y="554"/>
                  </a:cubicBezTo>
                  <a:cubicBezTo>
                    <a:pt x="2084" y="554"/>
                    <a:pt x="2083" y="555"/>
                    <a:pt x="2081" y="554"/>
                  </a:cubicBezTo>
                  <a:cubicBezTo>
                    <a:pt x="2080" y="554"/>
                    <a:pt x="2080" y="554"/>
                    <a:pt x="2080" y="554"/>
                  </a:cubicBezTo>
                  <a:cubicBezTo>
                    <a:pt x="2073" y="554"/>
                    <a:pt x="2065" y="558"/>
                    <a:pt x="2058" y="566"/>
                  </a:cubicBezTo>
                  <a:cubicBezTo>
                    <a:pt x="2050" y="574"/>
                    <a:pt x="2044" y="574"/>
                    <a:pt x="2042" y="574"/>
                  </a:cubicBezTo>
                  <a:cubicBezTo>
                    <a:pt x="2041" y="574"/>
                    <a:pt x="2040" y="574"/>
                    <a:pt x="2039" y="573"/>
                  </a:cubicBezTo>
                  <a:cubicBezTo>
                    <a:pt x="2039" y="572"/>
                    <a:pt x="2040" y="571"/>
                    <a:pt x="2042" y="570"/>
                  </a:cubicBezTo>
                  <a:cubicBezTo>
                    <a:pt x="2043" y="570"/>
                    <a:pt x="2044" y="569"/>
                    <a:pt x="2044" y="568"/>
                  </a:cubicBezTo>
                  <a:cubicBezTo>
                    <a:pt x="2044" y="568"/>
                    <a:pt x="2044" y="568"/>
                    <a:pt x="2043" y="568"/>
                  </a:cubicBezTo>
                  <a:cubicBezTo>
                    <a:pt x="2042" y="567"/>
                    <a:pt x="2041" y="567"/>
                    <a:pt x="2040" y="567"/>
                  </a:cubicBezTo>
                  <a:cubicBezTo>
                    <a:pt x="2038" y="567"/>
                    <a:pt x="2036" y="566"/>
                    <a:pt x="2035" y="565"/>
                  </a:cubicBezTo>
                  <a:cubicBezTo>
                    <a:pt x="2035" y="564"/>
                    <a:pt x="2034" y="563"/>
                    <a:pt x="2035" y="561"/>
                  </a:cubicBezTo>
                  <a:cubicBezTo>
                    <a:pt x="2036" y="558"/>
                    <a:pt x="2038" y="556"/>
                    <a:pt x="2040" y="554"/>
                  </a:cubicBezTo>
                  <a:cubicBezTo>
                    <a:pt x="2042" y="552"/>
                    <a:pt x="2043" y="550"/>
                    <a:pt x="2043" y="549"/>
                  </a:cubicBezTo>
                  <a:cubicBezTo>
                    <a:pt x="2043" y="549"/>
                    <a:pt x="2043" y="549"/>
                    <a:pt x="2042" y="548"/>
                  </a:cubicBezTo>
                  <a:cubicBezTo>
                    <a:pt x="2041" y="547"/>
                    <a:pt x="2039" y="549"/>
                    <a:pt x="2037" y="550"/>
                  </a:cubicBezTo>
                  <a:cubicBezTo>
                    <a:pt x="2035" y="552"/>
                    <a:pt x="2034" y="553"/>
                    <a:pt x="2033" y="553"/>
                  </a:cubicBezTo>
                  <a:cubicBezTo>
                    <a:pt x="2032" y="553"/>
                    <a:pt x="2032" y="553"/>
                    <a:pt x="2032" y="552"/>
                  </a:cubicBezTo>
                  <a:cubicBezTo>
                    <a:pt x="2031" y="552"/>
                    <a:pt x="2030" y="551"/>
                    <a:pt x="2029" y="550"/>
                  </a:cubicBezTo>
                  <a:cubicBezTo>
                    <a:pt x="2029" y="548"/>
                    <a:pt x="2028" y="547"/>
                    <a:pt x="2026" y="547"/>
                  </a:cubicBezTo>
                  <a:cubicBezTo>
                    <a:pt x="2025" y="547"/>
                    <a:pt x="2024" y="548"/>
                    <a:pt x="2023" y="548"/>
                  </a:cubicBezTo>
                  <a:cubicBezTo>
                    <a:pt x="2019" y="550"/>
                    <a:pt x="2015" y="551"/>
                    <a:pt x="2009" y="551"/>
                  </a:cubicBezTo>
                  <a:cubicBezTo>
                    <a:pt x="2007" y="551"/>
                    <a:pt x="2005" y="551"/>
                    <a:pt x="2003" y="551"/>
                  </a:cubicBezTo>
                  <a:cubicBezTo>
                    <a:pt x="2001" y="551"/>
                    <a:pt x="2000" y="551"/>
                    <a:pt x="1999" y="551"/>
                  </a:cubicBezTo>
                  <a:cubicBezTo>
                    <a:pt x="1994" y="551"/>
                    <a:pt x="1991" y="560"/>
                    <a:pt x="1991" y="563"/>
                  </a:cubicBezTo>
                  <a:cubicBezTo>
                    <a:pt x="1991" y="565"/>
                    <a:pt x="1990" y="566"/>
                    <a:pt x="1988" y="566"/>
                  </a:cubicBezTo>
                  <a:cubicBezTo>
                    <a:pt x="1986" y="567"/>
                    <a:pt x="1983" y="567"/>
                    <a:pt x="1980" y="570"/>
                  </a:cubicBezTo>
                  <a:cubicBezTo>
                    <a:pt x="1978" y="572"/>
                    <a:pt x="1976" y="573"/>
                    <a:pt x="1974" y="575"/>
                  </a:cubicBezTo>
                  <a:cubicBezTo>
                    <a:pt x="1969" y="579"/>
                    <a:pt x="1963" y="583"/>
                    <a:pt x="1959" y="589"/>
                  </a:cubicBezTo>
                  <a:cubicBezTo>
                    <a:pt x="1956" y="594"/>
                    <a:pt x="1955" y="598"/>
                    <a:pt x="1956" y="599"/>
                  </a:cubicBezTo>
                  <a:cubicBezTo>
                    <a:pt x="1956" y="600"/>
                    <a:pt x="1958" y="600"/>
                    <a:pt x="1960" y="600"/>
                  </a:cubicBezTo>
                  <a:cubicBezTo>
                    <a:pt x="1965" y="600"/>
                    <a:pt x="1968" y="603"/>
                    <a:pt x="1968" y="604"/>
                  </a:cubicBezTo>
                  <a:cubicBezTo>
                    <a:pt x="1968" y="605"/>
                    <a:pt x="1968" y="605"/>
                    <a:pt x="1967" y="606"/>
                  </a:cubicBezTo>
                  <a:cubicBezTo>
                    <a:pt x="1966" y="606"/>
                    <a:pt x="1966" y="606"/>
                    <a:pt x="1966" y="606"/>
                  </a:cubicBezTo>
                  <a:cubicBezTo>
                    <a:pt x="1965" y="606"/>
                    <a:pt x="1965" y="606"/>
                    <a:pt x="1964" y="606"/>
                  </a:cubicBezTo>
                  <a:cubicBezTo>
                    <a:pt x="1960" y="606"/>
                    <a:pt x="1954" y="607"/>
                    <a:pt x="1951" y="609"/>
                  </a:cubicBezTo>
                  <a:cubicBezTo>
                    <a:pt x="1950" y="610"/>
                    <a:pt x="1949" y="610"/>
                    <a:pt x="1949" y="610"/>
                  </a:cubicBezTo>
                  <a:cubicBezTo>
                    <a:pt x="1948" y="610"/>
                    <a:pt x="1947" y="610"/>
                    <a:pt x="1946" y="610"/>
                  </a:cubicBezTo>
                  <a:cubicBezTo>
                    <a:pt x="1945" y="609"/>
                    <a:pt x="1944" y="609"/>
                    <a:pt x="1943" y="609"/>
                  </a:cubicBezTo>
                  <a:cubicBezTo>
                    <a:pt x="1942" y="609"/>
                    <a:pt x="1942" y="609"/>
                    <a:pt x="1940" y="610"/>
                  </a:cubicBezTo>
                  <a:cubicBezTo>
                    <a:pt x="1937" y="612"/>
                    <a:pt x="1934" y="613"/>
                    <a:pt x="1929" y="613"/>
                  </a:cubicBezTo>
                  <a:cubicBezTo>
                    <a:pt x="1928" y="613"/>
                    <a:pt x="1926" y="612"/>
                    <a:pt x="1925" y="612"/>
                  </a:cubicBezTo>
                  <a:cubicBezTo>
                    <a:pt x="1924" y="612"/>
                    <a:pt x="1922" y="613"/>
                    <a:pt x="1920" y="614"/>
                  </a:cubicBezTo>
                  <a:cubicBezTo>
                    <a:pt x="1918" y="614"/>
                    <a:pt x="1916" y="615"/>
                    <a:pt x="1913" y="615"/>
                  </a:cubicBezTo>
                  <a:cubicBezTo>
                    <a:pt x="1912" y="615"/>
                    <a:pt x="1911" y="615"/>
                    <a:pt x="1910" y="614"/>
                  </a:cubicBezTo>
                  <a:cubicBezTo>
                    <a:pt x="1908" y="613"/>
                    <a:pt x="1908" y="612"/>
                    <a:pt x="1908" y="611"/>
                  </a:cubicBezTo>
                  <a:cubicBezTo>
                    <a:pt x="1908" y="609"/>
                    <a:pt x="1911" y="608"/>
                    <a:pt x="1914" y="608"/>
                  </a:cubicBezTo>
                  <a:cubicBezTo>
                    <a:pt x="1914" y="608"/>
                    <a:pt x="1915" y="608"/>
                    <a:pt x="1915" y="609"/>
                  </a:cubicBezTo>
                  <a:cubicBezTo>
                    <a:pt x="1918" y="609"/>
                    <a:pt x="1920" y="607"/>
                    <a:pt x="1920" y="606"/>
                  </a:cubicBezTo>
                  <a:cubicBezTo>
                    <a:pt x="1920" y="606"/>
                    <a:pt x="1919" y="605"/>
                    <a:pt x="1918" y="605"/>
                  </a:cubicBezTo>
                  <a:cubicBezTo>
                    <a:pt x="1915" y="605"/>
                    <a:pt x="1914" y="603"/>
                    <a:pt x="1913" y="601"/>
                  </a:cubicBezTo>
                  <a:cubicBezTo>
                    <a:pt x="1912" y="600"/>
                    <a:pt x="1911" y="599"/>
                    <a:pt x="1910" y="599"/>
                  </a:cubicBezTo>
                  <a:cubicBezTo>
                    <a:pt x="1909" y="599"/>
                    <a:pt x="1909" y="599"/>
                    <a:pt x="1908" y="600"/>
                  </a:cubicBezTo>
                  <a:cubicBezTo>
                    <a:pt x="1906" y="601"/>
                    <a:pt x="1905" y="601"/>
                    <a:pt x="1903" y="601"/>
                  </a:cubicBezTo>
                  <a:cubicBezTo>
                    <a:pt x="1901" y="601"/>
                    <a:pt x="1899" y="600"/>
                    <a:pt x="1898" y="599"/>
                  </a:cubicBezTo>
                  <a:cubicBezTo>
                    <a:pt x="1897" y="598"/>
                    <a:pt x="1897" y="598"/>
                    <a:pt x="1896" y="598"/>
                  </a:cubicBezTo>
                  <a:cubicBezTo>
                    <a:pt x="1895" y="597"/>
                    <a:pt x="1891" y="596"/>
                    <a:pt x="1887" y="596"/>
                  </a:cubicBezTo>
                  <a:cubicBezTo>
                    <a:pt x="1882" y="596"/>
                    <a:pt x="1878" y="597"/>
                    <a:pt x="1877" y="600"/>
                  </a:cubicBezTo>
                  <a:cubicBezTo>
                    <a:pt x="1875" y="603"/>
                    <a:pt x="1873" y="605"/>
                    <a:pt x="1870" y="605"/>
                  </a:cubicBezTo>
                  <a:cubicBezTo>
                    <a:pt x="1868" y="605"/>
                    <a:pt x="1866" y="604"/>
                    <a:pt x="1864" y="603"/>
                  </a:cubicBezTo>
                  <a:cubicBezTo>
                    <a:pt x="1863" y="603"/>
                    <a:pt x="1863" y="603"/>
                    <a:pt x="1862" y="603"/>
                  </a:cubicBezTo>
                  <a:cubicBezTo>
                    <a:pt x="1861" y="603"/>
                    <a:pt x="1860" y="604"/>
                    <a:pt x="1858" y="604"/>
                  </a:cubicBezTo>
                  <a:cubicBezTo>
                    <a:pt x="1857" y="605"/>
                    <a:pt x="1855" y="606"/>
                    <a:pt x="1852" y="606"/>
                  </a:cubicBezTo>
                  <a:cubicBezTo>
                    <a:pt x="1851" y="606"/>
                    <a:pt x="1851" y="605"/>
                    <a:pt x="1850" y="605"/>
                  </a:cubicBezTo>
                  <a:cubicBezTo>
                    <a:pt x="1849" y="605"/>
                    <a:pt x="1848" y="605"/>
                    <a:pt x="1846" y="605"/>
                  </a:cubicBezTo>
                  <a:cubicBezTo>
                    <a:pt x="1844" y="605"/>
                    <a:pt x="1842" y="604"/>
                    <a:pt x="1840" y="604"/>
                  </a:cubicBezTo>
                  <a:cubicBezTo>
                    <a:pt x="1839" y="604"/>
                    <a:pt x="1838" y="605"/>
                    <a:pt x="1837" y="605"/>
                  </a:cubicBezTo>
                  <a:cubicBezTo>
                    <a:pt x="1836" y="606"/>
                    <a:pt x="1835" y="608"/>
                    <a:pt x="1833" y="608"/>
                  </a:cubicBezTo>
                  <a:cubicBezTo>
                    <a:pt x="1831" y="608"/>
                    <a:pt x="1830" y="607"/>
                    <a:pt x="1829" y="606"/>
                  </a:cubicBezTo>
                  <a:cubicBezTo>
                    <a:pt x="1826" y="603"/>
                    <a:pt x="1816" y="601"/>
                    <a:pt x="1806" y="601"/>
                  </a:cubicBezTo>
                  <a:cubicBezTo>
                    <a:pt x="1803" y="601"/>
                    <a:pt x="1800" y="601"/>
                    <a:pt x="1797" y="602"/>
                  </a:cubicBezTo>
                  <a:cubicBezTo>
                    <a:pt x="1787" y="604"/>
                    <a:pt x="1771" y="613"/>
                    <a:pt x="1771" y="616"/>
                  </a:cubicBezTo>
                  <a:cubicBezTo>
                    <a:pt x="1770" y="618"/>
                    <a:pt x="1767" y="620"/>
                    <a:pt x="1763" y="623"/>
                  </a:cubicBezTo>
                  <a:cubicBezTo>
                    <a:pt x="1759" y="625"/>
                    <a:pt x="1755" y="627"/>
                    <a:pt x="1754" y="629"/>
                  </a:cubicBezTo>
                  <a:cubicBezTo>
                    <a:pt x="1752" y="634"/>
                    <a:pt x="1747" y="639"/>
                    <a:pt x="1738" y="646"/>
                  </a:cubicBezTo>
                  <a:cubicBezTo>
                    <a:pt x="1734" y="649"/>
                    <a:pt x="1730" y="652"/>
                    <a:pt x="1727" y="654"/>
                  </a:cubicBezTo>
                  <a:cubicBezTo>
                    <a:pt x="1722" y="657"/>
                    <a:pt x="1718" y="660"/>
                    <a:pt x="1718" y="661"/>
                  </a:cubicBezTo>
                  <a:cubicBezTo>
                    <a:pt x="1717" y="662"/>
                    <a:pt x="1717" y="662"/>
                    <a:pt x="1717" y="662"/>
                  </a:cubicBezTo>
                  <a:cubicBezTo>
                    <a:pt x="1716" y="665"/>
                    <a:pt x="1715" y="669"/>
                    <a:pt x="1709" y="672"/>
                  </a:cubicBezTo>
                  <a:cubicBezTo>
                    <a:pt x="1708" y="673"/>
                    <a:pt x="1705" y="675"/>
                    <a:pt x="1703" y="676"/>
                  </a:cubicBezTo>
                  <a:cubicBezTo>
                    <a:pt x="1698" y="679"/>
                    <a:pt x="1693" y="682"/>
                    <a:pt x="1691" y="683"/>
                  </a:cubicBezTo>
                  <a:cubicBezTo>
                    <a:pt x="1689" y="684"/>
                    <a:pt x="1689" y="685"/>
                    <a:pt x="1688" y="686"/>
                  </a:cubicBezTo>
                  <a:cubicBezTo>
                    <a:pt x="1687" y="688"/>
                    <a:pt x="1685" y="690"/>
                    <a:pt x="1681" y="692"/>
                  </a:cubicBezTo>
                  <a:cubicBezTo>
                    <a:pt x="1677" y="694"/>
                    <a:pt x="1674" y="697"/>
                    <a:pt x="1675" y="699"/>
                  </a:cubicBezTo>
                  <a:cubicBezTo>
                    <a:pt x="1675" y="701"/>
                    <a:pt x="1677" y="702"/>
                    <a:pt x="1680" y="702"/>
                  </a:cubicBezTo>
                  <a:cubicBezTo>
                    <a:pt x="1681" y="702"/>
                    <a:pt x="1682" y="702"/>
                    <a:pt x="1683" y="702"/>
                  </a:cubicBezTo>
                  <a:cubicBezTo>
                    <a:pt x="1686" y="702"/>
                    <a:pt x="1689" y="702"/>
                    <a:pt x="1691" y="701"/>
                  </a:cubicBezTo>
                  <a:cubicBezTo>
                    <a:pt x="1693" y="701"/>
                    <a:pt x="1694" y="701"/>
                    <a:pt x="1695" y="701"/>
                  </a:cubicBezTo>
                  <a:cubicBezTo>
                    <a:pt x="1696" y="701"/>
                    <a:pt x="1697" y="701"/>
                    <a:pt x="1697" y="702"/>
                  </a:cubicBezTo>
                  <a:cubicBezTo>
                    <a:pt x="1697" y="703"/>
                    <a:pt x="1697" y="703"/>
                    <a:pt x="1697" y="703"/>
                  </a:cubicBezTo>
                  <a:cubicBezTo>
                    <a:pt x="1696" y="706"/>
                    <a:pt x="1695" y="714"/>
                    <a:pt x="1697" y="717"/>
                  </a:cubicBezTo>
                  <a:cubicBezTo>
                    <a:pt x="1698" y="717"/>
                    <a:pt x="1698" y="717"/>
                    <a:pt x="1698" y="717"/>
                  </a:cubicBezTo>
                  <a:cubicBezTo>
                    <a:pt x="1700" y="717"/>
                    <a:pt x="1701" y="715"/>
                    <a:pt x="1702" y="713"/>
                  </a:cubicBezTo>
                  <a:cubicBezTo>
                    <a:pt x="1703" y="711"/>
                    <a:pt x="1705" y="709"/>
                    <a:pt x="1707" y="707"/>
                  </a:cubicBezTo>
                  <a:cubicBezTo>
                    <a:pt x="1708" y="706"/>
                    <a:pt x="1709" y="706"/>
                    <a:pt x="1710" y="706"/>
                  </a:cubicBezTo>
                  <a:cubicBezTo>
                    <a:pt x="1710" y="706"/>
                    <a:pt x="1710" y="706"/>
                    <a:pt x="1710" y="706"/>
                  </a:cubicBezTo>
                  <a:cubicBezTo>
                    <a:pt x="1711" y="707"/>
                    <a:pt x="1710" y="708"/>
                    <a:pt x="1710" y="710"/>
                  </a:cubicBezTo>
                  <a:cubicBezTo>
                    <a:pt x="1709" y="711"/>
                    <a:pt x="1709" y="712"/>
                    <a:pt x="1708" y="713"/>
                  </a:cubicBezTo>
                  <a:cubicBezTo>
                    <a:pt x="1708" y="715"/>
                    <a:pt x="1709" y="716"/>
                    <a:pt x="1710" y="717"/>
                  </a:cubicBezTo>
                  <a:cubicBezTo>
                    <a:pt x="1711" y="718"/>
                    <a:pt x="1712" y="720"/>
                    <a:pt x="1709" y="722"/>
                  </a:cubicBezTo>
                  <a:cubicBezTo>
                    <a:pt x="1708" y="723"/>
                    <a:pt x="1708" y="724"/>
                    <a:pt x="1708" y="724"/>
                  </a:cubicBezTo>
                  <a:cubicBezTo>
                    <a:pt x="1708" y="724"/>
                    <a:pt x="1709" y="724"/>
                    <a:pt x="1710" y="724"/>
                  </a:cubicBezTo>
                  <a:cubicBezTo>
                    <a:pt x="1711" y="724"/>
                    <a:pt x="1715" y="723"/>
                    <a:pt x="1716" y="721"/>
                  </a:cubicBezTo>
                  <a:cubicBezTo>
                    <a:pt x="1717" y="720"/>
                    <a:pt x="1717" y="720"/>
                    <a:pt x="1717" y="720"/>
                  </a:cubicBezTo>
                  <a:cubicBezTo>
                    <a:pt x="1719" y="716"/>
                    <a:pt x="1721" y="714"/>
                    <a:pt x="1723" y="715"/>
                  </a:cubicBezTo>
                  <a:cubicBezTo>
                    <a:pt x="1724" y="715"/>
                    <a:pt x="1725" y="715"/>
                    <a:pt x="1725" y="715"/>
                  </a:cubicBezTo>
                  <a:cubicBezTo>
                    <a:pt x="1726" y="714"/>
                    <a:pt x="1726" y="712"/>
                    <a:pt x="1725" y="711"/>
                  </a:cubicBezTo>
                  <a:cubicBezTo>
                    <a:pt x="1725" y="710"/>
                    <a:pt x="1725" y="710"/>
                    <a:pt x="1725" y="710"/>
                  </a:cubicBezTo>
                  <a:cubicBezTo>
                    <a:pt x="1726" y="709"/>
                    <a:pt x="1726" y="709"/>
                    <a:pt x="1728" y="709"/>
                  </a:cubicBezTo>
                  <a:cubicBezTo>
                    <a:pt x="1729" y="709"/>
                    <a:pt x="1730" y="709"/>
                    <a:pt x="1732" y="709"/>
                  </a:cubicBezTo>
                  <a:cubicBezTo>
                    <a:pt x="1734" y="710"/>
                    <a:pt x="1736" y="710"/>
                    <a:pt x="1738" y="710"/>
                  </a:cubicBezTo>
                  <a:cubicBezTo>
                    <a:pt x="1739" y="710"/>
                    <a:pt x="1739" y="710"/>
                    <a:pt x="1739" y="710"/>
                  </a:cubicBezTo>
                  <a:cubicBezTo>
                    <a:pt x="1744" y="710"/>
                    <a:pt x="1750" y="715"/>
                    <a:pt x="1750" y="719"/>
                  </a:cubicBezTo>
                  <a:cubicBezTo>
                    <a:pt x="1750" y="722"/>
                    <a:pt x="1754" y="724"/>
                    <a:pt x="1757" y="725"/>
                  </a:cubicBezTo>
                  <a:cubicBezTo>
                    <a:pt x="1758" y="725"/>
                    <a:pt x="1758" y="726"/>
                    <a:pt x="1759" y="726"/>
                  </a:cubicBezTo>
                  <a:cubicBezTo>
                    <a:pt x="1761" y="727"/>
                    <a:pt x="1765" y="730"/>
                    <a:pt x="1765" y="732"/>
                  </a:cubicBezTo>
                  <a:cubicBezTo>
                    <a:pt x="1765" y="733"/>
                    <a:pt x="1765" y="733"/>
                    <a:pt x="1764" y="734"/>
                  </a:cubicBezTo>
                  <a:cubicBezTo>
                    <a:pt x="1762" y="735"/>
                    <a:pt x="1762" y="736"/>
                    <a:pt x="1763" y="737"/>
                  </a:cubicBezTo>
                  <a:cubicBezTo>
                    <a:pt x="1763" y="738"/>
                    <a:pt x="1763" y="740"/>
                    <a:pt x="1763" y="743"/>
                  </a:cubicBezTo>
                  <a:cubicBezTo>
                    <a:pt x="1763" y="745"/>
                    <a:pt x="1763" y="747"/>
                    <a:pt x="1763" y="748"/>
                  </a:cubicBezTo>
                  <a:cubicBezTo>
                    <a:pt x="1765" y="751"/>
                    <a:pt x="1765" y="755"/>
                    <a:pt x="1761" y="759"/>
                  </a:cubicBezTo>
                  <a:cubicBezTo>
                    <a:pt x="1758" y="761"/>
                    <a:pt x="1758" y="763"/>
                    <a:pt x="1757" y="765"/>
                  </a:cubicBezTo>
                  <a:cubicBezTo>
                    <a:pt x="1757" y="766"/>
                    <a:pt x="1757" y="768"/>
                    <a:pt x="1756" y="769"/>
                  </a:cubicBezTo>
                  <a:cubicBezTo>
                    <a:pt x="1755" y="770"/>
                    <a:pt x="1754" y="772"/>
                    <a:pt x="1754" y="774"/>
                  </a:cubicBezTo>
                  <a:cubicBezTo>
                    <a:pt x="1754" y="776"/>
                    <a:pt x="1754" y="777"/>
                    <a:pt x="1753" y="778"/>
                  </a:cubicBezTo>
                  <a:cubicBezTo>
                    <a:pt x="1752" y="779"/>
                    <a:pt x="1752" y="783"/>
                    <a:pt x="1752" y="788"/>
                  </a:cubicBezTo>
                  <a:cubicBezTo>
                    <a:pt x="1751" y="797"/>
                    <a:pt x="1750" y="810"/>
                    <a:pt x="1747" y="816"/>
                  </a:cubicBezTo>
                  <a:cubicBezTo>
                    <a:pt x="1743" y="823"/>
                    <a:pt x="1742" y="825"/>
                    <a:pt x="1740" y="828"/>
                  </a:cubicBezTo>
                  <a:cubicBezTo>
                    <a:pt x="1739" y="829"/>
                    <a:pt x="1738" y="830"/>
                    <a:pt x="1738" y="831"/>
                  </a:cubicBezTo>
                  <a:cubicBezTo>
                    <a:pt x="1737" y="833"/>
                    <a:pt x="1734" y="835"/>
                    <a:pt x="1732" y="839"/>
                  </a:cubicBezTo>
                  <a:cubicBezTo>
                    <a:pt x="1728" y="843"/>
                    <a:pt x="1724" y="848"/>
                    <a:pt x="1722" y="852"/>
                  </a:cubicBezTo>
                  <a:cubicBezTo>
                    <a:pt x="1718" y="861"/>
                    <a:pt x="1707" y="874"/>
                    <a:pt x="1701" y="880"/>
                  </a:cubicBezTo>
                  <a:cubicBezTo>
                    <a:pt x="1699" y="882"/>
                    <a:pt x="1697" y="885"/>
                    <a:pt x="1694" y="887"/>
                  </a:cubicBezTo>
                  <a:cubicBezTo>
                    <a:pt x="1687" y="894"/>
                    <a:pt x="1677" y="904"/>
                    <a:pt x="1677" y="906"/>
                  </a:cubicBezTo>
                  <a:cubicBezTo>
                    <a:pt x="1677" y="910"/>
                    <a:pt x="1649" y="928"/>
                    <a:pt x="1643" y="928"/>
                  </a:cubicBezTo>
                  <a:cubicBezTo>
                    <a:pt x="1643" y="928"/>
                    <a:pt x="1643" y="928"/>
                    <a:pt x="1643" y="928"/>
                  </a:cubicBezTo>
                  <a:cubicBezTo>
                    <a:pt x="1640" y="928"/>
                    <a:pt x="1637" y="925"/>
                    <a:pt x="1634" y="923"/>
                  </a:cubicBezTo>
                  <a:cubicBezTo>
                    <a:pt x="1631" y="920"/>
                    <a:pt x="1629" y="918"/>
                    <a:pt x="1626" y="918"/>
                  </a:cubicBezTo>
                  <a:cubicBezTo>
                    <a:pt x="1625" y="918"/>
                    <a:pt x="1620" y="921"/>
                    <a:pt x="1615" y="925"/>
                  </a:cubicBezTo>
                  <a:cubicBezTo>
                    <a:pt x="1614" y="925"/>
                    <a:pt x="1614" y="925"/>
                    <a:pt x="1614" y="925"/>
                  </a:cubicBezTo>
                  <a:cubicBezTo>
                    <a:pt x="1614" y="924"/>
                    <a:pt x="1614" y="924"/>
                    <a:pt x="1614" y="924"/>
                  </a:cubicBezTo>
                  <a:cubicBezTo>
                    <a:pt x="1614" y="922"/>
                    <a:pt x="1614" y="920"/>
                    <a:pt x="1614" y="918"/>
                  </a:cubicBezTo>
                  <a:cubicBezTo>
                    <a:pt x="1614" y="915"/>
                    <a:pt x="1613" y="912"/>
                    <a:pt x="1613" y="911"/>
                  </a:cubicBezTo>
                  <a:cubicBezTo>
                    <a:pt x="1612" y="908"/>
                    <a:pt x="1612" y="905"/>
                    <a:pt x="1612" y="902"/>
                  </a:cubicBezTo>
                  <a:cubicBezTo>
                    <a:pt x="1612" y="901"/>
                    <a:pt x="1612" y="900"/>
                    <a:pt x="1612" y="899"/>
                  </a:cubicBezTo>
                  <a:cubicBezTo>
                    <a:pt x="1611" y="896"/>
                    <a:pt x="1611" y="891"/>
                    <a:pt x="1612" y="889"/>
                  </a:cubicBezTo>
                  <a:cubicBezTo>
                    <a:pt x="1613" y="888"/>
                    <a:pt x="1614" y="888"/>
                    <a:pt x="1615" y="888"/>
                  </a:cubicBezTo>
                  <a:cubicBezTo>
                    <a:pt x="1616" y="888"/>
                    <a:pt x="1617" y="886"/>
                    <a:pt x="1619" y="885"/>
                  </a:cubicBezTo>
                  <a:cubicBezTo>
                    <a:pt x="1621" y="883"/>
                    <a:pt x="1623" y="881"/>
                    <a:pt x="1625" y="881"/>
                  </a:cubicBezTo>
                  <a:cubicBezTo>
                    <a:pt x="1625" y="881"/>
                    <a:pt x="1626" y="882"/>
                    <a:pt x="1627" y="882"/>
                  </a:cubicBezTo>
                  <a:cubicBezTo>
                    <a:pt x="1629" y="884"/>
                    <a:pt x="1632" y="885"/>
                    <a:pt x="1635" y="885"/>
                  </a:cubicBezTo>
                  <a:cubicBezTo>
                    <a:pt x="1636" y="885"/>
                    <a:pt x="1639" y="884"/>
                    <a:pt x="1639" y="883"/>
                  </a:cubicBezTo>
                  <a:cubicBezTo>
                    <a:pt x="1639" y="880"/>
                    <a:pt x="1641" y="879"/>
                    <a:pt x="1642" y="878"/>
                  </a:cubicBezTo>
                  <a:cubicBezTo>
                    <a:pt x="1644" y="877"/>
                    <a:pt x="1646" y="876"/>
                    <a:pt x="1646" y="873"/>
                  </a:cubicBezTo>
                  <a:cubicBezTo>
                    <a:pt x="1646" y="870"/>
                    <a:pt x="1648" y="868"/>
                    <a:pt x="1651" y="867"/>
                  </a:cubicBezTo>
                  <a:cubicBezTo>
                    <a:pt x="1652" y="865"/>
                    <a:pt x="1654" y="864"/>
                    <a:pt x="1655" y="862"/>
                  </a:cubicBezTo>
                  <a:cubicBezTo>
                    <a:pt x="1655" y="861"/>
                    <a:pt x="1655" y="860"/>
                    <a:pt x="1655" y="859"/>
                  </a:cubicBezTo>
                  <a:cubicBezTo>
                    <a:pt x="1657" y="854"/>
                    <a:pt x="1659" y="845"/>
                    <a:pt x="1663" y="843"/>
                  </a:cubicBezTo>
                  <a:cubicBezTo>
                    <a:pt x="1664" y="842"/>
                    <a:pt x="1664" y="841"/>
                    <a:pt x="1663" y="839"/>
                  </a:cubicBezTo>
                  <a:cubicBezTo>
                    <a:pt x="1663" y="837"/>
                    <a:pt x="1662" y="835"/>
                    <a:pt x="1662" y="831"/>
                  </a:cubicBezTo>
                  <a:cubicBezTo>
                    <a:pt x="1662" y="830"/>
                    <a:pt x="1662" y="829"/>
                    <a:pt x="1661" y="828"/>
                  </a:cubicBezTo>
                  <a:cubicBezTo>
                    <a:pt x="1660" y="827"/>
                    <a:pt x="1659" y="827"/>
                    <a:pt x="1658" y="827"/>
                  </a:cubicBezTo>
                  <a:cubicBezTo>
                    <a:pt x="1655" y="827"/>
                    <a:pt x="1652" y="828"/>
                    <a:pt x="1651" y="829"/>
                  </a:cubicBezTo>
                  <a:cubicBezTo>
                    <a:pt x="1650" y="830"/>
                    <a:pt x="1648" y="830"/>
                    <a:pt x="1646" y="830"/>
                  </a:cubicBezTo>
                  <a:cubicBezTo>
                    <a:pt x="1642" y="830"/>
                    <a:pt x="1638" y="831"/>
                    <a:pt x="1637" y="834"/>
                  </a:cubicBezTo>
                  <a:cubicBezTo>
                    <a:pt x="1635" y="837"/>
                    <a:pt x="1633" y="837"/>
                    <a:pt x="1631" y="837"/>
                  </a:cubicBezTo>
                  <a:cubicBezTo>
                    <a:pt x="1631" y="837"/>
                    <a:pt x="1630" y="837"/>
                    <a:pt x="1629" y="837"/>
                  </a:cubicBezTo>
                  <a:cubicBezTo>
                    <a:pt x="1627" y="837"/>
                    <a:pt x="1625" y="837"/>
                    <a:pt x="1624" y="837"/>
                  </a:cubicBezTo>
                  <a:cubicBezTo>
                    <a:pt x="1623" y="837"/>
                    <a:pt x="1622" y="837"/>
                    <a:pt x="1621" y="837"/>
                  </a:cubicBezTo>
                  <a:cubicBezTo>
                    <a:pt x="1617" y="837"/>
                    <a:pt x="1612" y="836"/>
                    <a:pt x="1610" y="834"/>
                  </a:cubicBezTo>
                  <a:cubicBezTo>
                    <a:pt x="1609" y="833"/>
                    <a:pt x="1609" y="832"/>
                    <a:pt x="1609" y="831"/>
                  </a:cubicBezTo>
                  <a:cubicBezTo>
                    <a:pt x="1609" y="829"/>
                    <a:pt x="1608" y="827"/>
                    <a:pt x="1608" y="825"/>
                  </a:cubicBezTo>
                  <a:cubicBezTo>
                    <a:pt x="1607" y="823"/>
                    <a:pt x="1606" y="821"/>
                    <a:pt x="1606" y="818"/>
                  </a:cubicBezTo>
                  <a:cubicBezTo>
                    <a:pt x="1606" y="816"/>
                    <a:pt x="1605" y="816"/>
                    <a:pt x="1602" y="815"/>
                  </a:cubicBezTo>
                  <a:cubicBezTo>
                    <a:pt x="1600" y="815"/>
                    <a:pt x="1598" y="814"/>
                    <a:pt x="1596" y="812"/>
                  </a:cubicBezTo>
                  <a:cubicBezTo>
                    <a:pt x="1592" y="808"/>
                    <a:pt x="1585" y="806"/>
                    <a:pt x="1582" y="806"/>
                  </a:cubicBezTo>
                  <a:cubicBezTo>
                    <a:pt x="1582" y="806"/>
                    <a:pt x="1582" y="806"/>
                    <a:pt x="1582" y="806"/>
                  </a:cubicBezTo>
                  <a:cubicBezTo>
                    <a:pt x="1581" y="806"/>
                    <a:pt x="1579" y="805"/>
                    <a:pt x="1577" y="804"/>
                  </a:cubicBezTo>
                  <a:cubicBezTo>
                    <a:pt x="1575" y="803"/>
                    <a:pt x="1571" y="801"/>
                    <a:pt x="1567" y="800"/>
                  </a:cubicBezTo>
                  <a:cubicBezTo>
                    <a:pt x="1564" y="800"/>
                    <a:pt x="1563" y="800"/>
                    <a:pt x="1561" y="798"/>
                  </a:cubicBezTo>
                  <a:cubicBezTo>
                    <a:pt x="1560" y="796"/>
                    <a:pt x="1561" y="794"/>
                    <a:pt x="1561" y="792"/>
                  </a:cubicBezTo>
                  <a:cubicBezTo>
                    <a:pt x="1562" y="790"/>
                    <a:pt x="1560" y="786"/>
                    <a:pt x="1558" y="783"/>
                  </a:cubicBezTo>
                  <a:cubicBezTo>
                    <a:pt x="1556" y="780"/>
                    <a:pt x="1554" y="777"/>
                    <a:pt x="1554" y="774"/>
                  </a:cubicBezTo>
                  <a:cubicBezTo>
                    <a:pt x="1553" y="772"/>
                    <a:pt x="1552" y="771"/>
                    <a:pt x="1551" y="770"/>
                  </a:cubicBezTo>
                  <a:cubicBezTo>
                    <a:pt x="1549" y="767"/>
                    <a:pt x="1547" y="764"/>
                    <a:pt x="1545" y="757"/>
                  </a:cubicBezTo>
                  <a:cubicBezTo>
                    <a:pt x="1544" y="751"/>
                    <a:pt x="1542" y="749"/>
                    <a:pt x="1540" y="748"/>
                  </a:cubicBezTo>
                  <a:cubicBezTo>
                    <a:pt x="1539" y="747"/>
                    <a:pt x="1538" y="746"/>
                    <a:pt x="1538" y="744"/>
                  </a:cubicBezTo>
                  <a:cubicBezTo>
                    <a:pt x="1539" y="740"/>
                    <a:pt x="1536" y="738"/>
                    <a:pt x="1533" y="736"/>
                  </a:cubicBezTo>
                  <a:cubicBezTo>
                    <a:pt x="1531" y="735"/>
                    <a:pt x="1530" y="734"/>
                    <a:pt x="1529" y="733"/>
                  </a:cubicBezTo>
                  <a:cubicBezTo>
                    <a:pt x="1528" y="732"/>
                    <a:pt x="1525" y="731"/>
                    <a:pt x="1522" y="731"/>
                  </a:cubicBezTo>
                  <a:cubicBezTo>
                    <a:pt x="1519" y="730"/>
                    <a:pt x="1515" y="730"/>
                    <a:pt x="1512" y="728"/>
                  </a:cubicBezTo>
                  <a:cubicBezTo>
                    <a:pt x="1508" y="726"/>
                    <a:pt x="1505" y="726"/>
                    <a:pt x="1502" y="726"/>
                  </a:cubicBezTo>
                  <a:cubicBezTo>
                    <a:pt x="1500" y="726"/>
                    <a:pt x="1498" y="726"/>
                    <a:pt x="1495" y="726"/>
                  </a:cubicBezTo>
                  <a:cubicBezTo>
                    <a:pt x="1494" y="725"/>
                    <a:pt x="1493" y="725"/>
                    <a:pt x="1491" y="725"/>
                  </a:cubicBezTo>
                  <a:cubicBezTo>
                    <a:pt x="1487" y="725"/>
                    <a:pt x="1481" y="726"/>
                    <a:pt x="1477" y="727"/>
                  </a:cubicBezTo>
                  <a:cubicBezTo>
                    <a:pt x="1476" y="727"/>
                    <a:pt x="1474" y="727"/>
                    <a:pt x="1474" y="727"/>
                  </a:cubicBezTo>
                  <a:cubicBezTo>
                    <a:pt x="1473" y="727"/>
                    <a:pt x="1473" y="727"/>
                    <a:pt x="1473" y="727"/>
                  </a:cubicBezTo>
                  <a:cubicBezTo>
                    <a:pt x="1472" y="727"/>
                    <a:pt x="1471" y="727"/>
                    <a:pt x="1469" y="727"/>
                  </a:cubicBezTo>
                  <a:cubicBezTo>
                    <a:pt x="1463" y="727"/>
                    <a:pt x="1459" y="729"/>
                    <a:pt x="1456" y="733"/>
                  </a:cubicBezTo>
                  <a:cubicBezTo>
                    <a:pt x="1453" y="737"/>
                    <a:pt x="1453" y="739"/>
                    <a:pt x="1453" y="739"/>
                  </a:cubicBezTo>
                  <a:cubicBezTo>
                    <a:pt x="1453" y="740"/>
                    <a:pt x="1455" y="740"/>
                    <a:pt x="1456" y="740"/>
                  </a:cubicBezTo>
                  <a:cubicBezTo>
                    <a:pt x="1457" y="740"/>
                    <a:pt x="1457" y="740"/>
                    <a:pt x="1457" y="740"/>
                  </a:cubicBezTo>
                  <a:cubicBezTo>
                    <a:pt x="1459" y="740"/>
                    <a:pt x="1461" y="746"/>
                    <a:pt x="1462" y="751"/>
                  </a:cubicBezTo>
                  <a:cubicBezTo>
                    <a:pt x="1462" y="754"/>
                    <a:pt x="1457" y="758"/>
                    <a:pt x="1455" y="759"/>
                  </a:cubicBezTo>
                  <a:cubicBezTo>
                    <a:pt x="1453" y="759"/>
                    <a:pt x="1447" y="769"/>
                    <a:pt x="1446" y="772"/>
                  </a:cubicBezTo>
                  <a:cubicBezTo>
                    <a:pt x="1446" y="774"/>
                    <a:pt x="1444" y="776"/>
                    <a:pt x="1443" y="778"/>
                  </a:cubicBezTo>
                  <a:cubicBezTo>
                    <a:pt x="1441" y="781"/>
                    <a:pt x="1439" y="785"/>
                    <a:pt x="1439" y="787"/>
                  </a:cubicBezTo>
                  <a:cubicBezTo>
                    <a:pt x="1439" y="788"/>
                    <a:pt x="1439" y="789"/>
                    <a:pt x="1439" y="790"/>
                  </a:cubicBezTo>
                  <a:cubicBezTo>
                    <a:pt x="1437" y="792"/>
                    <a:pt x="1434" y="794"/>
                    <a:pt x="1432" y="794"/>
                  </a:cubicBezTo>
                  <a:cubicBezTo>
                    <a:pt x="1431" y="794"/>
                    <a:pt x="1427" y="796"/>
                    <a:pt x="1424" y="798"/>
                  </a:cubicBezTo>
                  <a:cubicBezTo>
                    <a:pt x="1422" y="800"/>
                    <a:pt x="1420" y="801"/>
                    <a:pt x="1419" y="801"/>
                  </a:cubicBezTo>
                  <a:cubicBezTo>
                    <a:pt x="1418" y="801"/>
                    <a:pt x="1417" y="802"/>
                    <a:pt x="1416" y="802"/>
                  </a:cubicBezTo>
                  <a:cubicBezTo>
                    <a:pt x="1413" y="802"/>
                    <a:pt x="1405" y="800"/>
                    <a:pt x="1404" y="797"/>
                  </a:cubicBezTo>
                  <a:cubicBezTo>
                    <a:pt x="1403" y="795"/>
                    <a:pt x="1398" y="794"/>
                    <a:pt x="1394" y="794"/>
                  </a:cubicBezTo>
                  <a:cubicBezTo>
                    <a:pt x="1392" y="794"/>
                    <a:pt x="1391" y="794"/>
                    <a:pt x="1391" y="794"/>
                  </a:cubicBezTo>
                  <a:cubicBezTo>
                    <a:pt x="1387" y="795"/>
                    <a:pt x="1379" y="795"/>
                    <a:pt x="1378" y="791"/>
                  </a:cubicBezTo>
                  <a:cubicBezTo>
                    <a:pt x="1377" y="790"/>
                    <a:pt x="1373" y="789"/>
                    <a:pt x="1369" y="789"/>
                  </a:cubicBezTo>
                  <a:cubicBezTo>
                    <a:pt x="1365" y="789"/>
                    <a:pt x="1362" y="790"/>
                    <a:pt x="1360" y="790"/>
                  </a:cubicBezTo>
                  <a:cubicBezTo>
                    <a:pt x="1359" y="791"/>
                    <a:pt x="1357" y="792"/>
                    <a:pt x="1355" y="793"/>
                  </a:cubicBezTo>
                  <a:cubicBezTo>
                    <a:pt x="1352" y="795"/>
                    <a:pt x="1349" y="796"/>
                    <a:pt x="1349" y="798"/>
                  </a:cubicBezTo>
                  <a:cubicBezTo>
                    <a:pt x="1349" y="800"/>
                    <a:pt x="1346" y="800"/>
                    <a:pt x="1343" y="801"/>
                  </a:cubicBezTo>
                  <a:cubicBezTo>
                    <a:pt x="1340" y="801"/>
                    <a:pt x="1338" y="802"/>
                    <a:pt x="1337" y="803"/>
                  </a:cubicBezTo>
                  <a:cubicBezTo>
                    <a:pt x="1335" y="804"/>
                    <a:pt x="1331" y="804"/>
                    <a:pt x="1326" y="805"/>
                  </a:cubicBezTo>
                  <a:cubicBezTo>
                    <a:pt x="1323" y="806"/>
                    <a:pt x="1319" y="806"/>
                    <a:pt x="1318" y="807"/>
                  </a:cubicBezTo>
                  <a:cubicBezTo>
                    <a:pt x="1318" y="809"/>
                    <a:pt x="1310" y="809"/>
                    <a:pt x="1308" y="809"/>
                  </a:cubicBezTo>
                  <a:cubicBezTo>
                    <a:pt x="1306" y="809"/>
                    <a:pt x="1300" y="809"/>
                    <a:pt x="1298" y="807"/>
                  </a:cubicBezTo>
                  <a:cubicBezTo>
                    <a:pt x="1297" y="806"/>
                    <a:pt x="1294" y="806"/>
                    <a:pt x="1290" y="806"/>
                  </a:cubicBezTo>
                  <a:cubicBezTo>
                    <a:pt x="1286" y="806"/>
                    <a:pt x="1281" y="806"/>
                    <a:pt x="1280" y="804"/>
                  </a:cubicBezTo>
                  <a:cubicBezTo>
                    <a:pt x="1279" y="802"/>
                    <a:pt x="1277" y="801"/>
                    <a:pt x="1276" y="800"/>
                  </a:cubicBezTo>
                  <a:cubicBezTo>
                    <a:pt x="1274" y="798"/>
                    <a:pt x="1272" y="797"/>
                    <a:pt x="1272" y="795"/>
                  </a:cubicBezTo>
                  <a:cubicBezTo>
                    <a:pt x="1272" y="794"/>
                    <a:pt x="1269" y="793"/>
                    <a:pt x="1266" y="793"/>
                  </a:cubicBezTo>
                  <a:cubicBezTo>
                    <a:pt x="1263" y="792"/>
                    <a:pt x="1260" y="791"/>
                    <a:pt x="1260" y="790"/>
                  </a:cubicBezTo>
                  <a:cubicBezTo>
                    <a:pt x="1259" y="788"/>
                    <a:pt x="1254" y="787"/>
                    <a:pt x="1251" y="787"/>
                  </a:cubicBezTo>
                  <a:cubicBezTo>
                    <a:pt x="1250" y="787"/>
                    <a:pt x="1249" y="787"/>
                    <a:pt x="1249" y="787"/>
                  </a:cubicBezTo>
                  <a:cubicBezTo>
                    <a:pt x="1249" y="787"/>
                    <a:pt x="1249" y="787"/>
                    <a:pt x="1248" y="787"/>
                  </a:cubicBezTo>
                  <a:cubicBezTo>
                    <a:pt x="1247" y="787"/>
                    <a:pt x="1243" y="786"/>
                    <a:pt x="1240" y="785"/>
                  </a:cubicBezTo>
                  <a:cubicBezTo>
                    <a:pt x="1238" y="785"/>
                    <a:pt x="1236" y="784"/>
                    <a:pt x="1236" y="784"/>
                  </a:cubicBezTo>
                  <a:cubicBezTo>
                    <a:pt x="1234" y="784"/>
                    <a:pt x="1231" y="785"/>
                    <a:pt x="1228" y="785"/>
                  </a:cubicBezTo>
                  <a:cubicBezTo>
                    <a:pt x="1226" y="785"/>
                    <a:pt x="1223" y="786"/>
                    <a:pt x="1222" y="786"/>
                  </a:cubicBezTo>
                  <a:cubicBezTo>
                    <a:pt x="1221" y="786"/>
                    <a:pt x="1219" y="787"/>
                    <a:pt x="1217" y="788"/>
                  </a:cubicBezTo>
                  <a:cubicBezTo>
                    <a:pt x="1216" y="790"/>
                    <a:pt x="1214" y="791"/>
                    <a:pt x="1212" y="791"/>
                  </a:cubicBezTo>
                  <a:cubicBezTo>
                    <a:pt x="1211" y="791"/>
                    <a:pt x="1208" y="790"/>
                    <a:pt x="1205" y="789"/>
                  </a:cubicBezTo>
                  <a:cubicBezTo>
                    <a:pt x="1203" y="788"/>
                    <a:pt x="1201" y="787"/>
                    <a:pt x="1200" y="787"/>
                  </a:cubicBezTo>
                  <a:cubicBezTo>
                    <a:pt x="1199" y="787"/>
                    <a:pt x="1199" y="787"/>
                    <a:pt x="1199" y="787"/>
                  </a:cubicBezTo>
                  <a:cubicBezTo>
                    <a:pt x="1199" y="787"/>
                    <a:pt x="1199" y="787"/>
                    <a:pt x="1198" y="787"/>
                  </a:cubicBezTo>
                  <a:cubicBezTo>
                    <a:pt x="1196" y="787"/>
                    <a:pt x="1191" y="781"/>
                    <a:pt x="1190" y="780"/>
                  </a:cubicBezTo>
                  <a:cubicBezTo>
                    <a:pt x="1188" y="779"/>
                    <a:pt x="1188" y="776"/>
                    <a:pt x="1189" y="773"/>
                  </a:cubicBezTo>
                  <a:cubicBezTo>
                    <a:pt x="1189" y="771"/>
                    <a:pt x="1189" y="769"/>
                    <a:pt x="1188" y="768"/>
                  </a:cubicBezTo>
                  <a:cubicBezTo>
                    <a:pt x="1187" y="766"/>
                    <a:pt x="1183" y="766"/>
                    <a:pt x="1180" y="765"/>
                  </a:cubicBezTo>
                  <a:cubicBezTo>
                    <a:pt x="1178" y="765"/>
                    <a:pt x="1175" y="764"/>
                    <a:pt x="1174" y="763"/>
                  </a:cubicBezTo>
                  <a:cubicBezTo>
                    <a:pt x="1170" y="761"/>
                    <a:pt x="1166" y="759"/>
                    <a:pt x="1163" y="759"/>
                  </a:cubicBezTo>
                  <a:cubicBezTo>
                    <a:pt x="1160" y="759"/>
                    <a:pt x="1155" y="758"/>
                    <a:pt x="1154" y="757"/>
                  </a:cubicBezTo>
                  <a:cubicBezTo>
                    <a:pt x="1153" y="756"/>
                    <a:pt x="1147" y="754"/>
                    <a:pt x="1143" y="753"/>
                  </a:cubicBezTo>
                  <a:cubicBezTo>
                    <a:pt x="1142" y="752"/>
                    <a:pt x="1141" y="754"/>
                    <a:pt x="1140" y="755"/>
                  </a:cubicBezTo>
                  <a:cubicBezTo>
                    <a:pt x="1140" y="756"/>
                    <a:pt x="1139" y="757"/>
                    <a:pt x="1139" y="757"/>
                  </a:cubicBezTo>
                  <a:cubicBezTo>
                    <a:pt x="1138" y="758"/>
                    <a:pt x="1137" y="759"/>
                    <a:pt x="1136" y="759"/>
                  </a:cubicBezTo>
                  <a:cubicBezTo>
                    <a:pt x="1134" y="760"/>
                    <a:pt x="1132" y="761"/>
                    <a:pt x="1131" y="762"/>
                  </a:cubicBezTo>
                  <a:cubicBezTo>
                    <a:pt x="1131" y="764"/>
                    <a:pt x="1129" y="765"/>
                    <a:pt x="1128" y="766"/>
                  </a:cubicBezTo>
                  <a:cubicBezTo>
                    <a:pt x="1126" y="767"/>
                    <a:pt x="1125" y="768"/>
                    <a:pt x="1125" y="769"/>
                  </a:cubicBezTo>
                  <a:cubicBezTo>
                    <a:pt x="1126" y="774"/>
                    <a:pt x="1128" y="780"/>
                    <a:pt x="1130" y="781"/>
                  </a:cubicBezTo>
                  <a:cubicBezTo>
                    <a:pt x="1133" y="783"/>
                    <a:pt x="1131" y="789"/>
                    <a:pt x="1130" y="790"/>
                  </a:cubicBezTo>
                  <a:cubicBezTo>
                    <a:pt x="1129" y="791"/>
                    <a:pt x="1127" y="792"/>
                    <a:pt x="1125" y="793"/>
                  </a:cubicBezTo>
                  <a:cubicBezTo>
                    <a:pt x="1122" y="794"/>
                    <a:pt x="1119" y="795"/>
                    <a:pt x="1118" y="796"/>
                  </a:cubicBezTo>
                  <a:cubicBezTo>
                    <a:pt x="1117" y="797"/>
                    <a:pt x="1116" y="798"/>
                    <a:pt x="1115" y="798"/>
                  </a:cubicBezTo>
                  <a:cubicBezTo>
                    <a:pt x="1114" y="798"/>
                    <a:pt x="1111" y="796"/>
                    <a:pt x="1109" y="795"/>
                  </a:cubicBezTo>
                  <a:cubicBezTo>
                    <a:pt x="1108" y="794"/>
                    <a:pt x="1107" y="794"/>
                    <a:pt x="1107" y="794"/>
                  </a:cubicBezTo>
                  <a:cubicBezTo>
                    <a:pt x="1105" y="793"/>
                    <a:pt x="1104" y="792"/>
                    <a:pt x="1102" y="792"/>
                  </a:cubicBezTo>
                  <a:cubicBezTo>
                    <a:pt x="1100" y="792"/>
                    <a:pt x="1097" y="793"/>
                    <a:pt x="1096" y="794"/>
                  </a:cubicBezTo>
                  <a:cubicBezTo>
                    <a:pt x="1095" y="795"/>
                    <a:pt x="1095" y="795"/>
                    <a:pt x="1094" y="795"/>
                  </a:cubicBezTo>
                  <a:cubicBezTo>
                    <a:pt x="1092" y="795"/>
                    <a:pt x="1089" y="793"/>
                    <a:pt x="1087" y="792"/>
                  </a:cubicBezTo>
                  <a:cubicBezTo>
                    <a:pt x="1085" y="791"/>
                    <a:pt x="1084" y="790"/>
                    <a:pt x="1083" y="790"/>
                  </a:cubicBezTo>
                  <a:cubicBezTo>
                    <a:pt x="1082" y="789"/>
                    <a:pt x="1081" y="787"/>
                    <a:pt x="1081" y="785"/>
                  </a:cubicBezTo>
                  <a:cubicBezTo>
                    <a:pt x="1080" y="784"/>
                    <a:pt x="1079" y="782"/>
                    <a:pt x="1079" y="782"/>
                  </a:cubicBezTo>
                  <a:cubicBezTo>
                    <a:pt x="1078" y="782"/>
                    <a:pt x="1078" y="782"/>
                    <a:pt x="1078" y="782"/>
                  </a:cubicBezTo>
                  <a:cubicBezTo>
                    <a:pt x="1075" y="782"/>
                    <a:pt x="1061" y="779"/>
                    <a:pt x="1058" y="778"/>
                  </a:cubicBezTo>
                  <a:cubicBezTo>
                    <a:pt x="1057" y="778"/>
                    <a:pt x="1056" y="778"/>
                    <a:pt x="1055" y="778"/>
                  </a:cubicBezTo>
                  <a:cubicBezTo>
                    <a:pt x="1052" y="778"/>
                    <a:pt x="1049" y="778"/>
                    <a:pt x="1049" y="780"/>
                  </a:cubicBezTo>
                  <a:cubicBezTo>
                    <a:pt x="1048" y="781"/>
                    <a:pt x="1046" y="781"/>
                    <a:pt x="1044" y="782"/>
                  </a:cubicBezTo>
                  <a:cubicBezTo>
                    <a:pt x="1042" y="782"/>
                    <a:pt x="1039" y="783"/>
                    <a:pt x="1039" y="784"/>
                  </a:cubicBezTo>
                  <a:cubicBezTo>
                    <a:pt x="1038" y="785"/>
                    <a:pt x="1036" y="786"/>
                    <a:pt x="1034" y="787"/>
                  </a:cubicBezTo>
                  <a:cubicBezTo>
                    <a:pt x="1032" y="788"/>
                    <a:pt x="1030" y="789"/>
                    <a:pt x="1029" y="790"/>
                  </a:cubicBezTo>
                  <a:cubicBezTo>
                    <a:pt x="1028" y="792"/>
                    <a:pt x="1026" y="792"/>
                    <a:pt x="1024" y="793"/>
                  </a:cubicBezTo>
                  <a:cubicBezTo>
                    <a:pt x="1022" y="794"/>
                    <a:pt x="1019" y="795"/>
                    <a:pt x="1018" y="797"/>
                  </a:cubicBezTo>
                  <a:cubicBezTo>
                    <a:pt x="1016" y="801"/>
                    <a:pt x="1008" y="802"/>
                    <a:pt x="1004" y="803"/>
                  </a:cubicBezTo>
                  <a:cubicBezTo>
                    <a:pt x="996" y="804"/>
                    <a:pt x="995" y="806"/>
                    <a:pt x="995" y="807"/>
                  </a:cubicBezTo>
                  <a:cubicBezTo>
                    <a:pt x="995" y="807"/>
                    <a:pt x="994" y="808"/>
                    <a:pt x="993" y="808"/>
                  </a:cubicBezTo>
                  <a:cubicBezTo>
                    <a:pt x="992" y="808"/>
                    <a:pt x="990" y="808"/>
                    <a:pt x="989" y="807"/>
                  </a:cubicBezTo>
                  <a:cubicBezTo>
                    <a:pt x="988" y="807"/>
                    <a:pt x="987" y="807"/>
                    <a:pt x="986" y="807"/>
                  </a:cubicBezTo>
                  <a:cubicBezTo>
                    <a:pt x="983" y="807"/>
                    <a:pt x="979" y="802"/>
                    <a:pt x="979" y="799"/>
                  </a:cubicBezTo>
                  <a:cubicBezTo>
                    <a:pt x="979" y="797"/>
                    <a:pt x="978" y="797"/>
                    <a:pt x="978" y="797"/>
                  </a:cubicBezTo>
                  <a:cubicBezTo>
                    <a:pt x="977" y="797"/>
                    <a:pt x="975" y="798"/>
                    <a:pt x="974" y="799"/>
                  </a:cubicBezTo>
                  <a:cubicBezTo>
                    <a:pt x="972" y="800"/>
                    <a:pt x="965" y="801"/>
                    <a:pt x="963" y="801"/>
                  </a:cubicBezTo>
                  <a:cubicBezTo>
                    <a:pt x="960" y="801"/>
                    <a:pt x="955" y="797"/>
                    <a:pt x="955" y="794"/>
                  </a:cubicBezTo>
                  <a:cubicBezTo>
                    <a:pt x="955" y="791"/>
                    <a:pt x="954" y="789"/>
                    <a:pt x="952" y="789"/>
                  </a:cubicBezTo>
                  <a:cubicBezTo>
                    <a:pt x="950" y="789"/>
                    <a:pt x="945" y="788"/>
                    <a:pt x="943" y="782"/>
                  </a:cubicBezTo>
                  <a:cubicBezTo>
                    <a:pt x="941" y="777"/>
                    <a:pt x="938" y="776"/>
                    <a:pt x="936" y="775"/>
                  </a:cubicBezTo>
                  <a:cubicBezTo>
                    <a:pt x="935" y="775"/>
                    <a:pt x="934" y="775"/>
                    <a:pt x="933" y="774"/>
                  </a:cubicBezTo>
                  <a:cubicBezTo>
                    <a:pt x="933" y="774"/>
                    <a:pt x="933" y="774"/>
                    <a:pt x="932" y="774"/>
                  </a:cubicBezTo>
                  <a:cubicBezTo>
                    <a:pt x="930" y="774"/>
                    <a:pt x="926" y="776"/>
                    <a:pt x="923" y="777"/>
                  </a:cubicBezTo>
                  <a:cubicBezTo>
                    <a:pt x="921" y="778"/>
                    <a:pt x="920" y="778"/>
                    <a:pt x="919" y="778"/>
                  </a:cubicBezTo>
                  <a:cubicBezTo>
                    <a:pt x="919" y="779"/>
                    <a:pt x="918" y="779"/>
                    <a:pt x="917" y="779"/>
                  </a:cubicBezTo>
                  <a:cubicBezTo>
                    <a:pt x="914" y="779"/>
                    <a:pt x="912" y="778"/>
                    <a:pt x="909" y="777"/>
                  </a:cubicBezTo>
                  <a:cubicBezTo>
                    <a:pt x="907" y="777"/>
                    <a:pt x="906" y="776"/>
                    <a:pt x="905" y="776"/>
                  </a:cubicBezTo>
                  <a:cubicBezTo>
                    <a:pt x="903" y="776"/>
                    <a:pt x="901" y="774"/>
                    <a:pt x="899" y="772"/>
                  </a:cubicBezTo>
                  <a:cubicBezTo>
                    <a:pt x="897" y="770"/>
                    <a:pt x="896" y="768"/>
                    <a:pt x="894" y="768"/>
                  </a:cubicBezTo>
                  <a:cubicBezTo>
                    <a:pt x="892" y="769"/>
                    <a:pt x="891" y="771"/>
                    <a:pt x="889" y="773"/>
                  </a:cubicBezTo>
                  <a:cubicBezTo>
                    <a:pt x="888" y="775"/>
                    <a:pt x="887" y="777"/>
                    <a:pt x="885" y="777"/>
                  </a:cubicBezTo>
                  <a:cubicBezTo>
                    <a:pt x="883" y="777"/>
                    <a:pt x="881" y="773"/>
                    <a:pt x="877" y="765"/>
                  </a:cubicBezTo>
                  <a:cubicBezTo>
                    <a:pt x="875" y="760"/>
                    <a:pt x="872" y="755"/>
                    <a:pt x="870" y="751"/>
                  </a:cubicBezTo>
                  <a:cubicBezTo>
                    <a:pt x="869" y="750"/>
                    <a:pt x="868" y="749"/>
                    <a:pt x="867" y="747"/>
                  </a:cubicBezTo>
                  <a:cubicBezTo>
                    <a:pt x="861" y="738"/>
                    <a:pt x="852" y="723"/>
                    <a:pt x="843" y="720"/>
                  </a:cubicBezTo>
                  <a:cubicBezTo>
                    <a:pt x="839" y="718"/>
                    <a:pt x="837" y="716"/>
                    <a:pt x="836" y="714"/>
                  </a:cubicBezTo>
                  <a:cubicBezTo>
                    <a:pt x="836" y="712"/>
                    <a:pt x="837" y="710"/>
                    <a:pt x="839" y="708"/>
                  </a:cubicBezTo>
                  <a:cubicBezTo>
                    <a:pt x="839" y="707"/>
                    <a:pt x="839" y="707"/>
                    <a:pt x="839" y="707"/>
                  </a:cubicBezTo>
                  <a:cubicBezTo>
                    <a:pt x="839" y="707"/>
                    <a:pt x="838" y="706"/>
                    <a:pt x="836" y="706"/>
                  </a:cubicBezTo>
                  <a:cubicBezTo>
                    <a:pt x="833" y="706"/>
                    <a:pt x="831" y="707"/>
                    <a:pt x="830" y="708"/>
                  </a:cubicBezTo>
                  <a:cubicBezTo>
                    <a:pt x="829" y="708"/>
                    <a:pt x="827" y="709"/>
                    <a:pt x="826" y="710"/>
                  </a:cubicBezTo>
                  <a:cubicBezTo>
                    <a:pt x="823" y="712"/>
                    <a:pt x="820" y="714"/>
                    <a:pt x="816" y="715"/>
                  </a:cubicBezTo>
                  <a:cubicBezTo>
                    <a:pt x="815" y="716"/>
                    <a:pt x="813" y="717"/>
                    <a:pt x="811" y="718"/>
                  </a:cubicBezTo>
                  <a:cubicBezTo>
                    <a:pt x="808" y="720"/>
                    <a:pt x="805" y="722"/>
                    <a:pt x="802" y="722"/>
                  </a:cubicBezTo>
                  <a:cubicBezTo>
                    <a:pt x="801" y="722"/>
                    <a:pt x="801" y="722"/>
                    <a:pt x="800" y="722"/>
                  </a:cubicBezTo>
                  <a:cubicBezTo>
                    <a:pt x="800" y="721"/>
                    <a:pt x="800" y="721"/>
                    <a:pt x="799" y="721"/>
                  </a:cubicBezTo>
                  <a:cubicBezTo>
                    <a:pt x="798" y="721"/>
                    <a:pt x="796" y="722"/>
                    <a:pt x="795" y="723"/>
                  </a:cubicBezTo>
                  <a:cubicBezTo>
                    <a:pt x="794" y="724"/>
                    <a:pt x="793" y="725"/>
                    <a:pt x="792" y="725"/>
                  </a:cubicBezTo>
                  <a:cubicBezTo>
                    <a:pt x="791" y="725"/>
                    <a:pt x="790" y="725"/>
                    <a:pt x="789" y="724"/>
                  </a:cubicBezTo>
                  <a:cubicBezTo>
                    <a:pt x="788" y="723"/>
                    <a:pt x="788" y="723"/>
                    <a:pt x="788" y="722"/>
                  </a:cubicBezTo>
                  <a:cubicBezTo>
                    <a:pt x="788" y="720"/>
                    <a:pt x="790" y="719"/>
                    <a:pt x="791" y="718"/>
                  </a:cubicBezTo>
                  <a:cubicBezTo>
                    <a:pt x="793" y="717"/>
                    <a:pt x="794" y="715"/>
                    <a:pt x="794" y="714"/>
                  </a:cubicBezTo>
                  <a:cubicBezTo>
                    <a:pt x="794" y="714"/>
                    <a:pt x="794" y="714"/>
                    <a:pt x="793" y="714"/>
                  </a:cubicBezTo>
                  <a:cubicBezTo>
                    <a:pt x="793" y="714"/>
                    <a:pt x="792" y="714"/>
                    <a:pt x="791" y="714"/>
                  </a:cubicBezTo>
                  <a:cubicBezTo>
                    <a:pt x="790" y="714"/>
                    <a:pt x="789" y="714"/>
                    <a:pt x="788" y="714"/>
                  </a:cubicBezTo>
                  <a:cubicBezTo>
                    <a:pt x="787" y="714"/>
                    <a:pt x="787" y="714"/>
                    <a:pt x="787" y="714"/>
                  </a:cubicBezTo>
                  <a:cubicBezTo>
                    <a:pt x="786" y="713"/>
                    <a:pt x="783" y="711"/>
                    <a:pt x="782" y="711"/>
                  </a:cubicBezTo>
                  <a:cubicBezTo>
                    <a:pt x="781" y="711"/>
                    <a:pt x="781" y="712"/>
                    <a:pt x="781" y="712"/>
                  </a:cubicBezTo>
                  <a:cubicBezTo>
                    <a:pt x="781" y="714"/>
                    <a:pt x="780" y="715"/>
                    <a:pt x="779" y="715"/>
                  </a:cubicBezTo>
                  <a:cubicBezTo>
                    <a:pt x="777" y="715"/>
                    <a:pt x="775" y="713"/>
                    <a:pt x="775" y="711"/>
                  </a:cubicBezTo>
                  <a:cubicBezTo>
                    <a:pt x="775" y="710"/>
                    <a:pt x="774" y="707"/>
                    <a:pt x="772" y="707"/>
                  </a:cubicBezTo>
                  <a:cubicBezTo>
                    <a:pt x="771" y="708"/>
                    <a:pt x="771" y="708"/>
                    <a:pt x="771" y="708"/>
                  </a:cubicBezTo>
                  <a:cubicBezTo>
                    <a:pt x="769" y="710"/>
                    <a:pt x="764" y="712"/>
                    <a:pt x="761" y="712"/>
                  </a:cubicBezTo>
                  <a:cubicBezTo>
                    <a:pt x="760" y="712"/>
                    <a:pt x="758" y="712"/>
                    <a:pt x="757" y="711"/>
                  </a:cubicBezTo>
                  <a:cubicBezTo>
                    <a:pt x="755" y="709"/>
                    <a:pt x="756" y="708"/>
                    <a:pt x="757" y="707"/>
                  </a:cubicBezTo>
                  <a:cubicBezTo>
                    <a:pt x="758" y="706"/>
                    <a:pt x="758" y="705"/>
                    <a:pt x="758" y="704"/>
                  </a:cubicBezTo>
                  <a:cubicBezTo>
                    <a:pt x="758" y="703"/>
                    <a:pt x="758" y="701"/>
                    <a:pt x="757" y="700"/>
                  </a:cubicBezTo>
                  <a:cubicBezTo>
                    <a:pt x="756" y="698"/>
                    <a:pt x="755" y="696"/>
                    <a:pt x="756" y="694"/>
                  </a:cubicBezTo>
                  <a:cubicBezTo>
                    <a:pt x="756" y="693"/>
                    <a:pt x="755" y="692"/>
                    <a:pt x="755" y="691"/>
                  </a:cubicBezTo>
                  <a:cubicBezTo>
                    <a:pt x="754" y="689"/>
                    <a:pt x="751" y="688"/>
                    <a:pt x="748" y="688"/>
                  </a:cubicBezTo>
                  <a:cubicBezTo>
                    <a:pt x="747" y="688"/>
                    <a:pt x="747" y="688"/>
                    <a:pt x="747" y="688"/>
                  </a:cubicBezTo>
                  <a:cubicBezTo>
                    <a:pt x="746" y="689"/>
                    <a:pt x="745" y="689"/>
                    <a:pt x="744" y="689"/>
                  </a:cubicBezTo>
                  <a:cubicBezTo>
                    <a:pt x="741" y="689"/>
                    <a:pt x="738" y="688"/>
                    <a:pt x="735" y="687"/>
                  </a:cubicBezTo>
                  <a:cubicBezTo>
                    <a:pt x="735" y="686"/>
                    <a:pt x="734" y="686"/>
                    <a:pt x="732" y="686"/>
                  </a:cubicBezTo>
                  <a:cubicBezTo>
                    <a:pt x="727" y="686"/>
                    <a:pt x="718" y="689"/>
                    <a:pt x="718" y="691"/>
                  </a:cubicBezTo>
                  <a:cubicBezTo>
                    <a:pt x="718" y="693"/>
                    <a:pt x="711" y="695"/>
                    <a:pt x="702" y="697"/>
                  </a:cubicBezTo>
                  <a:cubicBezTo>
                    <a:pt x="700" y="697"/>
                    <a:pt x="697" y="698"/>
                    <a:pt x="696" y="698"/>
                  </a:cubicBezTo>
                  <a:cubicBezTo>
                    <a:pt x="693" y="699"/>
                    <a:pt x="679" y="702"/>
                    <a:pt x="676" y="702"/>
                  </a:cubicBezTo>
                  <a:cubicBezTo>
                    <a:pt x="674" y="702"/>
                    <a:pt x="672" y="703"/>
                    <a:pt x="670" y="704"/>
                  </a:cubicBezTo>
                  <a:cubicBezTo>
                    <a:pt x="667" y="705"/>
                    <a:pt x="664" y="706"/>
                    <a:pt x="661" y="706"/>
                  </a:cubicBezTo>
                  <a:cubicBezTo>
                    <a:pt x="656" y="706"/>
                    <a:pt x="644" y="707"/>
                    <a:pt x="639" y="711"/>
                  </a:cubicBezTo>
                  <a:cubicBezTo>
                    <a:pt x="637" y="713"/>
                    <a:pt x="634" y="713"/>
                    <a:pt x="631" y="713"/>
                  </a:cubicBezTo>
                  <a:cubicBezTo>
                    <a:pt x="630" y="713"/>
                    <a:pt x="629" y="713"/>
                    <a:pt x="627" y="713"/>
                  </a:cubicBezTo>
                  <a:cubicBezTo>
                    <a:pt x="626" y="713"/>
                    <a:pt x="625" y="713"/>
                    <a:pt x="624" y="713"/>
                  </a:cubicBezTo>
                  <a:cubicBezTo>
                    <a:pt x="623" y="713"/>
                    <a:pt x="622" y="713"/>
                    <a:pt x="622" y="713"/>
                  </a:cubicBezTo>
                  <a:cubicBezTo>
                    <a:pt x="621" y="713"/>
                    <a:pt x="619" y="713"/>
                    <a:pt x="618" y="713"/>
                  </a:cubicBezTo>
                  <a:cubicBezTo>
                    <a:pt x="617" y="713"/>
                    <a:pt x="615" y="713"/>
                    <a:pt x="614" y="713"/>
                  </a:cubicBezTo>
                  <a:cubicBezTo>
                    <a:pt x="613" y="713"/>
                    <a:pt x="612" y="713"/>
                    <a:pt x="612" y="713"/>
                  </a:cubicBezTo>
                  <a:cubicBezTo>
                    <a:pt x="611" y="713"/>
                    <a:pt x="610" y="713"/>
                    <a:pt x="609" y="714"/>
                  </a:cubicBezTo>
                  <a:cubicBezTo>
                    <a:pt x="608" y="715"/>
                    <a:pt x="608" y="722"/>
                    <a:pt x="610" y="725"/>
                  </a:cubicBezTo>
                  <a:cubicBezTo>
                    <a:pt x="611" y="727"/>
                    <a:pt x="615" y="728"/>
                    <a:pt x="618" y="729"/>
                  </a:cubicBezTo>
                  <a:cubicBezTo>
                    <a:pt x="621" y="730"/>
                    <a:pt x="623" y="731"/>
                    <a:pt x="623" y="732"/>
                  </a:cubicBezTo>
                  <a:cubicBezTo>
                    <a:pt x="623" y="732"/>
                    <a:pt x="623" y="732"/>
                    <a:pt x="623" y="733"/>
                  </a:cubicBezTo>
                  <a:cubicBezTo>
                    <a:pt x="622" y="734"/>
                    <a:pt x="619" y="734"/>
                    <a:pt x="612" y="734"/>
                  </a:cubicBezTo>
                  <a:cubicBezTo>
                    <a:pt x="611" y="735"/>
                    <a:pt x="609" y="735"/>
                    <a:pt x="607" y="735"/>
                  </a:cubicBezTo>
                  <a:cubicBezTo>
                    <a:pt x="606" y="735"/>
                    <a:pt x="605" y="736"/>
                    <a:pt x="605" y="736"/>
                  </a:cubicBezTo>
                  <a:cubicBezTo>
                    <a:pt x="603" y="739"/>
                    <a:pt x="604" y="742"/>
                    <a:pt x="605" y="745"/>
                  </a:cubicBezTo>
                  <a:cubicBezTo>
                    <a:pt x="605" y="745"/>
                    <a:pt x="605" y="746"/>
                    <a:pt x="605" y="747"/>
                  </a:cubicBezTo>
                  <a:cubicBezTo>
                    <a:pt x="603" y="750"/>
                    <a:pt x="597" y="753"/>
                    <a:pt x="596" y="753"/>
                  </a:cubicBezTo>
                  <a:cubicBezTo>
                    <a:pt x="595" y="753"/>
                    <a:pt x="594" y="754"/>
                    <a:pt x="595" y="755"/>
                  </a:cubicBezTo>
                  <a:cubicBezTo>
                    <a:pt x="595" y="757"/>
                    <a:pt x="597" y="760"/>
                    <a:pt x="599" y="760"/>
                  </a:cubicBezTo>
                  <a:cubicBezTo>
                    <a:pt x="602" y="760"/>
                    <a:pt x="604" y="761"/>
                    <a:pt x="605" y="761"/>
                  </a:cubicBezTo>
                  <a:cubicBezTo>
                    <a:pt x="607" y="762"/>
                    <a:pt x="608" y="763"/>
                    <a:pt x="610" y="763"/>
                  </a:cubicBezTo>
                  <a:cubicBezTo>
                    <a:pt x="614" y="763"/>
                    <a:pt x="614" y="770"/>
                    <a:pt x="614" y="774"/>
                  </a:cubicBezTo>
                  <a:cubicBezTo>
                    <a:pt x="614" y="778"/>
                    <a:pt x="611" y="779"/>
                    <a:pt x="605" y="779"/>
                  </a:cubicBezTo>
                  <a:cubicBezTo>
                    <a:pt x="601" y="779"/>
                    <a:pt x="599" y="778"/>
                    <a:pt x="597" y="777"/>
                  </a:cubicBezTo>
                  <a:cubicBezTo>
                    <a:pt x="596" y="776"/>
                    <a:pt x="595" y="775"/>
                    <a:pt x="594" y="775"/>
                  </a:cubicBezTo>
                  <a:cubicBezTo>
                    <a:pt x="592" y="775"/>
                    <a:pt x="592" y="776"/>
                    <a:pt x="591" y="778"/>
                  </a:cubicBezTo>
                  <a:cubicBezTo>
                    <a:pt x="591" y="780"/>
                    <a:pt x="590" y="781"/>
                    <a:pt x="589" y="782"/>
                  </a:cubicBezTo>
                  <a:cubicBezTo>
                    <a:pt x="588" y="782"/>
                    <a:pt x="588" y="782"/>
                    <a:pt x="588" y="782"/>
                  </a:cubicBezTo>
                  <a:cubicBezTo>
                    <a:pt x="587" y="782"/>
                    <a:pt x="586" y="781"/>
                    <a:pt x="585" y="780"/>
                  </a:cubicBezTo>
                  <a:cubicBezTo>
                    <a:pt x="584" y="779"/>
                    <a:pt x="583" y="777"/>
                    <a:pt x="581" y="777"/>
                  </a:cubicBezTo>
                  <a:cubicBezTo>
                    <a:pt x="579" y="777"/>
                    <a:pt x="573" y="777"/>
                    <a:pt x="571" y="773"/>
                  </a:cubicBezTo>
                  <a:cubicBezTo>
                    <a:pt x="571" y="771"/>
                    <a:pt x="568" y="770"/>
                    <a:pt x="565" y="770"/>
                  </a:cubicBezTo>
                  <a:cubicBezTo>
                    <a:pt x="562" y="770"/>
                    <a:pt x="559" y="771"/>
                    <a:pt x="558" y="772"/>
                  </a:cubicBezTo>
                  <a:cubicBezTo>
                    <a:pt x="556" y="774"/>
                    <a:pt x="555" y="775"/>
                    <a:pt x="554" y="775"/>
                  </a:cubicBezTo>
                  <a:cubicBezTo>
                    <a:pt x="552" y="775"/>
                    <a:pt x="551" y="774"/>
                    <a:pt x="550" y="772"/>
                  </a:cubicBezTo>
                  <a:cubicBezTo>
                    <a:pt x="549" y="772"/>
                    <a:pt x="549" y="772"/>
                    <a:pt x="549" y="772"/>
                  </a:cubicBezTo>
                  <a:cubicBezTo>
                    <a:pt x="548" y="771"/>
                    <a:pt x="547" y="771"/>
                    <a:pt x="546" y="771"/>
                  </a:cubicBezTo>
                  <a:cubicBezTo>
                    <a:pt x="542" y="771"/>
                    <a:pt x="536" y="774"/>
                    <a:pt x="535" y="776"/>
                  </a:cubicBezTo>
                  <a:cubicBezTo>
                    <a:pt x="535" y="778"/>
                    <a:pt x="532" y="779"/>
                    <a:pt x="528" y="779"/>
                  </a:cubicBezTo>
                  <a:cubicBezTo>
                    <a:pt x="526" y="779"/>
                    <a:pt x="523" y="779"/>
                    <a:pt x="521" y="777"/>
                  </a:cubicBezTo>
                  <a:cubicBezTo>
                    <a:pt x="519" y="776"/>
                    <a:pt x="516" y="775"/>
                    <a:pt x="515" y="775"/>
                  </a:cubicBezTo>
                  <a:cubicBezTo>
                    <a:pt x="514" y="775"/>
                    <a:pt x="514" y="775"/>
                    <a:pt x="514" y="777"/>
                  </a:cubicBezTo>
                  <a:cubicBezTo>
                    <a:pt x="514" y="779"/>
                    <a:pt x="513" y="780"/>
                    <a:pt x="512" y="780"/>
                  </a:cubicBezTo>
                  <a:cubicBezTo>
                    <a:pt x="511" y="780"/>
                    <a:pt x="509" y="777"/>
                    <a:pt x="509" y="775"/>
                  </a:cubicBezTo>
                  <a:cubicBezTo>
                    <a:pt x="509" y="773"/>
                    <a:pt x="502" y="769"/>
                    <a:pt x="498" y="766"/>
                  </a:cubicBezTo>
                  <a:cubicBezTo>
                    <a:pt x="497" y="765"/>
                    <a:pt x="497" y="765"/>
                    <a:pt x="497" y="765"/>
                  </a:cubicBezTo>
                  <a:cubicBezTo>
                    <a:pt x="495" y="764"/>
                    <a:pt x="491" y="763"/>
                    <a:pt x="488" y="763"/>
                  </a:cubicBezTo>
                  <a:cubicBezTo>
                    <a:pt x="483" y="762"/>
                    <a:pt x="480" y="761"/>
                    <a:pt x="480" y="760"/>
                  </a:cubicBezTo>
                  <a:cubicBezTo>
                    <a:pt x="479" y="759"/>
                    <a:pt x="477" y="757"/>
                    <a:pt x="475" y="757"/>
                  </a:cubicBezTo>
                  <a:cubicBezTo>
                    <a:pt x="473" y="757"/>
                    <a:pt x="471" y="758"/>
                    <a:pt x="470" y="760"/>
                  </a:cubicBezTo>
                  <a:cubicBezTo>
                    <a:pt x="470" y="762"/>
                    <a:pt x="468" y="762"/>
                    <a:pt x="467" y="762"/>
                  </a:cubicBezTo>
                  <a:cubicBezTo>
                    <a:pt x="466" y="762"/>
                    <a:pt x="465" y="762"/>
                    <a:pt x="463" y="761"/>
                  </a:cubicBezTo>
                  <a:cubicBezTo>
                    <a:pt x="462" y="760"/>
                    <a:pt x="462" y="760"/>
                    <a:pt x="462" y="760"/>
                  </a:cubicBezTo>
                  <a:cubicBezTo>
                    <a:pt x="461" y="760"/>
                    <a:pt x="461" y="760"/>
                    <a:pt x="461" y="760"/>
                  </a:cubicBezTo>
                  <a:cubicBezTo>
                    <a:pt x="458" y="760"/>
                    <a:pt x="454" y="762"/>
                    <a:pt x="452" y="763"/>
                  </a:cubicBezTo>
                  <a:cubicBezTo>
                    <a:pt x="451" y="763"/>
                    <a:pt x="451" y="763"/>
                    <a:pt x="451" y="763"/>
                  </a:cubicBezTo>
                  <a:cubicBezTo>
                    <a:pt x="451" y="764"/>
                    <a:pt x="450" y="764"/>
                    <a:pt x="449" y="765"/>
                  </a:cubicBezTo>
                  <a:cubicBezTo>
                    <a:pt x="445" y="767"/>
                    <a:pt x="439" y="770"/>
                    <a:pt x="436" y="770"/>
                  </a:cubicBezTo>
                  <a:cubicBezTo>
                    <a:pt x="434" y="770"/>
                    <a:pt x="433" y="771"/>
                    <a:pt x="433" y="773"/>
                  </a:cubicBezTo>
                  <a:cubicBezTo>
                    <a:pt x="432" y="775"/>
                    <a:pt x="431" y="777"/>
                    <a:pt x="428" y="777"/>
                  </a:cubicBezTo>
                  <a:cubicBezTo>
                    <a:pt x="426" y="778"/>
                    <a:pt x="425" y="779"/>
                    <a:pt x="424" y="780"/>
                  </a:cubicBezTo>
                  <a:cubicBezTo>
                    <a:pt x="424" y="781"/>
                    <a:pt x="424" y="783"/>
                    <a:pt x="424" y="784"/>
                  </a:cubicBezTo>
                  <a:cubicBezTo>
                    <a:pt x="424" y="785"/>
                    <a:pt x="424" y="785"/>
                    <a:pt x="424" y="785"/>
                  </a:cubicBezTo>
                  <a:cubicBezTo>
                    <a:pt x="425" y="785"/>
                    <a:pt x="425" y="786"/>
                    <a:pt x="425" y="786"/>
                  </a:cubicBezTo>
                  <a:cubicBezTo>
                    <a:pt x="426" y="788"/>
                    <a:pt x="427" y="790"/>
                    <a:pt x="426" y="792"/>
                  </a:cubicBezTo>
                  <a:cubicBezTo>
                    <a:pt x="425" y="793"/>
                    <a:pt x="424" y="794"/>
                    <a:pt x="423" y="794"/>
                  </a:cubicBezTo>
                  <a:cubicBezTo>
                    <a:pt x="422" y="794"/>
                    <a:pt x="422" y="795"/>
                    <a:pt x="421" y="795"/>
                  </a:cubicBezTo>
                  <a:cubicBezTo>
                    <a:pt x="419" y="795"/>
                    <a:pt x="417" y="792"/>
                    <a:pt x="415" y="789"/>
                  </a:cubicBezTo>
                  <a:cubicBezTo>
                    <a:pt x="414" y="787"/>
                    <a:pt x="412" y="786"/>
                    <a:pt x="411" y="784"/>
                  </a:cubicBezTo>
                  <a:cubicBezTo>
                    <a:pt x="410" y="784"/>
                    <a:pt x="409" y="783"/>
                    <a:pt x="408" y="783"/>
                  </a:cubicBezTo>
                  <a:cubicBezTo>
                    <a:pt x="405" y="783"/>
                    <a:pt x="403" y="786"/>
                    <a:pt x="403" y="789"/>
                  </a:cubicBezTo>
                  <a:cubicBezTo>
                    <a:pt x="403" y="792"/>
                    <a:pt x="401" y="793"/>
                    <a:pt x="399" y="795"/>
                  </a:cubicBezTo>
                  <a:cubicBezTo>
                    <a:pt x="398" y="796"/>
                    <a:pt x="396" y="797"/>
                    <a:pt x="395" y="799"/>
                  </a:cubicBezTo>
                  <a:cubicBezTo>
                    <a:pt x="394" y="801"/>
                    <a:pt x="395" y="802"/>
                    <a:pt x="398" y="803"/>
                  </a:cubicBezTo>
                  <a:cubicBezTo>
                    <a:pt x="399" y="804"/>
                    <a:pt x="400" y="804"/>
                    <a:pt x="400" y="805"/>
                  </a:cubicBezTo>
                  <a:cubicBezTo>
                    <a:pt x="400" y="807"/>
                    <a:pt x="397" y="809"/>
                    <a:pt x="395" y="810"/>
                  </a:cubicBezTo>
                  <a:cubicBezTo>
                    <a:pt x="394" y="811"/>
                    <a:pt x="392" y="813"/>
                    <a:pt x="392" y="816"/>
                  </a:cubicBezTo>
                  <a:cubicBezTo>
                    <a:pt x="391" y="817"/>
                    <a:pt x="391" y="818"/>
                    <a:pt x="392" y="819"/>
                  </a:cubicBezTo>
                  <a:cubicBezTo>
                    <a:pt x="392" y="819"/>
                    <a:pt x="393" y="820"/>
                    <a:pt x="395" y="820"/>
                  </a:cubicBezTo>
                  <a:cubicBezTo>
                    <a:pt x="397" y="821"/>
                    <a:pt x="400" y="821"/>
                    <a:pt x="400" y="825"/>
                  </a:cubicBezTo>
                  <a:cubicBezTo>
                    <a:pt x="400" y="828"/>
                    <a:pt x="399" y="831"/>
                    <a:pt x="400" y="832"/>
                  </a:cubicBezTo>
                  <a:cubicBezTo>
                    <a:pt x="400" y="832"/>
                    <a:pt x="401" y="832"/>
                    <a:pt x="402" y="832"/>
                  </a:cubicBezTo>
                  <a:cubicBezTo>
                    <a:pt x="404" y="831"/>
                    <a:pt x="405" y="831"/>
                    <a:pt x="408" y="831"/>
                  </a:cubicBezTo>
                  <a:cubicBezTo>
                    <a:pt x="409" y="831"/>
                    <a:pt x="410" y="831"/>
                    <a:pt x="410" y="831"/>
                  </a:cubicBezTo>
                  <a:cubicBezTo>
                    <a:pt x="411" y="831"/>
                    <a:pt x="412" y="831"/>
                    <a:pt x="412" y="831"/>
                  </a:cubicBezTo>
                  <a:cubicBezTo>
                    <a:pt x="414" y="831"/>
                    <a:pt x="416" y="833"/>
                    <a:pt x="418" y="836"/>
                  </a:cubicBezTo>
                  <a:cubicBezTo>
                    <a:pt x="419" y="838"/>
                    <a:pt x="420" y="840"/>
                    <a:pt x="422" y="842"/>
                  </a:cubicBezTo>
                  <a:cubicBezTo>
                    <a:pt x="425" y="845"/>
                    <a:pt x="427" y="848"/>
                    <a:pt x="426" y="850"/>
                  </a:cubicBezTo>
                  <a:cubicBezTo>
                    <a:pt x="426" y="851"/>
                    <a:pt x="425" y="851"/>
                    <a:pt x="423" y="852"/>
                  </a:cubicBezTo>
                  <a:cubicBezTo>
                    <a:pt x="422" y="852"/>
                    <a:pt x="421" y="853"/>
                    <a:pt x="421" y="853"/>
                  </a:cubicBezTo>
                  <a:cubicBezTo>
                    <a:pt x="421" y="854"/>
                    <a:pt x="423" y="855"/>
                    <a:pt x="427" y="857"/>
                  </a:cubicBezTo>
                  <a:cubicBezTo>
                    <a:pt x="428" y="858"/>
                    <a:pt x="430" y="859"/>
                    <a:pt x="432" y="860"/>
                  </a:cubicBezTo>
                  <a:cubicBezTo>
                    <a:pt x="432" y="860"/>
                    <a:pt x="432" y="860"/>
                    <a:pt x="432" y="860"/>
                  </a:cubicBezTo>
                  <a:cubicBezTo>
                    <a:pt x="432" y="861"/>
                    <a:pt x="432" y="861"/>
                    <a:pt x="432" y="861"/>
                  </a:cubicBezTo>
                  <a:cubicBezTo>
                    <a:pt x="429" y="863"/>
                    <a:pt x="425" y="864"/>
                    <a:pt x="422" y="866"/>
                  </a:cubicBezTo>
                  <a:cubicBezTo>
                    <a:pt x="416" y="869"/>
                    <a:pt x="409" y="872"/>
                    <a:pt x="406" y="876"/>
                  </a:cubicBezTo>
                  <a:cubicBezTo>
                    <a:pt x="404" y="878"/>
                    <a:pt x="403" y="880"/>
                    <a:pt x="401" y="882"/>
                  </a:cubicBezTo>
                  <a:cubicBezTo>
                    <a:pt x="398" y="885"/>
                    <a:pt x="395" y="888"/>
                    <a:pt x="395" y="891"/>
                  </a:cubicBezTo>
                  <a:cubicBezTo>
                    <a:pt x="395" y="893"/>
                    <a:pt x="396" y="895"/>
                    <a:pt x="399" y="897"/>
                  </a:cubicBezTo>
                  <a:cubicBezTo>
                    <a:pt x="406" y="903"/>
                    <a:pt x="405" y="908"/>
                    <a:pt x="405" y="913"/>
                  </a:cubicBezTo>
                  <a:cubicBezTo>
                    <a:pt x="405" y="914"/>
                    <a:pt x="404" y="916"/>
                    <a:pt x="404" y="917"/>
                  </a:cubicBezTo>
                  <a:cubicBezTo>
                    <a:pt x="404" y="921"/>
                    <a:pt x="415" y="934"/>
                    <a:pt x="421" y="942"/>
                  </a:cubicBezTo>
                  <a:cubicBezTo>
                    <a:pt x="421" y="942"/>
                    <a:pt x="421" y="942"/>
                    <a:pt x="421" y="942"/>
                  </a:cubicBezTo>
                  <a:cubicBezTo>
                    <a:pt x="421" y="943"/>
                    <a:pt x="421" y="943"/>
                    <a:pt x="421" y="943"/>
                  </a:cubicBezTo>
                  <a:cubicBezTo>
                    <a:pt x="420" y="946"/>
                    <a:pt x="417" y="947"/>
                    <a:pt x="415" y="947"/>
                  </a:cubicBezTo>
                  <a:cubicBezTo>
                    <a:pt x="413" y="948"/>
                    <a:pt x="412" y="948"/>
                    <a:pt x="412" y="949"/>
                  </a:cubicBezTo>
                  <a:cubicBezTo>
                    <a:pt x="411" y="950"/>
                    <a:pt x="410" y="951"/>
                    <a:pt x="409" y="951"/>
                  </a:cubicBezTo>
                  <a:close/>
                  <a:moveTo>
                    <a:pt x="405" y="949"/>
                  </a:moveTo>
                  <a:cubicBezTo>
                    <a:pt x="406" y="949"/>
                    <a:pt x="407" y="949"/>
                    <a:pt x="407" y="949"/>
                  </a:cubicBezTo>
                  <a:cubicBezTo>
                    <a:pt x="408" y="950"/>
                    <a:pt x="409" y="950"/>
                    <a:pt x="409" y="950"/>
                  </a:cubicBezTo>
                  <a:cubicBezTo>
                    <a:pt x="410" y="950"/>
                    <a:pt x="410" y="950"/>
                    <a:pt x="411" y="949"/>
                  </a:cubicBezTo>
                  <a:cubicBezTo>
                    <a:pt x="411" y="948"/>
                    <a:pt x="413" y="947"/>
                    <a:pt x="415" y="946"/>
                  </a:cubicBezTo>
                  <a:cubicBezTo>
                    <a:pt x="417" y="946"/>
                    <a:pt x="419" y="945"/>
                    <a:pt x="420" y="942"/>
                  </a:cubicBezTo>
                  <a:cubicBezTo>
                    <a:pt x="411" y="932"/>
                    <a:pt x="403" y="921"/>
                    <a:pt x="403" y="917"/>
                  </a:cubicBezTo>
                  <a:cubicBezTo>
                    <a:pt x="403" y="916"/>
                    <a:pt x="404" y="914"/>
                    <a:pt x="404" y="913"/>
                  </a:cubicBezTo>
                  <a:cubicBezTo>
                    <a:pt x="404" y="908"/>
                    <a:pt x="405" y="904"/>
                    <a:pt x="398" y="898"/>
                  </a:cubicBezTo>
                  <a:cubicBezTo>
                    <a:pt x="395" y="895"/>
                    <a:pt x="394" y="893"/>
                    <a:pt x="394" y="891"/>
                  </a:cubicBezTo>
                  <a:cubicBezTo>
                    <a:pt x="394" y="888"/>
                    <a:pt x="397" y="885"/>
                    <a:pt x="400" y="881"/>
                  </a:cubicBezTo>
                  <a:cubicBezTo>
                    <a:pt x="402" y="879"/>
                    <a:pt x="404" y="878"/>
                    <a:pt x="405" y="876"/>
                  </a:cubicBezTo>
                  <a:cubicBezTo>
                    <a:pt x="409" y="871"/>
                    <a:pt x="415" y="868"/>
                    <a:pt x="421" y="865"/>
                  </a:cubicBezTo>
                  <a:cubicBezTo>
                    <a:pt x="425" y="864"/>
                    <a:pt x="428" y="862"/>
                    <a:pt x="430" y="860"/>
                  </a:cubicBezTo>
                  <a:cubicBezTo>
                    <a:pt x="429" y="859"/>
                    <a:pt x="428" y="859"/>
                    <a:pt x="426" y="858"/>
                  </a:cubicBezTo>
                  <a:cubicBezTo>
                    <a:pt x="422" y="856"/>
                    <a:pt x="420" y="855"/>
                    <a:pt x="420" y="853"/>
                  </a:cubicBezTo>
                  <a:cubicBezTo>
                    <a:pt x="420" y="852"/>
                    <a:pt x="421" y="851"/>
                    <a:pt x="423" y="851"/>
                  </a:cubicBezTo>
                  <a:cubicBezTo>
                    <a:pt x="424" y="850"/>
                    <a:pt x="425" y="850"/>
                    <a:pt x="425" y="849"/>
                  </a:cubicBezTo>
                  <a:cubicBezTo>
                    <a:pt x="426" y="848"/>
                    <a:pt x="424" y="846"/>
                    <a:pt x="421" y="842"/>
                  </a:cubicBezTo>
                  <a:cubicBezTo>
                    <a:pt x="419" y="840"/>
                    <a:pt x="418" y="839"/>
                    <a:pt x="417" y="837"/>
                  </a:cubicBezTo>
                  <a:cubicBezTo>
                    <a:pt x="415" y="834"/>
                    <a:pt x="414" y="832"/>
                    <a:pt x="412" y="832"/>
                  </a:cubicBezTo>
                  <a:cubicBezTo>
                    <a:pt x="412" y="832"/>
                    <a:pt x="411" y="832"/>
                    <a:pt x="410" y="832"/>
                  </a:cubicBezTo>
                  <a:cubicBezTo>
                    <a:pt x="410" y="832"/>
                    <a:pt x="409" y="832"/>
                    <a:pt x="408" y="832"/>
                  </a:cubicBezTo>
                  <a:cubicBezTo>
                    <a:pt x="406" y="832"/>
                    <a:pt x="404" y="832"/>
                    <a:pt x="402" y="833"/>
                  </a:cubicBezTo>
                  <a:cubicBezTo>
                    <a:pt x="401" y="833"/>
                    <a:pt x="400" y="833"/>
                    <a:pt x="399" y="832"/>
                  </a:cubicBezTo>
                  <a:cubicBezTo>
                    <a:pt x="398" y="831"/>
                    <a:pt x="399" y="828"/>
                    <a:pt x="399" y="825"/>
                  </a:cubicBezTo>
                  <a:cubicBezTo>
                    <a:pt x="399" y="822"/>
                    <a:pt x="397" y="822"/>
                    <a:pt x="394" y="821"/>
                  </a:cubicBezTo>
                  <a:cubicBezTo>
                    <a:pt x="393" y="820"/>
                    <a:pt x="391" y="820"/>
                    <a:pt x="391" y="819"/>
                  </a:cubicBezTo>
                  <a:cubicBezTo>
                    <a:pt x="390" y="818"/>
                    <a:pt x="390" y="817"/>
                    <a:pt x="391" y="816"/>
                  </a:cubicBezTo>
                  <a:cubicBezTo>
                    <a:pt x="391" y="813"/>
                    <a:pt x="393" y="810"/>
                    <a:pt x="394" y="809"/>
                  </a:cubicBezTo>
                  <a:cubicBezTo>
                    <a:pt x="397" y="808"/>
                    <a:pt x="399" y="806"/>
                    <a:pt x="399" y="805"/>
                  </a:cubicBezTo>
                  <a:cubicBezTo>
                    <a:pt x="399" y="805"/>
                    <a:pt x="398" y="804"/>
                    <a:pt x="397" y="804"/>
                  </a:cubicBezTo>
                  <a:cubicBezTo>
                    <a:pt x="395" y="803"/>
                    <a:pt x="393" y="801"/>
                    <a:pt x="395" y="798"/>
                  </a:cubicBezTo>
                  <a:cubicBezTo>
                    <a:pt x="396" y="796"/>
                    <a:pt x="397" y="795"/>
                    <a:pt x="399" y="794"/>
                  </a:cubicBezTo>
                  <a:cubicBezTo>
                    <a:pt x="401" y="792"/>
                    <a:pt x="402" y="792"/>
                    <a:pt x="402" y="789"/>
                  </a:cubicBezTo>
                  <a:cubicBezTo>
                    <a:pt x="402" y="785"/>
                    <a:pt x="405" y="782"/>
                    <a:pt x="408" y="782"/>
                  </a:cubicBezTo>
                  <a:cubicBezTo>
                    <a:pt x="409" y="782"/>
                    <a:pt x="410" y="783"/>
                    <a:pt x="411" y="784"/>
                  </a:cubicBezTo>
                  <a:cubicBezTo>
                    <a:pt x="413" y="785"/>
                    <a:pt x="414" y="787"/>
                    <a:pt x="416" y="789"/>
                  </a:cubicBezTo>
                  <a:cubicBezTo>
                    <a:pt x="417" y="791"/>
                    <a:pt x="419" y="794"/>
                    <a:pt x="421" y="794"/>
                  </a:cubicBezTo>
                  <a:cubicBezTo>
                    <a:pt x="422" y="794"/>
                    <a:pt x="422" y="793"/>
                    <a:pt x="423" y="793"/>
                  </a:cubicBezTo>
                  <a:cubicBezTo>
                    <a:pt x="424" y="793"/>
                    <a:pt x="424" y="792"/>
                    <a:pt x="425" y="791"/>
                  </a:cubicBezTo>
                  <a:cubicBezTo>
                    <a:pt x="425" y="790"/>
                    <a:pt x="425" y="788"/>
                    <a:pt x="424" y="787"/>
                  </a:cubicBezTo>
                  <a:cubicBezTo>
                    <a:pt x="424" y="786"/>
                    <a:pt x="424" y="785"/>
                    <a:pt x="424" y="785"/>
                  </a:cubicBezTo>
                  <a:cubicBezTo>
                    <a:pt x="423" y="784"/>
                    <a:pt x="423" y="784"/>
                    <a:pt x="423" y="784"/>
                  </a:cubicBezTo>
                  <a:cubicBezTo>
                    <a:pt x="423" y="783"/>
                    <a:pt x="422" y="781"/>
                    <a:pt x="424" y="779"/>
                  </a:cubicBezTo>
                  <a:cubicBezTo>
                    <a:pt x="424" y="778"/>
                    <a:pt x="426" y="777"/>
                    <a:pt x="428" y="776"/>
                  </a:cubicBezTo>
                  <a:cubicBezTo>
                    <a:pt x="431" y="776"/>
                    <a:pt x="431" y="774"/>
                    <a:pt x="432" y="773"/>
                  </a:cubicBezTo>
                  <a:cubicBezTo>
                    <a:pt x="432" y="771"/>
                    <a:pt x="433" y="769"/>
                    <a:pt x="436" y="769"/>
                  </a:cubicBezTo>
                  <a:cubicBezTo>
                    <a:pt x="439" y="769"/>
                    <a:pt x="445" y="766"/>
                    <a:pt x="448" y="764"/>
                  </a:cubicBezTo>
                  <a:cubicBezTo>
                    <a:pt x="449" y="763"/>
                    <a:pt x="450" y="763"/>
                    <a:pt x="451" y="762"/>
                  </a:cubicBezTo>
                  <a:cubicBezTo>
                    <a:pt x="452" y="762"/>
                    <a:pt x="452" y="762"/>
                    <a:pt x="452" y="762"/>
                  </a:cubicBezTo>
                  <a:cubicBezTo>
                    <a:pt x="454" y="761"/>
                    <a:pt x="458" y="759"/>
                    <a:pt x="461" y="759"/>
                  </a:cubicBezTo>
                  <a:cubicBezTo>
                    <a:pt x="462" y="759"/>
                    <a:pt x="462" y="759"/>
                    <a:pt x="462" y="759"/>
                  </a:cubicBezTo>
                  <a:cubicBezTo>
                    <a:pt x="463" y="759"/>
                    <a:pt x="463" y="760"/>
                    <a:pt x="464" y="760"/>
                  </a:cubicBezTo>
                  <a:cubicBezTo>
                    <a:pt x="465" y="761"/>
                    <a:pt x="466" y="761"/>
                    <a:pt x="467" y="761"/>
                  </a:cubicBezTo>
                  <a:cubicBezTo>
                    <a:pt x="468" y="761"/>
                    <a:pt x="469" y="761"/>
                    <a:pt x="469" y="759"/>
                  </a:cubicBezTo>
                  <a:cubicBezTo>
                    <a:pt x="470" y="757"/>
                    <a:pt x="472" y="756"/>
                    <a:pt x="475" y="756"/>
                  </a:cubicBezTo>
                  <a:cubicBezTo>
                    <a:pt x="477" y="756"/>
                    <a:pt x="480" y="758"/>
                    <a:pt x="481" y="759"/>
                  </a:cubicBezTo>
                  <a:cubicBezTo>
                    <a:pt x="481" y="760"/>
                    <a:pt x="485" y="761"/>
                    <a:pt x="488" y="762"/>
                  </a:cubicBezTo>
                  <a:cubicBezTo>
                    <a:pt x="492" y="762"/>
                    <a:pt x="495" y="763"/>
                    <a:pt x="497" y="764"/>
                  </a:cubicBezTo>
                  <a:cubicBezTo>
                    <a:pt x="498" y="765"/>
                    <a:pt x="498" y="765"/>
                    <a:pt x="499" y="765"/>
                  </a:cubicBezTo>
                  <a:cubicBezTo>
                    <a:pt x="504" y="769"/>
                    <a:pt x="510" y="773"/>
                    <a:pt x="510" y="775"/>
                  </a:cubicBezTo>
                  <a:cubicBezTo>
                    <a:pt x="510" y="777"/>
                    <a:pt x="511" y="779"/>
                    <a:pt x="512" y="779"/>
                  </a:cubicBezTo>
                  <a:cubicBezTo>
                    <a:pt x="512" y="779"/>
                    <a:pt x="513" y="778"/>
                    <a:pt x="513" y="777"/>
                  </a:cubicBezTo>
                  <a:cubicBezTo>
                    <a:pt x="513" y="775"/>
                    <a:pt x="513" y="774"/>
                    <a:pt x="515" y="774"/>
                  </a:cubicBezTo>
                  <a:cubicBezTo>
                    <a:pt x="517" y="774"/>
                    <a:pt x="519" y="775"/>
                    <a:pt x="522" y="777"/>
                  </a:cubicBezTo>
                  <a:cubicBezTo>
                    <a:pt x="524" y="778"/>
                    <a:pt x="526" y="778"/>
                    <a:pt x="528" y="778"/>
                  </a:cubicBezTo>
                  <a:cubicBezTo>
                    <a:pt x="531" y="778"/>
                    <a:pt x="534" y="777"/>
                    <a:pt x="535" y="775"/>
                  </a:cubicBezTo>
                  <a:cubicBezTo>
                    <a:pt x="536" y="773"/>
                    <a:pt x="542" y="770"/>
                    <a:pt x="546" y="770"/>
                  </a:cubicBezTo>
                  <a:cubicBezTo>
                    <a:pt x="548" y="770"/>
                    <a:pt x="549" y="770"/>
                    <a:pt x="549" y="771"/>
                  </a:cubicBezTo>
                  <a:cubicBezTo>
                    <a:pt x="550" y="771"/>
                    <a:pt x="550" y="771"/>
                    <a:pt x="550" y="772"/>
                  </a:cubicBezTo>
                  <a:cubicBezTo>
                    <a:pt x="552" y="773"/>
                    <a:pt x="553" y="774"/>
                    <a:pt x="554" y="774"/>
                  </a:cubicBezTo>
                  <a:cubicBezTo>
                    <a:pt x="555" y="774"/>
                    <a:pt x="556" y="773"/>
                    <a:pt x="557" y="771"/>
                  </a:cubicBezTo>
                  <a:cubicBezTo>
                    <a:pt x="559" y="770"/>
                    <a:pt x="562" y="769"/>
                    <a:pt x="565" y="769"/>
                  </a:cubicBezTo>
                  <a:cubicBezTo>
                    <a:pt x="569" y="769"/>
                    <a:pt x="571" y="770"/>
                    <a:pt x="572" y="772"/>
                  </a:cubicBezTo>
                  <a:cubicBezTo>
                    <a:pt x="573" y="775"/>
                    <a:pt x="576" y="776"/>
                    <a:pt x="581" y="776"/>
                  </a:cubicBezTo>
                  <a:cubicBezTo>
                    <a:pt x="584" y="776"/>
                    <a:pt x="585" y="778"/>
                    <a:pt x="586" y="779"/>
                  </a:cubicBezTo>
                  <a:cubicBezTo>
                    <a:pt x="587" y="780"/>
                    <a:pt x="587" y="781"/>
                    <a:pt x="588" y="781"/>
                  </a:cubicBezTo>
                  <a:cubicBezTo>
                    <a:pt x="588" y="781"/>
                    <a:pt x="588" y="781"/>
                    <a:pt x="588" y="781"/>
                  </a:cubicBezTo>
                  <a:cubicBezTo>
                    <a:pt x="589" y="781"/>
                    <a:pt x="590" y="779"/>
                    <a:pt x="590" y="778"/>
                  </a:cubicBezTo>
                  <a:cubicBezTo>
                    <a:pt x="591" y="776"/>
                    <a:pt x="591" y="773"/>
                    <a:pt x="594" y="774"/>
                  </a:cubicBezTo>
                  <a:cubicBezTo>
                    <a:pt x="595" y="774"/>
                    <a:pt x="596" y="775"/>
                    <a:pt x="598" y="776"/>
                  </a:cubicBezTo>
                  <a:cubicBezTo>
                    <a:pt x="600" y="777"/>
                    <a:pt x="602" y="778"/>
                    <a:pt x="605" y="778"/>
                  </a:cubicBezTo>
                  <a:cubicBezTo>
                    <a:pt x="610" y="778"/>
                    <a:pt x="613" y="777"/>
                    <a:pt x="613" y="774"/>
                  </a:cubicBezTo>
                  <a:cubicBezTo>
                    <a:pt x="613" y="769"/>
                    <a:pt x="612" y="764"/>
                    <a:pt x="610" y="764"/>
                  </a:cubicBezTo>
                  <a:cubicBezTo>
                    <a:pt x="608" y="764"/>
                    <a:pt x="607" y="763"/>
                    <a:pt x="605" y="762"/>
                  </a:cubicBezTo>
                  <a:cubicBezTo>
                    <a:pt x="603" y="762"/>
                    <a:pt x="601" y="761"/>
                    <a:pt x="599" y="761"/>
                  </a:cubicBezTo>
                  <a:cubicBezTo>
                    <a:pt x="597" y="761"/>
                    <a:pt x="594" y="758"/>
                    <a:pt x="594" y="755"/>
                  </a:cubicBezTo>
                  <a:cubicBezTo>
                    <a:pt x="593" y="754"/>
                    <a:pt x="594" y="752"/>
                    <a:pt x="595" y="752"/>
                  </a:cubicBezTo>
                  <a:cubicBezTo>
                    <a:pt x="599" y="751"/>
                    <a:pt x="603" y="749"/>
                    <a:pt x="604" y="746"/>
                  </a:cubicBezTo>
                  <a:cubicBezTo>
                    <a:pt x="604" y="745"/>
                    <a:pt x="604" y="745"/>
                    <a:pt x="604" y="745"/>
                  </a:cubicBezTo>
                  <a:cubicBezTo>
                    <a:pt x="604" y="744"/>
                    <a:pt x="602" y="739"/>
                    <a:pt x="604" y="736"/>
                  </a:cubicBezTo>
                  <a:cubicBezTo>
                    <a:pt x="604" y="735"/>
                    <a:pt x="606" y="734"/>
                    <a:pt x="607" y="734"/>
                  </a:cubicBezTo>
                  <a:cubicBezTo>
                    <a:pt x="609" y="734"/>
                    <a:pt x="610" y="734"/>
                    <a:pt x="612" y="733"/>
                  </a:cubicBezTo>
                  <a:cubicBezTo>
                    <a:pt x="616" y="733"/>
                    <a:pt x="622" y="733"/>
                    <a:pt x="622" y="732"/>
                  </a:cubicBezTo>
                  <a:cubicBezTo>
                    <a:pt x="622" y="731"/>
                    <a:pt x="619" y="731"/>
                    <a:pt x="617" y="730"/>
                  </a:cubicBezTo>
                  <a:cubicBezTo>
                    <a:pt x="614" y="729"/>
                    <a:pt x="611" y="728"/>
                    <a:pt x="609" y="726"/>
                  </a:cubicBezTo>
                  <a:cubicBezTo>
                    <a:pt x="608" y="722"/>
                    <a:pt x="607" y="714"/>
                    <a:pt x="609" y="713"/>
                  </a:cubicBezTo>
                  <a:cubicBezTo>
                    <a:pt x="609" y="712"/>
                    <a:pt x="610" y="712"/>
                    <a:pt x="612" y="712"/>
                  </a:cubicBezTo>
                  <a:cubicBezTo>
                    <a:pt x="613" y="712"/>
                    <a:pt x="613" y="712"/>
                    <a:pt x="614" y="712"/>
                  </a:cubicBezTo>
                  <a:cubicBezTo>
                    <a:pt x="616" y="712"/>
                    <a:pt x="617" y="712"/>
                    <a:pt x="618" y="712"/>
                  </a:cubicBezTo>
                  <a:cubicBezTo>
                    <a:pt x="619" y="712"/>
                    <a:pt x="620" y="712"/>
                    <a:pt x="621" y="712"/>
                  </a:cubicBezTo>
                  <a:cubicBezTo>
                    <a:pt x="622" y="712"/>
                    <a:pt x="623" y="712"/>
                    <a:pt x="624" y="712"/>
                  </a:cubicBezTo>
                  <a:cubicBezTo>
                    <a:pt x="625" y="712"/>
                    <a:pt x="626" y="712"/>
                    <a:pt x="627" y="712"/>
                  </a:cubicBezTo>
                  <a:cubicBezTo>
                    <a:pt x="629" y="712"/>
                    <a:pt x="630" y="712"/>
                    <a:pt x="631" y="712"/>
                  </a:cubicBezTo>
                  <a:cubicBezTo>
                    <a:pt x="635" y="712"/>
                    <a:pt x="637" y="711"/>
                    <a:pt x="639" y="710"/>
                  </a:cubicBezTo>
                  <a:cubicBezTo>
                    <a:pt x="644" y="706"/>
                    <a:pt x="656" y="705"/>
                    <a:pt x="661" y="705"/>
                  </a:cubicBezTo>
                  <a:cubicBezTo>
                    <a:pt x="664" y="705"/>
                    <a:pt x="667" y="704"/>
                    <a:pt x="670" y="703"/>
                  </a:cubicBezTo>
                  <a:cubicBezTo>
                    <a:pt x="672" y="702"/>
                    <a:pt x="674" y="701"/>
                    <a:pt x="676" y="701"/>
                  </a:cubicBezTo>
                  <a:cubicBezTo>
                    <a:pt x="678" y="701"/>
                    <a:pt x="693" y="699"/>
                    <a:pt x="696" y="697"/>
                  </a:cubicBezTo>
                  <a:cubicBezTo>
                    <a:pt x="697" y="697"/>
                    <a:pt x="699" y="696"/>
                    <a:pt x="702" y="696"/>
                  </a:cubicBezTo>
                  <a:cubicBezTo>
                    <a:pt x="707" y="694"/>
                    <a:pt x="717" y="692"/>
                    <a:pt x="717" y="690"/>
                  </a:cubicBezTo>
                  <a:cubicBezTo>
                    <a:pt x="718" y="687"/>
                    <a:pt x="727" y="685"/>
                    <a:pt x="732" y="685"/>
                  </a:cubicBezTo>
                  <a:cubicBezTo>
                    <a:pt x="734" y="685"/>
                    <a:pt x="735" y="686"/>
                    <a:pt x="736" y="686"/>
                  </a:cubicBezTo>
                  <a:cubicBezTo>
                    <a:pt x="738" y="687"/>
                    <a:pt x="741" y="688"/>
                    <a:pt x="744" y="688"/>
                  </a:cubicBezTo>
                  <a:cubicBezTo>
                    <a:pt x="745" y="688"/>
                    <a:pt x="746" y="688"/>
                    <a:pt x="747" y="687"/>
                  </a:cubicBezTo>
                  <a:cubicBezTo>
                    <a:pt x="748" y="687"/>
                    <a:pt x="748" y="687"/>
                    <a:pt x="748" y="687"/>
                  </a:cubicBezTo>
                  <a:cubicBezTo>
                    <a:pt x="751" y="687"/>
                    <a:pt x="754" y="689"/>
                    <a:pt x="756" y="691"/>
                  </a:cubicBezTo>
                  <a:cubicBezTo>
                    <a:pt x="757" y="692"/>
                    <a:pt x="757" y="693"/>
                    <a:pt x="757" y="694"/>
                  </a:cubicBezTo>
                  <a:cubicBezTo>
                    <a:pt x="756" y="696"/>
                    <a:pt x="757" y="698"/>
                    <a:pt x="758" y="699"/>
                  </a:cubicBezTo>
                  <a:cubicBezTo>
                    <a:pt x="759" y="701"/>
                    <a:pt x="760" y="703"/>
                    <a:pt x="759" y="704"/>
                  </a:cubicBezTo>
                  <a:cubicBezTo>
                    <a:pt x="759" y="705"/>
                    <a:pt x="758" y="706"/>
                    <a:pt x="758" y="707"/>
                  </a:cubicBezTo>
                  <a:cubicBezTo>
                    <a:pt x="757" y="708"/>
                    <a:pt x="757" y="709"/>
                    <a:pt x="758" y="710"/>
                  </a:cubicBezTo>
                  <a:cubicBezTo>
                    <a:pt x="758" y="710"/>
                    <a:pt x="759" y="711"/>
                    <a:pt x="761" y="711"/>
                  </a:cubicBezTo>
                  <a:cubicBezTo>
                    <a:pt x="764" y="711"/>
                    <a:pt x="768" y="709"/>
                    <a:pt x="770" y="708"/>
                  </a:cubicBezTo>
                  <a:cubicBezTo>
                    <a:pt x="771" y="707"/>
                    <a:pt x="772" y="706"/>
                    <a:pt x="772" y="706"/>
                  </a:cubicBezTo>
                  <a:cubicBezTo>
                    <a:pt x="775" y="706"/>
                    <a:pt x="776" y="709"/>
                    <a:pt x="776" y="711"/>
                  </a:cubicBezTo>
                  <a:cubicBezTo>
                    <a:pt x="776" y="713"/>
                    <a:pt x="778" y="714"/>
                    <a:pt x="779" y="714"/>
                  </a:cubicBezTo>
                  <a:cubicBezTo>
                    <a:pt x="779" y="714"/>
                    <a:pt x="780" y="713"/>
                    <a:pt x="780" y="712"/>
                  </a:cubicBezTo>
                  <a:cubicBezTo>
                    <a:pt x="780" y="711"/>
                    <a:pt x="780" y="710"/>
                    <a:pt x="782" y="710"/>
                  </a:cubicBezTo>
                  <a:cubicBezTo>
                    <a:pt x="784" y="710"/>
                    <a:pt x="786" y="712"/>
                    <a:pt x="787" y="713"/>
                  </a:cubicBezTo>
                  <a:cubicBezTo>
                    <a:pt x="788" y="714"/>
                    <a:pt x="789" y="713"/>
                    <a:pt x="791" y="713"/>
                  </a:cubicBezTo>
                  <a:cubicBezTo>
                    <a:pt x="792" y="713"/>
                    <a:pt x="793" y="713"/>
                    <a:pt x="793" y="713"/>
                  </a:cubicBezTo>
                  <a:cubicBezTo>
                    <a:pt x="795" y="713"/>
                    <a:pt x="795" y="714"/>
                    <a:pt x="795" y="714"/>
                  </a:cubicBezTo>
                  <a:cubicBezTo>
                    <a:pt x="795" y="716"/>
                    <a:pt x="794" y="717"/>
                    <a:pt x="792" y="719"/>
                  </a:cubicBezTo>
                  <a:cubicBezTo>
                    <a:pt x="791" y="720"/>
                    <a:pt x="789" y="721"/>
                    <a:pt x="789" y="722"/>
                  </a:cubicBezTo>
                  <a:cubicBezTo>
                    <a:pt x="789" y="722"/>
                    <a:pt x="789" y="723"/>
                    <a:pt x="790" y="723"/>
                  </a:cubicBezTo>
                  <a:cubicBezTo>
                    <a:pt x="790" y="724"/>
                    <a:pt x="791" y="724"/>
                    <a:pt x="792" y="724"/>
                  </a:cubicBezTo>
                  <a:cubicBezTo>
                    <a:pt x="793" y="724"/>
                    <a:pt x="794" y="723"/>
                    <a:pt x="795" y="723"/>
                  </a:cubicBezTo>
                  <a:cubicBezTo>
                    <a:pt x="796" y="722"/>
                    <a:pt x="797" y="720"/>
                    <a:pt x="799" y="720"/>
                  </a:cubicBezTo>
                  <a:cubicBezTo>
                    <a:pt x="800" y="720"/>
                    <a:pt x="800" y="721"/>
                    <a:pt x="801" y="721"/>
                  </a:cubicBezTo>
                  <a:cubicBezTo>
                    <a:pt x="802" y="721"/>
                    <a:pt x="802" y="721"/>
                    <a:pt x="802" y="721"/>
                  </a:cubicBezTo>
                  <a:cubicBezTo>
                    <a:pt x="804" y="721"/>
                    <a:pt x="807" y="719"/>
                    <a:pt x="810" y="717"/>
                  </a:cubicBezTo>
                  <a:cubicBezTo>
                    <a:pt x="812" y="716"/>
                    <a:pt x="814" y="715"/>
                    <a:pt x="816" y="714"/>
                  </a:cubicBezTo>
                  <a:cubicBezTo>
                    <a:pt x="819" y="714"/>
                    <a:pt x="823" y="711"/>
                    <a:pt x="826" y="709"/>
                  </a:cubicBezTo>
                  <a:cubicBezTo>
                    <a:pt x="827" y="708"/>
                    <a:pt x="828" y="708"/>
                    <a:pt x="829" y="707"/>
                  </a:cubicBezTo>
                  <a:cubicBezTo>
                    <a:pt x="831" y="706"/>
                    <a:pt x="833" y="705"/>
                    <a:pt x="836" y="705"/>
                  </a:cubicBezTo>
                  <a:cubicBezTo>
                    <a:pt x="837" y="705"/>
                    <a:pt x="840" y="706"/>
                    <a:pt x="840" y="707"/>
                  </a:cubicBezTo>
                  <a:cubicBezTo>
                    <a:pt x="840" y="707"/>
                    <a:pt x="840" y="708"/>
                    <a:pt x="840" y="709"/>
                  </a:cubicBezTo>
                  <a:cubicBezTo>
                    <a:pt x="838" y="710"/>
                    <a:pt x="837" y="712"/>
                    <a:pt x="837" y="714"/>
                  </a:cubicBezTo>
                  <a:cubicBezTo>
                    <a:pt x="838" y="716"/>
                    <a:pt x="840" y="717"/>
                    <a:pt x="844" y="719"/>
                  </a:cubicBezTo>
                  <a:cubicBezTo>
                    <a:pt x="852" y="722"/>
                    <a:pt x="862" y="737"/>
                    <a:pt x="868" y="747"/>
                  </a:cubicBezTo>
                  <a:cubicBezTo>
                    <a:pt x="869" y="748"/>
                    <a:pt x="870" y="749"/>
                    <a:pt x="871" y="751"/>
                  </a:cubicBezTo>
                  <a:cubicBezTo>
                    <a:pt x="873" y="754"/>
                    <a:pt x="876" y="760"/>
                    <a:pt x="878" y="764"/>
                  </a:cubicBezTo>
                  <a:cubicBezTo>
                    <a:pt x="881" y="770"/>
                    <a:pt x="884" y="776"/>
                    <a:pt x="885" y="776"/>
                  </a:cubicBezTo>
                  <a:cubicBezTo>
                    <a:pt x="887" y="776"/>
                    <a:pt x="888" y="775"/>
                    <a:pt x="889" y="773"/>
                  </a:cubicBezTo>
                  <a:cubicBezTo>
                    <a:pt x="890" y="770"/>
                    <a:pt x="891" y="768"/>
                    <a:pt x="894" y="767"/>
                  </a:cubicBezTo>
                  <a:cubicBezTo>
                    <a:pt x="894" y="767"/>
                    <a:pt x="894" y="767"/>
                    <a:pt x="894" y="767"/>
                  </a:cubicBezTo>
                  <a:cubicBezTo>
                    <a:pt x="897" y="767"/>
                    <a:pt x="898" y="769"/>
                    <a:pt x="900" y="771"/>
                  </a:cubicBezTo>
                  <a:cubicBezTo>
                    <a:pt x="902" y="773"/>
                    <a:pt x="903" y="775"/>
                    <a:pt x="905" y="775"/>
                  </a:cubicBezTo>
                  <a:cubicBezTo>
                    <a:pt x="906" y="775"/>
                    <a:pt x="908" y="776"/>
                    <a:pt x="909" y="776"/>
                  </a:cubicBezTo>
                  <a:cubicBezTo>
                    <a:pt x="912" y="777"/>
                    <a:pt x="915" y="778"/>
                    <a:pt x="917" y="778"/>
                  </a:cubicBezTo>
                  <a:cubicBezTo>
                    <a:pt x="918" y="778"/>
                    <a:pt x="918" y="778"/>
                    <a:pt x="919" y="777"/>
                  </a:cubicBezTo>
                  <a:cubicBezTo>
                    <a:pt x="920" y="777"/>
                    <a:pt x="921" y="777"/>
                    <a:pt x="922" y="776"/>
                  </a:cubicBezTo>
                  <a:cubicBezTo>
                    <a:pt x="925" y="775"/>
                    <a:pt x="929" y="773"/>
                    <a:pt x="932" y="773"/>
                  </a:cubicBezTo>
                  <a:cubicBezTo>
                    <a:pt x="933" y="773"/>
                    <a:pt x="933" y="773"/>
                    <a:pt x="934" y="773"/>
                  </a:cubicBezTo>
                  <a:cubicBezTo>
                    <a:pt x="935" y="774"/>
                    <a:pt x="935" y="774"/>
                    <a:pt x="936" y="774"/>
                  </a:cubicBezTo>
                  <a:cubicBezTo>
                    <a:pt x="939" y="775"/>
                    <a:pt x="941" y="776"/>
                    <a:pt x="944" y="781"/>
                  </a:cubicBezTo>
                  <a:cubicBezTo>
                    <a:pt x="946" y="787"/>
                    <a:pt x="950" y="788"/>
                    <a:pt x="952" y="788"/>
                  </a:cubicBezTo>
                  <a:cubicBezTo>
                    <a:pt x="954" y="788"/>
                    <a:pt x="956" y="789"/>
                    <a:pt x="956" y="794"/>
                  </a:cubicBezTo>
                  <a:cubicBezTo>
                    <a:pt x="956" y="797"/>
                    <a:pt x="960" y="800"/>
                    <a:pt x="963" y="800"/>
                  </a:cubicBezTo>
                  <a:cubicBezTo>
                    <a:pt x="965" y="800"/>
                    <a:pt x="972" y="799"/>
                    <a:pt x="974" y="798"/>
                  </a:cubicBezTo>
                  <a:cubicBezTo>
                    <a:pt x="975" y="797"/>
                    <a:pt x="976" y="796"/>
                    <a:pt x="978" y="796"/>
                  </a:cubicBezTo>
                  <a:cubicBezTo>
                    <a:pt x="978" y="796"/>
                    <a:pt x="980" y="797"/>
                    <a:pt x="980" y="799"/>
                  </a:cubicBezTo>
                  <a:cubicBezTo>
                    <a:pt x="980" y="801"/>
                    <a:pt x="984" y="806"/>
                    <a:pt x="986" y="806"/>
                  </a:cubicBezTo>
                  <a:cubicBezTo>
                    <a:pt x="987" y="806"/>
                    <a:pt x="988" y="806"/>
                    <a:pt x="989" y="806"/>
                  </a:cubicBezTo>
                  <a:cubicBezTo>
                    <a:pt x="991" y="807"/>
                    <a:pt x="992" y="807"/>
                    <a:pt x="993" y="807"/>
                  </a:cubicBezTo>
                  <a:cubicBezTo>
                    <a:pt x="994" y="807"/>
                    <a:pt x="994" y="807"/>
                    <a:pt x="994" y="806"/>
                  </a:cubicBezTo>
                  <a:cubicBezTo>
                    <a:pt x="994" y="806"/>
                    <a:pt x="994" y="804"/>
                    <a:pt x="1004" y="802"/>
                  </a:cubicBezTo>
                  <a:cubicBezTo>
                    <a:pt x="1007" y="802"/>
                    <a:pt x="1016" y="800"/>
                    <a:pt x="1017" y="796"/>
                  </a:cubicBezTo>
                  <a:cubicBezTo>
                    <a:pt x="1018" y="794"/>
                    <a:pt x="1021" y="793"/>
                    <a:pt x="1024" y="792"/>
                  </a:cubicBezTo>
                  <a:cubicBezTo>
                    <a:pt x="1026" y="791"/>
                    <a:pt x="1028" y="791"/>
                    <a:pt x="1028" y="790"/>
                  </a:cubicBezTo>
                  <a:cubicBezTo>
                    <a:pt x="1029" y="788"/>
                    <a:pt x="1031" y="788"/>
                    <a:pt x="1033" y="787"/>
                  </a:cubicBezTo>
                  <a:cubicBezTo>
                    <a:pt x="1035" y="786"/>
                    <a:pt x="1037" y="785"/>
                    <a:pt x="1038" y="783"/>
                  </a:cubicBezTo>
                  <a:cubicBezTo>
                    <a:pt x="1039" y="782"/>
                    <a:pt x="1041" y="781"/>
                    <a:pt x="1043" y="781"/>
                  </a:cubicBezTo>
                  <a:cubicBezTo>
                    <a:pt x="1045" y="780"/>
                    <a:pt x="1047" y="780"/>
                    <a:pt x="1048" y="779"/>
                  </a:cubicBezTo>
                  <a:cubicBezTo>
                    <a:pt x="1048" y="777"/>
                    <a:pt x="1052" y="777"/>
                    <a:pt x="1055" y="777"/>
                  </a:cubicBezTo>
                  <a:cubicBezTo>
                    <a:pt x="1056" y="777"/>
                    <a:pt x="1058" y="777"/>
                    <a:pt x="1059" y="777"/>
                  </a:cubicBezTo>
                  <a:cubicBezTo>
                    <a:pt x="1061" y="778"/>
                    <a:pt x="1075" y="781"/>
                    <a:pt x="1078" y="781"/>
                  </a:cubicBezTo>
                  <a:cubicBezTo>
                    <a:pt x="1078" y="781"/>
                    <a:pt x="1078" y="781"/>
                    <a:pt x="1079" y="781"/>
                  </a:cubicBezTo>
                  <a:cubicBezTo>
                    <a:pt x="1080" y="780"/>
                    <a:pt x="1081" y="782"/>
                    <a:pt x="1082" y="785"/>
                  </a:cubicBezTo>
                  <a:cubicBezTo>
                    <a:pt x="1082" y="786"/>
                    <a:pt x="1083" y="789"/>
                    <a:pt x="1083" y="789"/>
                  </a:cubicBezTo>
                  <a:cubicBezTo>
                    <a:pt x="1084" y="789"/>
                    <a:pt x="1086" y="790"/>
                    <a:pt x="1087" y="791"/>
                  </a:cubicBezTo>
                  <a:cubicBezTo>
                    <a:pt x="1090" y="792"/>
                    <a:pt x="1093" y="794"/>
                    <a:pt x="1094" y="794"/>
                  </a:cubicBezTo>
                  <a:cubicBezTo>
                    <a:pt x="1095" y="794"/>
                    <a:pt x="1095" y="794"/>
                    <a:pt x="1095" y="794"/>
                  </a:cubicBezTo>
                  <a:cubicBezTo>
                    <a:pt x="1096" y="793"/>
                    <a:pt x="1099" y="791"/>
                    <a:pt x="1102" y="791"/>
                  </a:cubicBezTo>
                  <a:cubicBezTo>
                    <a:pt x="1104" y="791"/>
                    <a:pt x="1106" y="792"/>
                    <a:pt x="1107" y="793"/>
                  </a:cubicBezTo>
                  <a:cubicBezTo>
                    <a:pt x="1108" y="793"/>
                    <a:pt x="1109" y="793"/>
                    <a:pt x="1109" y="794"/>
                  </a:cubicBezTo>
                  <a:cubicBezTo>
                    <a:pt x="1112" y="795"/>
                    <a:pt x="1114" y="797"/>
                    <a:pt x="1115" y="797"/>
                  </a:cubicBezTo>
                  <a:cubicBezTo>
                    <a:pt x="1116" y="797"/>
                    <a:pt x="1117" y="796"/>
                    <a:pt x="1117" y="796"/>
                  </a:cubicBezTo>
                  <a:cubicBezTo>
                    <a:pt x="1118" y="794"/>
                    <a:pt x="1122" y="793"/>
                    <a:pt x="1125" y="792"/>
                  </a:cubicBezTo>
                  <a:cubicBezTo>
                    <a:pt x="1127" y="791"/>
                    <a:pt x="1129" y="790"/>
                    <a:pt x="1129" y="790"/>
                  </a:cubicBezTo>
                  <a:cubicBezTo>
                    <a:pt x="1130" y="788"/>
                    <a:pt x="1131" y="783"/>
                    <a:pt x="1130" y="782"/>
                  </a:cubicBezTo>
                  <a:cubicBezTo>
                    <a:pt x="1127" y="780"/>
                    <a:pt x="1124" y="771"/>
                    <a:pt x="1124" y="770"/>
                  </a:cubicBezTo>
                  <a:cubicBezTo>
                    <a:pt x="1124" y="767"/>
                    <a:pt x="1126" y="766"/>
                    <a:pt x="1127" y="765"/>
                  </a:cubicBezTo>
                  <a:cubicBezTo>
                    <a:pt x="1129" y="764"/>
                    <a:pt x="1130" y="763"/>
                    <a:pt x="1130" y="762"/>
                  </a:cubicBezTo>
                  <a:cubicBezTo>
                    <a:pt x="1131" y="760"/>
                    <a:pt x="1133" y="759"/>
                    <a:pt x="1135" y="758"/>
                  </a:cubicBezTo>
                  <a:cubicBezTo>
                    <a:pt x="1136" y="758"/>
                    <a:pt x="1138" y="757"/>
                    <a:pt x="1138" y="757"/>
                  </a:cubicBezTo>
                  <a:cubicBezTo>
                    <a:pt x="1139" y="756"/>
                    <a:pt x="1139" y="755"/>
                    <a:pt x="1139" y="755"/>
                  </a:cubicBezTo>
                  <a:cubicBezTo>
                    <a:pt x="1140" y="753"/>
                    <a:pt x="1141" y="752"/>
                    <a:pt x="1143" y="752"/>
                  </a:cubicBezTo>
                  <a:cubicBezTo>
                    <a:pt x="1143" y="752"/>
                    <a:pt x="1143" y="752"/>
                    <a:pt x="1144" y="752"/>
                  </a:cubicBezTo>
                  <a:cubicBezTo>
                    <a:pt x="1144" y="752"/>
                    <a:pt x="1153" y="754"/>
                    <a:pt x="1155" y="756"/>
                  </a:cubicBezTo>
                  <a:cubicBezTo>
                    <a:pt x="1156" y="757"/>
                    <a:pt x="1160" y="758"/>
                    <a:pt x="1163" y="758"/>
                  </a:cubicBezTo>
                  <a:cubicBezTo>
                    <a:pt x="1166" y="758"/>
                    <a:pt x="1171" y="761"/>
                    <a:pt x="1174" y="763"/>
                  </a:cubicBezTo>
                  <a:cubicBezTo>
                    <a:pt x="1176" y="763"/>
                    <a:pt x="1178" y="764"/>
                    <a:pt x="1180" y="764"/>
                  </a:cubicBezTo>
                  <a:cubicBezTo>
                    <a:pt x="1184" y="765"/>
                    <a:pt x="1188" y="765"/>
                    <a:pt x="1189" y="767"/>
                  </a:cubicBezTo>
                  <a:cubicBezTo>
                    <a:pt x="1190" y="768"/>
                    <a:pt x="1190" y="771"/>
                    <a:pt x="1190" y="773"/>
                  </a:cubicBezTo>
                  <a:cubicBezTo>
                    <a:pt x="1189" y="776"/>
                    <a:pt x="1189" y="778"/>
                    <a:pt x="1190" y="779"/>
                  </a:cubicBezTo>
                  <a:cubicBezTo>
                    <a:pt x="1193" y="783"/>
                    <a:pt x="1197" y="786"/>
                    <a:pt x="1198" y="786"/>
                  </a:cubicBezTo>
                  <a:cubicBezTo>
                    <a:pt x="1199" y="786"/>
                    <a:pt x="1199" y="786"/>
                    <a:pt x="1199" y="786"/>
                  </a:cubicBezTo>
                  <a:cubicBezTo>
                    <a:pt x="1199" y="786"/>
                    <a:pt x="1199" y="786"/>
                    <a:pt x="1200" y="786"/>
                  </a:cubicBezTo>
                  <a:cubicBezTo>
                    <a:pt x="1201" y="786"/>
                    <a:pt x="1203" y="787"/>
                    <a:pt x="1206" y="788"/>
                  </a:cubicBezTo>
                  <a:cubicBezTo>
                    <a:pt x="1208" y="789"/>
                    <a:pt x="1211" y="790"/>
                    <a:pt x="1212" y="790"/>
                  </a:cubicBezTo>
                  <a:cubicBezTo>
                    <a:pt x="1213" y="790"/>
                    <a:pt x="1215" y="789"/>
                    <a:pt x="1217" y="787"/>
                  </a:cubicBezTo>
                  <a:cubicBezTo>
                    <a:pt x="1219" y="786"/>
                    <a:pt x="1221" y="785"/>
                    <a:pt x="1222" y="785"/>
                  </a:cubicBezTo>
                  <a:cubicBezTo>
                    <a:pt x="1223" y="785"/>
                    <a:pt x="1225" y="784"/>
                    <a:pt x="1228" y="784"/>
                  </a:cubicBezTo>
                  <a:cubicBezTo>
                    <a:pt x="1231" y="783"/>
                    <a:pt x="1234" y="783"/>
                    <a:pt x="1236" y="783"/>
                  </a:cubicBezTo>
                  <a:cubicBezTo>
                    <a:pt x="1237" y="783"/>
                    <a:pt x="1238" y="784"/>
                    <a:pt x="1240" y="784"/>
                  </a:cubicBezTo>
                  <a:cubicBezTo>
                    <a:pt x="1243" y="785"/>
                    <a:pt x="1247" y="786"/>
                    <a:pt x="1248" y="786"/>
                  </a:cubicBezTo>
                  <a:cubicBezTo>
                    <a:pt x="1249" y="786"/>
                    <a:pt x="1249" y="786"/>
                    <a:pt x="1249" y="786"/>
                  </a:cubicBezTo>
                  <a:cubicBezTo>
                    <a:pt x="1249" y="786"/>
                    <a:pt x="1250" y="786"/>
                    <a:pt x="1251" y="786"/>
                  </a:cubicBezTo>
                  <a:cubicBezTo>
                    <a:pt x="1253" y="786"/>
                    <a:pt x="1259" y="787"/>
                    <a:pt x="1261" y="789"/>
                  </a:cubicBezTo>
                  <a:cubicBezTo>
                    <a:pt x="1261" y="790"/>
                    <a:pt x="1264" y="791"/>
                    <a:pt x="1266" y="792"/>
                  </a:cubicBezTo>
                  <a:cubicBezTo>
                    <a:pt x="1270" y="792"/>
                    <a:pt x="1273" y="793"/>
                    <a:pt x="1273" y="795"/>
                  </a:cubicBezTo>
                  <a:cubicBezTo>
                    <a:pt x="1273" y="797"/>
                    <a:pt x="1274" y="798"/>
                    <a:pt x="1276" y="799"/>
                  </a:cubicBezTo>
                  <a:cubicBezTo>
                    <a:pt x="1278" y="800"/>
                    <a:pt x="1280" y="802"/>
                    <a:pt x="1280" y="803"/>
                  </a:cubicBezTo>
                  <a:cubicBezTo>
                    <a:pt x="1281" y="805"/>
                    <a:pt x="1286" y="805"/>
                    <a:pt x="1290" y="805"/>
                  </a:cubicBezTo>
                  <a:cubicBezTo>
                    <a:pt x="1294" y="805"/>
                    <a:pt x="1298" y="805"/>
                    <a:pt x="1299" y="806"/>
                  </a:cubicBezTo>
                  <a:cubicBezTo>
                    <a:pt x="1300" y="807"/>
                    <a:pt x="1304" y="808"/>
                    <a:pt x="1308" y="808"/>
                  </a:cubicBezTo>
                  <a:cubicBezTo>
                    <a:pt x="1314" y="808"/>
                    <a:pt x="1317" y="807"/>
                    <a:pt x="1317" y="807"/>
                  </a:cubicBezTo>
                  <a:cubicBezTo>
                    <a:pt x="1318" y="806"/>
                    <a:pt x="1320" y="805"/>
                    <a:pt x="1326" y="804"/>
                  </a:cubicBezTo>
                  <a:cubicBezTo>
                    <a:pt x="1330" y="804"/>
                    <a:pt x="1335" y="803"/>
                    <a:pt x="1336" y="802"/>
                  </a:cubicBezTo>
                  <a:cubicBezTo>
                    <a:pt x="1338" y="801"/>
                    <a:pt x="1340" y="800"/>
                    <a:pt x="1342" y="800"/>
                  </a:cubicBezTo>
                  <a:cubicBezTo>
                    <a:pt x="1345" y="800"/>
                    <a:pt x="1348" y="799"/>
                    <a:pt x="1348" y="798"/>
                  </a:cubicBezTo>
                  <a:cubicBezTo>
                    <a:pt x="1348" y="796"/>
                    <a:pt x="1351" y="794"/>
                    <a:pt x="1355" y="792"/>
                  </a:cubicBezTo>
                  <a:cubicBezTo>
                    <a:pt x="1357" y="791"/>
                    <a:pt x="1358" y="791"/>
                    <a:pt x="1360" y="790"/>
                  </a:cubicBezTo>
                  <a:cubicBezTo>
                    <a:pt x="1361" y="789"/>
                    <a:pt x="1364" y="788"/>
                    <a:pt x="1369" y="788"/>
                  </a:cubicBezTo>
                  <a:cubicBezTo>
                    <a:pt x="1373" y="788"/>
                    <a:pt x="1378" y="789"/>
                    <a:pt x="1379" y="791"/>
                  </a:cubicBezTo>
                  <a:cubicBezTo>
                    <a:pt x="1379" y="793"/>
                    <a:pt x="1383" y="794"/>
                    <a:pt x="1386" y="794"/>
                  </a:cubicBezTo>
                  <a:cubicBezTo>
                    <a:pt x="1388" y="794"/>
                    <a:pt x="1389" y="793"/>
                    <a:pt x="1390" y="793"/>
                  </a:cubicBezTo>
                  <a:cubicBezTo>
                    <a:pt x="1391" y="793"/>
                    <a:pt x="1392" y="793"/>
                    <a:pt x="1394" y="793"/>
                  </a:cubicBezTo>
                  <a:cubicBezTo>
                    <a:pt x="1398" y="793"/>
                    <a:pt x="1404" y="794"/>
                    <a:pt x="1405" y="797"/>
                  </a:cubicBezTo>
                  <a:cubicBezTo>
                    <a:pt x="1406" y="799"/>
                    <a:pt x="1413" y="801"/>
                    <a:pt x="1416" y="801"/>
                  </a:cubicBezTo>
                  <a:cubicBezTo>
                    <a:pt x="1418" y="801"/>
                    <a:pt x="1418" y="800"/>
                    <a:pt x="1418" y="800"/>
                  </a:cubicBezTo>
                  <a:cubicBezTo>
                    <a:pt x="1419" y="800"/>
                    <a:pt x="1421" y="799"/>
                    <a:pt x="1424" y="797"/>
                  </a:cubicBezTo>
                  <a:cubicBezTo>
                    <a:pt x="1427" y="795"/>
                    <a:pt x="1430" y="793"/>
                    <a:pt x="1432" y="793"/>
                  </a:cubicBezTo>
                  <a:cubicBezTo>
                    <a:pt x="1434" y="793"/>
                    <a:pt x="1437" y="791"/>
                    <a:pt x="1438" y="790"/>
                  </a:cubicBezTo>
                  <a:cubicBezTo>
                    <a:pt x="1438" y="789"/>
                    <a:pt x="1438" y="788"/>
                    <a:pt x="1438" y="787"/>
                  </a:cubicBezTo>
                  <a:cubicBezTo>
                    <a:pt x="1438" y="785"/>
                    <a:pt x="1440" y="781"/>
                    <a:pt x="1442" y="778"/>
                  </a:cubicBezTo>
                  <a:cubicBezTo>
                    <a:pt x="1443" y="775"/>
                    <a:pt x="1445" y="773"/>
                    <a:pt x="1445" y="772"/>
                  </a:cubicBezTo>
                  <a:cubicBezTo>
                    <a:pt x="1446" y="768"/>
                    <a:pt x="1452" y="759"/>
                    <a:pt x="1454" y="758"/>
                  </a:cubicBezTo>
                  <a:cubicBezTo>
                    <a:pt x="1457" y="757"/>
                    <a:pt x="1461" y="753"/>
                    <a:pt x="1461" y="751"/>
                  </a:cubicBezTo>
                  <a:cubicBezTo>
                    <a:pt x="1459" y="743"/>
                    <a:pt x="1458" y="741"/>
                    <a:pt x="1457" y="741"/>
                  </a:cubicBezTo>
                  <a:cubicBezTo>
                    <a:pt x="1456" y="741"/>
                    <a:pt x="1456" y="741"/>
                    <a:pt x="1456" y="741"/>
                  </a:cubicBezTo>
                  <a:cubicBezTo>
                    <a:pt x="1455" y="741"/>
                    <a:pt x="1453" y="741"/>
                    <a:pt x="1452" y="740"/>
                  </a:cubicBezTo>
                  <a:cubicBezTo>
                    <a:pt x="1452" y="738"/>
                    <a:pt x="1452" y="736"/>
                    <a:pt x="1455" y="733"/>
                  </a:cubicBezTo>
                  <a:cubicBezTo>
                    <a:pt x="1458" y="728"/>
                    <a:pt x="1463" y="726"/>
                    <a:pt x="1469" y="726"/>
                  </a:cubicBezTo>
                  <a:cubicBezTo>
                    <a:pt x="1471" y="726"/>
                    <a:pt x="1472" y="726"/>
                    <a:pt x="1473" y="726"/>
                  </a:cubicBezTo>
                  <a:cubicBezTo>
                    <a:pt x="1474" y="726"/>
                    <a:pt x="1474" y="726"/>
                    <a:pt x="1474" y="726"/>
                  </a:cubicBezTo>
                  <a:cubicBezTo>
                    <a:pt x="1474" y="726"/>
                    <a:pt x="1476" y="726"/>
                    <a:pt x="1477" y="726"/>
                  </a:cubicBezTo>
                  <a:cubicBezTo>
                    <a:pt x="1481" y="725"/>
                    <a:pt x="1486" y="724"/>
                    <a:pt x="1491" y="724"/>
                  </a:cubicBezTo>
                  <a:cubicBezTo>
                    <a:pt x="1493" y="724"/>
                    <a:pt x="1494" y="724"/>
                    <a:pt x="1496" y="725"/>
                  </a:cubicBezTo>
                  <a:cubicBezTo>
                    <a:pt x="1498" y="725"/>
                    <a:pt x="1500" y="725"/>
                    <a:pt x="1502" y="725"/>
                  </a:cubicBezTo>
                  <a:cubicBezTo>
                    <a:pt x="1503" y="725"/>
                    <a:pt x="1503" y="725"/>
                    <a:pt x="1503" y="725"/>
                  </a:cubicBezTo>
                  <a:cubicBezTo>
                    <a:pt x="1506" y="725"/>
                    <a:pt x="1509" y="725"/>
                    <a:pt x="1512" y="727"/>
                  </a:cubicBezTo>
                  <a:cubicBezTo>
                    <a:pt x="1515" y="729"/>
                    <a:pt x="1519" y="729"/>
                    <a:pt x="1522" y="730"/>
                  </a:cubicBezTo>
                  <a:cubicBezTo>
                    <a:pt x="1526" y="730"/>
                    <a:pt x="1529" y="731"/>
                    <a:pt x="1530" y="733"/>
                  </a:cubicBezTo>
                  <a:cubicBezTo>
                    <a:pt x="1531" y="734"/>
                    <a:pt x="1532" y="734"/>
                    <a:pt x="1533" y="736"/>
                  </a:cubicBezTo>
                  <a:cubicBezTo>
                    <a:pt x="1537" y="738"/>
                    <a:pt x="1540" y="740"/>
                    <a:pt x="1539" y="744"/>
                  </a:cubicBezTo>
                  <a:cubicBezTo>
                    <a:pt x="1539" y="746"/>
                    <a:pt x="1540" y="746"/>
                    <a:pt x="1541" y="747"/>
                  </a:cubicBezTo>
                  <a:cubicBezTo>
                    <a:pt x="1543" y="749"/>
                    <a:pt x="1545" y="750"/>
                    <a:pt x="1546" y="757"/>
                  </a:cubicBezTo>
                  <a:cubicBezTo>
                    <a:pt x="1548" y="764"/>
                    <a:pt x="1550" y="767"/>
                    <a:pt x="1552" y="769"/>
                  </a:cubicBezTo>
                  <a:cubicBezTo>
                    <a:pt x="1553" y="771"/>
                    <a:pt x="1554" y="772"/>
                    <a:pt x="1555" y="774"/>
                  </a:cubicBezTo>
                  <a:cubicBezTo>
                    <a:pt x="1555" y="776"/>
                    <a:pt x="1557" y="779"/>
                    <a:pt x="1559" y="782"/>
                  </a:cubicBezTo>
                  <a:cubicBezTo>
                    <a:pt x="1561" y="786"/>
                    <a:pt x="1563" y="790"/>
                    <a:pt x="1562" y="792"/>
                  </a:cubicBezTo>
                  <a:cubicBezTo>
                    <a:pt x="1562" y="794"/>
                    <a:pt x="1561" y="796"/>
                    <a:pt x="1562" y="797"/>
                  </a:cubicBezTo>
                  <a:cubicBezTo>
                    <a:pt x="1563" y="799"/>
                    <a:pt x="1565" y="799"/>
                    <a:pt x="1567" y="799"/>
                  </a:cubicBezTo>
                  <a:cubicBezTo>
                    <a:pt x="1572" y="800"/>
                    <a:pt x="1575" y="802"/>
                    <a:pt x="1578" y="803"/>
                  </a:cubicBezTo>
                  <a:cubicBezTo>
                    <a:pt x="1579" y="804"/>
                    <a:pt x="1581" y="805"/>
                    <a:pt x="1581" y="805"/>
                  </a:cubicBezTo>
                  <a:cubicBezTo>
                    <a:pt x="1582" y="805"/>
                    <a:pt x="1582" y="805"/>
                    <a:pt x="1582" y="805"/>
                  </a:cubicBezTo>
                  <a:cubicBezTo>
                    <a:pt x="1585" y="805"/>
                    <a:pt x="1593" y="807"/>
                    <a:pt x="1596" y="811"/>
                  </a:cubicBezTo>
                  <a:cubicBezTo>
                    <a:pt x="1598" y="813"/>
                    <a:pt x="1600" y="814"/>
                    <a:pt x="1602" y="814"/>
                  </a:cubicBezTo>
                  <a:cubicBezTo>
                    <a:pt x="1605" y="815"/>
                    <a:pt x="1607" y="815"/>
                    <a:pt x="1607" y="819"/>
                  </a:cubicBezTo>
                  <a:cubicBezTo>
                    <a:pt x="1607" y="821"/>
                    <a:pt x="1608" y="823"/>
                    <a:pt x="1608" y="825"/>
                  </a:cubicBezTo>
                  <a:cubicBezTo>
                    <a:pt x="1609" y="827"/>
                    <a:pt x="1610" y="829"/>
                    <a:pt x="1610" y="831"/>
                  </a:cubicBezTo>
                  <a:cubicBezTo>
                    <a:pt x="1610" y="832"/>
                    <a:pt x="1610" y="832"/>
                    <a:pt x="1611" y="833"/>
                  </a:cubicBezTo>
                  <a:cubicBezTo>
                    <a:pt x="1612" y="835"/>
                    <a:pt x="1617" y="836"/>
                    <a:pt x="1621" y="836"/>
                  </a:cubicBezTo>
                  <a:cubicBezTo>
                    <a:pt x="1622" y="836"/>
                    <a:pt x="1623" y="836"/>
                    <a:pt x="1624" y="836"/>
                  </a:cubicBezTo>
                  <a:cubicBezTo>
                    <a:pt x="1625" y="836"/>
                    <a:pt x="1627" y="836"/>
                    <a:pt x="1629" y="836"/>
                  </a:cubicBezTo>
                  <a:cubicBezTo>
                    <a:pt x="1632" y="836"/>
                    <a:pt x="1634" y="836"/>
                    <a:pt x="1636" y="833"/>
                  </a:cubicBezTo>
                  <a:cubicBezTo>
                    <a:pt x="1638" y="830"/>
                    <a:pt x="1642" y="829"/>
                    <a:pt x="1645" y="829"/>
                  </a:cubicBezTo>
                  <a:cubicBezTo>
                    <a:pt x="1647" y="829"/>
                    <a:pt x="1649" y="829"/>
                    <a:pt x="1650" y="828"/>
                  </a:cubicBezTo>
                  <a:cubicBezTo>
                    <a:pt x="1652" y="827"/>
                    <a:pt x="1655" y="826"/>
                    <a:pt x="1658" y="826"/>
                  </a:cubicBezTo>
                  <a:cubicBezTo>
                    <a:pt x="1659" y="826"/>
                    <a:pt x="1661" y="826"/>
                    <a:pt x="1662" y="827"/>
                  </a:cubicBezTo>
                  <a:cubicBezTo>
                    <a:pt x="1663" y="828"/>
                    <a:pt x="1663" y="830"/>
                    <a:pt x="1663" y="831"/>
                  </a:cubicBezTo>
                  <a:cubicBezTo>
                    <a:pt x="1663" y="835"/>
                    <a:pt x="1664" y="837"/>
                    <a:pt x="1664" y="839"/>
                  </a:cubicBezTo>
                  <a:cubicBezTo>
                    <a:pt x="1665" y="841"/>
                    <a:pt x="1666" y="842"/>
                    <a:pt x="1663" y="844"/>
                  </a:cubicBezTo>
                  <a:cubicBezTo>
                    <a:pt x="1660" y="846"/>
                    <a:pt x="1657" y="854"/>
                    <a:pt x="1656" y="860"/>
                  </a:cubicBezTo>
                  <a:cubicBezTo>
                    <a:pt x="1656" y="861"/>
                    <a:pt x="1656" y="861"/>
                    <a:pt x="1656" y="862"/>
                  </a:cubicBezTo>
                  <a:cubicBezTo>
                    <a:pt x="1655" y="864"/>
                    <a:pt x="1653" y="866"/>
                    <a:pt x="1651" y="868"/>
                  </a:cubicBezTo>
                  <a:cubicBezTo>
                    <a:pt x="1649" y="869"/>
                    <a:pt x="1647" y="871"/>
                    <a:pt x="1647" y="873"/>
                  </a:cubicBezTo>
                  <a:cubicBezTo>
                    <a:pt x="1646" y="876"/>
                    <a:pt x="1644" y="878"/>
                    <a:pt x="1643" y="879"/>
                  </a:cubicBezTo>
                  <a:cubicBezTo>
                    <a:pt x="1641" y="880"/>
                    <a:pt x="1640" y="881"/>
                    <a:pt x="1640" y="883"/>
                  </a:cubicBezTo>
                  <a:cubicBezTo>
                    <a:pt x="1640" y="885"/>
                    <a:pt x="1638" y="886"/>
                    <a:pt x="1635" y="886"/>
                  </a:cubicBezTo>
                  <a:cubicBezTo>
                    <a:pt x="1632" y="886"/>
                    <a:pt x="1629" y="885"/>
                    <a:pt x="1626" y="883"/>
                  </a:cubicBezTo>
                  <a:cubicBezTo>
                    <a:pt x="1625" y="882"/>
                    <a:pt x="1625" y="882"/>
                    <a:pt x="1625" y="882"/>
                  </a:cubicBezTo>
                  <a:cubicBezTo>
                    <a:pt x="1623" y="882"/>
                    <a:pt x="1621" y="884"/>
                    <a:pt x="1619" y="886"/>
                  </a:cubicBezTo>
                  <a:cubicBezTo>
                    <a:pt x="1618" y="887"/>
                    <a:pt x="1616" y="889"/>
                    <a:pt x="1615" y="889"/>
                  </a:cubicBezTo>
                  <a:cubicBezTo>
                    <a:pt x="1614" y="889"/>
                    <a:pt x="1614" y="889"/>
                    <a:pt x="1613" y="889"/>
                  </a:cubicBezTo>
                  <a:cubicBezTo>
                    <a:pt x="1612" y="891"/>
                    <a:pt x="1612" y="896"/>
                    <a:pt x="1613" y="898"/>
                  </a:cubicBezTo>
                  <a:cubicBezTo>
                    <a:pt x="1613" y="900"/>
                    <a:pt x="1613" y="901"/>
                    <a:pt x="1613" y="903"/>
                  </a:cubicBezTo>
                  <a:cubicBezTo>
                    <a:pt x="1613" y="905"/>
                    <a:pt x="1613" y="907"/>
                    <a:pt x="1614" y="910"/>
                  </a:cubicBezTo>
                  <a:cubicBezTo>
                    <a:pt x="1614" y="912"/>
                    <a:pt x="1615" y="915"/>
                    <a:pt x="1615" y="918"/>
                  </a:cubicBezTo>
                  <a:cubicBezTo>
                    <a:pt x="1615" y="920"/>
                    <a:pt x="1615" y="921"/>
                    <a:pt x="1615" y="924"/>
                  </a:cubicBezTo>
                  <a:cubicBezTo>
                    <a:pt x="1618" y="921"/>
                    <a:pt x="1624" y="917"/>
                    <a:pt x="1626" y="917"/>
                  </a:cubicBezTo>
                  <a:cubicBezTo>
                    <a:pt x="1629" y="917"/>
                    <a:pt x="1632" y="920"/>
                    <a:pt x="1635" y="922"/>
                  </a:cubicBezTo>
                  <a:cubicBezTo>
                    <a:pt x="1637" y="924"/>
                    <a:pt x="1640" y="927"/>
                    <a:pt x="1643" y="927"/>
                  </a:cubicBezTo>
                  <a:cubicBezTo>
                    <a:pt x="1650" y="927"/>
                    <a:pt x="1676" y="908"/>
                    <a:pt x="1676" y="906"/>
                  </a:cubicBezTo>
                  <a:cubicBezTo>
                    <a:pt x="1676" y="904"/>
                    <a:pt x="1683" y="897"/>
                    <a:pt x="1693" y="887"/>
                  </a:cubicBezTo>
                  <a:cubicBezTo>
                    <a:pt x="1696" y="884"/>
                    <a:pt x="1698" y="882"/>
                    <a:pt x="1700" y="880"/>
                  </a:cubicBezTo>
                  <a:cubicBezTo>
                    <a:pt x="1706" y="873"/>
                    <a:pt x="1717" y="861"/>
                    <a:pt x="1721" y="851"/>
                  </a:cubicBezTo>
                  <a:cubicBezTo>
                    <a:pt x="1723" y="848"/>
                    <a:pt x="1727" y="843"/>
                    <a:pt x="1731" y="838"/>
                  </a:cubicBezTo>
                  <a:cubicBezTo>
                    <a:pt x="1733" y="835"/>
                    <a:pt x="1736" y="832"/>
                    <a:pt x="1737" y="830"/>
                  </a:cubicBezTo>
                  <a:cubicBezTo>
                    <a:pt x="1738" y="829"/>
                    <a:pt x="1738" y="828"/>
                    <a:pt x="1739" y="827"/>
                  </a:cubicBezTo>
                  <a:cubicBezTo>
                    <a:pt x="1741" y="825"/>
                    <a:pt x="1743" y="822"/>
                    <a:pt x="1746" y="816"/>
                  </a:cubicBezTo>
                  <a:cubicBezTo>
                    <a:pt x="1749" y="809"/>
                    <a:pt x="1750" y="797"/>
                    <a:pt x="1751" y="788"/>
                  </a:cubicBezTo>
                  <a:cubicBezTo>
                    <a:pt x="1751" y="781"/>
                    <a:pt x="1751" y="778"/>
                    <a:pt x="1752" y="777"/>
                  </a:cubicBezTo>
                  <a:cubicBezTo>
                    <a:pt x="1753" y="777"/>
                    <a:pt x="1753" y="775"/>
                    <a:pt x="1753" y="774"/>
                  </a:cubicBezTo>
                  <a:cubicBezTo>
                    <a:pt x="1753" y="772"/>
                    <a:pt x="1754" y="770"/>
                    <a:pt x="1755" y="768"/>
                  </a:cubicBezTo>
                  <a:cubicBezTo>
                    <a:pt x="1756" y="767"/>
                    <a:pt x="1756" y="766"/>
                    <a:pt x="1756" y="765"/>
                  </a:cubicBezTo>
                  <a:cubicBezTo>
                    <a:pt x="1757" y="763"/>
                    <a:pt x="1758" y="760"/>
                    <a:pt x="1760" y="758"/>
                  </a:cubicBezTo>
                  <a:cubicBezTo>
                    <a:pt x="1764" y="755"/>
                    <a:pt x="1764" y="752"/>
                    <a:pt x="1763" y="749"/>
                  </a:cubicBezTo>
                  <a:cubicBezTo>
                    <a:pt x="1762" y="747"/>
                    <a:pt x="1762" y="745"/>
                    <a:pt x="1762" y="743"/>
                  </a:cubicBezTo>
                  <a:cubicBezTo>
                    <a:pt x="1762" y="741"/>
                    <a:pt x="1762" y="739"/>
                    <a:pt x="1762" y="738"/>
                  </a:cubicBezTo>
                  <a:cubicBezTo>
                    <a:pt x="1760" y="736"/>
                    <a:pt x="1761" y="734"/>
                    <a:pt x="1764" y="733"/>
                  </a:cubicBezTo>
                  <a:cubicBezTo>
                    <a:pt x="1764" y="732"/>
                    <a:pt x="1764" y="732"/>
                    <a:pt x="1764" y="732"/>
                  </a:cubicBezTo>
                  <a:cubicBezTo>
                    <a:pt x="1764" y="731"/>
                    <a:pt x="1761" y="728"/>
                    <a:pt x="1758" y="727"/>
                  </a:cubicBezTo>
                  <a:cubicBezTo>
                    <a:pt x="1758" y="726"/>
                    <a:pt x="1757" y="726"/>
                    <a:pt x="1757" y="726"/>
                  </a:cubicBezTo>
                  <a:cubicBezTo>
                    <a:pt x="1753" y="724"/>
                    <a:pt x="1750" y="723"/>
                    <a:pt x="1749" y="719"/>
                  </a:cubicBezTo>
                  <a:cubicBezTo>
                    <a:pt x="1749" y="715"/>
                    <a:pt x="1743" y="710"/>
                    <a:pt x="1738" y="711"/>
                  </a:cubicBezTo>
                  <a:cubicBezTo>
                    <a:pt x="1736" y="711"/>
                    <a:pt x="1734" y="711"/>
                    <a:pt x="1732" y="710"/>
                  </a:cubicBezTo>
                  <a:cubicBezTo>
                    <a:pt x="1730" y="710"/>
                    <a:pt x="1729" y="710"/>
                    <a:pt x="1728" y="710"/>
                  </a:cubicBezTo>
                  <a:cubicBezTo>
                    <a:pt x="1727" y="710"/>
                    <a:pt x="1726" y="710"/>
                    <a:pt x="1726" y="710"/>
                  </a:cubicBezTo>
                  <a:cubicBezTo>
                    <a:pt x="1726" y="710"/>
                    <a:pt x="1726" y="710"/>
                    <a:pt x="1726" y="711"/>
                  </a:cubicBezTo>
                  <a:cubicBezTo>
                    <a:pt x="1727" y="712"/>
                    <a:pt x="1727" y="714"/>
                    <a:pt x="1726" y="715"/>
                  </a:cubicBezTo>
                  <a:cubicBezTo>
                    <a:pt x="1725" y="716"/>
                    <a:pt x="1724" y="716"/>
                    <a:pt x="1723" y="716"/>
                  </a:cubicBezTo>
                  <a:cubicBezTo>
                    <a:pt x="1722" y="716"/>
                    <a:pt x="1722" y="716"/>
                    <a:pt x="1722" y="716"/>
                  </a:cubicBezTo>
                  <a:cubicBezTo>
                    <a:pt x="1721" y="716"/>
                    <a:pt x="1720" y="718"/>
                    <a:pt x="1718" y="721"/>
                  </a:cubicBezTo>
                  <a:cubicBezTo>
                    <a:pt x="1717" y="722"/>
                    <a:pt x="1717" y="722"/>
                    <a:pt x="1717" y="722"/>
                  </a:cubicBezTo>
                  <a:cubicBezTo>
                    <a:pt x="1716" y="724"/>
                    <a:pt x="1712" y="725"/>
                    <a:pt x="1710" y="725"/>
                  </a:cubicBezTo>
                  <a:cubicBezTo>
                    <a:pt x="1708" y="725"/>
                    <a:pt x="1707" y="725"/>
                    <a:pt x="1707" y="724"/>
                  </a:cubicBezTo>
                  <a:cubicBezTo>
                    <a:pt x="1707" y="723"/>
                    <a:pt x="1707" y="723"/>
                    <a:pt x="1708" y="722"/>
                  </a:cubicBezTo>
                  <a:cubicBezTo>
                    <a:pt x="1710" y="720"/>
                    <a:pt x="1710" y="719"/>
                    <a:pt x="1709" y="718"/>
                  </a:cubicBezTo>
                  <a:cubicBezTo>
                    <a:pt x="1708" y="717"/>
                    <a:pt x="1707" y="715"/>
                    <a:pt x="1707" y="713"/>
                  </a:cubicBezTo>
                  <a:cubicBezTo>
                    <a:pt x="1708" y="712"/>
                    <a:pt x="1708" y="710"/>
                    <a:pt x="1709" y="709"/>
                  </a:cubicBezTo>
                  <a:cubicBezTo>
                    <a:pt x="1709" y="708"/>
                    <a:pt x="1709" y="708"/>
                    <a:pt x="1710" y="707"/>
                  </a:cubicBezTo>
                  <a:cubicBezTo>
                    <a:pt x="1709" y="707"/>
                    <a:pt x="1709" y="707"/>
                    <a:pt x="1708" y="708"/>
                  </a:cubicBezTo>
                  <a:cubicBezTo>
                    <a:pt x="1705" y="709"/>
                    <a:pt x="1704" y="711"/>
                    <a:pt x="1703" y="714"/>
                  </a:cubicBezTo>
                  <a:cubicBezTo>
                    <a:pt x="1702" y="716"/>
                    <a:pt x="1701" y="718"/>
                    <a:pt x="1699" y="718"/>
                  </a:cubicBezTo>
                  <a:cubicBezTo>
                    <a:pt x="1698" y="719"/>
                    <a:pt x="1697" y="718"/>
                    <a:pt x="1696" y="717"/>
                  </a:cubicBezTo>
                  <a:cubicBezTo>
                    <a:pt x="1694" y="714"/>
                    <a:pt x="1695" y="705"/>
                    <a:pt x="1696" y="703"/>
                  </a:cubicBezTo>
                  <a:cubicBezTo>
                    <a:pt x="1696" y="702"/>
                    <a:pt x="1696" y="702"/>
                    <a:pt x="1696" y="702"/>
                  </a:cubicBezTo>
                  <a:cubicBezTo>
                    <a:pt x="1696" y="702"/>
                    <a:pt x="1696" y="702"/>
                    <a:pt x="1695" y="702"/>
                  </a:cubicBezTo>
                  <a:cubicBezTo>
                    <a:pt x="1694" y="702"/>
                    <a:pt x="1693" y="702"/>
                    <a:pt x="1691" y="702"/>
                  </a:cubicBezTo>
                  <a:cubicBezTo>
                    <a:pt x="1689" y="703"/>
                    <a:pt x="1686" y="703"/>
                    <a:pt x="1683" y="703"/>
                  </a:cubicBezTo>
                  <a:cubicBezTo>
                    <a:pt x="1682" y="703"/>
                    <a:pt x="1681" y="703"/>
                    <a:pt x="1680" y="703"/>
                  </a:cubicBezTo>
                  <a:cubicBezTo>
                    <a:pt x="1676" y="703"/>
                    <a:pt x="1674" y="701"/>
                    <a:pt x="1674" y="700"/>
                  </a:cubicBezTo>
                  <a:cubicBezTo>
                    <a:pt x="1673" y="697"/>
                    <a:pt x="1676" y="694"/>
                    <a:pt x="1681" y="691"/>
                  </a:cubicBezTo>
                  <a:cubicBezTo>
                    <a:pt x="1685" y="689"/>
                    <a:pt x="1686" y="687"/>
                    <a:pt x="1687" y="685"/>
                  </a:cubicBezTo>
                  <a:cubicBezTo>
                    <a:pt x="1688" y="684"/>
                    <a:pt x="1689" y="683"/>
                    <a:pt x="1690" y="682"/>
                  </a:cubicBezTo>
                  <a:cubicBezTo>
                    <a:pt x="1693" y="681"/>
                    <a:pt x="1697" y="678"/>
                    <a:pt x="1702" y="676"/>
                  </a:cubicBezTo>
                  <a:cubicBezTo>
                    <a:pt x="1705" y="674"/>
                    <a:pt x="1707" y="672"/>
                    <a:pt x="1709" y="671"/>
                  </a:cubicBezTo>
                  <a:cubicBezTo>
                    <a:pt x="1714" y="668"/>
                    <a:pt x="1715" y="665"/>
                    <a:pt x="1717" y="662"/>
                  </a:cubicBezTo>
                  <a:cubicBezTo>
                    <a:pt x="1717" y="661"/>
                    <a:pt x="1717" y="661"/>
                    <a:pt x="1717" y="661"/>
                  </a:cubicBezTo>
                  <a:cubicBezTo>
                    <a:pt x="1718" y="659"/>
                    <a:pt x="1721" y="657"/>
                    <a:pt x="1726" y="653"/>
                  </a:cubicBezTo>
                  <a:cubicBezTo>
                    <a:pt x="1730" y="651"/>
                    <a:pt x="1734" y="648"/>
                    <a:pt x="1738" y="645"/>
                  </a:cubicBezTo>
                  <a:cubicBezTo>
                    <a:pt x="1746" y="638"/>
                    <a:pt x="1751" y="634"/>
                    <a:pt x="1754" y="629"/>
                  </a:cubicBezTo>
                  <a:cubicBezTo>
                    <a:pt x="1755" y="627"/>
                    <a:pt x="1759" y="624"/>
                    <a:pt x="1762" y="622"/>
                  </a:cubicBezTo>
                  <a:cubicBezTo>
                    <a:pt x="1766" y="620"/>
                    <a:pt x="1769" y="617"/>
                    <a:pt x="1770" y="616"/>
                  </a:cubicBezTo>
                  <a:cubicBezTo>
                    <a:pt x="1770" y="612"/>
                    <a:pt x="1787" y="603"/>
                    <a:pt x="1797" y="601"/>
                  </a:cubicBezTo>
                  <a:cubicBezTo>
                    <a:pt x="1800" y="600"/>
                    <a:pt x="1803" y="600"/>
                    <a:pt x="1806" y="600"/>
                  </a:cubicBezTo>
                  <a:cubicBezTo>
                    <a:pt x="1816" y="600"/>
                    <a:pt x="1827" y="602"/>
                    <a:pt x="1829" y="605"/>
                  </a:cubicBezTo>
                  <a:cubicBezTo>
                    <a:pt x="1832" y="607"/>
                    <a:pt x="1834" y="607"/>
                    <a:pt x="1836" y="605"/>
                  </a:cubicBezTo>
                  <a:cubicBezTo>
                    <a:pt x="1837" y="604"/>
                    <a:pt x="1838" y="603"/>
                    <a:pt x="1840" y="603"/>
                  </a:cubicBezTo>
                  <a:cubicBezTo>
                    <a:pt x="1842" y="603"/>
                    <a:pt x="1844" y="604"/>
                    <a:pt x="1847" y="604"/>
                  </a:cubicBezTo>
                  <a:cubicBezTo>
                    <a:pt x="1848" y="604"/>
                    <a:pt x="1849" y="604"/>
                    <a:pt x="1850" y="604"/>
                  </a:cubicBezTo>
                  <a:cubicBezTo>
                    <a:pt x="1851" y="604"/>
                    <a:pt x="1851" y="605"/>
                    <a:pt x="1852" y="605"/>
                  </a:cubicBezTo>
                  <a:cubicBezTo>
                    <a:pt x="1855" y="605"/>
                    <a:pt x="1856" y="604"/>
                    <a:pt x="1858" y="603"/>
                  </a:cubicBezTo>
                  <a:cubicBezTo>
                    <a:pt x="1859" y="603"/>
                    <a:pt x="1861" y="602"/>
                    <a:pt x="1862" y="602"/>
                  </a:cubicBezTo>
                  <a:cubicBezTo>
                    <a:pt x="1863" y="602"/>
                    <a:pt x="1863" y="602"/>
                    <a:pt x="1864" y="603"/>
                  </a:cubicBezTo>
                  <a:cubicBezTo>
                    <a:pt x="1866" y="603"/>
                    <a:pt x="1868" y="604"/>
                    <a:pt x="1870" y="604"/>
                  </a:cubicBezTo>
                  <a:cubicBezTo>
                    <a:pt x="1872" y="604"/>
                    <a:pt x="1874" y="602"/>
                    <a:pt x="1876" y="599"/>
                  </a:cubicBezTo>
                  <a:cubicBezTo>
                    <a:pt x="1878" y="595"/>
                    <a:pt x="1885" y="595"/>
                    <a:pt x="1887" y="595"/>
                  </a:cubicBezTo>
                  <a:cubicBezTo>
                    <a:pt x="1891" y="595"/>
                    <a:pt x="1895" y="596"/>
                    <a:pt x="1897" y="597"/>
                  </a:cubicBezTo>
                  <a:cubicBezTo>
                    <a:pt x="1897" y="597"/>
                    <a:pt x="1898" y="597"/>
                    <a:pt x="1898" y="598"/>
                  </a:cubicBezTo>
                  <a:cubicBezTo>
                    <a:pt x="1900" y="599"/>
                    <a:pt x="1901" y="600"/>
                    <a:pt x="1903" y="600"/>
                  </a:cubicBezTo>
                  <a:cubicBezTo>
                    <a:pt x="1905" y="600"/>
                    <a:pt x="1906" y="600"/>
                    <a:pt x="1907" y="599"/>
                  </a:cubicBezTo>
                  <a:cubicBezTo>
                    <a:pt x="1908" y="598"/>
                    <a:pt x="1909" y="598"/>
                    <a:pt x="1910" y="598"/>
                  </a:cubicBezTo>
                  <a:cubicBezTo>
                    <a:pt x="1912" y="598"/>
                    <a:pt x="1913" y="599"/>
                    <a:pt x="1914" y="601"/>
                  </a:cubicBezTo>
                  <a:cubicBezTo>
                    <a:pt x="1915" y="602"/>
                    <a:pt x="1916" y="604"/>
                    <a:pt x="1918" y="604"/>
                  </a:cubicBezTo>
                  <a:cubicBezTo>
                    <a:pt x="1920" y="604"/>
                    <a:pt x="1921" y="606"/>
                    <a:pt x="1921" y="606"/>
                  </a:cubicBezTo>
                  <a:cubicBezTo>
                    <a:pt x="1921" y="608"/>
                    <a:pt x="1918" y="610"/>
                    <a:pt x="1916" y="610"/>
                  </a:cubicBezTo>
                  <a:cubicBezTo>
                    <a:pt x="1915" y="610"/>
                    <a:pt x="1915" y="610"/>
                    <a:pt x="1915" y="610"/>
                  </a:cubicBezTo>
                  <a:cubicBezTo>
                    <a:pt x="1912" y="609"/>
                    <a:pt x="1909" y="610"/>
                    <a:pt x="1909" y="611"/>
                  </a:cubicBezTo>
                  <a:cubicBezTo>
                    <a:pt x="1909" y="612"/>
                    <a:pt x="1910" y="613"/>
                    <a:pt x="1911" y="614"/>
                  </a:cubicBezTo>
                  <a:cubicBezTo>
                    <a:pt x="1911" y="614"/>
                    <a:pt x="1912" y="614"/>
                    <a:pt x="1913" y="614"/>
                  </a:cubicBezTo>
                  <a:cubicBezTo>
                    <a:pt x="1915" y="614"/>
                    <a:pt x="1918" y="613"/>
                    <a:pt x="1919" y="613"/>
                  </a:cubicBezTo>
                  <a:cubicBezTo>
                    <a:pt x="1921" y="612"/>
                    <a:pt x="1923" y="611"/>
                    <a:pt x="1925" y="611"/>
                  </a:cubicBezTo>
                  <a:cubicBezTo>
                    <a:pt x="1926" y="611"/>
                    <a:pt x="1928" y="612"/>
                    <a:pt x="1929" y="612"/>
                  </a:cubicBezTo>
                  <a:cubicBezTo>
                    <a:pt x="1934" y="612"/>
                    <a:pt x="1937" y="611"/>
                    <a:pt x="1940" y="609"/>
                  </a:cubicBezTo>
                  <a:cubicBezTo>
                    <a:pt x="1941" y="608"/>
                    <a:pt x="1942" y="608"/>
                    <a:pt x="1943" y="608"/>
                  </a:cubicBezTo>
                  <a:cubicBezTo>
                    <a:pt x="1945" y="608"/>
                    <a:pt x="1946" y="608"/>
                    <a:pt x="1947" y="609"/>
                  </a:cubicBezTo>
                  <a:cubicBezTo>
                    <a:pt x="1948" y="609"/>
                    <a:pt x="1949" y="610"/>
                    <a:pt x="1950" y="609"/>
                  </a:cubicBezTo>
                  <a:cubicBezTo>
                    <a:pt x="1954" y="606"/>
                    <a:pt x="1961" y="605"/>
                    <a:pt x="1964" y="605"/>
                  </a:cubicBezTo>
                  <a:cubicBezTo>
                    <a:pt x="1965" y="605"/>
                    <a:pt x="1965" y="605"/>
                    <a:pt x="1966" y="605"/>
                  </a:cubicBezTo>
                  <a:cubicBezTo>
                    <a:pt x="1967" y="605"/>
                    <a:pt x="1967" y="605"/>
                    <a:pt x="1967" y="605"/>
                  </a:cubicBezTo>
                  <a:cubicBezTo>
                    <a:pt x="1967" y="605"/>
                    <a:pt x="1967" y="605"/>
                    <a:pt x="1967" y="604"/>
                  </a:cubicBezTo>
                  <a:cubicBezTo>
                    <a:pt x="1967" y="604"/>
                    <a:pt x="1964" y="601"/>
                    <a:pt x="1960" y="601"/>
                  </a:cubicBezTo>
                  <a:cubicBezTo>
                    <a:pt x="1957" y="601"/>
                    <a:pt x="1956" y="601"/>
                    <a:pt x="1955" y="600"/>
                  </a:cubicBezTo>
                  <a:cubicBezTo>
                    <a:pt x="1954" y="598"/>
                    <a:pt x="1955" y="594"/>
                    <a:pt x="1958" y="588"/>
                  </a:cubicBezTo>
                  <a:cubicBezTo>
                    <a:pt x="1962" y="582"/>
                    <a:pt x="1968" y="578"/>
                    <a:pt x="1973" y="574"/>
                  </a:cubicBezTo>
                  <a:cubicBezTo>
                    <a:pt x="1976" y="572"/>
                    <a:pt x="1978" y="571"/>
                    <a:pt x="1980" y="569"/>
                  </a:cubicBezTo>
                  <a:cubicBezTo>
                    <a:pt x="1983" y="566"/>
                    <a:pt x="1986" y="566"/>
                    <a:pt x="1988" y="565"/>
                  </a:cubicBezTo>
                  <a:cubicBezTo>
                    <a:pt x="1990" y="565"/>
                    <a:pt x="1990" y="565"/>
                    <a:pt x="1990" y="563"/>
                  </a:cubicBezTo>
                  <a:cubicBezTo>
                    <a:pt x="1990" y="560"/>
                    <a:pt x="1993" y="550"/>
                    <a:pt x="1998" y="550"/>
                  </a:cubicBezTo>
                  <a:cubicBezTo>
                    <a:pt x="2000" y="550"/>
                    <a:pt x="2001" y="550"/>
                    <a:pt x="2003" y="550"/>
                  </a:cubicBezTo>
                  <a:cubicBezTo>
                    <a:pt x="2005" y="550"/>
                    <a:pt x="2007" y="550"/>
                    <a:pt x="2009" y="550"/>
                  </a:cubicBezTo>
                  <a:cubicBezTo>
                    <a:pt x="2015" y="550"/>
                    <a:pt x="2019" y="549"/>
                    <a:pt x="2022" y="547"/>
                  </a:cubicBezTo>
                  <a:cubicBezTo>
                    <a:pt x="2024" y="547"/>
                    <a:pt x="2025" y="546"/>
                    <a:pt x="2026" y="546"/>
                  </a:cubicBezTo>
                  <a:cubicBezTo>
                    <a:pt x="2028" y="546"/>
                    <a:pt x="2029" y="548"/>
                    <a:pt x="2030" y="549"/>
                  </a:cubicBezTo>
                  <a:cubicBezTo>
                    <a:pt x="2031" y="550"/>
                    <a:pt x="2031" y="551"/>
                    <a:pt x="2032" y="552"/>
                  </a:cubicBezTo>
                  <a:cubicBezTo>
                    <a:pt x="2033" y="552"/>
                    <a:pt x="2035" y="551"/>
                    <a:pt x="2036" y="550"/>
                  </a:cubicBezTo>
                  <a:cubicBezTo>
                    <a:pt x="2038" y="548"/>
                    <a:pt x="2040" y="547"/>
                    <a:pt x="2041" y="547"/>
                  </a:cubicBezTo>
                  <a:cubicBezTo>
                    <a:pt x="2042" y="547"/>
                    <a:pt x="2042" y="547"/>
                    <a:pt x="2043" y="548"/>
                  </a:cubicBezTo>
                  <a:cubicBezTo>
                    <a:pt x="2043" y="548"/>
                    <a:pt x="2044" y="548"/>
                    <a:pt x="2044" y="549"/>
                  </a:cubicBezTo>
                  <a:cubicBezTo>
                    <a:pt x="2044" y="550"/>
                    <a:pt x="2043" y="552"/>
                    <a:pt x="2041" y="554"/>
                  </a:cubicBezTo>
                  <a:cubicBezTo>
                    <a:pt x="2039" y="556"/>
                    <a:pt x="2037" y="559"/>
                    <a:pt x="2036" y="562"/>
                  </a:cubicBezTo>
                  <a:cubicBezTo>
                    <a:pt x="2036" y="563"/>
                    <a:pt x="2036" y="564"/>
                    <a:pt x="2036" y="565"/>
                  </a:cubicBezTo>
                  <a:cubicBezTo>
                    <a:pt x="2036" y="565"/>
                    <a:pt x="2038" y="566"/>
                    <a:pt x="2040" y="566"/>
                  </a:cubicBezTo>
                  <a:cubicBezTo>
                    <a:pt x="2041" y="566"/>
                    <a:pt x="2043" y="566"/>
                    <a:pt x="2044" y="567"/>
                  </a:cubicBezTo>
                  <a:cubicBezTo>
                    <a:pt x="2045" y="567"/>
                    <a:pt x="2045" y="567"/>
                    <a:pt x="2045" y="568"/>
                  </a:cubicBezTo>
                  <a:cubicBezTo>
                    <a:pt x="2045" y="569"/>
                    <a:pt x="2044" y="570"/>
                    <a:pt x="2042" y="571"/>
                  </a:cubicBezTo>
                  <a:cubicBezTo>
                    <a:pt x="2040" y="573"/>
                    <a:pt x="2040" y="573"/>
                    <a:pt x="2040" y="573"/>
                  </a:cubicBezTo>
                  <a:cubicBezTo>
                    <a:pt x="2040" y="573"/>
                    <a:pt x="2041" y="573"/>
                    <a:pt x="2042" y="573"/>
                  </a:cubicBezTo>
                  <a:cubicBezTo>
                    <a:pt x="2044" y="573"/>
                    <a:pt x="2049" y="573"/>
                    <a:pt x="2057" y="565"/>
                  </a:cubicBezTo>
                  <a:cubicBezTo>
                    <a:pt x="2065" y="557"/>
                    <a:pt x="2073" y="553"/>
                    <a:pt x="2080" y="553"/>
                  </a:cubicBezTo>
                  <a:cubicBezTo>
                    <a:pt x="2080" y="553"/>
                    <a:pt x="2081" y="553"/>
                    <a:pt x="2082" y="553"/>
                  </a:cubicBezTo>
                  <a:cubicBezTo>
                    <a:pt x="2083" y="554"/>
                    <a:pt x="2084" y="553"/>
                    <a:pt x="2084" y="553"/>
                  </a:cubicBezTo>
                  <a:cubicBezTo>
                    <a:pt x="2085" y="552"/>
                    <a:pt x="2085" y="550"/>
                    <a:pt x="2084" y="547"/>
                  </a:cubicBezTo>
                  <a:cubicBezTo>
                    <a:pt x="2084" y="545"/>
                    <a:pt x="2084" y="543"/>
                    <a:pt x="2084" y="540"/>
                  </a:cubicBezTo>
                  <a:cubicBezTo>
                    <a:pt x="2084" y="533"/>
                    <a:pt x="2095" y="529"/>
                    <a:pt x="2103" y="529"/>
                  </a:cubicBezTo>
                  <a:cubicBezTo>
                    <a:pt x="2106" y="529"/>
                    <a:pt x="2108" y="530"/>
                    <a:pt x="2110" y="530"/>
                  </a:cubicBezTo>
                  <a:cubicBezTo>
                    <a:pt x="2112" y="531"/>
                    <a:pt x="2115" y="533"/>
                    <a:pt x="2114" y="534"/>
                  </a:cubicBezTo>
                  <a:cubicBezTo>
                    <a:pt x="2114" y="535"/>
                    <a:pt x="2114" y="535"/>
                    <a:pt x="2112" y="535"/>
                  </a:cubicBezTo>
                  <a:cubicBezTo>
                    <a:pt x="2111" y="535"/>
                    <a:pt x="2110" y="535"/>
                    <a:pt x="2109" y="535"/>
                  </a:cubicBezTo>
                  <a:cubicBezTo>
                    <a:pt x="2106" y="534"/>
                    <a:pt x="2104" y="535"/>
                    <a:pt x="2102" y="537"/>
                  </a:cubicBezTo>
                  <a:cubicBezTo>
                    <a:pt x="2100" y="539"/>
                    <a:pt x="2099" y="542"/>
                    <a:pt x="2099" y="545"/>
                  </a:cubicBezTo>
                  <a:cubicBezTo>
                    <a:pt x="2099" y="549"/>
                    <a:pt x="2098" y="552"/>
                    <a:pt x="2097" y="553"/>
                  </a:cubicBezTo>
                  <a:cubicBezTo>
                    <a:pt x="2096" y="555"/>
                    <a:pt x="2095" y="556"/>
                    <a:pt x="2096" y="557"/>
                  </a:cubicBezTo>
                  <a:cubicBezTo>
                    <a:pt x="2097" y="558"/>
                    <a:pt x="2097" y="559"/>
                    <a:pt x="2097" y="559"/>
                  </a:cubicBezTo>
                  <a:cubicBezTo>
                    <a:pt x="2097" y="560"/>
                    <a:pt x="2096" y="561"/>
                    <a:pt x="2095" y="562"/>
                  </a:cubicBezTo>
                  <a:cubicBezTo>
                    <a:pt x="2093" y="562"/>
                    <a:pt x="2092" y="563"/>
                    <a:pt x="2092" y="564"/>
                  </a:cubicBezTo>
                  <a:cubicBezTo>
                    <a:pt x="2092" y="565"/>
                    <a:pt x="2092" y="565"/>
                    <a:pt x="2092" y="565"/>
                  </a:cubicBezTo>
                  <a:cubicBezTo>
                    <a:pt x="2092" y="568"/>
                    <a:pt x="2092" y="570"/>
                    <a:pt x="2087" y="571"/>
                  </a:cubicBezTo>
                  <a:cubicBezTo>
                    <a:pt x="2087" y="572"/>
                    <a:pt x="2085" y="572"/>
                    <a:pt x="2084" y="572"/>
                  </a:cubicBezTo>
                  <a:cubicBezTo>
                    <a:pt x="2078" y="573"/>
                    <a:pt x="2069" y="575"/>
                    <a:pt x="2069" y="579"/>
                  </a:cubicBezTo>
                  <a:cubicBezTo>
                    <a:pt x="2068" y="583"/>
                    <a:pt x="2066" y="584"/>
                    <a:pt x="2063" y="586"/>
                  </a:cubicBezTo>
                  <a:cubicBezTo>
                    <a:pt x="2061" y="588"/>
                    <a:pt x="2058" y="590"/>
                    <a:pt x="2057" y="593"/>
                  </a:cubicBezTo>
                  <a:cubicBezTo>
                    <a:pt x="2055" y="596"/>
                    <a:pt x="2051" y="598"/>
                    <a:pt x="2047" y="601"/>
                  </a:cubicBezTo>
                  <a:cubicBezTo>
                    <a:pt x="2042" y="605"/>
                    <a:pt x="2035" y="610"/>
                    <a:pt x="2030" y="617"/>
                  </a:cubicBezTo>
                  <a:cubicBezTo>
                    <a:pt x="2024" y="627"/>
                    <a:pt x="2015" y="630"/>
                    <a:pt x="2010" y="632"/>
                  </a:cubicBezTo>
                  <a:cubicBezTo>
                    <a:pt x="2008" y="632"/>
                    <a:pt x="2006" y="633"/>
                    <a:pt x="2006" y="634"/>
                  </a:cubicBezTo>
                  <a:cubicBezTo>
                    <a:pt x="2006" y="636"/>
                    <a:pt x="2001" y="636"/>
                    <a:pt x="1995" y="637"/>
                  </a:cubicBezTo>
                  <a:cubicBezTo>
                    <a:pt x="1994" y="637"/>
                    <a:pt x="1993" y="637"/>
                    <a:pt x="1992" y="637"/>
                  </a:cubicBezTo>
                  <a:cubicBezTo>
                    <a:pt x="1991" y="637"/>
                    <a:pt x="1991" y="637"/>
                    <a:pt x="1992" y="640"/>
                  </a:cubicBezTo>
                  <a:cubicBezTo>
                    <a:pt x="1992" y="643"/>
                    <a:pt x="1993" y="649"/>
                    <a:pt x="1987" y="654"/>
                  </a:cubicBezTo>
                  <a:cubicBezTo>
                    <a:pt x="1979" y="663"/>
                    <a:pt x="1974" y="676"/>
                    <a:pt x="1974" y="687"/>
                  </a:cubicBezTo>
                  <a:cubicBezTo>
                    <a:pt x="1974" y="700"/>
                    <a:pt x="1979" y="735"/>
                    <a:pt x="1982" y="741"/>
                  </a:cubicBezTo>
                  <a:cubicBezTo>
                    <a:pt x="1984" y="744"/>
                    <a:pt x="1984" y="750"/>
                    <a:pt x="1985" y="755"/>
                  </a:cubicBezTo>
                  <a:cubicBezTo>
                    <a:pt x="1985" y="760"/>
                    <a:pt x="1985" y="764"/>
                    <a:pt x="1987" y="765"/>
                  </a:cubicBezTo>
                  <a:cubicBezTo>
                    <a:pt x="1988" y="767"/>
                    <a:pt x="1989" y="770"/>
                    <a:pt x="1989" y="772"/>
                  </a:cubicBezTo>
                  <a:cubicBezTo>
                    <a:pt x="1989" y="774"/>
                    <a:pt x="1990" y="775"/>
                    <a:pt x="1990" y="776"/>
                  </a:cubicBezTo>
                  <a:cubicBezTo>
                    <a:pt x="1991" y="776"/>
                    <a:pt x="1991" y="776"/>
                    <a:pt x="1991" y="776"/>
                  </a:cubicBezTo>
                  <a:cubicBezTo>
                    <a:pt x="1992" y="776"/>
                    <a:pt x="1996" y="772"/>
                    <a:pt x="1999" y="769"/>
                  </a:cubicBezTo>
                  <a:cubicBezTo>
                    <a:pt x="2001" y="767"/>
                    <a:pt x="2003" y="764"/>
                    <a:pt x="2005" y="763"/>
                  </a:cubicBezTo>
                  <a:cubicBezTo>
                    <a:pt x="2008" y="761"/>
                    <a:pt x="2009" y="759"/>
                    <a:pt x="2009" y="758"/>
                  </a:cubicBezTo>
                  <a:cubicBezTo>
                    <a:pt x="2010" y="757"/>
                    <a:pt x="2011" y="756"/>
                    <a:pt x="2012" y="754"/>
                  </a:cubicBezTo>
                  <a:cubicBezTo>
                    <a:pt x="2015" y="753"/>
                    <a:pt x="2015" y="748"/>
                    <a:pt x="2015" y="745"/>
                  </a:cubicBezTo>
                  <a:cubicBezTo>
                    <a:pt x="2015" y="743"/>
                    <a:pt x="2015" y="741"/>
                    <a:pt x="2015" y="740"/>
                  </a:cubicBezTo>
                  <a:cubicBezTo>
                    <a:pt x="2016" y="738"/>
                    <a:pt x="2018" y="737"/>
                    <a:pt x="2020" y="736"/>
                  </a:cubicBezTo>
                  <a:cubicBezTo>
                    <a:pt x="2022" y="735"/>
                    <a:pt x="2024" y="734"/>
                    <a:pt x="2025" y="733"/>
                  </a:cubicBezTo>
                  <a:cubicBezTo>
                    <a:pt x="2027" y="731"/>
                    <a:pt x="2030" y="731"/>
                    <a:pt x="2032" y="731"/>
                  </a:cubicBezTo>
                  <a:cubicBezTo>
                    <a:pt x="2034" y="731"/>
                    <a:pt x="2035" y="731"/>
                    <a:pt x="2036" y="731"/>
                  </a:cubicBezTo>
                  <a:cubicBezTo>
                    <a:pt x="2038" y="730"/>
                    <a:pt x="2037" y="726"/>
                    <a:pt x="2036" y="722"/>
                  </a:cubicBezTo>
                  <a:cubicBezTo>
                    <a:pt x="2035" y="721"/>
                    <a:pt x="2035" y="720"/>
                    <a:pt x="2035" y="719"/>
                  </a:cubicBezTo>
                  <a:cubicBezTo>
                    <a:pt x="2034" y="715"/>
                    <a:pt x="2041" y="711"/>
                    <a:pt x="2046" y="707"/>
                  </a:cubicBezTo>
                  <a:cubicBezTo>
                    <a:pt x="2047" y="706"/>
                    <a:pt x="2048" y="706"/>
                    <a:pt x="2049" y="705"/>
                  </a:cubicBezTo>
                  <a:cubicBezTo>
                    <a:pt x="2050" y="704"/>
                    <a:pt x="2052" y="704"/>
                    <a:pt x="2054" y="704"/>
                  </a:cubicBezTo>
                  <a:cubicBezTo>
                    <a:pt x="2055" y="704"/>
                    <a:pt x="2056" y="704"/>
                    <a:pt x="2057" y="704"/>
                  </a:cubicBezTo>
                  <a:cubicBezTo>
                    <a:pt x="2058" y="704"/>
                    <a:pt x="2059" y="704"/>
                    <a:pt x="2060" y="704"/>
                  </a:cubicBezTo>
                  <a:cubicBezTo>
                    <a:pt x="2063" y="704"/>
                    <a:pt x="2065" y="704"/>
                    <a:pt x="2066" y="702"/>
                  </a:cubicBezTo>
                  <a:cubicBezTo>
                    <a:pt x="2071" y="698"/>
                    <a:pt x="2067" y="692"/>
                    <a:pt x="2064" y="689"/>
                  </a:cubicBezTo>
                  <a:cubicBezTo>
                    <a:pt x="2064" y="689"/>
                    <a:pt x="2064" y="689"/>
                    <a:pt x="2064" y="688"/>
                  </a:cubicBezTo>
                  <a:cubicBezTo>
                    <a:pt x="2063" y="688"/>
                    <a:pt x="2063" y="686"/>
                    <a:pt x="2064" y="684"/>
                  </a:cubicBezTo>
                  <a:cubicBezTo>
                    <a:pt x="2066" y="679"/>
                    <a:pt x="2071" y="671"/>
                    <a:pt x="2074" y="670"/>
                  </a:cubicBezTo>
                  <a:cubicBezTo>
                    <a:pt x="2075" y="670"/>
                    <a:pt x="2075" y="670"/>
                    <a:pt x="2076" y="670"/>
                  </a:cubicBezTo>
                  <a:cubicBezTo>
                    <a:pt x="2077" y="670"/>
                    <a:pt x="2078" y="670"/>
                    <a:pt x="2079" y="670"/>
                  </a:cubicBezTo>
                  <a:cubicBezTo>
                    <a:pt x="2080" y="671"/>
                    <a:pt x="2081" y="671"/>
                    <a:pt x="2082" y="671"/>
                  </a:cubicBezTo>
                  <a:cubicBezTo>
                    <a:pt x="2083" y="671"/>
                    <a:pt x="2084" y="671"/>
                    <a:pt x="2085" y="669"/>
                  </a:cubicBezTo>
                  <a:cubicBezTo>
                    <a:pt x="2086" y="669"/>
                    <a:pt x="2087" y="667"/>
                    <a:pt x="2086" y="666"/>
                  </a:cubicBezTo>
                  <a:cubicBezTo>
                    <a:pt x="2085" y="663"/>
                    <a:pt x="2081" y="661"/>
                    <a:pt x="2079" y="661"/>
                  </a:cubicBezTo>
                  <a:cubicBezTo>
                    <a:pt x="2079" y="661"/>
                    <a:pt x="2079" y="661"/>
                    <a:pt x="2079" y="661"/>
                  </a:cubicBezTo>
                  <a:cubicBezTo>
                    <a:pt x="2078" y="661"/>
                    <a:pt x="2077" y="660"/>
                    <a:pt x="2076" y="659"/>
                  </a:cubicBezTo>
                  <a:cubicBezTo>
                    <a:pt x="2075" y="655"/>
                    <a:pt x="2076" y="647"/>
                    <a:pt x="2081" y="643"/>
                  </a:cubicBezTo>
                  <a:cubicBezTo>
                    <a:pt x="2084" y="641"/>
                    <a:pt x="2086" y="640"/>
                    <a:pt x="2085" y="639"/>
                  </a:cubicBezTo>
                  <a:cubicBezTo>
                    <a:pt x="2085" y="638"/>
                    <a:pt x="2083" y="637"/>
                    <a:pt x="2081" y="637"/>
                  </a:cubicBezTo>
                  <a:cubicBezTo>
                    <a:pt x="2080" y="636"/>
                    <a:pt x="2079" y="636"/>
                    <a:pt x="2078" y="636"/>
                  </a:cubicBezTo>
                  <a:cubicBezTo>
                    <a:pt x="2077" y="636"/>
                    <a:pt x="2076" y="636"/>
                    <a:pt x="2075" y="637"/>
                  </a:cubicBezTo>
                  <a:cubicBezTo>
                    <a:pt x="2074" y="637"/>
                    <a:pt x="2073" y="637"/>
                    <a:pt x="2072" y="637"/>
                  </a:cubicBezTo>
                  <a:cubicBezTo>
                    <a:pt x="2072" y="637"/>
                    <a:pt x="2072" y="637"/>
                    <a:pt x="2072" y="637"/>
                  </a:cubicBezTo>
                  <a:cubicBezTo>
                    <a:pt x="2070" y="637"/>
                    <a:pt x="2069" y="636"/>
                    <a:pt x="2068" y="634"/>
                  </a:cubicBezTo>
                  <a:cubicBezTo>
                    <a:pt x="2066" y="631"/>
                    <a:pt x="2066" y="626"/>
                    <a:pt x="2070" y="621"/>
                  </a:cubicBezTo>
                  <a:cubicBezTo>
                    <a:pt x="2073" y="618"/>
                    <a:pt x="2075" y="616"/>
                    <a:pt x="2077" y="615"/>
                  </a:cubicBezTo>
                  <a:cubicBezTo>
                    <a:pt x="2080" y="613"/>
                    <a:pt x="2081" y="612"/>
                    <a:pt x="2082" y="609"/>
                  </a:cubicBezTo>
                  <a:cubicBezTo>
                    <a:pt x="2083" y="604"/>
                    <a:pt x="2087" y="598"/>
                    <a:pt x="2091" y="594"/>
                  </a:cubicBezTo>
                  <a:cubicBezTo>
                    <a:pt x="2092" y="592"/>
                    <a:pt x="2093" y="591"/>
                    <a:pt x="2093" y="590"/>
                  </a:cubicBezTo>
                  <a:cubicBezTo>
                    <a:pt x="2094" y="589"/>
                    <a:pt x="2095" y="589"/>
                    <a:pt x="2097" y="589"/>
                  </a:cubicBezTo>
                  <a:cubicBezTo>
                    <a:pt x="2099" y="589"/>
                    <a:pt x="2100" y="589"/>
                    <a:pt x="2102" y="589"/>
                  </a:cubicBezTo>
                  <a:cubicBezTo>
                    <a:pt x="2103" y="589"/>
                    <a:pt x="2105" y="590"/>
                    <a:pt x="2106" y="589"/>
                  </a:cubicBezTo>
                  <a:cubicBezTo>
                    <a:pt x="2106" y="589"/>
                    <a:pt x="2106" y="589"/>
                    <a:pt x="2107" y="589"/>
                  </a:cubicBezTo>
                  <a:cubicBezTo>
                    <a:pt x="2108" y="589"/>
                    <a:pt x="2109" y="591"/>
                    <a:pt x="2109" y="592"/>
                  </a:cubicBezTo>
                  <a:cubicBezTo>
                    <a:pt x="2110" y="593"/>
                    <a:pt x="2110" y="593"/>
                    <a:pt x="2110" y="593"/>
                  </a:cubicBezTo>
                  <a:cubicBezTo>
                    <a:pt x="2110" y="593"/>
                    <a:pt x="2111" y="593"/>
                    <a:pt x="2111" y="592"/>
                  </a:cubicBezTo>
                  <a:cubicBezTo>
                    <a:pt x="2113" y="591"/>
                    <a:pt x="2114" y="589"/>
                    <a:pt x="2116" y="587"/>
                  </a:cubicBezTo>
                  <a:cubicBezTo>
                    <a:pt x="2119" y="583"/>
                    <a:pt x="2123" y="578"/>
                    <a:pt x="2126" y="578"/>
                  </a:cubicBezTo>
                  <a:cubicBezTo>
                    <a:pt x="2127" y="578"/>
                    <a:pt x="2128" y="578"/>
                    <a:pt x="2129" y="579"/>
                  </a:cubicBezTo>
                  <a:cubicBezTo>
                    <a:pt x="2130" y="580"/>
                    <a:pt x="2130" y="583"/>
                    <a:pt x="2130" y="585"/>
                  </a:cubicBezTo>
                  <a:cubicBezTo>
                    <a:pt x="2130" y="587"/>
                    <a:pt x="2130" y="589"/>
                    <a:pt x="2130" y="591"/>
                  </a:cubicBezTo>
                  <a:cubicBezTo>
                    <a:pt x="2130" y="592"/>
                    <a:pt x="2131" y="592"/>
                    <a:pt x="2131" y="592"/>
                  </a:cubicBezTo>
                  <a:cubicBezTo>
                    <a:pt x="2131" y="592"/>
                    <a:pt x="2133" y="591"/>
                    <a:pt x="2135" y="590"/>
                  </a:cubicBezTo>
                  <a:cubicBezTo>
                    <a:pt x="2137" y="588"/>
                    <a:pt x="2139" y="585"/>
                    <a:pt x="2143" y="583"/>
                  </a:cubicBezTo>
                  <a:cubicBezTo>
                    <a:pt x="2149" y="578"/>
                    <a:pt x="2160" y="578"/>
                    <a:pt x="2165" y="578"/>
                  </a:cubicBezTo>
                  <a:cubicBezTo>
                    <a:pt x="2171" y="578"/>
                    <a:pt x="2177" y="579"/>
                    <a:pt x="2180" y="580"/>
                  </a:cubicBezTo>
                  <a:cubicBezTo>
                    <a:pt x="2183" y="582"/>
                    <a:pt x="2185" y="584"/>
                    <a:pt x="2186" y="586"/>
                  </a:cubicBezTo>
                  <a:cubicBezTo>
                    <a:pt x="2188" y="588"/>
                    <a:pt x="2189" y="590"/>
                    <a:pt x="2190" y="589"/>
                  </a:cubicBezTo>
                  <a:cubicBezTo>
                    <a:pt x="2192" y="589"/>
                    <a:pt x="2192" y="587"/>
                    <a:pt x="2193" y="586"/>
                  </a:cubicBezTo>
                  <a:cubicBezTo>
                    <a:pt x="2193" y="584"/>
                    <a:pt x="2193" y="582"/>
                    <a:pt x="2196" y="581"/>
                  </a:cubicBezTo>
                  <a:cubicBezTo>
                    <a:pt x="2201" y="579"/>
                    <a:pt x="2211" y="574"/>
                    <a:pt x="2217" y="569"/>
                  </a:cubicBezTo>
                  <a:cubicBezTo>
                    <a:pt x="2220" y="567"/>
                    <a:pt x="2222" y="566"/>
                    <a:pt x="2222" y="566"/>
                  </a:cubicBezTo>
                  <a:cubicBezTo>
                    <a:pt x="2223" y="566"/>
                    <a:pt x="2224" y="566"/>
                    <a:pt x="2225" y="563"/>
                  </a:cubicBezTo>
                  <a:cubicBezTo>
                    <a:pt x="2227" y="561"/>
                    <a:pt x="2229" y="560"/>
                    <a:pt x="2231" y="560"/>
                  </a:cubicBezTo>
                  <a:cubicBezTo>
                    <a:pt x="2232" y="559"/>
                    <a:pt x="2233" y="559"/>
                    <a:pt x="2234" y="558"/>
                  </a:cubicBezTo>
                  <a:cubicBezTo>
                    <a:pt x="2235" y="554"/>
                    <a:pt x="2246" y="549"/>
                    <a:pt x="2259" y="547"/>
                  </a:cubicBezTo>
                  <a:cubicBezTo>
                    <a:pt x="2271" y="544"/>
                    <a:pt x="2286" y="536"/>
                    <a:pt x="2288" y="533"/>
                  </a:cubicBezTo>
                  <a:cubicBezTo>
                    <a:pt x="2289" y="533"/>
                    <a:pt x="2289" y="532"/>
                    <a:pt x="2289" y="532"/>
                  </a:cubicBezTo>
                  <a:cubicBezTo>
                    <a:pt x="2288" y="532"/>
                    <a:pt x="2288" y="531"/>
                    <a:pt x="2289" y="530"/>
                  </a:cubicBezTo>
                  <a:cubicBezTo>
                    <a:pt x="2290" y="529"/>
                    <a:pt x="2291" y="529"/>
                    <a:pt x="2292" y="529"/>
                  </a:cubicBezTo>
                  <a:cubicBezTo>
                    <a:pt x="2294" y="529"/>
                    <a:pt x="2295" y="530"/>
                    <a:pt x="2295" y="531"/>
                  </a:cubicBezTo>
                  <a:cubicBezTo>
                    <a:pt x="2296" y="532"/>
                    <a:pt x="2297" y="532"/>
                    <a:pt x="2301" y="533"/>
                  </a:cubicBezTo>
                  <a:cubicBezTo>
                    <a:pt x="2303" y="533"/>
                    <a:pt x="2305" y="533"/>
                    <a:pt x="2308" y="534"/>
                  </a:cubicBezTo>
                  <a:cubicBezTo>
                    <a:pt x="2309" y="534"/>
                    <a:pt x="2311" y="534"/>
                    <a:pt x="2312" y="535"/>
                  </a:cubicBezTo>
                  <a:cubicBezTo>
                    <a:pt x="2314" y="535"/>
                    <a:pt x="2315" y="536"/>
                    <a:pt x="2317" y="536"/>
                  </a:cubicBezTo>
                  <a:cubicBezTo>
                    <a:pt x="2319" y="536"/>
                    <a:pt x="2321" y="535"/>
                    <a:pt x="2323" y="533"/>
                  </a:cubicBezTo>
                  <a:cubicBezTo>
                    <a:pt x="2327" y="529"/>
                    <a:pt x="2326" y="527"/>
                    <a:pt x="2324" y="525"/>
                  </a:cubicBezTo>
                  <a:cubicBezTo>
                    <a:pt x="2323" y="524"/>
                    <a:pt x="2323" y="523"/>
                    <a:pt x="2323" y="521"/>
                  </a:cubicBezTo>
                  <a:cubicBezTo>
                    <a:pt x="2323" y="519"/>
                    <a:pt x="2321" y="517"/>
                    <a:pt x="2319" y="515"/>
                  </a:cubicBezTo>
                  <a:cubicBezTo>
                    <a:pt x="2316" y="513"/>
                    <a:pt x="2314" y="510"/>
                    <a:pt x="2314" y="508"/>
                  </a:cubicBezTo>
                  <a:cubicBezTo>
                    <a:pt x="2315" y="505"/>
                    <a:pt x="2313" y="501"/>
                    <a:pt x="2310" y="498"/>
                  </a:cubicBezTo>
                  <a:cubicBezTo>
                    <a:pt x="2308" y="495"/>
                    <a:pt x="2306" y="493"/>
                    <a:pt x="2305" y="494"/>
                  </a:cubicBezTo>
                  <a:cubicBezTo>
                    <a:pt x="2304" y="495"/>
                    <a:pt x="2301" y="495"/>
                    <a:pt x="2298" y="493"/>
                  </a:cubicBezTo>
                  <a:cubicBezTo>
                    <a:pt x="2297" y="491"/>
                    <a:pt x="2296" y="490"/>
                    <a:pt x="2296" y="488"/>
                  </a:cubicBezTo>
                  <a:cubicBezTo>
                    <a:pt x="2296" y="485"/>
                    <a:pt x="2295" y="483"/>
                    <a:pt x="2294" y="483"/>
                  </a:cubicBezTo>
                  <a:cubicBezTo>
                    <a:pt x="2294" y="483"/>
                    <a:pt x="2293" y="483"/>
                    <a:pt x="2292" y="484"/>
                  </a:cubicBezTo>
                  <a:cubicBezTo>
                    <a:pt x="2291" y="485"/>
                    <a:pt x="2289" y="485"/>
                    <a:pt x="2287" y="485"/>
                  </a:cubicBezTo>
                  <a:cubicBezTo>
                    <a:pt x="2284" y="485"/>
                    <a:pt x="2280" y="484"/>
                    <a:pt x="2279" y="481"/>
                  </a:cubicBezTo>
                  <a:cubicBezTo>
                    <a:pt x="2279" y="480"/>
                    <a:pt x="2279" y="479"/>
                    <a:pt x="2280" y="478"/>
                  </a:cubicBezTo>
                  <a:cubicBezTo>
                    <a:pt x="2281" y="476"/>
                    <a:pt x="2284" y="475"/>
                    <a:pt x="2288" y="475"/>
                  </a:cubicBezTo>
                  <a:cubicBezTo>
                    <a:pt x="2290" y="475"/>
                    <a:pt x="2292" y="475"/>
                    <a:pt x="2294" y="476"/>
                  </a:cubicBezTo>
                  <a:cubicBezTo>
                    <a:pt x="2298" y="478"/>
                    <a:pt x="2299" y="479"/>
                    <a:pt x="2300" y="481"/>
                  </a:cubicBezTo>
                  <a:cubicBezTo>
                    <a:pt x="2300" y="482"/>
                    <a:pt x="2301" y="483"/>
                    <a:pt x="2302" y="483"/>
                  </a:cubicBezTo>
                  <a:cubicBezTo>
                    <a:pt x="2303" y="484"/>
                    <a:pt x="2305" y="484"/>
                    <a:pt x="2307" y="484"/>
                  </a:cubicBezTo>
                  <a:cubicBezTo>
                    <a:pt x="2311" y="484"/>
                    <a:pt x="2315" y="483"/>
                    <a:pt x="2318" y="482"/>
                  </a:cubicBezTo>
                  <a:cubicBezTo>
                    <a:pt x="2319" y="482"/>
                    <a:pt x="2321" y="481"/>
                    <a:pt x="2323" y="480"/>
                  </a:cubicBezTo>
                  <a:cubicBezTo>
                    <a:pt x="2328" y="478"/>
                    <a:pt x="2336" y="475"/>
                    <a:pt x="2337" y="472"/>
                  </a:cubicBezTo>
                  <a:cubicBezTo>
                    <a:pt x="2338" y="471"/>
                    <a:pt x="2338" y="470"/>
                    <a:pt x="2338" y="469"/>
                  </a:cubicBezTo>
                  <a:cubicBezTo>
                    <a:pt x="2338" y="467"/>
                    <a:pt x="2339" y="466"/>
                    <a:pt x="2342" y="465"/>
                  </a:cubicBezTo>
                  <a:cubicBezTo>
                    <a:pt x="2343" y="464"/>
                    <a:pt x="2343" y="463"/>
                    <a:pt x="2343" y="462"/>
                  </a:cubicBezTo>
                  <a:cubicBezTo>
                    <a:pt x="2343" y="461"/>
                    <a:pt x="2341" y="458"/>
                    <a:pt x="2339" y="457"/>
                  </a:cubicBezTo>
                  <a:cubicBezTo>
                    <a:pt x="2337" y="456"/>
                    <a:pt x="2336" y="454"/>
                    <a:pt x="2336" y="452"/>
                  </a:cubicBezTo>
                  <a:cubicBezTo>
                    <a:pt x="2337" y="450"/>
                    <a:pt x="2338" y="449"/>
                    <a:pt x="2340" y="449"/>
                  </a:cubicBezTo>
                  <a:cubicBezTo>
                    <a:pt x="2342" y="449"/>
                    <a:pt x="2343" y="448"/>
                    <a:pt x="2343" y="447"/>
                  </a:cubicBezTo>
                  <a:cubicBezTo>
                    <a:pt x="2344" y="446"/>
                    <a:pt x="2344" y="444"/>
                    <a:pt x="2346" y="444"/>
                  </a:cubicBezTo>
                  <a:cubicBezTo>
                    <a:pt x="2347" y="444"/>
                    <a:pt x="2347" y="444"/>
                    <a:pt x="2348" y="445"/>
                  </a:cubicBezTo>
                  <a:cubicBezTo>
                    <a:pt x="2348" y="445"/>
                    <a:pt x="2349" y="445"/>
                    <a:pt x="2350" y="445"/>
                  </a:cubicBezTo>
                  <a:cubicBezTo>
                    <a:pt x="2351" y="445"/>
                    <a:pt x="2352" y="445"/>
                    <a:pt x="2353" y="444"/>
                  </a:cubicBezTo>
                  <a:cubicBezTo>
                    <a:pt x="2354" y="443"/>
                    <a:pt x="2354" y="443"/>
                    <a:pt x="2355" y="443"/>
                  </a:cubicBezTo>
                  <a:cubicBezTo>
                    <a:pt x="2356" y="444"/>
                    <a:pt x="2356" y="444"/>
                    <a:pt x="2356" y="444"/>
                  </a:cubicBezTo>
                  <a:cubicBezTo>
                    <a:pt x="2356" y="445"/>
                    <a:pt x="2355" y="446"/>
                    <a:pt x="2354" y="449"/>
                  </a:cubicBezTo>
                  <a:cubicBezTo>
                    <a:pt x="2353" y="450"/>
                    <a:pt x="2352" y="451"/>
                    <a:pt x="2352" y="452"/>
                  </a:cubicBezTo>
                  <a:cubicBezTo>
                    <a:pt x="2351" y="455"/>
                    <a:pt x="2353" y="457"/>
                    <a:pt x="2355" y="459"/>
                  </a:cubicBezTo>
                  <a:cubicBezTo>
                    <a:pt x="2356" y="460"/>
                    <a:pt x="2357" y="461"/>
                    <a:pt x="2357" y="462"/>
                  </a:cubicBezTo>
                  <a:cubicBezTo>
                    <a:pt x="2357" y="463"/>
                    <a:pt x="2360" y="464"/>
                    <a:pt x="2364" y="464"/>
                  </a:cubicBezTo>
                  <a:cubicBezTo>
                    <a:pt x="2367" y="464"/>
                    <a:pt x="2369" y="463"/>
                    <a:pt x="2371" y="462"/>
                  </a:cubicBezTo>
                  <a:cubicBezTo>
                    <a:pt x="2372" y="461"/>
                    <a:pt x="2374" y="461"/>
                    <a:pt x="2375" y="461"/>
                  </a:cubicBezTo>
                  <a:cubicBezTo>
                    <a:pt x="2382" y="461"/>
                    <a:pt x="2394" y="466"/>
                    <a:pt x="2395" y="470"/>
                  </a:cubicBezTo>
                  <a:cubicBezTo>
                    <a:pt x="2396" y="473"/>
                    <a:pt x="2398" y="478"/>
                    <a:pt x="2405" y="482"/>
                  </a:cubicBezTo>
                  <a:cubicBezTo>
                    <a:pt x="2408" y="483"/>
                    <a:pt x="2411" y="484"/>
                    <a:pt x="2414" y="484"/>
                  </a:cubicBezTo>
                  <a:cubicBezTo>
                    <a:pt x="2416" y="485"/>
                    <a:pt x="2419" y="485"/>
                    <a:pt x="2420" y="487"/>
                  </a:cubicBezTo>
                  <a:cubicBezTo>
                    <a:pt x="2420" y="489"/>
                    <a:pt x="2422" y="491"/>
                    <a:pt x="2425" y="491"/>
                  </a:cubicBezTo>
                  <a:cubicBezTo>
                    <a:pt x="2426" y="491"/>
                    <a:pt x="2426" y="491"/>
                    <a:pt x="2427" y="491"/>
                  </a:cubicBezTo>
                  <a:cubicBezTo>
                    <a:pt x="2428" y="491"/>
                    <a:pt x="2428" y="491"/>
                    <a:pt x="2428" y="491"/>
                  </a:cubicBezTo>
                  <a:cubicBezTo>
                    <a:pt x="2429" y="491"/>
                    <a:pt x="2431" y="492"/>
                    <a:pt x="2432" y="492"/>
                  </a:cubicBezTo>
                  <a:cubicBezTo>
                    <a:pt x="2433" y="493"/>
                    <a:pt x="2434" y="493"/>
                    <a:pt x="2435" y="492"/>
                  </a:cubicBezTo>
                  <a:cubicBezTo>
                    <a:pt x="2436" y="491"/>
                    <a:pt x="2437" y="491"/>
                    <a:pt x="2438" y="491"/>
                  </a:cubicBezTo>
                  <a:cubicBezTo>
                    <a:pt x="2439" y="491"/>
                    <a:pt x="2439" y="491"/>
                    <a:pt x="2439" y="491"/>
                  </a:cubicBezTo>
                  <a:cubicBezTo>
                    <a:pt x="2440" y="491"/>
                    <a:pt x="2440" y="492"/>
                    <a:pt x="2441" y="492"/>
                  </a:cubicBezTo>
                  <a:cubicBezTo>
                    <a:pt x="2441" y="492"/>
                    <a:pt x="2442" y="491"/>
                    <a:pt x="2443" y="490"/>
                  </a:cubicBezTo>
                  <a:cubicBezTo>
                    <a:pt x="2444" y="490"/>
                    <a:pt x="2444" y="489"/>
                    <a:pt x="2444" y="489"/>
                  </a:cubicBezTo>
                  <a:cubicBezTo>
                    <a:pt x="2444" y="488"/>
                    <a:pt x="2442" y="487"/>
                    <a:pt x="2440" y="487"/>
                  </a:cubicBezTo>
                  <a:cubicBezTo>
                    <a:pt x="2438" y="486"/>
                    <a:pt x="2437" y="485"/>
                    <a:pt x="2437" y="484"/>
                  </a:cubicBezTo>
                  <a:cubicBezTo>
                    <a:pt x="2437" y="483"/>
                    <a:pt x="2437" y="483"/>
                    <a:pt x="2437" y="483"/>
                  </a:cubicBezTo>
                  <a:cubicBezTo>
                    <a:pt x="2437" y="482"/>
                    <a:pt x="2438" y="481"/>
                    <a:pt x="2438" y="481"/>
                  </a:cubicBezTo>
                  <a:cubicBezTo>
                    <a:pt x="2439" y="481"/>
                    <a:pt x="2440" y="482"/>
                    <a:pt x="2441" y="483"/>
                  </a:cubicBezTo>
                  <a:cubicBezTo>
                    <a:pt x="2442" y="483"/>
                    <a:pt x="2443" y="484"/>
                    <a:pt x="2444" y="484"/>
                  </a:cubicBezTo>
                  <a:cubicBezTo>
                    <a:pt x="2444" y="484"/>
                    <a:pt x="2444" y="484"/>
                    <a:pt x="2444" y="484"/>
                  </a:cubicBezTo>
                  <a:cubicBezTo>
                    <a:pt x="2445" y="484"/>
                    <a:pt x="2445" y="484"/>
                    <a:pt x="2445" y="484"/>
                  </a:cubicBezTo>
                  <a:cubicBezTo>
                    <a:pt x="2445" y="483"/>
                    <a:pt x="2445" y="482"/>
                    <a:pt x="2445" y="481"/>
                  </a:cubicBezTo>
                  <a:cubicBezTo>
                    <a:pt x="2445" y="479"/>
                    <a:pt x="2444" y="477"/>
                    <a:pt x="2446" y="477"/>
                  </a:cubicBezTo>
                  <a:cubicBezTo>
                    <a:pt x="2446" y="477"/>
                    <a:pt x="2446" y="476"/>
                    <a:pt x="2446" y="474"/>
                  </a:cubicBezTo>
                  <a:cubicBezTo>
                    <a:pt x="2447" y="470"/>
                    <a:pt x="2445" y="464"/>
                    <a:pt x="2444" y="463"/>
                  </a:cubicBezTo>
                  <a:cubicBezTo>
                    <a:pt x="2443" y="463"/>
                    <a:pt x="2442" y="462"/>
                    <a:pt x="2442" y="461"/>
                  </a:cubicBezTo>
                  <a:cubicBezTo>
                    <a:pt x="2442" y="460"/>
                    <a:pt x="2443" y="459"/>
                    <a:pt x="2445" y="459"/>
                  </a:cubicBezTo>
                  <a:cubicBezTo>
                    <a:pt x="2446" y="459"/>
                    <a:pt x="2447" y="460"/>
                    <a:pt x="2448" y="461"/>
                  </a:cubicBezTo>
                  <a:cubicBezTo>
                    <a:pt x="2453" y="464"/>
                    <a:pt x="2460" y="464"/>
                    <a:pt x="2463" y="464"/>
                  </a:cubicBezTo>
                  <a:cubicBezTo>
                    <a:pt x="2465" y="464"/>
                    <a:pt x="2465" y="464"/>
                    <a:pt x="2465" y="464"/>
                  </a:cubicBezTo>
                  <a:cubicBezTo>
                    <a:pt x="2466" y="464"/>
                    <a:pt x="2466" y="464"/>
                    <a:pt x="2466" y="464"/>
                  </a:cubicBezTo>
                  <a:cubicBezTo>
                    <a:pt x="2466" y="463"/>
                    <a:pt x="2464" y="462"/>
                    <a:pt x="2461" y="461"/>
                  </a:cubicBezTo>
                  <a:cubicBezTo>
                    <a:pt x="2459" y="461"/>
                    <a:pt x="2459" y="460"/>
                    <a:pt x="2459" y="460"/>
                  </a:cubicBezTo>
                  <a:cubicBezTo>
                    <a:pt x="2459" y="459"/>
                    <a:pt x="2461" y="458"/>
                    <a:pt x="2462" y="458"/>
                  </a:cubicBezTo>
                  <a:cubicBezTo>
                    <a:pt x="2463" y="458"/>
                    <a:pt x="2464" y="458"/>
                    <a:pt x="2465" y="459"/>
                  </a:cubicBezTo>
                  <a:cubicBezTo>
                    <a:pt x="2466" y="460"/>
                    <a:pt x="2468" y="461"/>
                    <a:pt x="2470" y="461"/>
                  </a:cubicBezTo>
                  <a:cubicBezTo>
                    <a:pt x="2471" y="461"/>
                    <a:pt x="2472" y="461"/>
                    <a:pt x="2472" y="460"/>
                  </a:cubicBezTo>
                  <a:cubicBezTo>
                    <a:pt x="2472" y="457"/>
                    <a:pt x="2475" y="452"/>
                    <a:pt x="2480" y="452"/>
                  </a:cubicBezTo>
                  <a:cubicBezTo>
                    <a:pt x="2480" y="452"/>
                    <a:pt x="2480" y="452"/>
                    <a:pt x="2480" y="452"/>
                  </a:cubicBezTo>
                  <a:cubicBezTo>
                    <a:pt x="2480" y="452"/>
                    <a:pt x="2480" y="452"/>
                    <a:pt x="2480" y="452"/>
                  </a:cubicBezTo>
                  <a:cubicBezTo>
                    <a:pt x="2480" y="452"/>
                    <a:pt x="2480" y="452"/>
                    <a:pt x="2480" y="452"/>
                  </a:cubicBezTo>
                  <a:cubicBezTo>
                    <a:pt x="2482" y="452"/>
                    <a:pt x="2483" y="451"/>
                    <a:pt x="2484" y="451"/>
                  </a:cubicBezTo>
                  <a:cubicBezTo>
                    <a:pt x="2484" y="450"/>
                    <a:pt x="2483" y="449"/>
                    <a:pt x="2481" y="449"/>
                  </a:cubicBezTo>
                  <a:cubicBezTo>
                    <a:pt x="2477" y="447"/>
                    <a:pt x="2463" y="438"/>
                    <a:pt x="2460" y="433"/>
                  </a:cubicBezTo>
                  <a:cubicBezTo>
                    <a:pt x="2457" y="430"/>
                    <a:pt x="2448" y="428"/>
                    <a:pt x="2443" y="428"/>
                  </a:cubicBezTo>
                  <a:cubicBezTo>
                    <a:pt x="2441" y="428"/>
                    <a:pt x="2441" y="428"/>
                    <a:pt x="2441" y="428"/>
                  </a:cubicBezTo>
                  <a:cubicBezTo>
                    <a:pt x="2441" y="429"/>
                    <a:pt x="2440" y="430"/>
                    <a:pt x="2439" y="430"/>
                  </a:cubicBezTo>
                  <a:cubicBezTo>
                    <a:pt x="2437" y="430"/>
                    <a:pt x="2434" y="427"/>
                    <a:pt x="2433" y="425"/>
                  </a:cubicBezTo>
                  <a:cubicBezTo>
                    <a:pt x="2432" y="424"/>
                    <a:pt x="2428" y="423"/>
                    <a:pt x="2423" y="423"/>
                  </a:cubicBezTo>
                  <a:cubicBezTo>
                    <a:pt x="2417" y="423"/>
                    <a:pt x="2415" y="424"/>
                    <a:pt x="2415" y="425"/>
                  </a:cubicBezTo>
                  <a:cubicBezTo>
                    <a:pt x="2415" y="426"/>
                    <a:pt x="2416" y="427"/>
                    <a:pt x="2418" y="428"/>
                  </a:cubicBezTo>
                  <a:cubicBezTo>
                    <a:pt x="2419" y="429"/>
                    <a:pt x="2420" y="429"/>
                    <a:pt x="2421" y="431"/>
                  </a:cubicBezTo>
                  <a:cubicBezTo>
                    <a:pt x="2423" y="433"/>
                    <a:pt x="2422" y="435"/>
                    <a:pt x="2421" y="436"/>
                  </a:cubicBezTo>
                  <a:cubicBezTo>
                    <a:pt x="2420" y="438"/>
                    <a:pt x="2419" y="439"/>
                    <a:pt x="2419" y="440"/>
                  </a:cubicBezTo>
                  <a:cubicBezTo>
                    <a:pt x="2420" y="441"/>
                    <a:pt x="2420" y="442"/>
                    <a:pt x="2419" y="442"/>
                  </a:cubicBezTo>
                  <a:cubicBezTo>
                    <a:pt x="2419" y="442"/>
                    <a:pt x="2419" y="442"/>
                    <a:pt x="2418" y="442"/>
                  </a:cubicBezTo>
                  <a:cubicBezTo>
                    <a:pt x="2417" y="442"/>
                    <a:pt x="2414" y="441"/>
                    <a:pt x="2409" y="437"/>
                  </a:cubicBezTo>
                  <a:cubicBezTo>
                    <a:pt x="2407" y="435"/>
                    <a:pt x="2407" y="427"/>
                    <a:pt x="2409" y="422"/>
                  </a:cubicBezTo>
                  <a:cubicBezTo>
                    <a:pt x="2409" y="420"/>
                    <a:pt x="2408" y="419"/>
                    <a:pt x="2406" y="418"/>
                  </a:cubicBezTo>
                  <a:cubicBezTo>
                    <a:pt x="2405" y="417"/>
                    <a:pt x="2403" y="416"/>
                    <a:pt x="2403" y="414"/>
                  </a:cubicBezTo>
                  <a:cubicBezTo>
                    <a:pt x="2402" y="411"/>
                    <a:pt x="2389" y="404"/>
                    <a:pt x="2375" y="398"/>
                  </a:cubicBezTo>
                  <a:cubicBezTo>
                    <a:pt x="2373" y="397"/>
                    <a:pt x="2371" y="396"/>
                    <a:pt x="2369" y="395"/>
                  </a:cubicBezTo>
                  <a:cubicBezTo>
                    <a:pt x="2362" y="393"/>
                    <a:pt x="2356" y="390"/>
                    <a:pt x="2353" y="387"/>
                  </a:cubicBezTo>
                  <a:cubicBezTo>
                    <a:pt x="2352" y="385"/>
                    <a:pt x="2348" y="384"/>
                    <a:pt x="2344" y="383"/>
                  </a:cubicBezTo>
                  <a:cubicBezTo>
                    <a:pt x="2339" y="381"/>
                    <a:pt x="2333" y="380"/>
                    <a:pt x="2330" y="376"/>
                  </a:cubicBezTo>
                  <a:cubicBezTo>
                    <a:pt x="2325" y="371"/>
                    <a:pt x="2300" y="360"/>
                    <a:pt x="2290" y="360"/>
                  </a:cubicBezTo>
                  <a:cubicBezTo>
                    <a:pt x="2284" y="359"/>
                    <a:pt x="2282" y="357"/>
                    <a:pt x="2281" y="356"/>
                  </a:cubicBezTo>
                  <a:cubicBezTo>
                    <a:pt x="2279" y="355"/>
                    <a:pt x="2279" y="354"/>
                    <a:pt x="2277" y="354"/>
                  </a:cubicBezTo>
                  <a:cubicBezTo>
                    <a:pt x="2276" y="354"/>
                    <a:pt x="2273" y="355"/>
                    <a:pt x="2270" y="355"/>
                  </a:cubicBezTo>
                  <a:cubicBezTo>
                    <a:pt x="2261" y="355"/>
                    <a:pt x="2248" y="354"/>
                    <a:pt x="2243" y="353"/>
                  </a:cubicBezTo>
                  <a:cubicBezTo>
                    <a:pt x="2242" y="353"/>
                    <a:pt x="2241" y="353"/>
                    <a:pt x="2241" y="353"/>
                  </a:cubicBezTo>
                  <a:cubicBezTo>
                    <a:pt x="2238" y="353"/>
                    <a:pt x="2237" y="354"/>
                    <a:pt x="2235" y="354"/>
                  </a:cubicBezTo>
                  <a:cubicBezTo>
                    <a:pt x="2234" y="355"/>
                    <a:pt x="2233" y="356"/>
                    <a:pt x="2231" y="356"/>
                  </a:cubicBezTo>
                  <a:cubicBezTo>
                    <a:pt x="2231" y="356"/>
                    <a:pt x="2230" y="355"/>
                    <a:pt x="2229" y="355"/>
                  </a:cubicBezTo>
                  <a:cubicBezTo>
                    <a:pt x="2224" y="353"/>
                    <a:pt x="2206" y="347"/>
                    <a:pt x="2199" y="347"/>
                  </a:cubicBezTo>
                  <a:cubicBezTo>
                    <a:pt x="2197" y="347"/>
                    <a:pt x="2196" y="347"/>
                    <a:pt x="2196" y="347"/>
                  </a:cubicBezTo>
                  <a:cubicBezTo>
                    <a:pt x="2195" y="349"/>
                    <a:pt x="2194" y="351"/>
                    <a:pt x="2194" y="352"/>
                  </a:cubicBezTo>
                  <a:cubicBezTo>
                    <a:pt x="2193" y="354"/>
                    <a:pt x="2193" y="356"/>
                    <a:pt x="2191" y="357"/>
                  </a:cubicBezTo>
                  <a:cubicBezTo>
                    <a:pt x="2190" y="357"/>
                    <a:pt x="2190" y="357"/>
                    <a:pt x="2190" y="357"/>
                  </a:cubicBezTo>
                  <a:cubicBezTo>
                    <a:pt x="2190" y="358"/>
                    <a:pt x="2191" y="361"/>
                    <a:pt x="2198" y="367"/>
                  </a:cubicBezTo>
                  <a:cubicBezTo>
                    <a:pt x="2201" y="370"/>
                    <a:pt x="2203" y="373"/>
                    <a:pt x="2202" y="375"/>
                  </a:cubicBezTo>
                  <a:cubicBezTo>
                    <a:pt x="2202" y="379"/>
                    <a:pt x="2198" y="381"/>
                    <a:pt x="2195" y="382"/>
                  </a:cubicBezTo>
                  <a:cubicBezTo>
                    <a:pt x="2193" y="383"/>
                    <a:pt x="2192" y="383"/>
                    <a:pt x="2190" y="383"/>
                  </a:cubicBezTo>
                  <a:cubicBezTo>
                    <a:pt x="2184" y="383"/>
                    <a:pt x="2177" y="379"/>
                    <a:pt x="2174" y="375"/>
                  </a:cubicBezTo>
                  <a:cubicBezTo>
                    <a:pt x="2173" y="373"/>
                    <a:pt x="2170" y="372"/>
                    <a:pt x="2168" y="371"/>
                  </a:cubicBezTo>
                  <a:cubicBezTo>
                    <a:pt x="2164" y="370"/>
                    <a:pt x="2161" y="369"/>
                    <a:pt x="2160" y="365"/>
                  </a:cubicBezTo>
                  <a:cubicBezTo>
                    <a:pt x="2159" y="362"/>
                    <a:pt x="2159" y="361"/>
                    <a:pt x="2160" y="360"/>
                  </a:cubicBezTo>
                  <a:cubicBezTo>
                    <a:pt x="2160" y="359"/>
                    <a:pt x="2161" y="359"/>
                    <a:pt x="2162" y="359"/>
                  </a:cubicBezTo>
                  <a:cubicBezTo>
                    <a:pt x="2164" y="359"/>
                    <a:pt x="2166" y="359"/>
                    <a:pt x="2167" y="361"/>
                  </a:cubicBezTo>
                  <a:cubicBezTo>
                    <a:pt x="2169" y="362"/>
                    <a:pt x="2170" y="362"/>
                    <a:pt x="2171" y="362"/>
                  </a:cubicBezTo>
                  <a:cubicBezTo>
                    <a:pt x="2174" y="362"/>
                    <a:pt x="2177" y="360"/>
                    <a:pt x="2177" y="357"/>
                  </a:cubicBezTo>
                  <a:cubicBezTo>
                    <a:pt x="2177" y="356"/>
                    <a:pt x="2177" y="356"/>
                    <a:pt x="2177" y="355"/>
                  </a:cubicBezTo>
                  <a:cubicBezTo>
                    <a:pt x="2174" y="352"/>
                    <a:pt x="2165" y="350"/>
                    <a:pt x="2160" y="350"/>
                  </a:cubicBezTo>
                  <a:cubicBezTo>
                    <a:pt x="2156" y="350"/>
                    <a:pt x="2153" y="353"/>
                    <a:pt x="2150" y="357"/>
                  </a:cubicBezTo>
                  <a:cubicBezTo>
                    <a:pt x="2148" y="359"/>
                    <a:pt x="2146" y="362"/>
                    <a:pt x="2143" y="364"/>
                  </a:cubicBezTo>
                  <a:cubicBezTo>
                    <a:pt x="2141" y="365"/>
                    <a:pt x="2138" y="365"/>
                    <a:pt x="2134" y="365"/>
                  </a:cubicBezTo>
                  <a:cubicBezTo>
                    <a:pt x="2124" y="365"/>
                    <a:pt x="2108" y="362"/>
                    <a:pt x="2106" y="359"/>
                  </a:cubicBezTo>
                  <a:cubicBezTo>
                    <a:pt x="2105" y="359"/>
                    <a:pt x="2104" y="359"/>
                    <a:pt x="2096" y="359"/>
                  </a:cubicBezTo>
                  <a:cubicBezTo>
                    <a:pt x="2083" y="359"/>
                    <a:pt x="2065" y="360"/>
                    <a:pt x="2062" y="362"/>
                  </a:cubicBezTo>
                  <a:cubicBezTo>
                    <a:pt x="2060" y="363"/>
                    <a:pt x="2060" y="367"/>
                    <a:pt x="2060" y="371"/>
                  </a:cubicBezTo>
                  <a:cubicBezTo>
                    <a:pt x="2060" y="373"/>
                    <a:pt x="2060" y="375"/>
                    <a:pt x="2059" y="376"/>
                  </a:cubicBezTo>
                  <a:cubicBezTo>
                    <a:pt x="2059" y="376"/>
                    <a:pt x="2059" y="376"/>
                    <a:pt x="2059" y="376"/>
                  </a:cubicBezTo>
                  <a:cubicBezTo>
                    <a:pt x="2058" y="376"/>
                    <a:pt x="2057" y="376"/>
                    <a:pt x="2056" y="369"/>
                  </a:cubicBezTo>
                  <a:cubicBezTo>
                    <a:pt x="2055" y="366"/>
                    <a:pt x="2055" y="362"/>
                    <a:pt x="2055" y="361"/>
                  </a:cubicBezTo>
                  <a:cubicBezTo>
                    <a:pt x="2055" y="360"/>
                    <a:pt x="2051" y="358"/>
                    <a:pt x="2044" y="358"/>
                  </a:cubicBezTo>
                  <a:cubicBezTo>
                    <a:pt x="2038" y="358"/>
                    <a:pt x="2036" y="357"/>
                    <a:pt x="2035" y="356"/>
                  </a:cubicBezTo>
                  <a:cubicBezTo>
                    <a:pt x="2035" y="355"/>
                    <a:pt x="2035" y="354"/>
                    <a:pt x="2036" y="354"/>
                  </a:cubicBezTo>
                  <a:cubicBezTo>
                    <a:pt x="2037" y="353"/>
                    <a:pt x="2037" y="352"/>
                    <a:pt x="2036" y="351"/>
                  </a:cubicBezTo>
                  <a:cubicBezTo>
                    <a:pt x="2036" y="349"/>
                    <a:pt x="2035" y="347"/>
                    <a:pt x="2039" y="345"/>
                  </a:cubicBezTo>
                  <a:cubicBezTo>
                    <a:pt x="2039" y="344"/>
                    <a:pt x="2040" y="343"/>
                    <a:pt x="2039" y="343"/>
                  </a:cubicBezTo>
                  <a:cubicBezTo>
                    <a:pt x="2039" y="338"/>
                    <a:pt x="2027" y="329"/>
                    <a:pt x="2015" y="325"/>
                  </a:cubicBezTo>
                  <a:cubicBezTo>
                    <a:pt x="2010" y="323"/>
                    <a:pt x="2002" y="322"/>
                    <a:pt x="1992" y="322"/>
                  </a:cubicBezTo>
                  <a:cubicBezTo>
                    <a:pt x="1979" y="322"/>
                    <a:pt x="1966" y="323"/>
                    <a:pt x="1960" y="325"/>
                  </a:cubicBezTo>
                  <a:cubicBezTo>
                    <a:pt x="1955" y="327"/>
                    <a:pt x="1945" y="327"/>
                    <a:pt x="1937" y="327"/>
                  </a:cubicBezTo>
                  <a:cubicBezTo>
                    <a:pt x="1936" y="327"/>
                    <a:pt x="1934" y="327"/>
                    <a:pt x="1933" y="327"/>
                  </a:cubicBezTo>
                  <a:cubicBezTo>
                    <a:pt x="1930" y="327"/>
                    <a:pt x="1930" y="327"/>
                    <a:pt x="1930" y="327"/>
                  </a:cubicBezTo>
                  <a:cubicBezTo>
                    <a:pt x="1929" y="327"/>
                    <a:pt x="1927" y="327"/>
                    <a:pt x="1926" y="327"/>
                  </a:cubicBezTo>
                  <a:cubicBezTo>
                    <a:pt x="1924" y="327"/>
                    <a:pt x="1922" y="327"/>
                    <a:pt x="1922" y="326"/>
                  </a:cubicBezTo>
                  <a:cubicBezTo>
                    <a:pt x="1921" y="325"/>
                    <a:pt x="1922" y="324"/>
                    <a:pt x="1922" y="323"/>
                  </a:cubicBezTo>
                  <a:cubicBezTo>
                    <a:pt x="1922" y="322"/>
                    <a:pt x="1923" y="321"/>
                    <a:pt x="1922" y="320"/>
                  </a:cubicBezTo>
                  <a:cubicBezTo>
                    <a:pt x="1920" y="317"/>
                    <a:pt x="1912" y="313"/>
                    <a:pt x="1907" y="313"/>
                  </a:cubicBezTo>
                  <a:cubicBezTo>
                    <a:pt x="1906" y="313"/>
                    <a:pt x="1905" y="314"/>
                    <a:pt x="1904" y="314"/>
                  </a:cubicBezTo>
                  <a:cubicBezTo>
                    <a:pt x="1904" y="316"/>
                    <a:pt x="1903" y="316"/>
                    <a:pt x="1902" y="316"/>
                  </a:cubicBezTo>
                  <a:cubicBezTo>
                    <a:pt x="1901" y="316"/>
                    <a:pt x="1900" y="315"/>
                    <a:pt x="1899" y="314"/>
                  </a:cubicBezTo>
                  <a:cubicBezTo>
                    <a:pt x="1898" y="314"/>
                    <a:pt x="1898" y="312"/>
                    <a:pt x="1898" y="312"/>
                  </a:cubicBezTo>
                  <a:cubicBezTo>
                    <a:pt x="1898" y="310"/>
                    <a:pt x="1888" y="306"/>
                    <a:pt x="1882" y="306"/>
                  </a:cubicBezTo>
                  <a:cubicBezTo>
                    <a:pt x="1881" y="306"/>
                    <a:pt x="1881" y="306"/>
                    <a:pt x="1880" y="306"/>
                  </a:cubicBezTo>
                  <a:cubicBezTo>
                    <a:pt x="1878" y="307"/>
                    <a:pt x="1876" y="306"/>
                    <a:pt x="1875" y="304"/>
                  </a:cubicBezTo>
                  <a:cubicBezTo>
                    <a:pt x="1875" y="303"/>
                    <a:pt x="1875" y="303"/>
                    <a:pt x="1875" y="302"/>
                  </a:cubicBezTo>
                  <a:cubicBezTo>
                    <a:pt x="1875" y="301"/>
                    <a:pt x="1876" y="300"/>
                    <a:pt x="1879" y="300"/>
                  </a:cubicBezTo>
                  <a:cubicBezTo>
                    <a:pt x="1879" y="300"/>
                    <a:pt x="1880" y="300"/>
                    <a:pt x="1881" y="300"/>
                  </a:cubicBezTo>
                  <a:cubicBezTo>
                    <a:pt x="1882" y="300"/>
                    <a:pt x="1883" y="300"/>
                    <a:pt x="1884" y="300"/>
                  </a:cubicBezTo>
                  <a:cubicBezTo>
                    <a:pt x="1887" y="300"/>
                    <a:pt x="1890" y="300"/>
                    <a:pt x="1891" y="299"/>
                  </a:cubicBezTo>
                  <a:cubicBezTo>
                    <a:pt x="1891" y="298"/>
                    <a:pt x="1891" y="297"/>
                    <a:pt x="1890" y="296"/>
                  </a:cubicBezTo>
                  <a:cubicBezTo>
                    <a:pt x="1887" y="290"/>
                    <a:pt x="1861" y="288"/>
                    <a:pt x="1849" y="288"/>
                  </a:cubicBezTo>
                  <a:cubicBezTo>
                    <a:pt x="1845" y="288"/>
                    <a:pt x="1844" y="288"/>
                    <a:pt x="1844" y="288"/>
                  </a:cubicBezTo>
                  <a:cubicBezTo>
                    <a:pt x="1843" y="288"/>
                    <a:pt x="1842" y="289"/>
                    <a:pt x="1842" y="291"/>
                  </a:cubicBezTo>
                  <a:cubicBezTo>
                    <a:pt x="1841" y="294"/>
                    <a:pt x="1840" y="297"/>
                    <a:pt x="1835" y="302"/>
                  </a:cubicBezTo>
                  <a:cubicBezTo>
                    <a:pt x="1832" y="306"/>
                    <a:pt x="1828" y="306"/>
                    <a:pt x="1826" y="306"/>
                  </a:cubicBezTo>
                  <a:cubicBezTo>
                    <a:pt x="1824" y="306"/>
                    <a:pt x="1821" y="305"/>
                    <a:pt x="1820" y="304"/>
                  </a:cubicBezTo>
                  <a:cubicBezTo>
                    <a:pt x="1819" y="302"/>
                    <a:pt x="1819" y="301"/>
                    <a:pt x="1819" y="300"/>
                  </a:cubicBezTo>
                  <a:cubicBezTo>
                    <a:pt x="1820" y="298"/>
                    <a:pt x="1823" y="297"/>
                    <a:pt x="1825" y="296"/>
                  </a:cubicBezTo>
                  <a:cubicBezTo>
                    <a:pt x="1828" y="296"/>
                    <a:pt x="1830" y="295"/>
                    <a:pt x="1830" y="293"/>
                  </a:cubicBezTo>
                  <a:cubicBezTo>
                    <a:pt x="1830" y="292"/>
                    <a:pt x="1826" y="291"/>
                    <a:pt x="1823" y="291"/>
                  </a:cubicBezTo>
                  <a:cubicBezTo>
                    <a:pt x="1819" y="291"/>
                    <a:pt x="1815" y="290"/>
                    <a:pt x="1814" y="289"/>
                  </a:cubicBezTo>
                  <a:cubicBezTo>
                    <a:pt x="1813" y="287"/>
                    <a:pt x="1814" y="286"/>
                    <a:pt x="1814" y="286"/>
                  </a:cubicBezTo>
                  <a:cubicBezTo>
                    <a:pt x="1815" y="284"/>
                    <a:pt x="1817" y="283"/>
                    <a:pt x="1819" y="283"/>
                  </a:cubicBezTo>
                  <a:cubicBezTo>
                    <a:pt x="1821" y="283"/>
                    <a:pt x="1822" y="284"/>
                    <a:pt x="1823" y="284"/>
                  </a:cubicBezTo>
                  <a:cubicBezTo>
                    <a:pt x="1826" y="285"/>
                    <a:pt x="1830" y="285"/>
                    <a:pt x="1833" y="285"/>
                  </a:cubicBezTo>
                  <a:cubicBezTo>
                    <a:pt x="1836" y="285"/>
                    <a:pt x="1837" y="285"/>
                    <a:pt x="1837" y="284"/>
                  </a:cubicBezTo>
                  <a:cubicBezTo>
                    <a:pt x="1837" y="284"/>
                    <a:pt x="1837" y="284"/>
                    <a:pt x="1837" y="284"/>
                  </a:cubicBezTo>
                  <a:cubicBezTo>
                    <a:pt x="1836" y="283"/>
                    <a:pt x="1832" y="282"/>
                    <a:pt x="1828" y="281"/>
                  </a:cubicBezTo>
                  <a:cubicBezTo>
                    <a:pt x="1826" y="281"/>
                    <a:pt x="1825" y="281"/>
                    <a:pt x="1823" y="281"/>
                  </a:cubicBezTo>
                  <a:cubicBezTo>
                    <a:pt x="1822" y="280"/>
                    <a:pt x="1819" y="280"/>
                    <a:pt x="1817" y="279"/>
                  </a:cubicBezTo>
                  <a:cubicBezTo>
                    <a:pt x="1808" y="278"/>
                    <a:pt x="1795" y="275"/>
                    <a:pt x="1786" y="275"/>
                  </a:cubicBezTo>
                  <a:cubicBezTo>
                    <a:pt x="1785" y="275"/>
                    <a:pt x="1784" y="275"/>
                    <a:pt x="1783" y="275"/>
                  </a:cubicBezTo>
                  <a:cubicBezTo>
                    <a:pt x="1782" y="275"/>
                    <a:pt x="1781" y="275"/>
                    <a:pt x="1780" y="275"/>
                  </a:cubicBezTo>
                  <a:cubicBezTo>
                    <a:pt x="1775" y="275"/>
                    <a:pt x="1771" y="274"/>
                    <a:pt x="1768" y="273"/>
                  </a:cubicBezTo>
                  <a:cubicBezTo>
                    <a:pt x="1765" y="272"/>
                    <a:pt x="1763" y="271"/>
                    <a:pt x="1761" y="271"/>
                  </a:cubicBezTo>
                  <a:cubicBezTo>
                    <a:pt x="1760" y="271"/>
                    <a:pt x="1760" y="271"/>
                    <a:pt x="1760" y="271"/>
                  </a:cubicBezTo>
                  <a:cubicBezTo>
                    <a:pt x="1759" y="271"/>
                    <a:pt x="1757" y="271"/>
                    <a:pt x="1757" y="272"/>
                  </a:cubicBezTo>
                  <a:cubicBezTo>
                    <a:pt x="1756" y="273"/>
                    <a:pt x="1757" y="275"/>
                    <a:pt x="1758" y="277"/>
                  </a:cubicBezTo>
                  <a:cubicBezTo>
                    <a:pt x="1759" y="278"/>
                    <a:pt x="1759" y="279"/>
                    <a:pt x="1759" y="279"/>
                  </a:cubicBezTo>
                  <a:cubicBezTo>
                    <a:pt x="1758" y="281"/>
                    <a:pt x="1753" y="282"/>
                    <a:pt x="1749" y="282"/>
                  </a:cubicBezTo>
                  <a:cubicBezTo>
                    <a:pt x="1747" y="282"/>
                    <a:pt x="1746" y="282"/>
                    <a:pt x="1745" y="282"/>
                  </a:cubicBezTo>
                  <a:cubicBezTo>
                    <a:pt x="1744" y="282"/>
                    <a:pt x="1744" y="282"/>
                    <a:pt x="1743" y="282"/>
                  </a:cubicBezTo>
                  <a:cubicBezTo>
                    <a:pt x="1738" y="282"/>
                    <a:pt x="1733" y="284"/>
                    <a:pt x="1731" y="287"/>
                  </a:cubicBezTo>
                  <a:cubicBezTo>
                    <a:pt x="1731" y="288"/>
                    <a:pt x="1731" y="289"/>
                    <a:pt x="1732" y="290"/>
                  </a:cubicBezTo>
                  <a:cubicBezTo>
                    <a:pt x="1733" y="291"/>
                    <a:pt x="1734" y="292"/>
                    <a:pt x="1735" y="292"/>
                  </a:cubicBezTo>
                  <a:cubicBezTo>
                    <a:pt x="1736" y="292"/>
                    <a:pt x="1737" y="291"/>
                    <a:pt x="1739" y="291"/>
                  </a:cubicBezTo>
                  <a:cubicBezTo>
                    <a:pt x="1740" y="290"/>
                    <a:pt x="1741" y="290"/>
                    <a:pt x="1742" y="290"/>
                  </a:cubicBezTo>
                  <a:cubicBezTo>
                    <a:pt x="1743" y="290"/>
                    <a:pt x="1743" y="290"/>
                    <a:pt x="1743" y="290"/>
                  </a:cubicBezTo>
                  <a:cubicBezTo>
                    <a:pt x="1744" y="291"/>
                    <a:pt x="1744" y="291"/>
                    <a:pt x="1744" y="291"/>
                  </a:cubicBezTo>
                  <a:cubicBezTo>
                    <a:pt x="1744" y="292"/>
                    <a:pt x="1743" y="293"/>
                    <a:pt x="1741" y="294"/>
                  </a:cubicBezTo>
                  <a:cubicBezTo>
                    <a:pt x="1740" y="295"/>
                    <a:pt x="1739" y="296"/>
                    <a:pt x="1739" y="297"/>
                  </a:cubicBezTo>
                  <a:cubicBezTo>
                    <a:pt x="1739" y="297"/>
                    <a:pt x="1739" y="298"/>
                    <a:pt x="1740" y="298"/>
                  </a:cubicBezTo>
                  <a:cubicBezTo>
                    <a:pt x="1744" y="300"/>
                    <a:pt x="1744" y="304"/>
                    <a:pt x="1744" y="307"/>
                  </a:cubicBezTo>
                  <a:cubicBezTo>
                    <a:pt x="1744" y="308"/>
                    <a:pt x="1744" y="308"/>
                    <a:pt x="1744" y="308"/>
                  </a:cubicBezTo>
                  <a:cubicBezTo>
                    <a:pt x="1744" y="309"/>
                    <a:pt x="1744" y="309"/>
                    <a:pt x="1744" y="310"/>
                  </a:cubicBezTo>
                  <a:cubicBezTo>
                    <a:pt x="1743" y="311"/>
                    <a:pt x="1741" y="311"/>
                    <a:pt x="1738" y="311"/>
                  </a:cubicBezTo>
                  <a:cubicBezTo>
                    <a:pt x="1736" y="311"/>
                    <a:pt x="1733" y="310"/>
                    <a:pt x="1732" y="309"/>
                  </a:cubicBezTo>
                  <a:cubicBezTo>
                    <a:pt x="1731" y="308"/>
                    <a:pt x="1730" y="307"/>
                    <a:pt x="1728" y="307"/>
                  </a:cubicBezTo>
                  <a:cubicBezTo>
                    <a:pt x="1727" y="307"/>
                    <a:pt x="1726" y="307"/>
                    <a:pt x="1724" y="307"/>
                  </a:cubicBezTo>
                  <a:cubicBezTo>
                    <a:pt x="1723" y="308"/>
                    <a:pt x="1721" y="308"/>
                    <a:pt x="1718" y="308"/>
                  </a:cubicBezTo>
                  <a:cubicBezTo>
                    <a:pt x="1717" y="308"/>
                    <a:pt x="1717" y="308"/>
                    <a:pt x="1717" y="308"/>
                  </a:cubicBezTo>
                  <a:cubicBezTo>
                    <a:pt x="1713" y="308"/>
                    <a:pt x="1712" y="309"/>
                    <a:pt x="1712" y="309"/>
                  </a:cubicBezTo>
                  <a:cubicBezTo>
                    <a:pt x="1712" y="309"/>
                    <a:pt x="1712" y="310"/>
                    <a:pt x="1714" y="310"/>
                  </a:cubicBezTo>
                  <a:cubicBezTo>
                    <a:pt x="1718" y="311"/>
                    <a:pt x="1720" y="312"/>
                    <a:pt x="1720" y="314"/>
                  </a:cubicBezTo>
                  <a:cubicBezTo>
                    <a:pt x="1720" y="315"/>
                    <a:pt x="1720" y="316"/>
                    <a:pt x="1714" y="317"/>
                  </a:cubicBezTo>
                  <a:cubicBezTo>
                    <a:pt x="1709" y="318"/>
                    <a:pt x="1708" y="315"/>
                    <a:pt x="1706" y="313"/>
                  </a:cubicBezTo>
                  <a:cubicBezTo>
                    <a:pt x="1705" y="311"/>
                    <a:pt x="1704" y="310"/>
                    <a:pt x="1703" y="310"/>
                  </a:cubicBezTo>
                  <a:cubicBezTo>
                    <a:pt x="1700" y="311"/>
                    <a:pt x="1695" y="309"/>
                    <a:pt x="1691" y="308"/>
                  </a:cubicBezTo>
                  <a:cubicBezTo>
                    <a:pt x="1687" y="307"/>
                    <a:pt x="1683" y="306"/>
                    <a:pt x="1680" y="306"/>
                  </a:cubicBezTo>
                  <a:cubicBezTo>
                    <a:pt x="1677" y="306"/>
                    <a:pt x="1675" y="307"/>
                    <a:pt x="1673" y="309"/>
                  </a:cubicBezTo>
                  <a:cubicBezTo>
                    <a:pt x="1671" y="310"/>
                    <a:pt x="1668" y="312"/>
                    <a:pt x="1663" y="312"/>
                  </a:cubicBezTo>
                  <a:cubicBezTo>
                    <a:pt x="1655" y="313"/>
                    <a:pt x="1644" y="308"/>
                    <a:pt x="1641" y="303"/>
                  </a:cubicBezTo>
                  <a:cubicBezTo>
                    <a:pt x="1639" y="301"/>
                    <a:pt x="1638" y="300"/>
                    <a:pt x="1637" y="300"/>
                  </a:cubicBezTo>
                  <a:cubicBezTo>
                    <a:pt x="1636" y="300"/>
                    <a:pt x="1635" y="301"/>
                    <a:pt x="1634" y="303"/>
                  </a:cubicBezTo>
                  <a:cubicBezTo>
                    <a:pt x="1632" y="305"/>
                    <a:pt x="1631" y="308"/>
                    <a:pt x="1630" y="310"/>
                  </a:cubicBezTo>
                  <a:cubicBezTo>
                    <a:pt x="1629" y="314"/>
                    <a:pt x="1628" y="317"/>
                    <a:pt x="1625" y="318"/>
                  </a:cubicBezTo>
                  <a:cubicBezTo>
                    <a:pt x="1624" y="318"/>
                    <a:pt x="1622" y="321"/>
                    <a:pt x="1621" y="323"/>
                  </a:cubicBezTo>
                  <a:cubicBezTo>
                    <a:pt x="1620" y="325"/>
                    <a:pt x="1618" y="328"/>
                    <a:pt x="1616" y="329"/>
                  </a:cubicBezTo>
                  <a:cubicBezTo>
                    <a:pt x="1616" y="329"/>
                    <a:pt x="1615" y="330"/>
                    <a:pt x="1614" y="330"/>
                  </a:cubicBezTo>
                  <a:cubicBezTo>
                    <a:pt x="1613" y="330"/>
                    <a:pt x="1612" y="329"/>
                    <a:pt x="1612" y="328"/>
                  </a:cubicBezTo>
                  <a:cubicBezTo>
                    <a:pt x="1610" y="327"/>
                    <a:pt x="1609" y="326"/>
                    <a:pt x="1607" y="326"/>
                  </a:cubicBezTo>
                  <a:cubicBezTo>
                    <a:pt x="1607" y="326"/>
                    <a:pt x="1607" y="326"/>
                    <a:pt x="1607" y="326"/>
                  </a:cubicBezTo>
                  <a:cubicBezTo>
                    <a:pt x="1601" y="326"/>
                    <a:pt x="1586" y="311"/>
                    <a:pt x="1585" y="306"/>
                  </a:cubicBezTo>
                  <a:cubicBezTo>
                    <a:pt x="1584" y="302"/>
                    <a:pt x="1575" y="294"/>
                    <a:pt x="1572" y="292"/>
                  </a:cubicBezTo>
                  <a:cubicBezTo>
                    <a:pt x="1571" y="291"/>
                    <a:pt x="1571" y="291"/>
                    <a:pt x="1571" y="290"/>
                  </a:cubicBezTo>
                  <a:cubicBezTo>
                    <a:pt x="1571" y="290"/>
                    <a:pt x="1572" y="289"/>
                    <a:pt x="1573" y="289"/>
                  </a:cubicBezTo>
                  <a:cubicBezTo>
                    <a:pt x="1574" y="289"/>
                    <a:pt x="1577" y="290"/>
                    <a:pt x="1578" y="291"/>
                  </a:cubicBezTo>
                  <a:cubicBezTo>
                    <a:pt x="1580" y="293"/>
                    <a:pt x="1582" y="293"/>
                    <a:pt x="1584" y="293"/>
                  </a:cubicBezTo>
                  <a:cubicBezTo>
                    <a:pt x="1585" y="293"/>
                    <a:pt x="1587" y="293"/>
                    <a:pt x="1588" y="292"/>
                  </a:cubicBezTo>
                  <a:cubicBezTo>
                    <a:pt x="1590" y="291"/>
                    <a:pt x="1590" y="289"/>
                    <a:pt x="1590" y="287"/>
                  </a:cubicBezTo>
                  <a:cubicBezTo>
                    <a:pt x="1589" y="286"/>
                    <a:pt x="1589" y="283"/>
                    <a:pt x="1586" y="283"/>
                  </a:cubicBezTo>
                  <a:cubicBezTo>
                    <a:pt x="1582" y="283"/>
                    <a:pt x="1582" y="282"/>
                    <a:pt x="1582" y="281"/>
                  </a:cubicBezTo>
                  <a:cubicBezTo>
                    <a:pt x="1581" y="279"/>
                    <a:pt x="1583" y="277"/>
                    <a:pt x="1585" y="276"/>
                  </a:cubicBezTo>
                  <a:cubicBezTo>
                    <a:pt x="1585" y="276"/>
                    <a:pt x="1585" y="276"/>
                    <a:pt x="1585" y="276"/>
                  </a:cubicBezTo>
                  <a:cubicBezTo>
                    <a:pt x="1585" y="276"/>
                    <a:pt x="1584" y="274"/>
                    <a:pt x="1583" y="272"/>
                  </a:cubicBezTo>
                  <a:cubicBezTo>
                    <a:pt x="1582" y="270"/>
                    <a:pt x="1580" y="268"/>
                    <a:pt x="1581" y="267"/>
                  </a:cubicBezTo>
                  <a:cubicBezTo>
                    <a:pt x="1581" y="267"/>
                    <a:pt x="1581" y="267"/>
                    <a:pt x="1582" y="266"/>
                  </a:cubicBezTo>
                  <a:cubicBezTo>
                    <a:pt x="1583" y="266"/>
                    <a:pt x="1583" y="266"/>
                    <a:pt x="1583" y="265"/>
                  </a:cubicBezTo>
                  <a:cubicBezTo>
                    <a:pt x="1583" y="264"/>
                    <a:pt x="1582" y="263"/>
                    <a:pt x="1579" y="262"/>
                  </a:cubicBezTo>
                  <a:cubicBezTo>
                    <a:pt x="1574" y="261"/>
                    <a:pt x="1569" y="257"/>
                    <a:pt x="1569" y="255"/>
                  </a:cubicBezTo>
                  <a:cubicBezTo>
                    <a:pt x="1568" y="254"/>
                    <a:pt x="1564" y="253"/>
                    <a:pt x="1558" y="253"/>
                  </a:cubicBezTo>
                  <a:cubicBezTo>
                    <a:pt x="1553" y="253"/>
                    <a:pt x="1551" y="254"/>
                    <a:pt x="1550" y="255"/>
                  </a:cubicBezTo>
                  <a:cubicBezTo>
                    <a:pt x="1550" y="255"/>
                    <a:pt x="1550" y="255"/>
                    <a:pt x="1550" y="255"/>
                  </a:cubicBezTo>
                  <a:cubicBezTo>
                    <a:pt x="1551" y="256"/>
                    <a:pt x="1550" y="256"/>
                    <a:pt x="1550" y="257"/>
                  </a:cubicBezTo>
                  <a:cubicBezTo>
                    <a:pt x="1550" y="257"/>
                    <a:pt x="1549" y="258"/>
                    <a:pt x="1548" y="258"/>
                  </a:cubicBezTo>
                  <a:cubicBezTo>
                    <a:pt x="1546" y="258"/>
                    <a:pt x="1545" y="257"/>
                    <a:pt x="1544" y="256"/>
                  </a:cubicBezTo>
                  <a:cubicBezTo>
                    <a:pt x="1544" y="256"/>
                    <a:pt x="1544" y="255"/>
                    <a:pt x="1544" y="254"/>
                  </a:cubicBezTo>
                  <a:cubicBezTo>
                    <a:pt x="1544" y="254"/>
                    <a:pt x="1544" y="254"/>
                    <a:pt x="1544" y="254"/>
                  </a:cubicBezTo>
                  <a:cubicBezTo>
                    <a:pt x="1544" y="253"/>
                    <a:pt x="1541" y="253"/>
                    <a:pt x="1538" y="252"/>
                  </a:cubicBezTo>
                  <a:cubicBezTo>
                    <a:pt x="1535" y="252"/>
                    <a:pt x="1532" y="252"/>
                    <a:pt x="1528" y="251"/>
                  </a:cubicBezTo>
                  <a:cubicBezTo>
                    <a:pt x="1522" y="249"/>
                    <a:pt x="1519" y="246"/>
                    <a:pt x="1518" y="243"/>
                  </a:cubicBezTo>
                  <a:cubicBezTo>
                    <a:pt x="1517" y="242"/>
                    <a:pt x="1516" y="241"/>
                    <a:pt x="1515" y="241"/>
                  </a:cubicBezTo>
                  <a:cubicBezTo>
                    <a:pt x="1515" y="241"/>
                    <a:pt x="1515" y="241"/>
                    <a:pt x="1515" y="241"/>
                  </a:cubicBezTo>
                  <a:cubicBezTo>
                    <a:pt x="1514" y="241"/>
                    <a:pt x="1513" y="242"/>
                    <a:pt x="1513" y="244"/>
                  </a:cubicBezTo>
                  <a:cubicBezTo>
                    <a:pt x="1512" y="246"/>
                    <a:pt x="1511" y="248"/>
                    <a:pt x="1509" y="248"/>
                  </a:cubicBezTo>
                  <a:cubicBezTo>
                    <a:pt x="1508" y="248"/>
                    <a:pt x="1508" y="248"/>
                    <a:pt x="1508" y="248"/>
                  </a:cubicBezTo>
                  <a:cubicBezTo>
                    <a:pt x="1505" y="247"/>
                    <a:pt x="1503" y="248"/>
                    <a:pt x="1501" y="250"/>
                  </a:cubicBezTo>
                  <a:cubicBezTo>
                    <a:pt x="1500" y="251"/>
                    <a:pt x="1500" y="253"/>
                    <a:pt x="1501" y="255"/>
                  </a:cubicBezTo>
                  <a:cubicBezTo>
                    <a:pt x="1503" y="259"/>
                    <a:pt x="1503" y="261"/>
                    <a:pt x="1502" y="263"/>
                  </a:cubicBezTo>
                  <a:cubicBezTo>
                    <a:pt x="1502" y="264"/>
                    <a:pt x="1501" y="265"/>
                    <a:pt x="1501" y="266"/>
                  </a:cubicBezTo>
                  <a:cubicBezTo>
                    <a:pt x="1501" y="268"/>
                    <a:pt x="1501" y="269"/>
                    <a:pt x="1499" y="269"/>
                  </a:cubicBezTo>
                  <a:cubicBezTo>
                    <a:pt x="1498" y="269"/>
                    <a:pt x="1496" y="269"/>
                    <a:pt x="1494" y="268"/>
                  </a:cubicBezTo>
                  <a:cubicBezTo>
                    <a:pt x="1494" y="268"/>
                    <a:pt x="1493" y="267"/>
                    <a:pt x="1492" y="267"/>
                  </a:cubicBezTo>
                  <a:cubicBezTo>
                    <a:pt x="1491" y="267"/>
                    <a:pt x="1491" y="267"/>
                    <a:pt x="1490" y="267"/>
                  </a:cubicBezTo>
                  <a:cubicBezTo>
                    <a:pt x="1489" y="267"/>
                    <a:pt x="1488" y="267"/>
                    <a:pt x="1487" y="268"/>
                  </a:cubicBezTo>
                  <a:cubicBezTo>
                    <a:pt x="1485" y="269"/>
                    <a:pt x="1483" y="270"/>
                    <a:pt x="1480" y="270"/>
                  </a:cubicBezTo>
                  <a:cubicBezTo>
                    <a:pt x="1478" y="270"/>
                    <a:pt x="1476" y="269"/>
                    <a:pt x="1474" y="269"/>
                  </a:cubicBezTo>
                  <a:cubicBezTo>
                    <a:pt x="1469" y="267"/>
                    <a:pt x="1465" y="267"/>
                    <a:pt x="1462" y="267"/>
                  </a:cubicBezTo>
                  <a:cubicBezTo>
                    <a:pt x="1458" y="267"/>
                    <a:pt x="1456" y="267"/>
                    <a:pt x="1454" y="265"/>
                  </a:cubicBezTo>
                  <a:cubicBezTo>
                    <a:pt x="1453" y="263"/>
                    <a:pt x="1452" y="262"/>
                    <a:pt x="1451" y="262"/>
                  </a:cubicBezTo>
                  <a:cubicBezTo>
                    <a:pt x="1450" y="262"/>
                    <a:pt x="1449" y="263"/>
                    <a:pt x="1449" y="264"/>
                  </a:cubicBezTo>
                  <a:cubicBezTo>
                    <a:pt x="1449" y="266"/>
                    <a:pt x="1445" y="266"/>
                    <a:pt x="1442" y="266"/>
                  </a:cubicBezTo>
                  <a:cubicBezTo>
                    <a:pt x="1437" y="266"/>
                    <a:pt x="1429" y="264"/>
                    <a:pt x="1428" y="261"/>
                  </a:cubicBezTo>
                  <a:cubicBezTo>
                    <a:pt x="1426" y="257"/>
                    <a:pt x="1430" y="255"/>
                    <a:pt x="1433" y="254"/>
                  </a:cubicBezTo>
                  <a:cubicBezTo>
                    <a:pt x="1433" y="254"/>
                    <a:pt x="1434" y="254"/>
                    <a:pt x="1434" y="253"/>
                  </a:cubicBezTo>
                  <a:cubicBezTo>
                    <a:pt x="1434" y="253"/>
                    <a:pt x="1434" y="253"/>
                    <a:pt x="1434" y="253"/>
                  </a:cubicBezTo>
                  <a:cubicBezTo>
                    <a:pt x="1434" y="253"/>
                    <a:pt x="1431" y="252"/>
                    <a:pt x="1425" y="252"/>
                  </a:cubicBezTo>
                  <a:cubicBezTo>
                    <a:pt x="1424" y="252"/>
                    <a:pt x="1422" y="252"/>
                    <a:pt x="1421" y="252"/>
                  </a:cubicBezTo>
                  <a:cubicBezTo>
                    <a:pt x="1416" y="252"/>
                    <a:pt x="1412" y="251"/>
                    <a:pt x="1408" y="250"/>
                  </a:cubicBezTo>
                  <a:cubicBezTo>
                    <a:pt x="1404" y="249"/>
                    <a:pt x="1401" y="248"/>
                    <a:pt x="1397" y="248"/>
                  </a:cubicBezTo>
                  <a:cubicBezTo>
                    <a:pt x="1396" y="248"/>
                    <a:pt x="1395" y="248"/>
                    <a:pt x="1394" y="248"/>
                  </a:cubicBezTo>
                  <a:cubicBezTo>
                    <a:pt x="1393" y="248"/>
                    <a:pt x="1391" y="248"/>
                    <a:pt x="1389" y="248"/>
                  </a:cubicBezTo>
                  <a:cubicBezTo>
                    <a:pt x="1378" y="249"/>
                    <a:pt x="1361" y="251"/>
                    <a:pt x="1358" y="252"/>
                  </a:cubicBezTo>
                  <a:cubicBezTo>
                    <a:pt x="1357" y="253"/>
                    <a:pt x="1357" y="254"/>
                    <a:pt x="1358" y="256"/>
                  </a:cubicBezTo>
                  <a:cubicBezTo>
                    <a:pt x="1358" y="257"/>
                    <a:pt x="1358" y="258"/>
                    <a:pt x="1358" y="259"/>
                  </a:cubicBezTo>
                  <a:cubicBezTo>
                    <a:pt x="1357" y="260"/>
                    <a:pt x="1357" y="260"/>
                    <a:pt x="1356" y="260"/>
                  </a:cubicBezTo>
                  <a:cubicBezTo>
                    <a:pt x="1355" y="260"/>
                    <a:pt x="1354" y="260"/>
                    <a:pt x="1353" y="259"/>
                  </a:cubicBezTo>
                  <a:cubicBezTo>
                    <a:pt x="1352" y="258"/>
                    <a:pt x="1352" y="255"/>
                    <a:pt x="1353" y="252"/>
                  </a:cubicBezTo>
                  <a:cubicBezTo>
                    <a:pt x="1353" y="249"/>
                    <a:pt x="1353" y="247"/>
                    <a:pt x="1353" y="246"/>
                  </a:cubicBezTo>
                  <a:cubicBezTo>
                    <a:pt x="1352" y="243"/>
                    <a:pt x="1350" y="242"/>
                    <a:pt x="1348" y="242"/>
                  </a:cubicBezTo>
                  <a:cubicBezTo>
                    <a:pt x="1347" y="242"/>
                    <a:pt x="1347" y="242"/>
                    <a:pt x="1347" y="243"/>
                  </a:cubicBezTo>
                  <a:cubicBezTo>
                    <a:pt x="1346" y="243"/>
                    <a:pt x="1346" y="243"/>
                    <a:pt x="1346" y="244"/>
                  </a:cubicBezTo>
                  <a:cubicBezTo>
                    <a:pt x="1347" y="244"/>
                    <a:pt x="1347" y="245"/>
                    <a:pt x="1346" y="245"/>
                  </a:cubicBezTo>
                  <a:cubicBezTo>
                    <a:pt x="1345" y="247"/>
                    <a:pt x="1341" y="248"/>
                    <a:pt x="1337" y="248"/>
                  </a:cubicBezTo>
                  <a:cubicBezTo>
                    <a:pt x="1334" y="248"/>
                    <a:pt x="1332" y="247"/>
                    <a:pt x="1331" y="246"/>
                  </a:cubicBezTo>
                  <a:cubicBezTo>
                    <a:pt x="1326" y="242"/>
                    <a:pt x="1320" y="240"/>
                    <a:pt x="1314" y="238"/>
                  </a:cubicBezTo>
                  <a:cubicBezTo>
                    <a:pt x="1313" y="238"/>
                    <a:pt x="1312" y="238"/>
                    <a:pt x="1311" y="238"/>
                  </a:cubicBezTo>
                  <a:cubicBezTo>
                    <a:pt x="1306" y="238"/>
                    <a:pt x="1300" y="242"/>
                    <a:pt x="1298" y="245"/>
                  </a:cubicBezTo>
                  <a:cubicBezTo>
                    <a:pt x="1298" y="245"/>
                    <a:pt x="1298" y="246"/>
                    <a:pt x="1298" y="247"/>
                  </a:cubicBezTo>
                  <a:cubicBezTo>
                    <a:pt x="1299" y="248"/>
                    <a:pt x="1302" y="248"/>
                    <a:pt x="1304" y="248"/>
                  </a:cubicBezTo>
                  <a:cubicBezTo>
                    <a:pt x="1305" y="248"/>
                    <a:pt x="1307" y="248"/>
                    <a:pt x="1307" y="249"/>
                  </a:cubicBezTo>
                  <a:cubicBezTo>
                    <a:pt x="1307" y="250"/>
                    <a:pt x="1307" y="250"/>
                    <a:pt x="1307" y="250"/>
                  </a:cubicBezTo>
                  <a:cubicBezTo>
                    <a:pt x="1306" y="252"/>
                    <a:pt x="1302" y="252"/>
                    <a:pt x="1297" y="253"/>
                  </a:cubicBezTo>
                  <a:cubicBezTo>
                    <a:pt x="1294" y="253"/>
                    <a:pt x="1289" y="253"/>
                    <a:pt x="1289" y="254"/>
                  </a:cubicBezTo>
                  <a:cubicBezTo>
                    <a:pt x="1289" y="258"/>
                    <a:pt x="1270" y="262"/>
                    <a:pt x="1267" y="263"/>
                  </a:cubicBezTo>
                  <a:cubicBezTo>
                    <a:pt x="1263" y="263"/>
                    <a:pt x="1263" y="263"/>
                    <a:pt x="1263" y="263"/>
                  </a:cubicBezTo>
                  <a:cubicBezTo>
                    <a:pt x="1252" y="264"/>
                    <a:pt x="1249" y="265"/>
                    <a:pt x="1243" y="270"/>
                  </a:cubicBezTo>
                  <a:cubicBezTo>
                    <a:pt x="1241" y="271"/>
                    <a:pt x="1240" y="272"/>
                    <a:pt x="1240" y="272"/>
                  </a:cubicBezTo>
                  <a:cubicBezTo>
                    <a:pt x="1239" y="271"/>
                    <a:pt x="1239" y="271"/>
                    <a:pt x="1239" y="271"/>
                  </a:cubicBezTo>
                  <a:cubicBezTo>
                    <a:pt x="1238" y="269"/>
                    <a:pt x="1243" y="262"/>
                    <a:pt x="1246" y="259"/>
                  </a:cubicBezTo>
                  <a:cubicBezTo>
                    <a:pt x="1249" y="256"/>
                    <a:pt x="1252" y="255"/>
                    <a:pt x="1254" y="255"/>
                  </a:cubicBezTo>
                  <a:cubicBezTo>
                    <a:pt x="1256" y="254"/>
                    <a:pt x="1258" y="254"/>
                    <a:pt x="1260" y="252"/>
                  </a:cubicBezTo>
                  <a:cubicBezTo>
                    <a:pt x="1262" y="249"/>
                    <a:pt x="1266" y="248"/>
                    <a:pt x="1271" y="247"/>
                  </a:cubicBezTo>
                  <a:cubicBezTo>
                    <a:pt x="1272" y="247"/>
                    <a:pt x="1274" y="247"/>
                    <a:pt x="1276" y="247"/>
                  </a:cubicBezTo>
                  <a:cubicBezTo>
                    <a:pt x="1281" y="246"/>
                    <a:pt x="1282" y="244"/>
                    <a:pt x="1284" y="242"/>
                  </a:cubicBezTo>
                  <a:cubicBezTo>
                    <a:pt x="1285" y="241"/>
                    <a:pt x="1286" y="240"/>
                    <a:pt x="1287" y="239"/>
                  </a:cubicBezTo>
                  <a:cubicBezTo>
                    <a:pt x="1288" y="239"/>
                    <a:pt x="1288" y="239"/>
                    <a:pt x="1289" y="238"/>
                  </a:cubicBezTo>
                  <a:cubicBezTo>
                    <a:pt x="1293" y="237"/>
                    <a:pt x="1301" y="233"/>
                    <a:pt x="1302" y="230"/>
                  </a:cubicBezTo>
                  <a:cubicBezTo>
                    <a:pt x="1304" y="226"/>
                    <a:pt x="1323" y="220"/>
                    <a:pt x="1327" y="220"/>
                  </a:cubicBezTo>
                  <a:cubicBezTo>
                    <a:pt x="1328" y="220"/>
                    <a:pt x="1328" y="220"/>
                    <a:pt x="1328" y="220"/>
                  </a:cubicBezTo>
                  <a:cubicBezTo>
                    <a:pt x="1329" y="220"/>
                    <a:pt x="1331" y="217"/>
                    <a:pt x="1332" y="215"/>
                  </a:cubicBezTo>
                  <a:cubicBezTo>
                    <a:pt x="1332" y="213"/>
                    <a:pt x="1333" y="212"/>
                    <a:pt x="1334" y="212"/>
                  </a:cubicBezTo>
                  <a:cubicBezTo>
                    <a:pt x="1336" y="212"/>
                    <a:pt x="1342" y="209"/>
                    <a:pt x="1352" y="205"/>
                  </a:cubicBezTo>
                  <a:cubicBezTo>
                    <a:pt x="1356" y="203"/>
                    <a:pt x="1358" y="200"/>
                    <a:pt x="1358" y="197"/>
                  </a:cubicBezTo>
                  <a:cubicBezTo>
                    <a:pt x="1358" y="196"/>
                    <a:pt x="1357" y="195"/>
                    <a:pt x="1355" y="195"/>
                  </a:cubicBezTo>
                  <a:cubicBezTo>
                    <a:pt x="1354" y="194"/>
                    <a:pt x="1352" y="193"/>
                    <a:pt x="1352" y="192"/>
                  </a:cubicBezTo>
                  <a:cubicBezTo>
                    <a:pt x="1352" y="191"/>
                    <a:pt x="1352" y="191"/>
                    <a:pt x="1352" y="190"/>
                  </a:cubicBezTo>
                  <a:cubicBezTo>
                    <a:pt x="1352" y="190"/>
                    <a:pt x="1353" y="190"/>
                    <a:pt x="1355" y="190"/>
                  </a:cubicBezTo>
                  <a:cubicBezTo>
                    <a:pt x="1356" y="190"/>
                    <a:pt x="1357" y="189"/>
                    <a:pt x="1359" y="189"/>
                  </a:cubicBezTo>
                  <a:cubicBezTo>
                    <a:pt x="1361" y="188"/>
                    <a:pt x="1361" y="187"/>
                    <a:pt x="1361" y="186"/>
                  </a:cubicBezTo>
                  <a:cubicBezTo>
                    <a:pt x="1361" y="185"/>
                    <a:pt x="1359" y="183"/>
                    <a:pt x="1357" y="183"/>
                  </a:cubicBezTo>
                  <a:cubicBezTo>
                    <a:pt x="1356" y="183"/>
                    <a:pt x="1356" y="183"/>
                    <a:pt x="1356" y="183"/>
                  </a:cubicBezTo>
                  <a:cubicBezTo>
                    <a:pt x="1355" y="183"/>
                    <a:pt x="1354" y="183"/>
                    <a:pt x="1354" y="183"/>
                  </a:cubicBezTo>
                  <a:cubicBezTo>
                    <a:pt x="1354" y="182"/>
                    <a:pt x="1354" y="182"/>
                    <a:pt x="1354" y="181"/>
                  </a:cubicBezTo>
                  <a:cubicBezTo>
                    <a:pt x="1355" y="180"/>
                    <a:pt x="1356" y="178"/>
                    <a:pt x="1354" y="176"/>
                  </a:cubicBezTo>
                  <a:cubicBezTo>
                    <a:pt x="1354" y="175"/>
                    <a:pt x="1353" y="175"/>
                    <a:pt x="1352" y="175"/>
                  </a:cubicBezTo>
                  <a:cubicBezTo>
                    <a:pt x="1351" y="175"/>
                    <a:pt x="1349" y="175"/>
                    <a:pt x="1348" y="175"/>
                  </a:cubicBezTo>
                  <a:cubicBezTo>
                    <a:pt x="1347" y="176"/>
                    <a:pt x="1346" y="176"/>
                    <a:pt x="1345" y="175"/>
                  </a:cubicBezTo>
                  <a:cubicBezTo>
                    <a:pt x="1345" y="174"/>
                    <a:pt x="1345" y="174"/>
                    <a:pt x="1345" y="174"/>
                  </a:cubicBezTo>
                  <a:cubicBezTo>
                    <a:pt x="1345" y="170"/>
                    <a:pt x="1344" y="165"/>
                    <a:pt x="1342" y="162"/>
                  </a:cubicBezTo>
                  <a:cubicBezTo>
                    <a:pt x="1341" y="161"/>
                    <a:pt x="1340" y="162"/>
                    <a:pt x="1338" y="163"/>
                  </a:cubicBezTo>
                  <a:cubicBezTo>
                    <a:pt x="1336" y="163"/>
                    <a:pt x="1335" y="164"/>
                    <a:pt x="1333" y="164"/>
                  </a:cubicBezTo>
                  <a:cubicBezTo>
                    <a:pt x="1332" y="164"/>
                    <a:pt x="1330" y="164"/>
                    <a:pt x="1329" y="163"/>
                  </a:cubicBezTo>
                  <a:cubicBezTo>
                    <a:pt x="1325" y="160"/>
                    <a:pt x="1314" y="157"/>
                    <a:pt x="1310" y="157"/>
                  </a:cubicBezTo>
                  <a:cubicBezTo>
                    <a:pt x="1309" y="157"/>
                    <a:pt x="1309" y="157"/>
                    <a:pt x="1309" y="158"/>
                  </a:cubicBezTo>
                  <a:cubicBezTo>
                    <a:pt x="1308" y="158"/>
                    <a:pt x="1308" y="158"/>
                    <a:pt x="1308" y="158"/>
                  </a:cubicBezTo>
                  <a:cubicBezTo>
                    <a:pt x="1307" y="158"/>
                    <a:pt x="1306" y="158"/>
                    <a:pt x="1305" y="158"/>
                  </a:cubicBezTo>
                  <a:cubicBezTo>
                    <a:pt x="1303" y="157"/>
                    <a:pt x="1302" y="157"/>
                    <a:pt x="1301" y="157"/>
                  </a:cubicBezTo>
                  <a:cubicBezTo>
                    <a:pt x="1300" y="157"/>
                    <a:pt x="1300" y="157"/>
                    <a:pt x="1300" y="157"/>
                  </a:cubicBezTo>
                  <a:cubicBezTo>
                    <a:pt x="1299" y="158"/>
                    <a:pt x="1294" y="158"/>
                    <a:pt x="1291" y="158"/>
                  </a:cubicBezTo>
                  <a:cubicBezTo>
                    <a:pt x="1287" y="158"/>
                    <a:pt x="1283" y="158"/>
                    <a:pt x="1281" y="157"/>
                  </a:cubicBezTo>
                  <a:cubicBezTo>
                    <a:pt x="1280" y="157"/>
                    <a:pt x="1280" y="157"/>
                    <a:pt x="1280" y="157"/>
                  </a:cubicBezTo>
                  <a:cubicBezTo>
                    <a:pt x="1276" y="157"/>
                    <a:pt x="1273" y="159"/>
                    <a:pt x="1272" y="162"/>
                  </a:cubicBezTo>
                  <a:cubicBezTo>
                    <a:pt x="1272" y="164"/>
                    <a:pt x="1269" y="165"/>
                    <a:pt x="1264" y="165"/>
                  </a:cubicBezTo>
                  <a:cubicBezTo>
                    <a:pt x="1260" y="165"/>
                    <a:pt x="1255" y="165"/>
                    <a:pt x="1254" y="165"/>
                  </a:cubicBezTo>
                  <a:cubicBezTo>
                    <a:pt x="1253" y="164"/>
                    <a:pt x="1253" y="164"/>
                    <a:pt x="1253" y="164"/>
                  </a:cubicBezTo>
                  <a:cubicBezTo>
                    <a:pt x="1253" y="163"/>
                    <a:pt x="1255" y="160"/>
                    <a:pt x="1259" y="156"/>
                  </a:cubicBezTo>
                  <a:cubicBezTo>
                    <a:pt x="1261" y="154"/>
                    <a:pt x="1263" y="151"/>
                    <a:pt x="1264" y="151"/>
                  </a:cubicBezTo>
                  <a:cubicBezTo>
                    <a:pt x="1263" y="150"/>
                    <a:pt x="1262" y="150"/>
                    <a:pt x="1258" y="150"/>
                  </a:cubicBezTo>
                  <a:cubicBezTo>
                    <a:pt x="1256" y="150"/>
                    <a:pt x="1255" y="150"/>
                    <a:pt x="1253" y="150"/>
                  </a:cubicBezTo>
                  <a:cubicBezTo>
                    <a:pt x="1252" y="150"/>
                    <a:pt x="1250" y="150"/>
                    <a:pt x="1249" y="150"/>
                  </a:cubicBezTo>
                  <a:cubicBezTo>
                    <a:pt x="1242" y="150"/>
                    <a:pt x="1240" y="150"/>
                    <a:pt x="1240" y="149"/>
                  </a:cubicBezTo>
                  <a:cubicBezTo>
                    <a:pt x="1239" y="148"/>
                    <a:pt x="1232" y="147"/>
                    <a:pt x="1225" y="147"/>
                  </a:cubicBezTo>
                  <a:cubicBezTo>
                    <a:pt x="1224" y="147"/>
                    <a:pt x="1224" y="147"/>
                    <a:pt x="1223" y="147"/>
                  </a:cubicBezTo>
                  <a:cubicBezTo>
                    <a:pt x="1223" y="147"/>
                    <a:pt x="1223" y="147"/>
                    <a:pt x="1222" y="147"/>
                  </a:cubicBezTo>
                  <a:cubicBezTo>
                    <a:pt x="1222" y="147"/>
                    <a:pt x="1221" y="147"/>
                    <a:pt x="1221" y="146"/>
                  </a:cubicBezTo>
                  <a:cubicBezTo>
                    <a:pt x="1221" y="145"/>
                    <a:pt x="1227" y="144"/>
                    <a:pt x="1227" y="144"/>
                  </a:cubicBezTo>
                  <a:cubicBezTo>
                    <a:pt x="1230" y="144"/>
                    <a:pt x="1232" y="143"/>
                    <a:pt x="1234" y="142"/>
                  </a:cubicBezTo>
                  <a:cubicBezTo>
                    <a:pt x="1236" y="140"/>
                    <a:pt x="1238" y="139"/>
                    <a:pt x="1241" y="139"/>
                  </a:cubicBezTo>
                  <a:cubicBezTo>
                    <a:pt x="1243" y="139"/>
                    <a:pt x="1244" y="138"/>
                    <a:pt x="1244" y="138"/>
                  </a:cubicBezTo>
                  <a:cubicBezTo>
                    <a:pt x="1244" y="137"/>
                    <a:pt x="1243" y="135"/>
                    <a:pt x="1242" y="134"/>
                  </a:cubicBezTo>
                  <a:cubicBezTo>
                    <a:pt x="1241" y="132"/>
                    <a:pt x="1239" y="132"/>
                    <a:pt x="1236" y="132"/>
                  </a:cubicBezTo>
                  <a:cubicBezTo>
                    <a:pt x="1234" y="132"/>
                    <a:pt x="1232" y="132"/>
                    <a:pt x="1230" y="131"/>
                  </a:cubicBezTo>
                  <a:cubicBezTo>
                    <a:pt x="1229" y="131"/>
                    <a:pt x="1228" y="131"/>
                    <a:pt x="1228" y="130"/>
                  </a:cubicBezTo>
                  <a:cubicBezTo>
                    <a:pt x="1223" y="129"/>
                    <a:pt x="1219" y="128"/>
                    <a:pt x="1215" y="127"/>
                  </a:cubicBezTo>
                  <a:cubicBezTo>
                    <a:pt x="1213" y="127"/>
                    <a:pt x="1210" y="128"/>
                    <a:pt x="1207" y="129"/>
                  </a:cubicBezTo>
                  <a:cubicBezTo>
                    <a:pt x="1204" y="130"/>
                    <a:pt x="1201" y="131"/>
                    <a:pt x="1196" y="131"/>
                  </a:cubicBezTo>
                  <a:cubicBezTo>
                    <a:pt x="1190" y="133"/>
                    <a:pt x="1187" y="136"/>
                    <a:pt x="1185" y="139"/>
                  </a:cubicBezTo>
                  <a:cubicBezTo>
                    <a:pt x="1184" y="141"/>
                    <a:pt x="1182" y="142"/>
                    <a:pt x="1180" y="143"/>
                  </a:cubicBezTo>
                  <a:cubicBezTo>
                    <a:pt x="1176" y="145"/>
                    <a:pt x="1169" y="152"/>
                    <a:pt x="1169" y="155"/>
                  </a:cubicBezTo>
                  <a:cubicBezTo>
                    <a:pt x="1170" y="155"/>
                    <a:pt x="1170" y="155"/>
                    <a:pt x="1170" y="155"/>
                  </a:cubicBezTo>
                  <a:cubicBezTo>
                    <a:pt x="1174" y="156"/>
                    <a:pt x="1173" y="158"/>
                    <a:pt x="1173" y="159"/>
                  </a:cubicBezTo>
                  <a:cubicBezTo>
                    <a:pt x="1173" y="160"/>
                    <a:pt x="1173" y="161"/>
                    <a:pt x="1173" y="162"/>
                  </a:cubicBezTo>
                  <a:cubicBezTo>
                    <a:pt x="1174" y="163"/>
                    <a:pt x="1173" y="163"/>
                    <a:pt x="1173" y="164"/>
                  </a:cubicBezTo>
                  <a:cubicBezTo>
                    <a:pt x="1172" y="165"/>
                    <a:pt x="1171" y="165"/>
                    <a:pt x="1168" y="165"/>
                  </a:cubicBezTo>
                  <a:cubicBezTo>
                    <a:pt x="1167" y="165"/>
                    <a:pt x="1166" y="165"/>
                    <a:pt x="1165" y="165"/>
                  </a:cubicBezTo>
                  <a:cubicBezTo>
                    <a:pt x="1163" y="165"/>
                    <a:pt x="1161" y="165"/>
                    <a:pt x="1158" y="165"/>
                  </a:cubicBezTo>
                  <a:cubicBezTo>
                    <a:pt x="1150" y="165"/>
                    <a:pt x="1145" y="165"/>
                    <a:pt x="1143" y="167"/>
                  </a:cubicBezTo>
                  <a:cubicBezTo>
                    <a:pt x="1143" y="167"/>
                    <a:pt x="1143" y="167"/>
                    <a:pt x="1143" y="167"/>
                  </a:cubicBezTo>
                  <a:cubicBezTo>
                    <a:pt x="1143" y="169"/>
                    <a:pt x="1146" y="171"/>
                    <a:pt x="1149" y="172"/>
                  </a:cubicBezTo>
                  <a:cubicBezTo>
                    <a:pt x="1151" y="173"/>
                    <a:pt x="1153" y="174"/>
                    <a:pt x="1152" y="175"/>
                  </a:cubicBezTo>
                  <a:cubicBezTo>
                    <a:pt x="1152" y="176"/>
                    <a:pt x="1151" y="176"/>
                    <a:pt x="1150" y="176"/>
                  </a:cubicBezTo>
                  <a:cubicBezTo>
                    <a:pt x="1148" y="176"/>
                    <a:pt x="1143" y="175"/>
                    <a:pt x="1141" y="173"/>
                  </a:cubicBezTo>
                  <a:cubicBezTo>
                    <a:pt x="1140" y="173"/>
                    <a:pt x="1138" y="172"/>
                    <a:pt x="1137" y="172"/>
                  </a:cubicBezTo>
                  <a:cubicBezTo>
                    <a:pt x="1133" y="172"/>
                    <a:pt x="1130" y="173"/>
                    <a:pt x="1129" y="176"/>
                  </a:cubicBezTo>
                  <a:cubicBezTo>
                    <a:pt x="1128" y="178"/>
                    <a:pt x="1126" y="179"/>
                    <a:pt x="1123" y="179"/>
                  </a:cubicBezTo>
                  <a:cubicBezTo>
                    <a:pt x="1121" y="179"/>
                    <a:pt x="1120" y="178"/>
                    <a:pt x="1119" y="178"/>
                  </a:cubicBezTo>
                  <a:cubicBezTo>
                    <a:pt x="1118" y="178"/>
                    <a:pt x="1117" y="178"/>
                    <a:pt x="1115" y="178"/>
                  </a:cubicBezTo>
                  <a:cubicBezTo>
                    <a:pt x="1113" y="179"/>
                    <a:pt x="1111" y="179"/>
                    <a:pt x="1109" y="178"/>
                  </a:cubicBezTo>
                  <a:cubicBezTo>
                    <a:pt x="1108" y="178"/>
                    <a:pt x="1108" y="178"/>
                    <a:pt x="1108" y="178"/>
                  </a:cubicBezTo>
                  <a:cubicBezTo>
                    <a:pt x="1108" y="177"/>
                    <a:pt x="1109" y="176"/>
                    <a:pt x="1111" y="174"/>
                  </a:cubicBezTo>
                  <a:cubicBezTo>
                    <a:pt x="1112" y="173"/>
                    <a:pt x="1113" y="172"/>
                    <a:pt x="1113" y="171"/>
                  </a:cubicBezTo>
                  <a:cubicBezTo>
                    <a:pt x="1113" y="170"/>
                    <a:pt x="1113" y="170"/>
                    <a:pt x="1113" y="170"/>
                  </a:cubicBezTo>
                  <a:cubicBezTo>
                    <a:pt x="1113" y="170"/>
                    <a:pt x="1111" y="169"/>
                    <a:pt x="1110" y="169"/>
                  </a:cubicBezTo>
                  <a:cubicBezTo>
                    <a:pt x="1106" y="169"/>
                    <a:pt x="1101" y="171"/>
                    <a:pt x="1100" y="174"/>
                  </a:cubicBezTo>
                  <a:cubicBezTo>
                    <a:pt x="1100" y="175"/>
                    <a:pt x="1099" y="175"/>
                    <a:pt x="1098" y="175"/>
                  </a:cubicBezTo>
                  <a:cubicBezTo>
                    <a:pt x="1097" y="175"/>
                    <a:pt x="1096" y="175"/>
                    <a:pt x="1094" y="174"/>
                  </a:cubicBezTo>
                  <a:cubicBezTo>
                    <a:pt x="1093" y="173"/>
                    <a:pt x="1091" y="172"/>
                    <a:pt x="1090" y="172"/>
                  </a:cubicBezTo>
                  <a:cubicBezTo>
                    <a:pt x="1089" y="173"/>
                    <a:pt x="1089" y="173"/>
                    <a:pt x="1089" y="173"/>
                  </a:cubicBezTo>
                  <a:cubicBezTo>
                    <a:pt x="1087" y="174"/>
                    <a:pt x="1085" y="175"/>
                    <a:pt x="1081" y="177"/>
                  </a:cubicBezTo>
                  <a:cubicBezTo>
                    <a:pt x="1080" y="178"/>
                    <a:pt x="1079" y="178"/>
                    <a:pt x="1077" y="178"/>
                  </a:cubicBezTo>
                  <a:cubicBezTo>
                    <a:pt x="1076" y="178"/>
                    <a:pt x="1075" y="178"/>
                    <a:pt x="1073" y="177"/>
                  </a:cubicBezTo>
                  <a:cubicBezTo>
                    <a:pt x="1072" y="177"/>
                    <a:pt x="1071" y="177"/>
                    <a:pt x="1070" y="177"/>
                  </a:cubicBezTo>
                  <a:cubicBezTo>
                    <a:pt x="1068" y="177"/>
                    <a:pt x="1067" y="177"/>
                    <a:pt x="1067" y="178"/>
                  </a:cubicBezTo>
                  <a:cubicBezTo>
                    <a:pt x="1067" y="179"/>
                    <a:pt x="1067" y="179"/>
                    <a:pt x="1067" y="179"/>
                  </a:cubicBezTo>
                  <a:cubicBezTo>
                    <a:pt x="1067" y="180"/>
                    <a:pt x="1070" y="181"/>
                    <a:pt x="1072" y="182"/>
                  </a:cubicBezTo>
                  <a:cubicBezTo>
                    <a:pt x="1075" y="183"/>
                    <a:pt x="1076" y="183"/>
                    <a:pt x="1076" y="184"/>
                  </a:cubicBezTo>
                  <a:cubicBezTo>
                    <a:pt x="1076" y="184"/>
                    <a:pt x="1076" y="184"/>
                    <a:pt x="1076" y="184"/>
                  </a:cubicBezTo>
                  <a:cubicBezTo>
                    <a:pt x="1075" y="185"/>
                    <a:pt x="1073" y="185"/>
                    <a:pt x="1066" y="186"/>
                  </a:cubicBezTo>
                  <a:cubicBezTo>
                    <a:pt x="1061" y="186"/>
                    <a:pt x="1052" y="187"/>
                    <a:pt x="1052" y="188"/>
                  </a:cubicBezTo>
                  <a:cubicBezTo>
                    <a:pt x="1051" y="190"/>
                    <a:pt x="1046" y="191"/>
                    <a:pt x="1035" y="191"/>
                  </a:cubicBezTo>
                  <a:cubicBezTo>
                    <a:pt x="1033" y="191"/>
                    <a:pt x="1033" y="191"/>
                    <a:pt x="1033" y="191"/>
                  </a:cubicBezTo>
                  <a:cubicBezTo>
                    <a:pt x="1028" y="191"/>
                    <a:pt x="1027" y="192"/>
                    <a:pt x="1026" y="194"/>
                  </a:cubicBezTo>
                  <a:cubicBezTo>
                    <a:pt x="1025" y="195"/>
                    <a:pt x="1023" y="197"/>
                    <a:pt x="1020" y="197"/>
                  </a:cubicBezTo>
                  <a:cubicBezTo>
                    <a:pt x="1019" y="197"/>
                    <a:pt x="1018" y="198"/>
                    <a:pt x="1017" y="198"/>
                  </a:cubicBezTo>
                  <a:cubicBezTo>
                    <a:pt x="1011" y="199"/>
                    <a:pt x="1008" y="199"/>
                    <a:pt x="1006" y="203"/>
                  </a:cubicBezTo>
                  <a:cubicBezTo>
                    <a:pt x="1005" y="205"/>
                    <a:pt x="1002" y="206"/>
                    <a:pt x="999" y="206"/>
                  </a:cubicBezTo>
                  <a:cubicBezTo>
                    <a:pt x="997" y="206"/>
                    <a:pt x="995" y="205"/>
                    <a:pt x="994" y="204"/>
                  </a:cubicBezTo>
                  <a:cubicBezTo>
                    <a:pt x="994" y="204"/>
                    <a:pt x="993" y="203"/>
                    <a:pt x="992" y="203"/>
                  </a:cubicBezTo>
                  <a:cubicBezTo>
                    <a:pt x="991" y="203"/>
                    <a:pt x="989" y="204"/>
                    <a:pt x="988" y="205"/>
                  </a:cubicBezTo>
                  <a:cubicBezTo>
                    <a:pt x="988" y="205"/>
                    <a:pt x="988" y="205"/>
                    <a:pt x="988" y="205"/>
                  </a:cubicBezTo>
                  <a:cubicBezTo>
                    <a:pt x="988" y="205"/>
                    <a:pt x="988" y="205"/>
                    <a:pt x="988" y="205"/>
                  </a:cubicBezTo>
                  <a:cubicBezTo>
                    <a:pt x="988" y="205"/>
                    <a:pt x="988" y="205"/>
                    <a:pt x="989" y="205"/>
                  </a:cubicBezTo>
                  <a:cubicBezTo>
                    <a:pt x="991" y="205"/>
                    <a:pt x="991" y="207"/>
                    <a:pt x="991" y="207"/>
                  </a:cubicBezTo>
                  <a:cubicBezTo>
                    <a:pt x="991" y="209"/>
                    <a:pt x="988" y="210"/>
                    <a:pt x="986" y="210"/>
                  </a:cubicBezTo>
                  <a:cubicBezTo>
                    <a:pt x="986" y="210"/>
                    <a:pt x="986" y="210"/>
                    <a:pt x="986" y="210"/>
                  </a:cubicBezTo>
                  <a:cubicBezTo>
                    <a:pt x="984" y="210"/>
                    <a:pt x="981" y="212"/>
                    <a:pt x="981" y="212"/>
                  </a:cubicBezTo>
                  <a:cubicBezTo>
                    <a:pt x="981" y="212"/>
                    <a:pt x="981" y="212"/>
                    <a:pt x="981" y="212"/>
                  </a:cubicBezTo>
                  <a:cubicBezTo>
                    <a:pt x="983" y="212"/>
                    <a:pt x="985" y="213"/>
                    <a:pt x="986" y="215"/>
                  </a:cubicBezTo>
                  <a:cubicBezTo>
                    <a:pt x="987" y="216"/>
                    <a:pt x="986" y="217"/>
                    <a:pt x="985" y="218"/>
                  </a:cubicBezTo>
                  <a:cubicBezTo>
                    <a:pt x="985" y="219"/>
                    <a:pt x="984" y="219"/>
                    <a:pt x="983" y="219"/>
                  </a:cubicBezTo>
                  <a:cubicBezTo>
                    <a:pt x="982" y="219"/>
                    <a:pt x="980" y="219"/>
                    <a:pt x="979" y="218"/>
                  </a:cubicBezTo>
                  <a:cubicBezTo>
                    <a:pt x="976" y="218"/>
                    <a:pt x="974" y="217"/>
                    <a:pt x="973" y="218"/>
                  </a:cubicBezTo>
                  <a:cubicBezTo>
                    <a:pt x="973" y="218"/>
                    <a:pt x="973" y="218"/>
                    <a:pt x="973" y="219"/>
                  </a:cubicBezTo>
                  <a:cubicBezTo>
                    <a:pt x="973" y="220"/>
                    <a:pt x="978" y="222"/>
                    <a:pt x="981" y="221"/>
                  </a:cubicBezTo>
                  <a:cubicBezTo>
                    <a:pt x="981" y="221"/>
                    <a:pt x="981" y="221"/>
                    <a:pt x="981" y="221"/>
                  </a:cubicBezTo>
                  <a:cubicBezTo>
                    <a:pt x="985" y="221"/>
                    <a:pt x="987" y="224"/>
                    <a:pt x="988" y="227"/>
                  </a:cubicBezTo>
                  <a:cubicBezTo>
                    <a:pt x="987" y="228"/>
                    <a:pt x="987" y="228"/>
                    <a:pt x="987" y="228"/>
                  </a:cubicBezTo>
                  <a:cubicBezTo>
                    <a:pt x="986" y="228"/>
                    <a:pt x="986" y="228"/>
                    <a:pt x="986" y="228"/>
                  </a:cubicBezTo>
                  <a:cubicBezTo>
                    <a:pt x="985" y="228"/>
                    <a:pt x="984" y="228"/>
                    <a:pt x="982" y="228"/>
                  </a:cubicBezTo>
                  <a:cubicBezTo>
                    <a:pt x="981" y="228"/>
                    <a:pt x="979" y="227"/>
                    <a:pt x="978" y="227"/>
                  </a:cubicBezTo>
                  <a:cubicBezTo>
                    <a:pt x="977" y="227"/>
                    <a:pt x="977" y="227"/>
                    <a:pt x="976" y="228"/>
                  </a:cubicBezTo>
                  <a:cubicBezTo>
                    <a:pt x="976" y="229"/>
                    <a:pt x="976" y="229"/>
                    <a:pt x="976" y="229"/>
                  </a:cubicBezTo>
                  <a:cubicBezTo>
                    <a:pt x="976" y="229"/>
                    <a:pt x="977" y="230"/>
                    <a:pt x="982" y="231"/>
                  </a:cubicBezTo>
                  <a:cubicBezTo>
                    <a:pt x="984" y="231"/>
                    <a:pt x="984" y="232"/>
                    <a:pt x="985" y="233"/>
                  </a:cubicBezTo>
                  <a:cubicBezTo>
                    <a:pt x="985" y="234"/>
                    <a:pt x="985" y="235"/>
                    <a:pt x="987" y="236"/>
                  </a:cubicBezTo>
                  <a:cubicBezTo>
                    <a:pt x="987" y="237"/>
                    <a:pt x="987" y="237"/>
                    <a:pt x="987" y="237"/>
                  </a:cubicBezTo>
                  <a:cubicBezTo>
                    <a:pt x="989" y="239"/>
                    <a:pt x="988" y="240"/>
                    <a:pt x="987" y="241"/>
                  </a:cubicBezTo>
                  <a:cubicBezTo>
                    <a:pt x="986" y="242"/>
                    <a:pt x="986" y="242"/>
                    <a:pt x="986" y="243"/>
                  </a:cubicBezTo>
                  <a:cubicBezTo>
                    <a:pt x="986" y="244"/>
                    <a:pt x="986" y="245"/>
                    <a:pt x="985" y="246"/>
                  </a:cubicBezTo>
                  <a:cubicBezTo>
                    <a:pt x="984" y="247"/>
                    <a:pt x="983" y="247"/>
                    <a:pt x="982" y="246"/>
                  </a:cubicBezTo>
                  <a:cubicBezTo>
                    <a:pt x="981" y="246"/>
                    <a:pt x="981" y="245"/>
                    <a:pt x="981" y="245"/>
                  </a:cubicBezTo>
                  <a:cubicBezTo>
                    <a:pt x="981" y="244"/>
                    <a:pt x="978" y="243"/>
                    <a:pt x="974" y="243"/>
                  </a:cubicBezTo>
                  <a:cubicBezTo>
                    <a:pt x="971" y="243"/>
                    <a:pt x="969" y="243"/>
                    <a:pt x="968" y="244"/>
                  </a:cubicBezTo>
                  <a:cubicBezTo>
                    <a:pt x="968" y="245"/>
                    <a:pt x="968" y="245"/>
                    <a:pt x="968" y="245"/>
                  </a:cubicBezTo>
                  <a:cubicBezTo>
                    <a:pt x="966" y="246"/>
                    <a:pt x="965" y="248"/>
                    <a:pt x="963" y="248"/>
                  </a:cubicBezTo>
                  <a:cubicBezTo>
                    <a:pt x="962" y="248"/>
                    <a:pt x="961" y="248"/>
                    <a:pt x="960" y="247"/>
                  </a:cubicBezTo>
                  <a:cubicBezTo>
                    <a:pt x="960" y="246"/>
                    <a:pt x="959" y="246"/>
                    <a:pt x="957" y="246"/>
                  </a:cubicBezTo>
                  <a:cubicBezTo>
                    <a:pt x="955" y="246"/>
                    <a:pt x="953" y="246"/>
                    <a:pt x="950" y="247"/>
                  </a:cubicBezTo>
                  <a:cubicBezTo>
                    <a:pt x="947" y="247"/>
                    <a:pt x="943" y="248"/>
                    <a:pt x="939" y="248"/>
                  </a:cubicBezTo>
                  <a:cubicBezTo>
                    <a:pt x="939" y="248"/>
                    <a:pt x="939" y="248"/>
                    <a:pt x="939" y="248"/>
                  </a:cubicBezTo>
                  <a:cubicBezTo>
                    <a:pt x="929" y="248"/>
                    <a:pt x="907" y="249"/>
                    <a:pt x="902" y="251"/>
                  </a:cubicBezTo>
                  <a:cubicBezTo>
                    <a:pt x="899" y="252"/>
                    <a:pt x="896" y="255"/>
                    <a:pt x="895" y="259"/>
                  </a:cubicBezTo>
                  <a:cubicBezTo>
                    <a:pt x="895" y="260"/>
                    <a:pt x="895" y="263"/>
                    <a:pt x="897" y="265"/>
                  </a:cubicBezTo>
                  <a:cubicBezTo>
                    <a:pt x="901" y="268"/>
                    <a:pt x="899" y="271"/>
                    <a:pt x="898" y="273"/>
                  </a:cubicBezTo>
                  <a:cubicBezTo>
                    <a:pt x="898" y="274"/>
                    <a:pt x="897" y="275"/>
                    <a:pt x="897" y="275"/>
                  </a:cubicBezTo>
                  <a:cubicBezTo>
                    <a:pt x="897" y="278"/>
                    <a:pt x="910" y="285"/>
                    <a:pt x="917" y="285"/>
                  </a:cubicBezTo>
                  <a:cubicBezTo>
                    <a:pt x="921" y="286"/>
                    <a:pt x="925" y="289"/>
                    <a:pt x="926" y="293"/>
                  </a:cubicBezTo>
                  <a:cubicBezTo>
                    <a:pt x="927" y="295"/>
                    <a:pt x="927" y="298"/>
                    <a:pt x="925" y="300"/>
                  </a:cubicBezTo>
                  <a:cubicBezTo>
                    <a:pt x="924" y="302"/>
                    <a:pt x="923" y="303"/>
                    <a:pt x="921" y="303"/>
                  </a:cubicBezTo>
                  <a:cubicBezTo>
                    <a:pt x="915" y="303"/>
                    <a:pt x="906" y="297"/>
                    <a:pt x="900" y="293"/>
                  </a:cubicBezTo>
                  <a:cubicBezTo>
                    <a:pt x="893" y="287"/>
                    <a:pt x="876" y="284"/>
                    <a:pt x="869" y="284"/>
                  </a:cubicBezTo>
                  <a:cubicBezTo>
                    <a:pt x="868" y="284"/>
                    <a:pt x="868" y="284"/>
                    <a:pt x="867" y="284"/>
                  </a:cubicBezTo>
                  <a:cubicBezTo>
                    <a:pt x="867" y="284"/>
                    <a:pt x="867" y="284"/>
                    <a:pt x="866" y="284"/>
                  </a:cubicBezTo>
                  <a:cubicBezTo>
                    <a:pt x="864" y="284"/>
                    <a:pt x="863" y="283"/>
                    <a:pt x="862" y="281"/>
                  </a:cubicBezTo>
                  <a:cubicBezTo>
                    <a:pt x="861" y="280"/>
                    <a:pt x="860" y="279"/>
                    <a:pt x="857" y="279"/>
                  </a:cubicBezTo>
                  <a:cubicBezTo>
                    <a:pt x="857" y="279"/>
                    <a:pt x="857" y="279"/>
                    <a:pt x="857" y="279"/>
                  </a:cubicBezTo>
                  <a:cubicBezTo>
                    <a:pt x="851" y="279"/>
                    <a:pt x="846" y="283"/>
                    <a:pt x="846" y="284"/>
                  </a:cubicBezTo>
                  <a:cubicBezTo>
                    <a:pt x="846" y="285"/>
                    <a:pt x="847" y="285"/>
                    <a:pt x="847" y="285"/>
                  </a:cubicBezTo>
                  <a:cubicBezTo>
                    <a:pt x="848" y="285"/>
                    <a:pt x="849" y="285"/>
                    <a:pt x="849" y="285"/>
                  </a:cubicBezTo>
                  <a:cubicBezTo>
                    <a:pt x="850" y="285"/>
                    <a:pt x="850" y="285"/>
                    <a:pt x="851" y="285"/>
                  </a:cubicBezTo>
                  <a:cubicBezTo>
                    <a:pt x="853" y="285"/>
                    <a:pt x="854" y="285"/>
                    <a:pt x="855" y="286"/>
                  </a:cubicBezTo>
                  <a:cubicBezTo>
                    <a:pt x="855" y="287"/>
                    <a:pt x="854" y="287"/>
                    <a:pt x="854" y="288"/>
                  </a:cubicBezTo>
                  <a:cubicBezTo>
                    <a:pt x="853" y="289"/>
                    <a:pt x="853" y="289"/>
                    <a:pt x="853" y="289"/>
                  </a:cubicBezTo>
                  <a:cubicBezTo>
                    <a:pt x="853" y="289"/>
                    <a:pt x="854" y="290"/>
                    <a:pt x="856" y="290"/>
                  </a:cubicBezTo>
                  <a:cubicBezTo>
                    <a:pt x="857" y="290"/>
                    <a:pt x="859" y="291"/>
                    <a:pt x="861" y="292"/>
                  </a:cubicBezTo>
                  <a:cubicBezTo>
                    <a:pt x="863" y="293"/>
                    <a:pt x="864" y="294"/>
                    <a:pt x="864" y="294"/>
                  </a:cubicBezTo>
                  <a:cubicBezTo>
                    <a:pt x="863" y="296"/>
                    <a:pt x="860" y="297"/>
                    <a:pt x="857" y="297"/>
                  </a:cubicBezTo>
                  <a:cubicBezTo>
                    <a:pt x="854" y="297"/>
                    <a:pt x="851" y="296"/>
                    <a:pt x="849" y="295"/>
                  </a:cubicBezTo>
                  <a:cubicBezTo>
                    <a:pt x="847" y="294"/>
                    <a:pt x="845" y="293"/>
                    <a:pt x="843" y="293"/>
                  </a:cubicBezTo>
                  <a:cubicBezTo>
                    <a:pt x="839" y="293"/>
                    <a:pt x="835" y="296"/>
                    <a:pt x="834" y="298"/>
                  </a:cubicBezTo>
                  <a:cubicBezTo>
                    <a:pt x="834" y="299"/>
                    <a:pt x="834" y="300"/>
                    <a:pt x="834" y="301"/>
                  </a:cubicBezTo>
                  <a:cubicBezTo>
                    <a:pt x="836" y="305"/>
                    <a:pt x="844" y="311"/>
                    <a:pt x="853" y="312"/>
                  </a:cubicBezTo>
                  <a:cubicBezTo>
                    <a:pt x="860" y="313"/>
                    <a:pt x="862" y="315"/>
                    <a:pt x="863" y="317"/>
                  </a:cubicBezTo>
                  <a:cubicBezTo>
                    <a:pt x="864" y="318"/>
                    <a:pt x="864" y="319"/>
                    <a:pt x="866" y="320"/>
                  </a:cubicBezTo>
                  <a:cubicBezTo>
                    <a:pt x="868" y="320"/>
                    <a:pt x="869" y="321"/>
                    <a:pt x="869" y="322"/>
                  </a:cubicBezTo>
                  <a:cubicBezTo>
                    <a:pt x="869" y="324"/>
                    <a:pt x="866" y="325"/>
                    <a:pt x="864" y="325"/>
                  </a:cubicBezTo>
                  <a:cubicBezTo>
                    <a:pt x="864" y="325"/>
                    <a:pt x="864" y="325"/>
                    <a:pt x="864" y="325"/>
                  </a:cubicBezTo>
                  <a:cubicBezTo>
                    <a:pt x="861" y="325"/>
                    <a:pt x="857" y="323"/>
                    <a:pt x="853" y="320"/>
                  </a:cubicBezTo>
                  <a:cubicBezTo>
                    <a:pt x="851" y="319"/>
                    <a:pt x="849" y="317"/>
                    <a:pt x="847" y="316"/>
                  </a:cubicBezTo>
                  <a:cubicBezTo>
                    <a:pt x="845" y="316"/>
                    <a:pt x="843" y="315"/>
                    <a:pt x="840" y="315"/>
                  </a:cubicBezTo>
                  <a:cubicBezTo>
                    <a:pt x="838" y="315"/>
                    <a:pt x="836" y="315"/>
                    <a:pt x="834" y="315"/>
                  </a:cubicBezTo>
                  <a:cubicBezTo>
                    <a:pt x="832" y="316"/>
                    <a:pt x="830" y="316"/>
                    <a:pt x="829" y="316"/>
                  </a:cubicBezTo>
                  <a:cubicBezTo>
                    <a:pt x="825" y="316"/>
                    <a:pt x="823" y="315"/>
                    <a:pt x="822" y="314"/>
                  </a:cubicBezTo>
                  <a:cubicBezTo>
                    <a:pt x="820" y="312"/>
                    <a:pt x="821" y="310"/>
                    <a:pt x="821" y="308"/>
                  </a:cubicBezTo>
                  <a:cubicBezTo>
                    <a:pt x="822" y="307"/>
                    <a:pt x="822" y="306"/>
                    <a:pt x="821" y="305"/>
                  </a:cubicBezTo>
                  <a:cubicBezTo>
                    <a:pt x="817" y="302"/>
                    <a:pt x="821" y="295"/>
                    <a:pt x="824" y="290"/>
                  </a:cubicBezTo>
                  <a:cubicBezTo>
                    <a:pt x="826" y="287"/>
                    <a:pt x="826" y="283"/>
                    <a:pt x="825" y="280"/>
                  </a:cubicBezTo>
                  <a:cubicBezTo>
                    <a:pt x="824" y="276"/>
                    <a:pt x="821" y="273"/>
                    <a:pt x="818" y="272"/>
                  </a:cubicBezTo>
                  <a:cubicBezTo>
                    <a:pt x="817" y="272"/>
                    <a:pt x="815" y="272"/>
                    <a:pt x="815" y="273"/>
                  </a:cubicBezTo>
                  <a:cubicBezTo>
                    <a:pt x="814" y="274"/>
                    <a:pt x="815" y="277"/>
                    <a:pt x="815" y="277"/>
                  </a:cubicBezTo>
                  <a:cubicBezTo>
                    <a:pt x="817" y="279"/>
                    <a:pt x="816" y="288"/>
                    <a:pt x="812" y="293"/>
                  </a:cubicBezTo>
                  <a:cubicBezTo>
                    <a:pt x="809" y="296"/>
                    <a:pt x="805" y="297"/>
                    <a:pt x="801" y="299"/>
                  </a:cubicBezTo>
                  <a:cubicBezTo>
                    <a:pt x="797" y="300"/>
                    <a:pt x="794" y="300"/>
                    <a:pt x="794" y="302"/>
                  </a:cubicBezTo>
                  <a:cubicBezTo>
                    <a:pt x="794" y="304"/>
                    <a:pt x="792" y="305"/>
                    <a:pt x="790" y="307"/>
                  </a:cubicBezTo>
                  <a:cubicBezTo>
                    <a:pt x="789" y="308"/>
                    <a:pt x="788" y="309"/>
                    <a:pt x="788" y="310"/>
                  </a:cubicBezTo>
                  <a:cubicBezTo>
                    <a:pt x="788" y="310"/>
                    <a:pt x="788" y="310"/>
                    <a:pt x="788" y="311"/>
                  </a:cubicBezTo>
                  <a:cubicBezTo>
                    <a:pt x="791" y="313"/>
                    <a:pt x="803" y="327"/>
                    <a:pt x="805" y="331"/>
                  </a:cubicBezTo>
                  <a:cubicBezTo>
                    <a:pt x="806" y="333"/>
                    <a:pt x="804" y="336"/>
                    <a:pt x="801" y="341"/>
                  </a:cubicBezTo>
                  <a:cubicBezTo>
                    <a:pt x="799" y="346"/>
                    <a:pt x="795" y="351"/>
                    <a:pt x="796" y="355"/>
                  </a:cubicBezTo>
                  <a:cubicBezTo>
                    <a:pt x="797" y="359"/>
                    <a:pt x="797" y="362"/>
                    <a:pt x="796" y="364"/>
                  </a:cubicBezTo>
                  <a:cubicBezTo>
                    <a:pt x="796" y="367"/>
                    <a:pt x="796" y="368"/>
                    <a:pt x="797" y="370"/>
                  </a:cubicBezTo>
                  <a:cubicBezTo>
                    <a:pt x="798" y="371"/>
                    <a:pt x="799" y="371"/>
                    <a:pt x="800" y="371"/>
                  </a:cubicBezTo>
                  <a:cubicBezTo>
                    <a:pt x="801" y="371"/>
                    <a:pt x="802" y="371"/>
                    <a:pt x="803" y="371"/>
                  </a:cubicBezTo>
                  <a:cubicBezTo>
                    <a:pt x="804" y="371"/>
                    <a:pt x="804" y="371"/>
                    <a:pt x="805" y="371"/>
                  </a:cubicBezTo>
                  <a:cubicBezTo>
                    <a:pt x="806" y="371"/>
                    <a:pt x="807" y="371"/>
                    <a:pt x="808" y="372"/>
                  </a:cubicBezTo>
                  <a:cubicBezTo>
                    <a:pt x="810" y="372"/>
                    <a:pt x="813" y="371"/>
                    <a:pt x="816" y="370"/>
                  </a:cubicBezTo>
                  <a:cubicBezTo>
                    <a:pt x="819" y="369"/>
                    <a:pt x="821" y="368"/>
                    <a:pt x="825" y="368"/>
                  </a:cubicBezTo>
                  <a:cubicBezTo>
                    <a:pt x="825" y="368"/>
                    <a:pt x="826" y="368"/>
                    <a:pt x="827" y="368"/>
                  </a:cubicBezTo>
                  <a:cubicBezTo>
                    <a:pt x="834" y="368"/>
                    <a:pt x="844" y="373"/>
                    <a:pt x="850" y="376"/>
                  </a:cubicBezTo>
                  <a:cubicBezTo>
                    <a:pt x="851" y="377"/>
                    <a:pt x="852" y="377"/>
                    <a:pt x="853" y="377"/>
                  </a:cubicBezTo>
                  <a:cubicBezTo>
                    <a:pt x="856" y="379"/>
                    <a:pt x="857" y="381"/>
                    <a:pt x="857" y="384"/>
                  </a:cubicBezTo>
                  <a:cubicBezTo>
                    <a:pt x="857" y="385"/>
                    <a:pt x="857" y="387"/>
                    <a:pt x="858" y="389"/>
                  </a:cubicBezTo>
                  <a:cubicBezTo>
                    <a:pt x="860" y="391"/>
                    <a:pt x="858" y="393"/>
                    <a:pt x="856" y="394"/>
                  </a:cubicBezTo>
                  <a:cubicBezTo>
                    <a:pt x="854" y="395"/>
                    <a:pt x="852" y="397"/>
                    <a:pt x="852" y="400"/>
                  </a:cubicBezTo>
                  <a:cubicBezTo>
                    <a:pt x="852" y="404"/>
                    <a:pt x="859" y="406"/>
                    <a:pt x="863" y="408"/>
                  </a:cubicBezTo>
                  <a:cubicBezTo>
                    <a:pt x="867" y="409"/>
                    <a:pt x="868" y="410"/>
                    <a:pt x="869" y="411"/>
                  </a:cubicBezTo>
                  <a:cubicBezTo>
                    <a:pt x="869" y="411"/>
                    <a:pt x="869" y="411"/>
                    <a:pt x="868" y="412"/>
                  </a:cubicBezTo>
                  <a:cubicBezTo>
                    <a:pt x="868" y="412"/>
                    <a:pt x="868" y="412"/>
                    <a:pt x="865" y="412"/>
                  </a:cubicBezTo>
                  <a:cubicBezTo>
                    <a:pt x="861" y="412"/>
                    <a:pt x="855" y="411"/>
                    <a:pt x="852" y="410"/>
                  </a:cubicBezTo>
                  <a:cubicBezTo>
                    <a:pt x="848" y="409"/>
                    <a:pt x="847" y="406"/>
                    <a:pt x="846" y="403"/>
                  </a:cubicBezTo>
                  <a:cubicBezTo>
                    <a:pt x="846" y="402"/>
                    <a:pt x="845" y="401"/>
                    <a:pt x="845" y="401"/>
                  </a:cubicBezTo>
                  <a:cubicBezTo>
                    <a:pt x="844" y="400"/>
                    <a:pt x="845" y="398"/>
                    <a:pt x="846" y="396"/>
                  </a:cubicBezTo>
                  <a:cubicBezTo>
                    <a:pt x="847" y="394"/>
                    <a:pt x="848" y="392"/>
                    <a:pt x="848" y="390"/>
                  </a:cubicBezTo>
                  <a:cubicBezTo>
                    <a:pt x="848" y="387"/>
                    <a:pt x="846" y="386"/>
                    <a:pt x="844" y="384"/>
                  </a:cubicBezTo>
                  <a:cubicBezTo>
                    <a:pt x="843" y="383"/>
                    <a:pt x="842" y="382"/>
                    <a:pt x="841" y="381"/>
                  </a:cubicBezTo>
                  <a:cubicBezTo>
                    <a:pt x="838" y="376"/>
                    <a:pt x="835" y="374"/>
                    <a:pt x="832" y="375"/>
                  </a:cubicBezTo>
                  <a:cubicBezTo>
                    <a:pt x="831" y="375"/>
                    <a:pt x="830" y="375"/>
                    <a:pt x="828" y="376"/>
                  </a:cubicBezTo>
                  <a:cubicBezTo>
                    <a:pt x="823" y="377"/>
                    <a:pt x="813" y="378"/>
                    <a:pt x="810" y="381"/>
                  </a:cubicBezTo>
                  <a:cubicBezTo>
                    <a:pt x="806" y="385"/>
                    <a:pt x="811" y="395"/>
                    <a:pt x="813" y="400"/>
                  </a:cubicBezTo>
                  <a:cubicBezTo>
                    <a:pt x="813" y="401"/>
                    <a:pt x="813" y="401"/>
                    <a:pt x="813" y="401"/>
                  </a:cubicBezTo>
                  <a:cubicBezTo>
                    <a:pt x="815" y="404"/>
                    <a:pt x="811" y="408"/>
                    <a:pt x="807" y="411"/>
                  </a:cubicBezTo>
                  <a:cubicBezTo>
                    <a:pt x="804" y="414"/>
                    <a:pt x="801" y="416"/>
                    <a:pt x="801" y="418"/>
                  </a:cubicBezTo>
                  <a:cubicBezTo>
                    <a:pt x="802" y="422"/>
                    <a:pt x="798" y="424"/>
                    <a:pt x="792" y="427"/>
                  </a:cubicBezTo>
                  <a:cubicBezTo>
                    <a:pt x="792" y="427"/>
                    <a:pt x="791" y="428"/>
                    <a:pt x="790" y="428"/>
                  </a:cubicBezTo>
                  <a:cubicBezTo>
                    <a:pt x="789" y="429"/>
                    <a:pt x="788" y="429"/>
                    <a:pt x="787" y="430"/>
                  </a:cubicBezTo>
                  <a:cubicBezTo>
                    <a:pt x="782" y="432"/>
                    <a:pt x="777" y="435"/>
                    <a:pt x="777" y="439"/>
                  </a:cubicBezTo>
                  <a:cubicBezTo>
                    <a:pt x="777" y="440"/>
                    <a:pt x="777" y="441"/>
                    <a:pt x="776" y="442"/>
                  </a:cubicBezTo>
                  <a:cubicBezTo>
                    <a:pt x="775" y="443"/>
                    <a:pt x="774" y="443"/>
                    <a:pt x="773" y="443"/>
                  </a:cubicBezTo>
                  <a:cubicBezTo>
                    <a:pt x="770" y="443"/>
                    <a:pt x="766" y="441"/>
                    <a:pt x="763" y="440"/>
                  </a:cubicBezTo>
                  <a:cubicBezTo>
                    <a:pt x="762" y="439"/>
                    <a:pt x="761" y="439"/>
                    <a:pt x="760" y="439"/>
                  </a:cubicBezTo>
                  <a:cubicBezTo>
                    <a:pt x="758" y="439"/>
                    <a:pt x="756" y="439"/>
                    <a:pt x="754" y="440"/>
                  </a:cubicBezTo>
                  <a:cubicBezTo>
                    <a:pt x="752" y="441"/>
                    <a:pt x="749" y="441"/>
                    <a:pt x="747" y="441"/>
                  </a:cubicBezTo>
                  <a:cubicBezTo>
                    <a:pt x="743" y="441"/>
                    <a:pt x="742" y="440"/>
                    <a:pt x="740" y="439"/>
                  </a:cubicBezTo>
                  <a:cubicBezTo>
                    <a:pt x="739" y="438"/>
                    <a:pt x="738" y="437"/>
                    <a:pt x="737" y="437"/>
                  </a:cubicBezTo>
                  <a:cubicBezTo>
                    <a:pt x="736" y="437"/>
                    <a:pt x="736" y="437"/>
                    <a:pt x="735" y="437"/>
                  </a:cubicBezTo>
                  <a:cubicBezTo>
                    <a:pt x="732" y="439"/>
                    <a:pt x="729" y="438"/>
                    <a:pt x="728" y="436"/>
                  </a:cubicBezTo>
                  <a:cubicBezTo>
                    <a:pt x="727" y="434"/>
                    <a:pt x="727" y="432"/>
                    <a:pt x="727" y="431"/>
                  </a:cubicBezTo>
                  <a:cubicBezTo>
                    <a:pt x="728" y="429"/>
                    <a:pt x="729" y="428"/>
                    <a:pt x="731" y="428"/>
                  </a:cubicBezTo>
                  <a:cubicBezTo>
                    <a:pt x="733" y="428"/>
                    <a:pt x="736" y="431"/>
                    <a:pt x="736" y="433"/>
                  </a:cubicBezTo>
                  <a:cubicBezTo>
                    <a:pt x="736" y="433"/>
                    <a:pt x="737" y="434"/>
                    <a:pt x="738" y="434"/>
                  </a:cubicBezTo>
                  <a:cubicBezTo>
                    <a:pt x="739" y="434"/>
                    <a:pt x="741" y="433"/>
                    <a:pt x="744" y="431"/>
                  </a:cubicBezTo>
                  <a:cubicBezTo>
                    <a:pt x="745" y="431"/>
                    <a:pt x="745" y="431"/>
                    <a:pt x="746" y="431"/>
                  </a:cubicBezTo>
                  <a:cubicBezTo>
                    <a:pt x="747" y="431"/>
                    <a:pt x="747" y="431"/>
                    <a:pt x="748" y="432"/>
                  </a:cubicBezTo>
                  <a:cubicBezTo>
                    <a:pt x="749" y="433"/>
                    <a:pt x="750" y="435"/>
                    <a:pt x="752" y="435"/>
                  </a:cubicBezTo>
                  <a:cubicBezTo>
                    <a:pt x="755" y="435"/>
                    <a:pt x="756" y="434"/>
                    <a:pt x="756" y="433"/>
                  </a:cubicBezTo>
                  <a:cubicBezTo>
                    <a:pt x="757" y="433"/>
                    <a:pt x="757" y="432"/>
                    <a:pt x="760" y="432"/>
                  </a:cubicBezTo>
                  <a:cubicBezTo>
                    <a:pt x="762" y="432"/>
                    <a:pt x="763" y="432"/>
                    <a:pt x="764" y="431"/>
                  </a:cubicBezTo>
                  <a:cubicBezTo>
                    <a:pt x="764" y="431"/>
                    <a:pt x="764" y="431"/>
                    <a:pt x="763" y="429"/>
                  </a:cubicBezTo>
                  <a:cubicBezTo>
                    <a:pt x="763" y="429"/>
                    <a:pt x="762" y="428"/>
                    <a:pt x="763" y="428"/>
                  </a:cubicBezTo>
                  <a:cubicBezTo>
                    <a:pt x="763" y="426"/>
                    <a:pt x="766" y="425"/>
                    <a:pt x="769" y="424"/>
                  </a:cubicBezTo>
                  <a:cubicBezTo>
                    <a:pt x="769" y="423"/>
                    <a:pt x="769" y="423"/>
                    <a:pt x="770" y="423"/>
                  </a:cubicBezTo>
                  <a:cubicBezTo>
                    <a:pt x="771" y="423"/>
                    <a:pt x="772" y="421"/>
                    <a:pt x="772" y="419"/>
                  </a:cubicBezTo>
                  <a:cubicBezTo>
                    <a:pt x="772" y="418"/>
                    <a:pt x="773" y="416"/>
                    <a:pt x="774" y="415"/>
                  </a:cubicBezTo>
                  <a:cubicBezTo>
                    <a:pt x="775" y="415"/>
                    <a:pt x="775" y="414"/>
                    <a:pt x="776" y="413"/>
                  </a:cubicBezTo>
                  <a:cubicBezTo>
                    <a:pt x="776" y="412"/>
                    <a:pt x="776" y="411"/>
                    <a:pt x="778" y="411"/>
                  </a:cubicBezTo>
                  <a:cubicBezTo>
                    <a:pt x="779" y="411"/>
                    <a:pt x="780" y="409"/>
                    <a:pt x="781" y="408"/>
                  </a:cubicBezTo>
                  <a:cubicBezTo>
                    <a:pt x="783" y="407"/>
                    <a:pt x="784" y="406"/>
                    <a:pt x="785" y="406"/>
                  </a:cubicBezTo>
                  <a:cubicBezTo>
                    <a:pt x="786" y="406"/>
                    <a:pt x="787" y="405"/>
                    <a:pt x="788" y="404"/>
                  </a:cubicBezTo>
                  <a:cubicBezTo>
                    <a:pt x="788" y="403"/>
                    <a:pt x="788" y="401"/>
                    <a:pt x="787" y="400"/>
                  </a:cubicBezTo>
                  <a:cubicBezTo>
                    <a:pt x="787" y="399"/>
                    <a:pt x="787" y="397"/>
                    <a:pt x="787" y="395"/>
                  </a:cubicBezTo>
                  <a:cubicBezTo>
                    <a:pt x="788" y="393"/>
                    <a:pt x="790" y="390"/>
                    <a:pt x="792" y="389"/>
                  </a:cubicBezTo>
                  <a:cubicBezTo>
                    <a:pt x="793" y="389"/>
                    <a:pt x="793" y="388"/>
                    <a:pt x="793" y="388"/>
                  </a:cubicBezTo>
                  <a:cubicBezTo>
                    <a:pt x="794" y="387"/>
                    <a:pt x="793" y="386"/>
                    <a:pt x="792" y="385"/>
                  </a:cubicBezTo>
                  <a:cubicBezTo>
                    <a:pt x="791" y="384"/>
                    <a:pt x="791" y="384"/>
                    <a:pt x="791" y="384"/>
                  </a:cubicBezTo>
                  <a:cubicBezTo>
                    <a:pt x="787" y="382"/>
                    <a:pt x="780" y="376"/>
                    <a:pt x="780" y="372"/>
                  </a:cubicBezTo>
                  <a:cubicBezTo>
                    <a:pt x="781" y="370"/>
                    <a:pt x="780" y="368"/>
                    <a:pt x="780" y="365"/>
                  </a:cubicBezTo>
                  <a:cubicBezTo>
                    <a:pt x="780" y="362"/>
                    <a:pt x="779" y="359"/>
                    <a:pt x="780" y="357"/>
                  </a:cubicBezTo>
                  <a:cubicBezTo>
                    <a:pt x="781" y="354"/>
                    <a:pt x="780" y="349"/>
                    <a:pt x="780" y="345"/>
                  </a:cubicBezTo>
                  <a:cubicBezTo>
                    <a:pt x="780" y="345"/>
                    <a:pt x="780" y="344"/>
                    <a:pt x="780" y="343"/>
                  </a:cubicBezTo>
                  <a:cubicBezTo>
                    <a:pt x="779" y="341"/>
                    <a:pt x="780" y="339"/>
                    <a:pt x="781" y="336"/>
                  </a:cubicBezTo>
                  <a:cubicBezTo>
                    <a:pt x="782" y="334"/>
                    <a:pt x="783" y="331"/>
                    <a:pt x="783" y="328"/>
                  </a:cubicBezTo>
                  <a:cubicBezTo>
                    <a:pt x="785" y="321"/>
                    <a:pt x="776" y="314"/>
                    <a:pt x="772" y="312"/>
                  </a:cubicBezTo>
                  <a:cubicBezTo>
                    <a:pt x="770" y="311"/>
                    <a:pt x="770" y="311"/>
                    <a:pt x="769" y="309"/>
                  </a:cubicBezTo>
                  <a:cubicBezTo>
                    <a:pt x="769" y="307"/>
                    <a:pt x="771" y="304"/>
                    <a:pt x="776" y="300"/>
                  </a:cubicBezTo>
                  <a:cubicBezTo>
                    <a:pt x="782" y="295"/>
                    <a:pt x="783" y="279"/>
                    <a:pt x="782" y="276"/>
                  </a:cubicBezTo>
                  <a:cubicBezTo>
                    <a:pt x="782" y="273"/>
                    <a:pt x="771" y="270"/>
                    <a:pt x="766" y="270"/>
                  </a:cubicBezTo>
                  <a:cubicBezTo>
                    <a:pt x="765" y="270"/>
                    <a:pt x="765" y="270"/>
                    <a:pt x="765" y="270"/>
                  </a:cubicBezTo>
                  <a:cubicBezTo>
                    <a:pt x="764" y="270"/>
                    <a:pt x="763" y="270"/>
                    <a:pt x="761" y="270"/>
                  </a:cubicBezTo>
                  <a:cubicBezTo>
                    <a:pt x="754" y="270"/>
                    <a:pt x="741" y="270"/>
                    <a:pt x="737" y="269"/>
                  </a:cubicBezTo>
                  <a:cubicBezTo>
                    <a:pt x="736" y="269"/>
                    <a:pt x="736" y="269"/>
                    <a:pt x="736" y="269"/>
                  </a:cubicBezTo>
                  <a:cubicBezTo>
                    <a:pt x="733" y="269"/>
                    <a:pt x="732" y="272"/>
                    <a:pt x="730" y="275"/>
                  </a:cubicBezTo>
                  <a:cubicBezTo>
                    <a:pt x="730" y="276"/>
                    <a:pt x="730" y="276"/>
                    <a:pt x="729" y="277"/>
                  </a:cubicBezTo>
                  <a:cubicBezTo>
                    <a:pt x="729" y="278"/>
                    <a:pt x="728" y="279"/>
                    <a:pt x="727" y="281"/>
                  </a:cubicBezTo>
                  <a:cubicBezTo>
                    <a:pt x="725" y="285"/>
                    <a:pt x="722" y="290"/>
                    <a:pt x="720" y="298"/>
                  </a:cubicBezTo>
                  <a:cubicBezTo>
                    <a:pt x="717" y="306"/>
                    <a:pt x="708" y="310"/>
                    <a:pt x="702" y="312"/>
                  </a:cubicBezTo>
                  <a:cubicBezTo>
                    <a:pt x="702" y="312"/>
                    <a:pt x="701" y="312"/>
                    <a:pt x="700" y="313"/>
                  </a:cubicBezTo>
                  <a:cubicBezTo>
                    <a:pt x="697" y="314"/>
                    <a:pt x="695" y="317"/>
                    <a:pt x="694" y="320"/>
                  </a:cubicBezTo>
                  <a:cubicBezTo>
                    <a:pt x="693" y="322"/>
                    <a:pt x="694" y="323"/>
                    <a:pt x="694" y="325"/>
                  </a:cubicBezTo>
                  <a:cubicBezTo>
                    <a:pt x="695" y="326"/>
                    <a:pt x="696" y="326"/>
                    <a:pt x="697" y="326"/>
                  </a:cubicBezTo>
                  <a:cubicBezTo>
                    <a:pt x="698" y="326"/>
                    <a:pt x="698" y="326"/>
                    <a:pt x="699" y="326"/>
                  </a:cubicBezTo>
                  <a:cubicBezTo>
                    <a:pt x="700" y="326"/>
                    <a:pt x="700" y="326"/>
                    <a:pt x="700" y="326"/>
                  </a:cubicBezTo>
                  <a:cubicBezTo>
                    <a:pt x="701" y="326"/>
                    <a:pt x="702" y="326"/>
                    <a:pt x="702" y="326"/>
                  </a:cubicBezTo>
                  <a:cubicBezTo>
                    <a:pt x="703" y="327"/>
                    <a:pt x="703" y="328"/>
                    <a:pt x="703" y="329"/>
                  </a:cubicBezTo>
                  <a:cubicBezTo>
                    <a:pt x="704" y="332"/>
                    <a:pt x="702" y="338"/>
                    <a:pt x="701" y="339"/>
                  </a:cubicBezTo>
                  <a:cubicBezTo>
                    <a:pt x="700" y="339"/>
                    <a:pt x="701" y="340"/>
                    <a:pt x="701" y="341"/>
                  </a:cubicBezTo>
                  <a:cubicBezTo>
                    <a:pt x="701" y="342"/>
                    <a:pt x="702" y="344"/>
                    <a:pt x="700" y="346"/>
                  </a:cubicBezTo>
                  <a:cubicBezTo>
                    <a:pt x="697" y="348"/>
                    <a:pt x="695" y="351"/>
                    <a:pt x="694" y="353"/>
                  </a:cubicBezTo>
                  <a:cubicBezTo>
                    <a:pt x="694" y="354"/>
                    <a:pt x="694" y="354"/>
                    <a:pt x="695" y="355"/>
                  </a:cubicBezTo>
                  <a:cubicBezTo>
                    <a:pt x="696" y="356"/>
                    <a:pt x="700" y="357"/>
                    <a:pt x="703" y="358"/>
                  </a:cubicBezTo>
                  <a:cubicBezTo>
                    <a:pt x="707" y="359"/>
                    <a:pt x="710" y="360"/>
                    <a:pt x="712" y="361"/>
                  </a:cubicBezTo>
                  <a:cubicBezTo>
                    <a:pt x="715" y="363"/>
                    <a:pt x="715" y="365"/>
                    <a:pt x="716" y="368"/>
                  </a:cubicBezTo>
                  <a:cubicBezTo>
                    <a:pt x="716" y="369"/>
                    <a:pt x="717" y="371"/>
                    <a:pt x="718" y="373"/>
                  </a:cubicBezTo>
                  <a:cubicBezTo>
                    <a:pt x="720" y="376"/>
                    <a:pt x="722" y="376"/>
                    <a:pt x="724" y="376"/>
                  </a:cubicBezTo>
                  <a:cubicBezTo>
                    <a:pt x="725" y="376"/>
                    <a:pt x="726" y="376"/>
                    <a:pt x="727" y="378"/>
                  </a:cubicBezTo>
                  <a:cubicBezTo>
                    <a:pt x="728" y="379"/>
                    <a:pt x="728" y="380"/>
                    <a:pt x="727" y="383"/>
                  </a:cubicBezTo>
                  <a:cubicBezTo>
                    <a:pt x="725" y="387"/>
                    <a:pt x="720" y="393"/>
                    <a:pt x="718" y="393"/>
                  </a:cubicBezTo>
                  <a:cubicBezTo>
                    <a:pt x="718" y="393"/>
                    <a:pt x="718" y="393"/>
                    <a:pt x="718" y="393"/>
                  </a:cubicBezTo>
                  <a:cubicBezTo>
                    <a:pt x="715" y="393"/>
                    <a:pt x="711" y="389"/>
                    <a:pt x="705" y="383"/>
                  </a:cubicBezTo>
                  <a:cubicBezTo>
                    <a:pt x="703" y="381"/>
                    <a:pt x="701" y="380"/>
                    <a:pt x="700" y="379"/>
                  </a:cubicBezTo>
                  <a:cubicBezTo>
                    <a:pt x="698" y="377"/>
                    <a:pt x="693" y="376"/>
                    <a:pt x="688" y="374"/>
                  </a:cubicBezTo>
                  <a:cubicBezTo>
                    <a:pt x="684" y="372"/>
                    <a:pt x="680" y="370"/>
                    <a:pt x="676" y="369"/>
                  </a:cubicBezTo>
                  <a:cubicBezTo>
                    <a:pt x="674" y="367"/>
                    <a:pt x="671" y="367"/>
                    <a:pt x="669" y="366"/>
                  </a:cubicBezTo>
                  <a:cubicBezTo>
                    <a:pt x="665" y="365"/>
                    <a:pt x="661" y="364"/>
                    <a:pt x="657" y="361"/>
                  </a:cubicBezTo>
                  <a:cubicBezTo>
                    <a:pt x="650" y="356"/>
                    <a:pt x="644" y="354"/>
                    <a:pt x="630" y="354"/>
                  </a:cubicBezTo>
                  <a:cubicBezTo>
                    <a:pt x="630" y="354"/>
                    <a:pt x="630" y="354"/>
                    <a:pt x="629" y="354"/>
                  </a:cubicBezTo>
                  <a:cubicBezTo>
                    <a:pt x="622" y="354"/>
                    <a:pt x="617" y="353"/>
                    <a:pt x="612" y="352"/>
                  </a:cubicBezTo>
                  <a:cubicBezTo>
                    <a:pt x="609" y="352"/>
                    <a:pt x="606" y="351"/>
                    <a:pt x="604" y="351"/>
                  </a:cubicBezTo>
                  <a:cubicBezTo>
                    <a:pt x="602" y="352"/>
                    <a:pt x="601" y="350"/>
                    <a:pt x="600" y="349"/>
                  </a:cubicBezTo>
                  <a:cubicBezTo>
                    <a:pt x="599" y="347"/>
                    <a:pt x="597" y="345"/>
                    <a:pt x="593" y="343"/>
                  </a:cubicBezTo>
                  <a:cubicBezTo>
                    <a:pt x="591" y="342"/>
                    <a:pt x="589" y="341"/>
                    <a:pt x="587" y="340"/>
                  </a:cubicBezTo>
                  <a:cubicBezTo>
                    <a:pt x="583" y="339"/>
                    <a:pt x="581" y="337"/>
                    <a:pt x="578" y="337"/>
                  </a:cubicBezTo>
                  <a:cubicBezTo>
                    <a:pt x="577" y="337"/>
                    <a:pt x="577" y="337"/>
                    <a:pt x="576" y="338"/>
                  </a:cubicBezTo>
                  <a:cubicBezTo>
                    <a:pt x="574" y="339"/>
                    <a:pt x="573" y="340"/>
                    <a:pt x="574" y="343"/>
                  </a:cubicBezTo>
                  <a:cubicBezTo>
                    <a:pt x="574" y="345"/>
                    <a:pt x="576" y="348"/>
                    <a:pt x="580" y="349"/>
                  </a:cubicBezTo>
                  <a:cubicBezTo>
                    <a:pt x="583" y="349"/>
                    <a:pt x="584" y="350"/>
                    <a:pt x="585" y="351"/>
                  </a:cubicBezTo>
                  <a:cubicBezTo>
                    <a:pt x="586" y="352"/>
                    <a:pt x="587" y="353"/>
                    <a:pt x="590" y="353"/>
                  </a:cubicBezTo>
                  <a:cubicBezTo>
                    <a:pt x="595" y="353"/>
                    <a:pt x="597" y="353"/>
                    <a:pt x="599" y="355"/>
                  </a:cubicBezTo>
                  <a:cubicBezTo>
                    <a:pt x="600" y="356"/>
                    <a:pt x="600" y="358"/>
                    <a:pt x="600" y="360"/>
                  </a:cubicBezTo>
                  <a:cubicBezTo>
                    <a:pt x="600" y="365"/>
                    <a:pt x="604" y="369"/>
                    <a:pt x="607" y="372"/>
                  </a:cubicBezTo>
                  <a:cubicBezTo>
                    <a:pt x="608" y="373"/>
                    <a:pt x="609" y="375"/>
                    <a:pt x="608" y="377"/>
                  </a:cubicBezTo>
                  <a:cubicBezTo>
                    <a:pt x="607" y="379"/>
                    <a:pt x="605" y="381"/>
                    <a:pt x="602" y="381"/>
                  </a:cubicBezTo>
                  <a:cubicBezTo>
                    <a:pt x="596" y="381"/>
                    <a:pt x="593" y="381"/>
                    <a:pt x="592" y="383"/>
                  </a:cubicBezTo>
                  <a:cubicBezTo>
                    <a:pt x="592" y="383"/>
                    <a:pt x="592" y="384"/>
                    <a:pt x="592" y="385"/>
                  </a:cubicBezTo>
                  <a:cubicBezTo>
                    <a:pt x="593" y="387"/>
                    <a:pt x="593" y="388"/>
                    <a:pt x="593" y="388"/>
                  </a:cubicBezTo>
                  <a:cubicBezTo>
                    <a:pt x="592" y="389"/>
                    <a:pt x="591" y="390"/>
                    <a:pt x="590" y="390"/>
                  </a:cubicBezTo>
                  <a:cubicBezTo>
                    <a:pt x="588" y="390"/>
                    <a:pt x="586" y="389"/>
                    <a:pt x="584" y="389"/>
                  </a:cubicBezTo>
                  <a:cubicBezTo>
                    <a:pt x="582" y="388"/>
                    <a:pt x="581" y="387"/>
                    <a:pt x="581" y="385"/>
                  </a:cubicBezTo>
                  <a:cubicBezTo>
                    <a:pt x="580" y="383"/>
                    <a:pt x="582" y="381"/>
                    <a:pt x="584" y="379"/>
                  </a:cubicBezTo>
                  <a:cubicBezTo>
                    <a:pt x="584" y="379"/>
                    <a:pt x="584" y="379"/>
                    <a:pt x="584" y="378"/>
                  </a:cubicBezTo>
                  <a:cubicBezTo>
                    <a:pt x="584" y="377"/>
                    <a:pt x="581" y="375"/>
                    <a:pt x="575" y="373"/>
                  </a:cubicBezTo>
                  <a:cubicBezTo>
                    <a:pt x="575" y="373"/>
                    <a:pt x="575" y="373"/>
                    <a:pt x="575" y="373"/>
                  </a:cubicBezTo>
                  <a:cubicBezTo>
                    <a:pt x="572" y="373"/>
                    <a:pt x="565" y="378"/>
                    <a:pt x="560" y="381"/>
                  </a:cubicBezTo>
                  <a:cubicBezTo>
                    <a:pt x="557" y="382"/>
                    <a:pt x="555" y="384"/>
                    <a:pt x="553" y="385"/>
                  </a:cubicBezTo>
                  <a:cubicBezTo>
                    <a:pt x="552" y="385"/>
                    <a:pt x="549" y="385"/>
                    <a:pt x="545" y="384"/>
                  </a:cubicBezTo>
                  <a:cubicBezTo>
                    <a:pt x="542" y="384"/>
                    <a:pt x="539" y="384"/>
                    <a:pt x="536" y="384"/>
                  </a:cubicBezTo>
                  <a:cubicBezTo>
                    <a:pt x="533" y="384"/>
                    <a:pt x="531" y="384"/>
                    <a:pt x="529" y="385"/>
                  </a:cubicBezTo>
                  <a:cubicBezTo>
                    <a:pt x="523" y="386"/>
                    <a:pt x="521" y="389"/>
                    <a:pt x="519" y="392"/>
                  </a:cubicBezTo>
                  <a:cubicBezTo>
                    <a:pt x="518" y="393"/>
                    <a:pt x="517" y="395"/>
                    <a:pt x="516" y="395"/>
                  </a:cubicBezTo>
                  <a:cubicBezTo>
                    <a:pt x="515" y="394"/>
                    <a:pt x="515" y="394"/>
                    <a:pt x="515" y="394"/>
                  </a:cubicBezTo>
                  <a:cubicBezTo>
                    <a:pt x="514" y="394"/>
                    <a:pt x="513" y="394"/>
                    <a:pt x="512" y="394"/>
                  </a:cubicBezTo>
                  <a:cubicBezTo>
                    <a:pt x="511" y="394"/>
                    <a:pt x="510" y="394"/>
                    <a:pt x="508" y="394"/>
                  </a:cubicBezTo>
                  <a:cubicBezTo>
                    <a:pt x="507" y="394"/>
                    <a:pt x="506" y="394"/>
                    <a:pt x="504" y="394"/>
                  </a:cubicBezTo>
                  <a:cubicBezTo>
                    <a:pt x="501" y="394"/>
                    <a:pt x="498" y="394"/>
                    <a:pt x="495" y="393"/>
                  </a:cubicBezTo>
                  <a:cubicBezTo>
                    <a:pt x="494" y="392"/>
                    <a:pt x="493" y="391"/>
                    <a:pt x="493" y="390"/>
                  </a:cubicBezTo>
                  <a:cubicBezTo>
                    <a:pt x="494" y="388"/>
                    <a:pt x="497" y="388"/>
                    <a:pt x="498" y="388"/>
                  </a:cubicBezTo>
                  <a:cubicBezTo>
                    <a:pt x="499" y="388"/>
                    <a:pt x="499" y="388"/>
                    <a:pt x="499" y="388"/>
                  </a:cubicBezTo>
                  <a:cubicBezTo>
                    <a:pt x="502" y="388"/>
                    <a:pt x="503" y="388"/>
                    <a:pt x="503" y="387"/>
                  </a:cubicBezTo>
                  <a:cubicBezTo>
                    <a:pt x="504" y="387"/>
                    <a:pt x="503" y="386"/>
                    <a:pt x="502" y="385"/>
                  </a:cubicBezTo>
                  <a:cubicBezTo>
                    <a:pt x="500" y="382"/>
                    <a:pt x="502" y="380"/>
                    <a:pt x="504" y="377"/>
                  </a:cubicBezTo>
                  <a:cubicBezTo>
                    <a:pt x="505" y="376"/>
                    <a:pt x="505" y="375"/>
                    <a:pt x="505" y="374"/>
                  </a:cubicBezTo>
                  <a:cubicBezTo>
                    <a:pt x="505" y="374"/>
                    <a:pt x="505" y="374"/>
                    <a:pt x="505" y="374"/>
                  </a:cubicBezTo>
                  <a:cubicBezTo>
                    <a:pt x="501" y="374"/>
                    <a:pt x="489" y="379"/>
                    <a:pt x="486" y="381"/>
                  </a:cubicBezTo>
                  <a:cubicBezTo>
                    <a:pt x="485" y="382"/>
                    <a:pt x="485" y="383"/>
                    <a:pt x="485" y="385"/>
                  </a:cubicBezTo>
                  <a:cubicBezTo>
                    <a:pt x="485" y="386"/>
                    <a:pt x="485" y="388"/>
                    <a:pt x="484" y="389"/>
                  </a:cubicBezTo>
                  <a:cubicBezTo>
                    <a:pt x="483" y="389"/>
                    <a:pt x="483" y="389"/>
                    <a:pt x="482" y="389"/>
                  </a:cubicBezTo>
                  <a:cubicBezTo>
                    <a:pt x="481" y="389"/>
                    <a:pt x="480" y="388"/>
                    <a:pt x="480" y="387"/>
                  </a:cubicBezTo>
                  <a:cubicBezTo>
                    <a:pt x="479" y="386"/>
                    <a:pt x="478" y="385"/>
                    <a:pt x="477" y="385"/>
                  </a:cubicBezTo>
                  <a:cubicBezTo>
                    <a:pt x="477" y="385"/>
                    <a:pt x="476" y="385"/>
                    <a:pt x="475" y="385"/>
                  </a:cubicBezTo>
                  <a:cubicBezTo>
                    <a:pt x="469" y="385"/>
                    <a:pt x="448" y="390"/>
                    <a:pt x="444" y="395"/>
                  </a:cubicBezTo>
                  <a:cubicBezTo>
                    <a:pt x="441" y="398"/>
                    <a:pt x="438" y="399"/>
                    <a:pt x="435" y="400"/>
                  </a:cubicBezTo>
                  <a:cubicBezTo>
                    <a:pt x="432" y="401"/>
                    <a:pt x="430" y="402"/>
                    <a:pt x="430" y="403"/>
                  </a:cubicBezTo>
                  <a:cubicBezTo>
                    <a:pt x="430" y="405"/>
                    <a:pt x="426" y="406"/>
                    <a:pt x="421" y="407"/>
                  </a:cubicBezTo>
                  <a:cubicBezTo>
                    <a:pt x="419" y="407"/>
                    <a:pt x="416" y="408"/>
                    <a:pt x="414" y="408"/>
                  </a:cubicBezTo>
                  <a:cubicBezTo>
                    <a:pt x="411" y="410"/>
                    <a:pt x="411" y="413"/>
                    <a:pt x="412" y="417"/>
                  </a:cubicBezTo>
                  <a:cubicBezTo>
                    <a:pt x="412" y="419"/>
                    <a:pt x="412" y="422"/>
                    <a:pt x="411" y="423"/>
                  </a:cubicBezTo>
                  <a:cubicBezTo>
                    <a:pt x="410" y="426"/>
                    <a:pt x="405" y="427"/>
                    <a:pt x="394" y="427"/>
                  </a:cubicBezTo>
                  <a:cubicBezTo>
                    <a:pt x="393" y="427"/>
                    <a:pt x="391" y="427"/>
                    <a:pt x="390" y="427"/>
                  </a:cubicBezTo>
                  <a:cubicBezTo>
                    <a:pt x="388" y="427"/>
                    <a:pt x="387" y="427"/>
                    <a:pt x="386" y="427"/>
                  </a:cubicBezTo>
                  <a:cubicBezTo>
                    <a:pt x="386" y="427"/>
                    <a:pt x="386" y="427"/>
                    <a:pt x="386" y="427"/>
                  </a:cubicBezTo>
                  <a:cubicBezTo>
                    <a:pt x="382" y="427"/>
                    <a:pt x="381" y="424"/>
                    <a:pt x="379" y="421"/>
                  </a:cubicBezTo>
                  <a:cubicBezTo>
                    <a:pt x="377" y="418"/>
                    <a:pt x="376" y="416"/>
                    <a:pt x="374" y="416"/>
                  </a:cubicBezTo>
                  <a:cubicBezTo>
                    <a:pt x="373" y="416"/>
                    <a:pt x="372" y="415"/>
                    <a:pt x="372" y="414"/>
                  </a:cubicBezTo>
                  <a:cubicBezTo>
                    <a:pt x="371" y="412"/>
                    <a:pt x="372" y="409"/>
                    <a:pt x="373" y="406"/>
                  </a:cubicBezTo>
                  <a:cubicBezTo>
                    <a:pt x="374" y="404"/>
                    <a:pt x="375" y="404"/>
                    <a:pt x="377" y="404"/>
                  </a:cubicBezTo>
                  <a:cubicBezTo>
                    <a:pt x="379" y="404"/>
                    <a:pt x="381" y="404"/>
                    <a:pt x="384" y="402"/>
                  </a:cubicBezTo>
                  <a:cubicBezTo>
                    <a:pt x="385" y="401"/>
                    <a:pt x="386" y="401"/>
                    <a:pt x="388" y="401"/>
                  </a:cubicBezTo>
                  <a:cubicBezTo>
                    <a:pt x="390" y="401"/>
                    <a:pt x="391" y="401"/>
                    <a:pt x="392" y="401"/>
                  </a:cubicBezTo>
                  <a:cubicBezTo>
                    <a:pt x="394" y="402"/>
                    <a:pt x="396" y="402"/>
                    <a:pt x="396" y="401"/>
                  </a:cubicBezTo>
                  <a:cubicBezTo>
                    <a:pt x="397" y="401"/>
                    <a:pt x="395" y="398"/>
                    <a:pt x="393" y="396"/>
                  </a:cubicBezTo>
                  <a:cubicBezTo>
                    <a:pt x="391" y="394"/>
                    <a:pt x="388" y="391"/>
                    <a:pt x="387" y="388"/>
                  </a:cubicBezTo>
                  <a:cubicBezTo>
                    <a:pt x="387" y="384"/>
                    <a:pt x="381" y="382"/>
                    <a:pt x="375" y="382"/>
                  </a:cubicBezTo>
                  <a:cubicBezTo>
                    <a:pt x="373" y="382"/>
                    <a:pt x="371" y="383"/>
                    <a:pt x="369" y="383"/>
                  </a:cubicBezTo>
                  <a:cubicBezTo>
                    <a:pt x="368" y="384"/>
                    <a:pt x="366" y="384"/>
                    <a:pt x="363" y="384"/>
                  </a:cubicBezTo>
                  <a:cubicBezTo>
                    <a:pt x="359" y="384"/>
                    <a:pt x="355" y="383"/>
                    <a:pt x="351" y="381"/>
                  </a:cubicBezTo>
                  <a:cubicBezTo>
                    <a:pt x="350" y="381"/>
                    <a:pt x="350" y="381"/>
                    <a:pt x="350" y="381"/>
                  </a:cubicBezTo>
                  <a:cubicBezTo>
                    <a:pt x="349" y="381"/>
                    <a:pt x="349" y="381"/>
                    <a:pt x="349" y="381"/>
                  </a:cubicBezTo>
                  <a:cubicBezTo>
                    <a:pt x="349" y="382"/>
                    <a:pt x="350" y="385"/>
                    <a:pt x="354" y="386"/>
                  </a:cubicBezTo>
                  <a:cubicBezTo>
                    <a:pt x="359" y="387"/>
                    <a:pt x="359" y="390"/>
                    <a:pt x="359" y="393"/>
                  </a:cubicBezTo>
                  <a:cubicBezTo>
                    <a:pt x="358" y="394"/>
                    <a:pt x="358" y="395"/>
                    <a:pt x="359" y="396"/>
                  </a:cubicBezTo>
                  <a:cubicBezTo>
                    <a:pt x="360" y="400"/>
                    <a:pt x="357" y="407"/>
                    <a:pt x="353" y="413"/>
                  </a:cubicBezTo>
                  <a:cubicBezTo>
                    <a:pt x="351" y="415"/>
                    <a:pt x="351" y="416"/>
                    <a:pt x="351" y="417"/>
                  </a:cubicBezTo>
                  <a:cubicBezTo>
                    <a:pt x="352" y="417"/>
                    <a:pt x="353" y="417"/>
                    <a:pt x="354" y="417"/>
                  </a:cubicBezTo>
                  <a:cubicBezTo>
                    <a:pt x="355" y="417"/>
                    <a:pt x="356" y="417"/>
                    <a:pt x="357" y="417"/>
                  </a:cubicBezTo>
                  <a:cubicBezTo>
                    <a:pt x="358" y="417"/>
                    <a:pt x="358" y="417"/>
                    <a:pt x="358" y="417"/>
                  </a:cubicBezTo>
                  <a:cubicBezTo>
                    <a:pt x="359" y="417"/>
                    <a:pt x="360" y="418"/>
                    <a:pt x="361" y="418"/>
                  </a:cubicBezTo>
                  <a:cubicBezTo>
                    <a:pt x="363" y="421"/>
                    <a:pt x="363" y="425"/>
                    <a:pt x="363" y="429"/>
                  </a:cubicBezTo>
                  <a:cubicBezTo>
                    <a:pt x="363" y="431"/>
                    <a:pt x="363" y="431"/>
                    <a:pt x="363" y="431"/>
                  </a:cubicBezTo>
                  <a:cubicBezTo>
                    <a:pt x="363" y="434"/>
                    <a:pt x="362" y="436"/>
                    <a:pt x="361" y="437"/>
                  </a:cubicBezTo>
                  <a:cubicBezTo>
                    <a:pt x="360" y="439"/>
                    <a:pt x="359" y="440"/>
                    <a:pt x="359" y="442"/>
                  </a:cubicBezTo>
                  <a:cubicBezTo>
                    <a:pt x="359" y="443"/>
                    <a:pt x="358" y="444"/>
                    <a:pt x="357" y="444"/>
                  </a:cubicBezTo>
                  <a:cubicBezTo>
                    <a:pt x="357" y="444"/>
                    <a:pt x="356" y="443"/>
                    <a:pt x="355" y="443"/>
                  </a:cubicBezTo>
                  <a:cubicBezTo>
                    <a:pt x="354" y="442"/>
                    <a:pt x="353" y="442"/>
                    <a:pt x="353" y="442"/>
                  </a:cubicBezTo>
                  <a:cubicBezTo>
                    <a:pt x="352" y="442"/>
                    <a:pt x="352" y="442"/>
                    <a:pt x="352" y="442"/>
                  </a:cubicBezTo>
                  <a:cubicBezTo>
                    <a:pt x="351" y="443"/>
                    <a:pt x="351" y="443"/>
                    <a:pt x="351" y="443"/>
                  </a:cubicBezTo>
                  <a:cubicBezTo>
                    <a:pt x="349" y="443"/>
                    <a:pt x="348" y="440"/>
                    <a:pt x="347" y="437"/>
                  </a:cubicBezTo>
                  <a:cubicBezTo>
                    <a:pt x="347" y="436"/>
                    <a:pt x="343" y="435"/>
                    <a:pt x="340" y="435"/>
                  </a:cubicBezTo>
                  <a:cubicBezTo>
                    <a:pt x="337" y="435"/>
                    <a:pt x="335" y="435"/>
                    <a:pt x="333" y="435"/>
                  </a:cubicBezTo>
                  <a:cubicBezTo>
                    <a:pt x="332" y="435"/>
                    <a:pt x="331" y="435"/>
                    <a:pt x="330" y="435"/>
                  </a:cubicBezTo>
                  <a:cubicBezTo>
                    <a:pt x="328" y="435"/>
                    <a:pt x="326" y="436"/>
                    <a:pt x="324" y="439"/>
                  </a:cubicBezTo>
                  <a:cubicBezTo>
                    <a:pt x="321" y="444"/>
                    <a:pt x="313" y="445"/>
                    <a:pt x="311" y="445"/>
                  </a:cubicBezTo>
                  <a:cubicBezTo>
                    <a:pt x="308" y="445"/>
                    <a:pt x="305" y="448"/>
                    <a:pt x="302" y="451"/>
                  </a:cubicBezTo>
                  <a:cubicBezTo>
                    <a:pt x="300" y="453"/>
                    <a:pt x="299" y="454"/>
                    <a:pt x="297" y="455"/>
                  </a:cubicBezTo>
                  <a:cubicBezTo>
                    <a:pt x="295" y="456"/>
                    <a:pt x="295" y="458"/>
                    <a:pt x="294" y="459"/>
                  </a:cubicBezTo>
                  <a:cubicBezTo>
                    <a:pt x="294" y="462"/>
                    <a:pt x="295" y="464"/>
                    <a:pt x="298" y="467"/>
                  </a:cubicBezTo>
                  <a:cubicBezTo>
                    <a:pt x="303" y="471"/>
                    <a:pt x="305" y="475"/>
                    <a:pt x="304" y="479"/>
                  </a:cubicBezTo>
                  <a:cubicBezTo>
                    <a:pt x="304" y="481"/>
                    <a:pt x="300" y="481"/>
                    <a:pt x="298" y="481"/>
                  </a:cubicBezTo>
                  <a:cubicBezTo>
                    <a:pt x="293" y="481"/>
                    <a:pt x="287" y="480"/>
                    <a:pt x="286" y="478"/>
                  </a:cubicBezTo>
                  <a:cubicBezTo>
                    <a:pt x="284" y="476"/>
                    <a:pt x="278" y="474"/>
                    <a:pt x="274" y="474"/>
                  </a:cubicBezTo>
                  <a:cubicBezTo>
                    <a:pt x="273" y="474"/>
                    <a:pt x="272" y="475"/>
                    <a:pt x="271" y="475"/>
                  </a:cubicBezTo>
                  <a:cubicBezTo>
                    <a:pt x="271" y="475"/>
                    <a:pt x="271" y="475"/>
                    <a:pt x="271" y="475"/>
                  </a:cubicBezTo>
                  <a:cubicBezTo>
                    <a:pt x="269" y="475"/>
                    <a:pt x="266" y="473"/>
                    <a:pt x="263" y="470"/>
                  </a:cubicBezTo>
                  <a:cubicBezTo>
                    <a:pt x="260" y="468"/>
                    <a:pt x="257" y="465"/>
                    <a:pt x="255" y="465"/>
                  </a:cubicBezTo>
                  <a:cubicBezTo>
                    <a:pt x="254" y="465"/>
                    <a:pt x="254" y="465"/>
                    <a:pt x="254" y="465"/>
                  </a:cubicBezTo>
                  <a:cubicBezTo>
                    <a:pt x="251" y="465"/>
                    <a:pt x="248" y="470"/>
                    <a:pt x="247" y="472"/>
                  </a:cubicBezTo>
                  <a:cubicBezTo>
                    <a:pt x="246" y="473"/>
                    <a:pt x="246" y="473"/>
                    <a:pt x="246" y="473"/>
                  </a:cubicBezTo>
                  <a:cubicBezTo>
                    <a:pt x="246" y="474"/>
                    <a:pt x="246" y="475"/>
                    <a:pt x="248" y="476"/>
                  </a:cubicBezTo>
                  <a:cubicBezTo>
                    <a:pt x="249" y="477"/>
                    <a:pt x="250" y="479"/>
                    <a:pt x="251" y="481"/>
                  </a:cubicBezTo>
                  <a:cubicBezTo>
                    <a:pt x="253" y="485"/>
                    <a:pt x="261" y="485"/>
                    <a:pt x="264" y="485"/>
                  </a:cubicBezTo>
                  <a:cubicBezTo>
                    <a:pt x="266" y="485"/>
                    <a:pt x="266" y="486"/>
                    <a:pt x="267" y="487"/>
                  </a:cubicBezTo>
                  <a:cubicBezTo>
                    <a:pt x="268" y="489"/>
                    <a:pt x="267" y="493"/>
                    <a:pt x="266" y="495"/>
                  </a:cubicBezTo>
                  <a:cubicBezTo>
                    <a:pt x="265" y="497"/>
                    <a:pt x="261" y="498"/>
                    <a:pt x="258" y="498"/>
                  </a:cubicBezTo>
                  <a:cubicBezTo>
                    <a:pt x="257" y="498"/>
                    <a:pt x="255" y="498"/>
                    <a:pt x="254" y="497"/>
                  </a:cubicBezTo>
                  <a:cubicBezTo>
                    <a:pt x="253" y="495"/>
                    <a:pt x="251" y="495"/>
                    <a:pt x="249" y="495"/>
                  </a:cubicBezTo>
                  <a:cubicBezTo>
                    <a:pt x="246" y="495"/>
                    <a:pt x="243" y="495"/>
                    <a:pt x="243" y="493"/>
                  </a:cubicBezTo>
                  <a:cubicBezTo>
                    <a:pt x="243" y="490"/>
                    <a:pt x="238" y="486"/>
                    <a:pt x="232" y="486"/>
                  </a:cubicBezTo>
                  <a:cubicBezTo>
                    <a:pt x="231" y="486"/>
                    <a:pt x="231" y="486"/>
                    <a:pt x="230" y="486"/>
                  </a:cubicBezTo>
                  <a:cubicBezTo>
                    <a:pt x="227" y="486"/>
                    <a:pt x="225" y="486"/>
                    <a:pt x="224" y="484"/>
                  </a:cubicBezTo>
                  <a:cubicBezTo>
                    <a:pt x="222" y="483"/>
                    <a:pt x="222" y="480"/>
                    <a:pt x="222" y="477"/>
                  </a:cubicBezTo>
                  <a:cubicBezTo>
                    <a:pt x="222" y="474"/>
                    <a:pt x="221" y="472"/>
                    <a:pt x="220" y="470"/>
                  </a:cubicBezTo>
                  <a:cubicBezTo>
                    <a:pt x="219" y="469"/>
                    <a:pt x="218" y="467"/>
                    <a:pt x="219" y="466"/>
                  </a:cubicBezTo>
                  <a:cubicBezTo>
                    <a:pt x="219" y="466"/>
                    <a:pt x="218" y="465"/>
                    <a:pt x="218" y="464"/>
                  </a:cubicBezTo>
                  <a:cubicBezTo>
                    <a:pt x="217" y="461"/>
                    <a:pt x="217" y="458"/>
                    <a:pt x="219" y="457"/>
                  </a:cubicBezTo>
                  <a:cubicBezTo>
                    <a:pt x="221" y="455"/>
                    <a:pt x="221" y="453"/>
                    <a:pt x="220" y="451"/>
                  </a:cubicBezTo>
                  <a:cubicBezTo>
                    <a:pt x="220" y="450"/>
                    <a:pt x="220" y="449"/>
                    <a:pt x="220" y="448"/>
                  </a:cubicBezTo>
                  <a:cubicBezTo>
                    <a:pt x="220" y="447"/>
                    <a:pt x="219" y="445"/>
                    <a:pt x="218" y="444"/>
                  </a:cubicBezTo>
                  <a:cubicBezTo>
                    <a:pt x="216" y="442"/>
                    <a:pt x="213" y="440"/>
                    <a:pt x="209" y="440"/>
                  </a:cubicBezTo>
                  <a:cubicBezTo>
                    <a:pt x="206" y="440"/>
                    <a:pt x="205" y="438"/>
                    <a:pt x="204" y="437"/>
                  </a:cubicBezTo>
                  <a:cubicBezTo>
                    <a:pt x="203" y="435"/>
                    <a:pt x="202" y="434"/>
                    <a:pt x="200" y="434"/>
                  </a:cubicBezTo>
                  <a:cubicBezTo>
                    <a:pt x="196" y="432"/>
                    <a:pt x="187" y="425"/>
                    <a:pt x="186" y="421"/>
                  </a:cubicBezTo>
                  <a:cubicBezTo>
                    <a:pt x="186" y="420"/>
                    <a:pt x="184" y="419"/>
                    <a:pt x="182" y="418"/>
                  </a:cubicBezTo>
                  <a:cubicBezTo>
                    <a:pt x="181" y="418"/>
                    <a:pt x="180" y="418"/>
                    <a:pt x="180" y="417"/>
                  </a:cubicBezTo>
                  <a:cubicBezTo>
                    <a:pt x="180" y="416"/>
                    <a:pt x="181" y="416"/>
                    <a:pt x="181" y="416"/>
                  </a:cubicBezTo>
                  <a:cubicBezTo>
                    <a:pt x="182" y="416"/>
                    <a:pt x="182" y="416"/>
                    <a:pt x="183" y="416"/>
                  </a:cubicBezTo>
                  <a:cubicBezTo>
                    <a:pt x="186" y="416"/>
                    <a:pt x="190" y="417"/>
                    <a:pt x="193" y="420"/>
                  </a:cubicBezTo>
                  <a:cubicBezTo>
                    <a:pt x="198" y="425"/>
                    <a:pt x="204" y="428"/>
                    <a:pt x="213" y="429"/>
                  </a:cubicBezTo>
                  <a:cubicBezTo>
                    <a:pt x="218" y="430"/>
                    <a:pt x="222" y="431"/>
                    <a:pt x="226" y="433"/>
                  </a:cubicBezTo>
                  <a:cubicBezTo>
                    <a:pt x="229" y="434"/>
                    <a:pt x="233" y="436"/>
                    <a:pt x="238" y="437"/>
                  </a:cubicBezTo>
                  <a:cubicBezTo>
                    <a:pt x="241" y="437"/>
                    <a:pt x="243" y="438"/>
                    <a:pt x="245" y="438"/>
                  </a:cubicBezTo>
                  <a:cubicBezTo>
                    <a:pt x="253" y="439"/>
                    <a:pt x="259" y="441"/>
                    <a:pt x="272" y="442"/>
                  </a:cubicBezTo>
                  <a:cubicBezTo>
                    <a:pt x="273" y="443"/>
                    <a:pt x="275" y="443"/>
                    <a:pt x="276" y="443"/>
                  </a:cubicBezTo>
                  <a:cubicBezTo>
                    <a:pt x="291" y="443"/>
                    <a:pt x="309" y="429"/>
                    <a:pt x="314" y="424"/>
                  </a:cubicBezTo>
                  <a:cubicBezTo>
                    <a:pt x="317" y="421"/>
                    <a:pt x="315" y="416"/>
                    <a:pt x="314" y="412"/>
                  </a:cubicBezTo>
                  <a:cubicBezTo>
                    <a:pt x="313" y="410"/>
                    <a:pt x="313" y="408"/>
                    <a:pt x="313" y="407"/>
                  </a:cubicBezTo>
                  <a:cubicBezTo>
                    <a:pt x="313" y="406"/>
                    <a:pt x="311" y="405"/>
                    <a:pt x="309" y="404"/>
                  </a:cubicBezTo>
                  <a:cubicBezTo>
                    <a:pt x="307" y="403"/>
                    <a:pt x="305" y="402"/>
                    <a:pt x="304" y="401"/>
                  </a:cubicBezTo>
                  <a:cubicBezTo>
                    <a:pt x="303" y="399"/>
                    <a:pt x="299" y="394"/>
                    <a:pt x="293" y="394"/>
                  </a:cubicBezTo>
                  <a:cubicBezTo>
                    <a:pt x="289" y="394"/>
                    <a:pt x="287" y="392"/>
                    <a:pt x="286" y="390"/>
                  </a:cubicBezTo>
                  <a:cubicBezTo>
                    <a:pt x="284" y="389"/>
                    <a:pt x="283" y="387"/>
                    <a:pt x="281" y="387"/>
                  </a:cubicBezTo>
                  <a:cubicBezTo>
                    <a:pt x="276" y="388"/>
                    <a:pt x="273" y="385"/>
                    <a:pt x="262" y="378"/>
                  </a:cubicBezTo>
                  <a:cubicBezTo>
                    <a:pt x="259" y="377"/>
                    <a:pt x="259" y="377"/>
                    <a:pt x="259" y="377"/>
                  </a:cubicBezTo>
                  <a:cubicBezTo>
                    <a:pt x="248" y="369"/>
                    <a:pt x="232" y="363"/>
                    <a:pt x="227" y="363"/>
                  </a:cubicBezTo>
                  <a:cubicBezTo>
                    <a:pt x="226" y="363"/>
                    <a:pt x="226" y="363"/>
                    <a:pt x="226" y="363"/>
                  </a:cubicBezTo>
                  <a:cubicBezTo>
                    <a:pt x="224" y="364"/>
                    <a:pt x="223" y="365"/>
                    <a:pt x="221" y="365"/>
                  </a:cubicBezTo>
                  <a:cubicBezTo>
                    <a:pt x="220" y="365"/>
                    <a:pt x="219" y="364"/>
                    <a:pt x="218" y="362"/>
                  </a:cubicBezTo>
                  <a:cubicBezTo>
                    <a:pt x="217" y="361"/>
                    <a:pt x="215" y="360"/>
                    <a:pt x="213" y="360"/>
                  </a:cubicBezTo>
                  <a:cubicBezTo>
                    <a:pt x="211" y="360"/>
                    <a:pt x="209" y="361"/>
                    <a:pt x="208" y="362"/>
                  </a:cubicBezTo>
                  <a:cubicBezTo>
                    <a:pt x="207" y="363"/>
                    <a:pt x="206" y="363"/>
                    <a:pt x="205" y="363"/>
                  </a:cubicBezTo>
                  <a:cubicBezTo>
                    <a:pt x="204" y="363"/>
                    <a:pt x="203" y="363"/>
                    <a:pt x="202" y="362"/>
                  </a:cubicBezTo>
                  <a:cubicBezTo>
                    <a:pt x="200" y="362"/>
                    <a:pt x="199" y="361"/>
                    <a:pt x="197" y="361"/>
                  </a:cubicBezTo>
                  <a:cubicBezTo>
                    <a:pt x="196" y="361"/>
                    <a:pt x="195" y="361"/>
                    <a:pt x="194" y="361"/>
                  </a:cubicBezTo>
                  <a:cubicBezTo>
                    <a:pt x="193" y="362"/>
                    <a:pt x="192" y="362"/>
                    <a:pt x="191" y="362"/>
                  </a:cubicBezTo>
                  <a:cubicBezTo>
                    <a:pt x="188" y="362"/>
                    <a:pt x="186" y="360"/>
                    <a:pt x="185" y="358"/>
                  </a:cubicBezTo>
                  <a:cubicBezTo>
                    <a:pt x="185" y="357"/>
                    <a:pt x="185" y="356"/>
                    <a:pt x="186" y="356"/>
                  </a:cubicBezTo>
                  <a:cubicBezTo>
                    <a:pt x="186" y="355"/>
                    <a:pt x="189" y="355"/>
                    <a:pt x="191" y="354"/>
                  </a:cubicBezTo>
                  <a:cubicBezTo>
                    <a:pt x="193" y="354"/>
                    <a:pt x="195" y="354"/>
                    <a:pt x="196" y="353"/>
                  </a:cubicBezTo>
                  <a:cubicBezTo>
                    <a:pt x="196" y="353"/>
                    <a:pt x="196" y="353"/>
                    <a:pt x="196" y="353"/>
                  </a:cubicBezTo>
                  <a:cubicBezTo>
                    <a:pt x="196" y="352"/>
                    <a:pt x="196" y="352"/>
                    <a:pt x="194" y="351"/>
                  </a:cubicBezTo>
                  <a:cubicBezTo>
                    <a:pt x="192" y="351"/>
                    <a:pt x="190" y="351"/>
                    <a:pt x="187" y="349"/>
                  </a:cubicBezTo>
                  <a:cubicBezTo>
                    <a:pt x="185" y="348"/>
                    <a:pt x="183" y="347"/>
                    <a:pt x="182" y="347"/>
                  </a:cubicBezTo>
                  <a:cubicBezTo>
                    <a:pt x="179" y="347"/>
                    <a:pt x="178" y="350"/>
                    <a:pt x="177" y="351"/>
                  </a:cubicBezTo>
                  <a:cubicBezTo>
                    <a:pt x="177" y="352"/>
                    <a:pt x="175" y="353"/>
                    <a:pt x="173" y="353"/>
                  </a:cubicBezTo>
                  <a:cubicBezTo>
                    <a:pt x="172" y="353"/>
                    <a:pt x="169" y="352"/>
                    <a:pt x="168" y="351"/>
                  </a:cubicBezTo>
                  <a:cubicBezTo>
                    <a:pt x="167" y="351"/>
                    <a:pt x="167" y="350"/>
                    <a:pt x="167" y="350"/>
                  </a:cubicBezTo>
                  <a:cubicBezTo>
                    <a:pt x="166" y="354"/>
                    <a:pt x="164" y="356"/>
                    <a:pt x="162" y="356"/>
                  </a:cubicBezTo>
                  <a:cubicBezTo>
                    <a:pt x="161" y="356"/>
                    <a:pt x="160" y="355"/>
                    <a:pt x="159" y="355"/>
                  </a:cubicBezTo>
                  <a:cubicBezTo>
                    <a:pt x="158" y="355"/>
                    <a:pt x="156" y="356"/>
                    <a:pt x="154" y="358"/>
                  </a:cubicBezTo>
                  <a:cubicBezTo>
                    <a:pt x="152" y="359"/>
                    <a:pt x="150" y="361"/>
                    <a:pt x="147" y="361"/>
                  </a:cubicBezTo>
                  <a:cubicBezTo>
                    <a:pt x="143" y="361"/>
                    <a:pt x="139" y="365"/>
                    <a:pt x="138" y="369"/>
                  </a:cubicBezTo>
                  <a:cubicBezTo>
                    <a:pt x="137" y="372"/>
                    <a:pt x="136" y="372"/>
                    <a:pt x="134" y="372"/>
                  </a:cubicBezTo>
                  <a:cubicBezTo>
                    <a:pt x="133" y="372"/>
                    <a:pt x="132" y="373"/>
                    <a:pt x="132" y="373"/>
                  </a:cubicBezTo>
                  <a:cubicBezTo>
                    <a:pt x="132" y="376"/>
                    <a:pt x="132" y="379"/>
                    <a:pt x="130" y="381"/>
                  </a:cubicBezTo>
                  <a:cubicBezTo>
                    <a:pt x="129" y="383"/>
                    <a:pt x="129" y="384"/>
                    <a:pt x="131" y="386"/>
                  </a:cubicBezTo>
                  <a:cubicBezTo>
                    <a:pt x="131" y="387"/>
                    <a:pt x="132" y="388"/>
                    <a:pt x="132" y="389"/>
                  </a:cubicBezTo>
                  <a:cubicBezTo>
                    <a:pt x="134" y="392"/>
                    <a:pt x="136" y="392"/>
                    <a:pt x="139" y="393"/>
                  </a:cubicBezTo>
                  <a:cubicBezTo>
                    <a:pt x="140" y="393"/>
                    <a:pt x="141" y="394"/>
                    <a:pt x="141" y="394"/>
                  </a:cubicBezTo>
                  <a:cubicBezTo>
                    <a:pt x="143" y="395"/>
                    <a:pt x="152" y="402"/>
                    <a:pt x="152" y="405"/>
                  </a:cubicBezTo>
                  <a:cubicBezTo>
                    <a:pt x="152" y="408"/>
                    <a:pt x="145" y="415"/>
                    <a:pt x="143" y="416"/>
                  </a:cubicBezTo>
                  <a:cubicBezTo>
                    <a:pt x="141" y="418"/>
                    <a:pt x="138" y="420"/>
                    <a:pt x="138" y="422"/>
                  </a:cubicBezTo>
                  <a:cubicBezTo>
                    <a:pt x="138" y="423"/>
                    <a:pt x="138" y="424"/>
                    <a:pt x="138" y="424"/>
                  </a:cubicBezTo>
                  <a:cubicBezTo>
                    <a:pt x="139" y="425"/>
                    <a:pt x="139" y="425"/>
                    <a:pt x="139" y="425"/>
                  </a:cubicBezTo>
                  <a:cubicBezTo>
                    <a:pt x="141" y="429"/>
                    <a:pt x="148" y="438"/>
                    <a:pt x="152" y="446"/>
                  </a:cubicBezTo>
                  <a:cubicBezTo>
                    <a:pt x="154" y="449"/>
                    <a:pt x="154" y="451"/>
                    <a:pt x="154" y="452"/>
                  </a:cubicBezTo>
                  <a:cubicBezTo>
                    <a:pt x="153" y="453"/>
                    <a:pt x="152" y="453"/>
                    <a:pt x="151" y="453"/>
                  </a:cubicBezTo>
                  <a:cubicBezTo>
                    <a:pt x="150" y="454"/>
                    <a:pt x="148" y="454"/>
                    <a:pt x="147" y="455"/>
                  </a:cubicBezTo>
                  <a:cubicBezTo>
                    <a:pt x="145" y="458"/>
                    <a:pt x="147" y="461"/>
                    <a:pt x="148" y="464"/>
                  </a:cubicBezTo>
                  <a:cubicBezTo>
                    <a:pt x="149" y="465"/>
                    <a:pt x="149" y="465"/>
                    <a:pt x="150" y="466"/>
                  </a:cubicBezTo>
                  <a:cubicBezTo>
                    <a:pt x="150" y="468"/>
                    <a:pt x="149" y="469"/>
                    <a:pt x="148" y="469"/>
                  </a:cubicBezTo>
                  <a:cubicBezTo>
                    <a:pt x="147" y="470"/>
                    <a:pt x="146" y="470"/>
                    <a:pt x="146" y="470"/>
                  </a:cubicBezTo>
                  <a:cubicBezTo>
                    <a:pt x="146" y="471"/>
                    <a:pt x="148" y="472"/>
                    <a:pt x="150" y="473"/>
                  </a:cubicBezTo>
                  <a:cubicBezTo>
                    <a:pt x="152" y="473"/>
                    <a:pt x="153" y="474"/>
                    <a:pt x="154" y="475"/>
                  </a:cubicBezTo>
                  <a:cubicBezTo>
                    <a:pt x="154" y="476"/>
                    <a:pt x="153" y="477"/>
                    <a:pt x="152" y="478"/>
                  </a:cubicBezTo>
                  <a:cubicBezTo>
                    <a:pt x="151" y="479"/>
                    <a:pt x="150" y="480"/>
                    <a:pt x="151" y="482"/>
                  </a:cubicBezTo>
                  <a:cubicBezTo>
                    <a:pt x="152" y="484"/>
                    <a:pt x="154" y="484"/>
                    <a:pt x="155" y="485"/>
                  </a:cubicBezTo>
                  <a:cubicBezTo>
                    <a:pt x="157" y="486"/>
                    <a:pt x="159" y="488"/>
                    <a:pt x="159" y="490"/>
                  </a:cubicBezTo>
                  <a:cubicBezTo>
                    <a:pt x="159" y="493"/>
                    <a:pt x="156" y="494"/>
                    <a:pt x="154" y="495"/>
                  </a:cubicBezTo>
                  <a:cubicBezTo>
                    <a:pt x="152" y="496"/>
                    <a:pt x="150" y="497"/>
                    <a:pt x="150" y="498"/>
                  </a:cubicBezTo>
                  <a:cubicBezTo>
                    <a:pt x="150" y="500"/>
                    <a:pt x="154" y="502"/>
                    <a:pt x="157" y="504"/>
                  </a:cubicBezTo>
                  <a:cubicBezTo>
                    <a:pt x="161" y="506"/>
                    <a:pt x="166" y="509"/>
                    <a:pt x="168" y="512"/>
                  </a:cubicBezTo>
                  <a:cubicBezTo>
                    <a:pt x="174" y="519"/>
                    <a:pt x="174" y="521"/>
                    <a:pt x="172" y="524"/>
                  </a:cubicBezTo>
                  <a:cubicBezTo>
                    <a:pt x="171" y="528"/>
                    <a:pt x="167" y="531"/>
                    <a:pt x="162" y="535"/>
                  </a:cubicBezTo>
                  <a:cubicBezTo>
                    <a:pt x="157" y="538"/>
                    <a:pt x="153" y="541"/>
                    <a:pt x="151" y="545"/>
                  </a:cubicBezTo>
                  <a:cubicBezTo>
                    <a:pt x="149" y="550"/>
                    <a:pt x="143" y="553"/>
                    <a:pt x="138" y="557"/>
                  </a:cubicBezTo>
                  <a:cubicBezTo>
                    <a:pt x="134" y="559"/>
                    <a:pt x="131" y="561"/>
                    <a:pt x="128" y="563"/>
                  </a:cubicBezTo>
                  <a:cubicBezTo>
                    <a:pt x="127" y="565"/>
                    <a:pt x="125" y="568"/>
                    <a:pt x="122" y="571"/>
                  </a:cubicBezTo>
                  <a:cubicBezTo>
                    <a:pt x="124" y="570"/>
                    <a:pt x="126" y="570"/>
                    <a:pt x="127" y="569"/>
                  </a:cubicBezTo>
                  <a:cubicBezTo>
                    <a:pt x="128" y="569"/>
                    <a:pt x="128" y="569"/>
                    <a:pt x="128" y="569"/>
                  </a:cubicBezTo>
                  <a:cubicBezTo>
                    <a:pt x="130" y="569"/>
                    <a:pt x="132" y="571"/>
                    <a:pt x="133" y="574"/>
                  </a:cubicBezTo>
                  <a:cubicBezTo>
                    <a:pt x="134" y="576"/>
                    <a:pt x="136" y="578"/>
                    <a:pt x="137" y="579"/>
                  </a:cubicBezTo>
                  <a:cubicBezTo>
                    <a:pt x="138" y="580"/>
                    <a:pt x="141" y="580"/>
                    <a:pt x="143" y="580"/>
                  </a:cubicBezTo>
                  <a:cubicBezTo>
                    <a:pt x="146" y="580"/>
                    <a:pt x="148" y="580"/>
                    <a:pt x="150" y="582"/>
                  </a:cubicBezTo>
                  <a:cubicBezTo>
                    <a:pt x="150" y="582"/>
                    <a:pt x="150" y="583"/>
                    <a:pt x="150" y="584"/>
                  </a:cubicBezTo>
                  <a:cubicBezTo>
                    <a:pt x="150" y="584"/>
                    <a:pt x="149" y="585"/>
                    <a:pt x="147" y="585"/>
                  </a:cubicBezTo>
                  <a:cubicBezTo>
                    <a:pt x="146" y="585"/>
                    <a:pt x="144" y="585"/>
                    <a:pt x="142" y="584"/>
                  </a:cubicBezTo>
                  <a:cubicBezTo>
                    <a:pt x="139" y="584"/>
                    <a:pt x="138" y="585"/>
                    <a:pt x="135" y="586"/>
                  </a:cubicBezTo>
                  <a:cubicBezTo>
                    <a:pt x="134" y="587"/>
                    <a:pt x="132" y="588"/>
                    <a:pt x="128" y="589"/>
                  </a:cubicBezTo>
                  <a:cubicBezTo>
                    <a:pt x="125" y="590"/>
                    <a:pt x="124" y="592"/>
                    <a:pt x="123" y="593"/>
                  </a:cubicBezTo>
                  <a:cubicBezTo>
                    <a:pt x="122" y="594"/>
                    <a:pt x="122" y="594"/>
                    <a:pt x="122" y="594"/>
                  </a:cubicBezTo>
                  <a:cubicBezTo>
                    <a:pt x="124" y="598"/>
                    <a:pt x="122" y="599"/>
                    <a:pt x="121" y="601"/>
                  </a:cubicBezTo>
                  <a:cubicBezTo>
                    <a:pt x="120" y="602"/>
                    <a:pt x="119" y="603"/>
                    <a:pt x="119" y="604"/>
                  </a:cubicBezTo>
                  <a:cubicBezTo>
                    <a:pt x="118" y="606"/>
                    <a:pt x="116" y="607"/>
                    <a:pt x="116" y="608"/>
                  </a:cubicBezTo>
                  <a:cubicBezTo>
                    <a:pt x="115" y="609"/>
                    <a:pt x="114" y="610"/>
                    <a:pt x="114" y="611"/>
                  </a:cubicBezTo>
                  <a:cubicBezTo>
                    <a:pt x="114" y="613"/>
                    <a:pt x="114" y="614"/>
                    <a:pt x="114" y="615"/>
                  </a:cubicBezTo>
                  <a:cubicBezTo>
                    <a:pt x="114" y="617"/>
                    <a:pt x="115" y="618"/>
                    <a:pt x="115" y="619"/>
                  </a:cubicBezTo>
                  <a:cubicBezTo>
                    <a:pt x="115" y="623"/>
                    <a:pt x="116" y="624"/>
                    <a:pt x="117" y="626"/>
                  </a:cubicBezTo>
                  <a:cubicBezTo>
                    <a:pt x="118" y="627"/>
                    <a:pt x="118" y="627"/>
                    <a:pt x="118" y="627"/>
                  </a:cubicBezTo>
                  <a:cubicBezTo>
                    <a:pt x="119" y="628"/>
                    <a:pt x="119" y="629"/>
                    <a:pt x="119" y="629"/>
                  </a:cubicBezTo>
                  <a:cubicBezTo>
                    <a:pt x="118" y="630"/>
                    <a:pt x="117" y="631"/>
                    <a:pt x="116" y="631"/>
                  </a:cubicBezTo>
                  <a:cubicBezTo>
                    <a:pt x="115" y="632"/>
                    <a:pt x="115" y="632"/>
                    <a:pt x="114" y="633"/>
                  </a:cubicBezTo>
                  <a:cubicBezTo>
                    <a:pt x="114" y="633"/>
                    <a:pt x="113" y="633"/>
                    <a:pt x="113" y="634"/>
                  </a:cubicBezTo>
                  <a:cubicBezTo>
                    <a:pt x="113" y="636"/>
                    <a:pt x="114" y="638"/>
                    <a:pt x="116" y="640"/>
                  </a:cubicBezTo>
                  <a:cubicBezTo>
                    <a:pt x="119" y="642"/>
                    <a:pt x="119" y="646"/>
                    <a:pt x="118" y="648"/>
                  </a:cubicBezTo>
                  <a:cubicBezTo>
                    <a:pt x="117" y="650"/>
                    <a:pt x="119" y="653"/>
                    <a:pt x="122" y="656"/>
                  </a:cubicBezTo>
                  <a:cubicBezTo>
                    <a:pt x="123" y="657"/>
                    <a:pt x="124" y="659"/>
                    <a:pt x="124" y="662"/>
                  </a:cubicBezTo>
                  <a:cubicBezTo>
                    <a:pt x="125" y="663"/>
                    <a:pt x="125" y="665"/>
                    <a:pt x="126" y="666"/>
                  </a:cubicBezTo>
                  <a:cubicBezTo>
                    <a:pt x="127" y="667"/>
                    <a:pt x="129" y="668"/>
                    <a:pt x="131" y="668"/>
                  </a:cubicBezTo>
                  <a:cubicBezTo>
                    <a:pt x="132" y="668"/>
                    <a:pt x="133" y="668"/>
                    <a:pt x="133" y="668"/>
                  </a:cubicBezTo>
                  <a:cubicBezTo>
                    <a:pt x="137" y="667"/>
                    <a:pt x="139" y="668"/>
                    <a:pt x="141" y="672"/>
                  </a:cubicBezTo>
                  <a:cubicBezTo>
                    <a:pt x="142" y="673"/>
                    <a:pt x="142" y="673"/>
                    <a:pt x="143" y="673"/>
                  </a:cubicBezTo>
                  <a:cubicBezTo>
                    <a:pt x="145" y="673"/>
                    <a:pt x="146" y="673"/>
                    <a:pt x="148" y="672"/>
                  </a:cubicBezTo>
                  <a:cubicBezTo>
                    <a:pt x="148" y="672"/>
                    <a:pt x="148" y="672"/>
                    <a:pt x="148" y="672"/>
                  </a:cubicBezTo>
                  <a:cubicBezTo>
                    <a:pt x="149" y="671"/>
                    <a:pt x="150" y="671"/>
                    <a:pt x="150" y="671"/>
                  </a:cubicBezTo>
                  <a:cubicBezTo>
                    <a:pt x="154" y="671"/>
                    <a:pt x="159" y="674"/>
                    <a:pt x="162" y="675"/>
                  </a:cubicBezTo>
                  <a:cubicBezTo>
                    <a:pt x="162" y="676"/>
                    <a:pt x="162" y="676"/>
                    <a:pt x="162" y="676"/>
                  </a:cubicBezTo>
                  <a:cubicBezTo>
                    <a:pt x="164" y="676"/>
                    <a:pt x="164" y="679"/>
                    <a:pt x="164" y="682"/>
                  </a:cubicBezTo>
                  <a:cubicBezTo>
                    <a:pt x="164" y="684"/>
                    <a:pt x="164" y="685"/>
                    <a:pt x="164" y="686"/>
                  </a:cubicBezTo>
                  <a:cubicBezTo>
                    <a:pt x="164" y="687"/>
                    <a:pt x="164" y="688"/>
                    <a:pt x="164" y="690"/>
                  </a:cubicBezTo>
                  <a:cubicBezTo>
                    <a:pt x="163" y="692"/>
                    <a:pt x="163" y="695"/>
                    <a:pt x="165" y="696"/>
                  </a:cubicBezTo>
                  <a:cubicBezTo>
                    <a:pt x="167" y="697"/>
                    <a:pt x="168" y="699"/>
                    <a:pt x="168" y="700"/>
                  </a:cubicBezTo>
                  <a:cubicBezTo>
                    <a:pt x="169" y="702"/>
                    <a:pt x="170" y="704"/>
                    <a:pt x="172" y="705"/>
                  </a:cubicBezTo>
                  <a:cubicBezTo>
                    <a:pt x="174" y="706"/>
                    <a:pt x="176" y="708"/>
                    <a:pt x="177" y="710"/>
                  </a:cubicBezTo>
                  <a:cubicBezTo>
                    <a:pt x="178" y="711"/>
                    <a:pt x="179" y="713"/>
                    <a:pt x="180" y="713"/>
                  </a:cubicBezTo>
                  <a:cubicBezTo>
                    <a:pt x="183" y="714"/>
                    <a:pt x="188" y="718"/>
                    <a:pt x="189" y="721"/>
                  </a:cubicBezTo>
                  <a:cubicBezTo>
                    <a:pt x="189" y="723"/>
                    <a:pt x="187" y="726"/>
                    <a:pt x="181" y="728"/>
                  </a:cubicBezTo>
                  <a:cubicBezTo>
                    <a:pt x="180" y="728"/>
                    <a:pt x="180" y="728"/>
                    <a:pt x="180" y="728"/>
                  </a:cubicBezTo>
                  <a:cubicBezTo>
                    <a:pt x="178" y="728"/>
                    <a:pt x="177" y="728"/>
                    <a:pt x="175" y="727"/>
                  </a:cubicBezTo>
                  <a:cubicBezTo>
                    <a:pt x="173" y="726"/>
                    <a:pt x="172" y="725"/>
                    <a:pt x="171" y="726"/>
                  </a:cubicBezTo>
                  <a:cubicBezTo>
                    <a:pt x="170" y="728"/>
                    <a:pt x="170" y="730"/>
                    <a:pt x="171" y="733"/>
                  </a:cubicBezTo>
                  <a:cubicBezTo>
                    <a:pt x="172" y="735"/>
                    <a:pt x="173" y="737"/>
                    <a:pt x="173" y="739"/>
                  </a:cubicBezTo>
                  <a:cubicBezTo>
                    <a:pt x="175" y="747"/>
                    <a:pt x="176" y="747"/>
                    <a:pt x="179" y="747"/>
                  </a:cubicBezTo>
                  <a:cubicBezTo>
                    <a:pt x="181" y="747"/>
                    <a:pt x="182" y="746"/>
                    <a:pt x="183" y="745"/>
                  </a:cubicBezTo>
                  <a:cubicBezTo>
                    <a:pt x="184" y="744"/>
                    <a:pt x="185" y="744"/>
                    <a:pt x="185" y="743"/>
                  </a:cubicBezTo>
                  <a:cubicBezTo>
                    <a:pt x="186" y="743"/>
                    <a:pt x="187" y="743"/>
                    <a:pt x="188" y="743"/>
                  </a:cubicBezTo>
                  <a:cubicBezTo>
                    <a:pt x="189" y="743"/>
                    <a:pt x="190" y="743"/>
                    <a:pt x="191" y="743"/>
                  </a:cubicBezTo>
                  <a:cubicBezTo>
                    <a:pt x="193" y="743"/>
                    <a:pt x="194" y="743"/>
                    <a:pt x="195" y="743"/>
                  </a:cubicBezTo>
                  <a:cubicBezTo>
                    <a:pt x="196" y="743"/>
                    <a:pt x="198" y="742"/>
                    <a:pt x="200" y="742"/>
                  </a:cubicBezTo>
                  <a:cubicBezTo>
                    <a:pt x="202" y="742"/>
                    <a:pt x="206" y="742"/>
                    <a:pt x="208" y="744"/>
                  </a:cubicBezTo>
                  <a:cubicBezTo>
                    <a:pt x="209" y="747"/>
                    <a:pt x="211" y="753"/>
                    <a:pt x="210" y="756"/>
                  </a:cubicBezTo>
                  <a:cubicBezTo>
                    <a:pt x="209" y="757"/>
                    <a:pt x="210" y="759"/>
                    <a:pt x="211" y="761"/>
                  </a:cubicBezTo>
                  <a:cubicBezTo>
                    <a:pt x="212" y="762"/>
                    <a:pt x="212" y="763"/>
                    <a:pt x="213" y="764"/>
                  </a:cubicBezTo>
                  <a:cubicBezTo>
                    <a:pt x="214" y="765"/>
                    <a:pt x="217" y="765"/>
                    <a:pt x="219" y="765"/>
                  </a:cubicBezTo>
                  <a:cubicBezTo>
                    <a:pt x="221" y="765"/>
                    <a:pt x="222" y="765"/>
                    <a:pt x="223" y="766"/>
                  </a:cubicBezTo>
                  <a:cubicBezTo>
                    <a:pt x="226" y="767"/>
                    <a:pt x="231" y="774"/>
                    <a:pt x="230" y="778"/>
                  </a:cubicBezTo>
                  <a:cubicBezTo>
                    <a:pt x="230" y="779"/>
                    <a:pt x="230" y="779"/>
                    <a:pt x="230" y="779"/>
                  </a:cubicBezTo>
                  <a:cubicBezTo>
                    <a:pt x="231" y="780"/>
                    <a:pt x="232" y="780"/>
                    <a:pt x="233" y="780"/>
                  </a:cubicBezTo>
                  <a:cubicBezTo>
                    <a:pt x="233" y="780"/>
                    <a:pt x="234" y="780"/>
                    <a:pt x="235" y="780"/>
                  </a:cubicBezTo>
                  <a:cubicBezTo>
                    <a:pt x="236" y="780"/>
                    <a:pt x="236" y="780"/>
                    <a:pt x="236" y="780"/>
                  </a:cubicBezTo>
                  <a:cubicBezTo>
                    <a:pt x="237" y="780"/>
                    <a:pt x="239" y="781"/>
                    <a:pt x="240" y="782"/>
                  </a:cubicBezTo>
                  <a:cubicBezTo>
                    <a:pt x="241" y="782"/>
                    <a:pt x="242" y="783"/>
                    <a:pt x="242" y="783"/>
                  </a:cubicBezTo>
                  <a:cubicBezTo>
                    <a:pt x="244" y="785"/>
                    <a:pt x="246" y="785"/>
                    <a:pt x="249" y="783"/>
                  </a:cubicBezTo>
                  <a:cubicBezTo>
                    <a:pt x="251" y="782"/>
                    <a:pt x="253" y="781"/>
                    <a:pt x="255" y="781"/>
                  </a:cubicBezTo>
                  <a:cubicBezTo>
                    <a:pt x="256" y="781"/>
                    <a:pt x="257" y="781"/>
                    <a:pt x="258" y="782"/>
                  </a:cubicBezTo>
                  <a:cubicBezTo>
                    <a:pt x="259" y="783"/>
                    <a:pt x="260" y="785"/>
                    <a:pt x="261" y="786"/>
                  </a:cubicBezTo>
                  <a:cubicBezTo>
                    <a:pt x="263" y="788"/>
                    <a:pt x="264" y="789"/>
                    <a:pt x="264" y="790"/>
                  </a:cubicBezTo>
                  <a:cubicBezTo>
                    <a:pt x="265" y="790"/>
                    <a:pt x="267" y="790"/>
                    <a:pt x="268" y="790"/>
                  </a:cubicBezTo>
                  <a:cubicBezTo>
                    <a:pt x="271" y="790"/>
                    <a:pt x="274" y="791"/>
                    <a:pt x="276" y="792"/>
                  </a:cubicBezTo>
                  <a:cubicBezTo>
                    <a:pt x="278" y="793"/>
                    <a:pt x="280" y="793"/>
                    <a:pt x="282" y="793"/>
                  </a:cubicBezTo>
                  <a:cubicBezTo>
                    <a:pt x="284" y="793"/>
                    <a:pt x="286" y="794"/>
                    <a:pt x="288" y="795"/>
                  </a:cubicBezTo>
                  <a:cubicBezTo>
                    <a:pt x="290" y="796"/>
                    <a:pt x="291" y="796"/>
                    <a:pt x="292" y="797"/>
                  </a:cubicBezTo>
                  <a:cubicBezTo>
                    <a:pt x="295" y="798"/>
                    <a:pt x="297" y="798"/>
                    <a:pt x="297" y="800"/>
                  </a:cubicBezTo>
                  <a:cubicBezTo>
                    <a:pt x="297" y="802"/>
                    <a:pt x="296" y="804"/>
                    <a:pt x="294" y="805"/>
                  </a:cubicBezTo>
                  <a:cubicBezTo>
                    <a:pt x="294" y="806"/>
                    <a:pt x="293" y="806"/>
                    <a:pt x="293" y="807"/>
                  </a:cubicBezTo>
                  <a:cubicBezTo>
                    <a:pt x="293" y="807"/>
                    <a:pt x="294" y="807"/>
                    <a:pt x="294" y="808"/>
                  </a:cubicBezTo>
                  <a:cubicBezTo>
                    <a:pt x="295" y="809"/>
                    <a:pt x="296" y="810"/>
                    <a:pt x="296" y="811"/>
                  </a:cubicBezTo>
                  <a:cubicBezTo>
                    <a:pt x="296" y="812"/>
                    <a:pt x="295" y="813"/>
                    <a:pt x="293" y="813"/>
                  </a:cubicBezTo>
                  <a:cubicBezTo>
                    <a:pt x="293" y="814"/>
                    <a:pt x="291" y="814"/>
                    <a:pt x="291" y="815"/>
                  </a:cubicBezTo>
                  <a:cubicBezTo>
                    <a:pt x="291" y="815"/>
                    <a:pt x="292" y="816"/>
                    <a:pt x="293" y="818"/>
                  </a:cubicBezTo>
                  <a:cubicBezTo>
                    <a:pt x="294" y="818"/>
                    <a:pt x="294" y="819"/>
                    <a:pt x="294" y="820"/>
                  </a:cubicBezTo>
                  <a:cubicBezTo>
                    <a:pt x="295" y="821"/>
                    <a:pt x="294" y="823"/>
                    <a:pt x="293" y="825"/>
                  </a:cubicBezTo>
                  <a:cubicBezTo>
                    <a:pt x="292" y="827"/>
                    <a:pt x="292" y="828"/>
                    <a:pt x="292" y="829"/>
                  </a:cubicBezTo>
                  <a:cubicBezTo>
                    <a:pt x="292" y="830"/>
                    <a:pt x="290" y="830"/>
                    <a:pt x="289" y="830"/>
                  </a:cubicBezTo>
                  <a:cubicBezTo>
                    <a:pt x="288" y="830"/>
                    <a:pt x="285" y="829"/>
                    <a:pt x="283" y="829"/>
                  </a:cubicBezTo>
                  <a:cubicBezTo>
                    <a:pt x="281" y="829"/>
                    <a:pt x="280" y="829"/>
                    <a:pt x="279" y="829"/>
                  </a:cubicBezTo>
                  <a:cubicBezTo>
                    <a:pt x="278" y="829"/>
                    <a:pt x="276" y="831"/>
                    <a:pt x="274" y="833"/>
                  </a:cubicBezTo>
                  <a:cubicBezTo>
                    <a:pt x="271" y="835"/>
                    <a:pt x="269" y="836"/>
                    <a:pt x="268" y="837"/>
                  </a:cubicBezTo>
                  <a:cubicBezTo>
                    <a:pt x="268" y="837"/>
                    <a:pt x="268" y="837"/>
                    <a:pt x="268" y="837"/>
                  </a:cubicBezTo>
                  <a:cubicBezTo>
                    <a:pt x="267" y="838"/>
                    <a:pt x="268" y="840"/>
                    <a:pt x="268" y="842"/>
                  </a:cubicBezTo>
                  <a:cubicBezTo>
                    <a:pt x="272" y="842"/>
                    <a:pt x="276" y="841"/>
                    <a:pt x="279" y="841"/>
                  </a:cubicBezTo>
                  <a:cubicBezTo>
                    <a:pt x="281" y="841"/>
                    <a:pt x="283" y="842"/>
                    <a:pt x="283" y="842"/>
                  </a:cubicBezTo>
                  <a:cubicBezTo>
                    <a:pt x="283" y="843"/>
                    <a:pt x="283" y="843"/>
                    <a:pt x="283" y="843"/>
                  </a:cubicBezTo>
                  <a:cubicBezTo>
                    <a:pt x="282" y="847"/>
                    <a:pt x="267" y="853"/>
                    <a:pt x="265" y="854"/>
                  </a:cubicBezTo>
                  <a:cubicBezTo>
                    <a:pt x="265" y="854"/>
                    <a:pt x="265" y="854"/>
                    <a:pt x="265" y="854"/>
                  </a:cubicBezTo>
                  <a:cubicBezTo>
                    <a:pt x="264" y="854"/>
                    <a:pt x="266" y="856"/>
                    <a:pt x="267" y="857"/>
                  </a:cubicBezTo>
                  <a:cubicBezTo>
                    <a:pt x="269" y="858"/>
                    <a:pt x="271" y="860"/>
                    <a:pt x="271" y="861"/>
                  </a:cubicBezTo>
                  <a:cubicBezTo>
                    <a:pt x="271" y="863"/>
                    <a:pt x="269" y="863"/>
                    <a:pt x="267" y="864"/>
                  </a:cubicBezTo>
                  <a:cubicBezTo>
                    <a:pt x="265" y="866"/>
                    <a:pt x="262" y="867"/>
                    <a:pt x="262" y="870"/>
                  </a:cubicBezTo>
                  <a:cubicBezTo>
                    <a:pt x="262" y="872"/>
                    <a:pt x="262" y="873"/>
                    <a:pt x="261" y="874"/>
                  </a:cubicBezTo>
                  <a:cubicBezTo>
                    <a:pt x="260" y="876"/>
                    <a:pt x="256" y="876"/>
                    <a:pt x="254" y="876"/>
                  </a:cubicBezTo>
                  <a:cubicBezTo>
                    <a:pt x="251" y="876"/>
                    <a:pt x="249" y="878"/>
                    <a:pt x="249" y="878"/>
                  </a:cubicBezTo>
                  <a:cubicBezTo>
                    <a:pt x="249" y="879"/>
                    <a:pt x="250" y="879"/>
                    <a:pt x="250" y="879"/>
                  </a:cubicBezTo>
                  <a:cubicBezTo>
                    <a:pt x="251" y="879"/>
                    <a:pt x="251" y="880"/>
                    <a:pt x="252" y="881"/>
                  </a:cubicBezTo>
                  <a:cubicBezTo>
                    <a:pt x="253" y="883"/>
                    <a:pt x="255" y="887"/>
                    <a:pt x="261" y="888"/>
                  </a:cubicBezTo>
                  <a:cubicBezTo>
                    <a:pt x="269" y="890"/>
                    <a:pt x="278" y="897"/>
                    <a:pt x="289" y="908"/>
                  </a:cubicBezTo>
                  <a:cubicBezTo>
                    <a:pt x="290" y="909"/>
                    <a:pt x="291" y="910"/>
                    <a:pt x="292" y="911"/>
                  </a:cubicBezTo>
                  <a:cubicBezTo>
                    <a:pt x="295" y="909"/>
                    <a:pt x="296" y="908"/>
                    <a:pt x="297" y="908"/>
                  </a:cubicBezTo>
                  <a:cubicBezTo>
                    <a:pt x="302" y="907"/>
                    <a:pt x="311" y="910"/>
                    <a:pt x="315" y="913"/>
                  </a:cubicBezTo>
                  <a:cubicBezTo>
                    <a:pt x="316" y="914"/>
                    <a:pt x="319" y="915"/>
                    <a:pt x="322" y="915"/>
                  </a:cubicBezTo>
                  <a:cubicBezTo>
                    <a:pt x="324" y="915"/>
                    <a:pt x="326" y="915"/>
                    <a:pt x="328" y="914"/>
                  </a:cubicBezTo>
                  <a:cubicBezTo>
                    <a:pt x="330" y="914"/>
                    <a:pt x="332" y="914"/>
                    <a:pt x="333" y="914"/>
                  </a:cubicBezTo>
                  <a:cubicBezTo>
                    <a:pt x="336" y="914"/>
                    <a:pt x="337" y="915"/>
                    <a:pt x="338" y="915"/>
                  </a:cubicBezTo>
                  <a:cubicBezTo>
                    <a:pt x="340" y="918"/>
                    <a:pt x="344" y="921"/>
                    <a:pt x="347" y="921"/>
                  </a:cubicBezTo>
                  <a:cubicBezTo>
                    <a:pt x="348" y="921"/>
                    <a:pt x="350" y="922"/>
                    <a:pt x="351" y="924"/>
                  </a:cubicBezTo>
                  <a:cubicBezTo>
                    <a:pt x="352" y="925"/>
                    <a:pt x="354" y="926"/>
                    <a:pt x="355" y="926"/>
                  </a:cubicBezTo>
                  <a:cubicBezTo>
                    <a:pt x="355" y="926"/>
                    <a:pt x="355" y="926"/>
                    <a:pt x="355" y="926"/>
                  </a:cubicBezTo>
                  <a:cubicBezTo>
                    <a:pt x="357" y="924"/>
                    <a:pt x="362" y="924"/>
                    <a:pt x="370" y="924"/>
                  </a:cubicBezTo>
                  <a:cubicBezTo>
                    <a:pt x="372" y="924"/>
                    <a:pt x="373" y="924"/>
                    <a:pt x="373" y="925"/>
                  </a:cubicBezTo>
                  <a:cubicBezTo>
                    <a:pt x="374" y="925"/>
                    <a:pt x="374" y="926"/>
                    <a:pt x="376" y="926"/>
                  </a:cubicBezTo>
                  <a:cubicBezTo>
                    <a:pt x="377" y="926"/>
                    <a:pt x="378" y="928"/>
                    <a:pt x="379" y="931"/>
                  </a:cubicBezTo>
                  <a:cubicBezTo>
                    <a:pt x="379" y="932"/>
                    <a:pt x="380" y="935"/>
                    <a:pt x="380" y="935"/>
                  </a:cubicBezTo>
                  <a:cubicBezTo>
                    <a:pt x="380" y="935"/>
                    <a:pt x="380" y="935"/>
                    <a:pt x="380" y="935"/>
                  </a:cubicBezTo>
                  <a:cubicBezTo>
                    <a:pt x="382" y="935"/>
                    <a:pt x="384" y="936"/>
                    <a:pt x="386" y="937"/>
                  </a:cubicBezTo>
                  <a:cubicBezTo>
                    <a:pt x="389" y="939"/>
                    <a:pt x="391" y="941"/>
                    <a:pt x="394" y="941"/>
                  </a:cubicBezTo>
                  <a:cubicBezTo>
                    <a:pt x="396" y="941"/>
                    <a:pt x="399" y="944"/>
                    <a:pt x="401" y="946"/>
                  </a:cubicBezTo>
                  <a:cubicBezTo>
                    <a:pt x="402" y="947"/>
                    <a:pt x="404" y="949"/>
                    <a:pt x="404" y="949"/>
                  </a:cubicBezTo>
                  <a:cubicBezTo>
                    <a:pt x="405" y="949"/>
                    <a:pt x="405" y="949"/>
                    <a:pt x="405" y="949"/>
                  </a:cubicBezTo>
                  <a:close/>
                  <a:moveTo>
                    <a:pt x="1795" y="869"/>
                  </a:moveTo>
                  <a:cubicBezTo>
                    <a:pt x="1794" y="869"/>
                    <a:pt x="1794" y="869"/>
                    <a:pt x="1794" y="868"/>
                  </a:cubicBezTo>
                  <a:cubicBezTo>
                    <a:pt x="1792" y="867"/>
                    <a:pt x="1791" y="865"/>
                    <a:pt x="1789" y="863"/>
                  </a:cubicBezTo>
                  <a:cubicBezTo>
                    <a:pt x="1788" y="860"/>
                    <a:pt x="1786" y="858"/>
                    <a:pt x="1783" y="858"/>
                  </a:cubicBezTo>
                  <a:cubicBezTo>
                    <a:pt x="1782" y="858"/>
                    <a:pt x="1782" y="858"/>
                    <a:pt x="1782" y="858"/>
                  </a:cubicBezTo>
                  <a:cubicBezTo>
                    <a:pt x="1778" y="858"/>
                    <a:pt x="1777" y="862"/>
                    <a:pt x="1776" y="865"/>
                  </a:cubicBezTo>
                  <a:cubicBezTo>
                    <a:pt x="1776" y="867"/>
                    <a:pt x="1775" y="869"/>
                    <a:pt x="1774" y="869"/>
                  </a:cubicBezTo>
                  <a:cubicBezTo>
                    <a:pt x="1773" y="869"/>
                    <a:pt x="1773" y="868"/>
                    <a:pt x="1772" y="867"/>
                  </a:cubicBezTo>
                  <a:cubicBezTo>
                    <a:pt x="1770" y="865"/>
                    <a:pt x="1771" y="859"/>
                    <a:pt x="1773" y="849"/>
                  </a:cubicBezTo>
                  <a:cubicBezTo>
                    <a:pt x="1774" y="840"/>
                    <a:pt x="1776" y="830"/>
                    <a:pt x="1774" y="826"/>
                  </a:cubicBezTo>
                  <a:cubicBezTo>
                    <a:pt x="1772" y="822"/>
                    <a:pt x="1774" y="811"/>
                    <a:pt x="1775" y="798"/>
                  </a:cubicBezTo>
                  <a:cubicBezTo>
                    <a:pt x="1776" y="786"/>
                    <a:pt x="1777" y="774"/>
                    <a:pt x="1775" y="770"/>
                  </a:cubicBezTo>
                  <a:cubicBezTo>
                    <a:pt x="1774" y="766"/>
                    <a:pt x="1768" y="751"/>
                    <a:pt x="1771" y="741"/>
                  </a:cubicBezTo>
                  <a:cubicBezTo>
                    <a:pt x="1772" y="737"/>
                    <a:pt x="1771" y="734"/>
                    <a:pt x="1771" y="731"/>
                  </a:cubicBezTo>
                  <a:cubicBezTo>
                    <a:pt x="1770" y="729"/>
                    <a:pt x="1770" y="727"/>
                    <a:pt x="1771" y="726"/>
                  </a:cubicBezTo>
                  <a:cubicBezTo>
                    <a:pt x="1772" y="725"/>
                    <a:pt x="1773" y="725"/>
                    <a:pt x="1774" y="725"/>
                  </a:cubicBezTo>
                  <a:cubicBezTo>
                    <a:pt x="1778" y="724"/>
                    <a:pt x="1778" y="721"/>
                    <a:pt x="1778" y="717"/>
                  </a:cubicBezTo>
                  <a:cubicBezTo>
                    <a:pt x="1778" y="714"/>
                    <a:pt x="1779" y="711"/>
                    <a:pt x="1781" y="710"/>
                  </a:cubicBezTo>
                  <a:cubicBezTo>
                    <a:pt x="1781" y="709"/>
                    <a:pt x="1782" y="709"/>
                    <a:pt x="1782" y="709"/>
                  </a:cubicBezTo>
                  <a:cubicBezTo>
                    <a:pt x="1784" y="709"/>
                    <a:pt x="1784" y="711"/>
                    <a:pt x="1784" y="714"/>
                  </a:cubicBezTo>
                  <a:cubicBezTo>
                    <a:pt x="1785" y="718"/>
                    <a:pt x="1786" y="723"/>
                    <a:pt x="1791" y="727"/>
                  </a:cubicBezTo>
                  <a:cubicBezTo>
                    <a:pt x="1796" y="731"/>
                    <a:pt x="1794" y="736"/>
                    <a:pt x="1793" y="742"/>
                  </a:cubicBezTo>
                  <a:cubicBezTo>
                    <a:pt x="1792" y="747"/>
                    <a:pt x="1791" y="752"/>
                    <a:pt x="1793" y="758"/>
                  </a:cubicBezTo>
                  <a:cubicBezTo>
                    <a:pt x="1795" y="764"/>
                    <a:pt x="1798" y="776"/>
                    <a:pt x="1801" y="787"/>
                  </a:cubicBezTo>
                  <a:cubicBezTo>
                    <a:pt x="1804" y="797"/>
                    <a:pt x="1807" y="807"/>
                    <a:pt x="1808" y="810"/>
                  </a:cubicBezTo>
                  <a:cubicBezTo>
                    <a:pt x="1809" y="812"/>
                    <a:pt x="1810" y="814"/>
                    <a:pt x="1809" y="815"/>
                  </a:cubicBezTo>
                  <a:cubicBezTo>
                    <a:pt x="1809" y="816"/>
                    <a:pt x="1809" y="816"/>
                    <a:pt x="1808" y="816"/>
                  </a:cubicBezTo>
                  <a:cubicBezTo>
                    <a:pt x="1807" y="816"/>
                    <a:pt x="1805" y="815"/>
                    <a:pt x="1803" y="813"/>
                  </a:cubicBezTo>
                  <a:cubicBezTo>
                    <a:pt x="1800" y="810"/>
                    <a:pt x="1796" y="808"/>
                    <a:pt x="1792" y="808"/>
                  </a:cubicBezTo>
                  <a:cubicBezTo>
                    <a:pt x="1789" y="808"/>
                    <a:pt x="1786" y="810"/>
                    <a:pt x="1786" y="814"/>
                  </a:cubicBezTo>
                  <a:cubicBezTo>
                    <a:pt x="1786" y="818"/>
                    <a:pt x="1785" y="822"/>
                    <a:pt x="1784" y="826"/>
                  </a:cubicBezTo>
                  <a:cubicBezTo>
                    <a:pt x="1782" y="830"/>
                    <a:pt x="1781" y="834"/>
                    <a:pt x="1782" y="838"/>
                  </a:cubicBezTo>
                  <a:cubicBezTo>
                    <a:pt x="1782" y="838"/>
                    <a:pt x="1782" y="838"/>
                    <a:pt x="1782" y="838"/>
                  </a:cubicBezTo>
                  <a:cubicBezTo>
                    <a:pt x="1784" y="844"/>
                    <a:pt x="1787" y="855"/>
                    <a:pt x="1791" y="855"/>
                  </a:cubicBezTo>
                  <a:cubicBezTo>
                    <a:pt x="1791" y="855"/>
                    <a:pt x="1791" y="855"/>
                    <a:pt x="1791" y="855"/>
                  </a:cubicBezTo>
                  <a:cubicBezTo>
                    <a:pt x="1792" y="855"/>
                    <a:pt x="1792" y="855"/>
                    <a:pt x="1792" y="855"/>
                  </a:cubicBezTo>
                  <a:cubicBezTo>
                    <a:pt x="1795" y="855"/>
                    <a:pt x="1797" y="861"/>
                    <a:pt x="1797" y="865"/>
                  </a:cubicBezTo>
                  <a:cubicBezTo>
                    <a:pt x="1797" y="868"/>
                    <a:pt x="1795" y="869"/>
                    <a:pt x="1795" y="869"/>
                  </a:cubicBezTo>
                  <a:close/>
                  <a:moveTo>
                    <a:pt x="1783" y="857"/>
                  </a:moveTo>
                  <a:cubicBezTo>
                    <a:pt x="1787" y="857"/>
                    <a:pt x="1789" y="860"/>
                    <a:pt x="1790" y="863"/>
                  </a:cubicBezTo>
                  <a:cubicBezTo>
                    <a:pt x="1791" y="865"/>
                    <a:pt x="1792" y="867"/>
                    <a:pt x="1794" y="867"/>
                  </a:cubicBezTo>
                  <a:cubicBezTo>
                    <a:pt x="1794" y="868"/>
                    <a:pt x="1795" y="868"/>
                    <a:pt x="1795" y="868"/>
                  </a:cubicBezTo>
                  <a:cubicBezTo>
                    <a:pt x="1796" y="868"/>
                    <a:pt x="1796" y="866"/>
                    <a:pt x="1796" y="865"/>
                  </a:cubicBezTo>
                  <a:cubicBezTo>
                    <a:pt x="1796" y="861"/>
                    <a:pt x="1794" y="855"/>
                    <a:pt x="1791" y="856"/>
                  </a:cubicBezTo>
                  <a:cubicBezTo>
                    <a:pt x="1787" y="856"/>
                    <a:pt x="1783" y="846"/>
                    <a:pt x="1781" y="838"/>
                  </a:cubicBezTo>
                  <a:cubicBezTo>
                    <a:pt x="1781" y="838"/>
                    <a:pt x="1781" y="838"/>
                    <a:pt x="1781" y="838"/>
                  </a:cubicBezTo>
                  <a:cubicBezTo>
                    <a:pt x="1780" y="834"/>
                    <a:pt x="1781" y="830"/>
                    <a:pt x="1783" y="825"/>
                  </a:cubicBezTo>
                  <a:cubicBezTo>
                    <a:pt x="1784" y="822"/>
                    <a:pt x="1785" y="818"/>
                    <a:pt x="1785" y="814"/>
                  </a:cubicBezTo>
                  <a:cubicBezTo>
                    <a:pt x="1785" y="810"/>
                    <a:pt x="1788" y="807"/>
                    <a:pt x="1792" y="807"/>
                  </a:cubicBezTo>
                  <a:cubicBezTo>
                    <a:pt x="1796" y="807"/>
                    <a:pt x="1800" y="809"/>
                    <a:pt x="1803" y="812"/>
                  </a:cubicBezTo>
                  <a:cubicBezTo>
                    <a:pt x="1806" y="815"/>
                    <a:pt x="1807" y="815"/>
                    <a:pt x="1808" y="815"/>
                  </a:cubicBezTo>
                  <a:cubicBezTo>
                    <a:pt x="1808" y="815"/>
                    <a:pt x="1808" y="815"/>
                    <a:pt x="1808" y="815"/>
                  </a:cubicBezTo>
                  <a:cubicBezTo>
                    <a:pt x="1809" y="814"/>
                    <a:pt x="1809" y="812"/>
                    <a:pt x="1807" y="810"/>
                  </a:cubicBezTo>
                  <a:cubicBezTo>
                    <a:pt x="1806" y="808"/>
                    <a:pt x="1803" y="798"/>
                    <a:pt x="1800" y="787"/>
                  </a:cubicBezTo>
                  <a:cubicBezTo>
                    <a:pt x="1797" y="777"/>
                    <a:pt x="1794" y="765"/>
                    <a:pt x="1792" y="758"/>
                  </a:cubicBezTo>
                  <a:cubicBezTo>
                    <a:pt x="1790" y="752"/>
                    <a:pt x="1791" y="747"/>
                    <a:pt x="1792" y="742"/>
                  </a:cubicBezTo>
                  <a:cubicBezTo>
                    <a:pt x="1793" y="736"/>
                    <a:pt x="1795" y="731"/>
                    <a:pt x="1790" y="728"/>
                  </a:cubicBezTo>
                  <a:cubicBezTo>
                    <a:pt x="1785" y="724"/>
                    <a:pt x="1784" y="718"/>
                    <a:pt x="1783" y="714"/>
                  </a:cubicBezTo>
                  <a:cubicBezTo>
                    <a:pt x="1783" y="712"/>
                    <a:pt x="1783" y="710"/>
                    <a:pt x="1782" y="710"/>
                  </a:cubicBezTo>
                  <a:cubicBezTo>
                    <a:pt x="1782" y="710"/>
                    <a:pt x="1782" y="710"/>
                    <a:pt x="1781" y="711"/>
                  </a:cubicBezTo>
                  <a:cubicBezTo>
                    <a:pt x="1780" y="712"/>
                    <a:pt x="1779" y="714"/>
                    <a:pt x="1779" y="717"/>
                  </a:cubicBezTo>
                  <a:cubicBezTo>
                    <a:pt x="1779" y="721"/>
                    <a:pt x="1779" y="725"/>
                    <a:pt x="1774" y="726"/>
                  </a:cubicBezTo>
                  <a:cubicBezTo>
                    <a:pt x="1773" y="726"/>
                    <a:pt x="1772" y="726"/>
                    <a:pt x="1772" y="727"/>
                  </a:cubicBezTo>
                  <a:cubicBezTo>
                    <a:pt x="1771" y="728"/>
                    <a:pt x="1771" y="729"/>
                    <a:pt x="1772" y="731"/>
                  </a:cubicBezTo>
                  <a:cubicBezTo>
                    <a:pt x="1772" y="734"/>
                    <a:pt x="1773" y="737"/>
                    <a:pt x="1772" y="741"/>
                  </a:cubicBezTo>
                  <a:cubicBezTo>
                    <a:pt x="1769" y="751"/>
                    <a:pt x="1774" y="765"/>
                    <a:pt x="1776" y="770"/>
                  </a:cubicBezTo>
                  <a:cubicBezTo>
                    <a:pt x="1778" y="774"/>
                    <a:pt x="1777" y="786"/>
                    <a:pt x="1776" y="798"/>
                  </a:cubicBezTo>
                  <a:cubicBezTo>
                    <a:pt x="1775" y="810"/>
                    <a:pt x="1773" y="822"/>
                    <a:pt x="1775" y="826"/>
                  </a:cubicBezTo>
                  <a:cubicBezTo>
                    <a:pt x="1777" y="829"/>
                    <a:pt x="1775" y="839"/>
                    <a:pt x="1774" y="849"/>
                  </a:cubicBezTo>
                  <a:cubicBezTo>
                    <a:pt x="1772" y="857"/>
                    <a:pt x="1771" y="865"/>
                    <a:pt x="1772" y="866"/>
                  </a:cubicBezTo>
                  <a:cubicBezTo>
                    <a:pt x="1773" y="868"/>
                    <a:pt x="1774" y="868"/>
                    <a:pt x="1774" y="868"/>
                  </a:cubicBezTo>
                  <a:cubicBezTo>
                    <a:pt x="1775" y="868"/>
                    <a:pt x="1775" y="866"/>
                    <a:pt x="1775" y="865"/>
                  </a:cubicBezTo>
                  <a:cubicBezTo>
                    <a:pt x="1776" y="862"/>
                    <a:pt x="1777" y="857"/>
                    <a:pt x="1781" y="857"/>
                  </a:cubicBezTo>
                  <a:cubicBezTo>
                    <a:pt x="1782" y="857"/>
                    <a:pt x="1782" y="857"/>
                    <a:pt x="1783" y="857"/>
                  </a:cubicBezTo>
                  <a:close/>
                  <a:moveTo>
                    <a:pt x="1219" y="765"/>
                  </a:moveTo>
                  <a:cubicBezTo>
                    <a:pt x="1215" y="765"/>
                    <a:pt x="1213" y="764"/>
                    <a:pt x="1213" y="763"/>
                  </a:cubicBezTo>
                  <a:cubicBezTo>
                    <a:pt x="1212" y="763"/>
                    <a:pt x="1212" y="762"/>
                    <a:pt x="1212" y="762"/>
                  </a:cubicBezTo>
                  <a:cubicBezTo>
                    <a:pt x="1213" y="761"/>
                    <a:pt x="1215" y="760"/>
                    <a:pt x="1219" y="759"/>
                  </a:cubicBezTo>
                  <a:cubicBezTo>
                    <a:pt x="1226" y="756"/>
                    <a:pt x="1237" y="753"/>
                    <a:pt x="1240" y="745"/>
                  </a:cubicBezTo>
                  <a:cubicBezTo>
                    <a:pt x="1243" y="739"/>
                    <a:pt x="1250" y="734"/>
                    <a:pt x="1258" y="728"/>
                  </a:cubicBezTo>
                  <a:cubicBezTo>
                    <a:pt x="1265" y="723"/>
                    <a:pt x="1274" y="717"/>
                    <a:pt x="1279" y="708"/>
                  </a:cubicBezTo>
                  <a:cubicBezTo>
                    <a:pt x="1282" y="704"/>
                    <a:pt x="1284" y="699"/>
                    <a:pt x="1287" y="694"/>
                  </a:cubicBezTo>
                  <a:cubicBezTo>
                    <a:pt x="1291" y="685"/>
                    <a:pt x="1295" y="678"/>
                    <a:pt x="1298" y="678"/>
                  </a:cubicBezTo>
                  <a:cubicBezTo>
                    <a:pt x="1298" y="678"/>
                    <a:pt x="1298" y="678"/>
                    <a:pt x="1298" y="678"/>
                  </a:cubicBezTo>
                  <a:cubicBezTo>
                    <a:pt x="1299" y="679"/>
                    <a:pt x="1299" y="679"/>
                    <a:pt x="1300" y="680"/>
                  </a:cubicBezTo>
                  <a:cubicBezTo>
                    <a:pt x="1302" y="689"/>
                    <a:pt x="1293" y="721"/>
                    <a:pt x="1282" y="731"/>
                  </a:cubicBezTo>
                  <a:cubicBezTo>
                    <a:pt x="1277" y="736"/>
                    <a:pt x="1269" y="739"/>
                    <a:pt x="1262" y="742"/>
                  </a:cubicBezTo>
                  <a:cubicBezTo>
                    <a:pt x="1253" y="745"/>
                    <a:pt x="1246" y="748"/>
                    <a:pt x="1246" y="753"/>
                  </a:cubicBezTo>
                  <a:cubicBezTo>
                    <a:pt x="1246" y="761"/>
                    <a:pt x="1228" y="765"/>
                    <a:pt x="1219" y="765"/>
                  </a:cubicBezTo>
                  <a:close/>
                  <a:moveTo>
                    <a:pt x="1298" y="679"/>
                  </a:moveTo>
                  <a:cubicBezTo>
                    <a:pt x="1295" y="679"/>
                    <a:pt x="1292" y="687"/>
                    <a:pt x="1288" y="694"/>
                  </a:cubicBezTo>
                  <a:cubicBezTo>
                    <a:pt x="1285" y="699"/>
                    <a:pt x="1283" y="704"/>
                    <a:pt x="1280" y="709"/>
                  </a:cubicBezTo>
                  <a:cubicBezTo>
                    <a:pt x="1274" y="718"/>
                    <a:pt x="1266" y="724"/>
                    <a:pt x="1258" y="729"/>
                  </a:cubicBezTo>
                  <a:cubicBezTo>
                    <a:pt x="1251" y="734"/>
                    <a:pt x="1244" y="739"/>
                    <a:pt x="1241" y="746"/>
                  </a:cubicBezTo>
                  <a:cubicBezTo>
                    <a:pt x="1238" y="754"/>
                    <a:pt x="1227" y="757"/>
                    <a:pt x="1220" y="760"/>
                  </a:cubicBezTo>
                  <a:cubicBezTo>
                    <a:pt x="1217" y="761"/>
                    <a:pt x="1214" y="762"/>
                    <a:pt x="1213" y="762"/>
                  </a:cubicBezTo>
                  <a:cubicBezTo>
                    <a:pt x="1213" y="762"/>
                    <a:pt x="1213" y="762"/>
                    <a:pt x="1213" y="762"/>
                  </a:cubicBezTo>
                  <a:cubicBezTo>
                    <a:pt x="1214" y="763"/>
                    <a:pt x="1215" y="764"/>
                    <a:pt x="1219" y="764"/>
                  </a:cubicBezTo>
                  <a:cubicBezTo>
                    <a:pt x="1229" y="764"/>
                    <a:pt x="1245" y="759"/>
                    <a:pt x="1245" y="753"/>
                  </a:cubicBezTo>
                  <a:cubicBezTo>
                    <a:pt x="1245" y="748"/>
                    <a:pt x="1252" y="745"/>
                    <a:pt x="1261" y="741"/>
                  </a:cubicBezTo>
                  <a:cubicBezTo>
                    <a:pt x="1268" y="738"/>
                    <a:pt x="1276" y="735"/>
                    <a:pt x="1282" y="730"/>
                  </a:cubicBezTo>
                  <a:cubicBezTo>
                    <a:pt x="1293" y="720"/>
                    <a:pt x="1300" y="688"/>
                    <a:pt x="1299" y="681"/>
                  </a:cubicBezTo>
                  <a:cubicBezTo>
                    <a:pt x="1299" y="680"/>
                    <a:pt x="1298" y="679"/>
                    <a:pt x="1298" y="679"/>
                  </a:cubicBezTo>
                  <a:cubicBezTo>
                    <a:pt x="1298" y="679"/>
                    <a:pt x="1298" y="679"/>
                    <a:pt x="1298" y="679"/>
                  </a:cubicBezTo>
                  <a:close/>
                  <a:moveTo>
                    <a:pt x="36" y="704"/>
                  </a:moveTo>
                  <a:cubicBezTo>
                    <a:pt x="36" y="704"/>
                    <a:pt x="36" y="704"/>
                    <a:pt x="36" y="704"/>
                  </a:cubicBezTo>
                  <a:cubicBezTo>
                    <a:pt x="24" y="704"/>
                    <a:pt x="9" y="702"/>
                    <a:pt x="8" y="702"/>
                  </a:cubicBezTo>
                  <a:cubicBezTo>
                    <a:pt x="6" y="701"/>
                    <a:pt x="3" y="700"/>
                    <a:pt x="0" y="699"/>
                  </a:cubicBezTo>
                  <a:cubicBezTo>
                    <a:pt x="0" y="699"/>
                    <a:pt x="0" y="699"/>
                    <a:pt x="0" y="699"/>
                  </a:cubicBezTo>
                  <a:cubicBezTo>
                    <a:pt x="0" y="698"/>
                    <a:pt x="0" y="698"/>
                    <a:pt x="0" y="698"/>
                  </a:cubicBezTo>
                  <a:cubicBezTo>
                    <a:pt x="1" y="697"/>
                    <a:pt x="1" y="696"/>
                    <a:pt x="1" y="695"/>
                  </a:cubicBezTo>
                  <a:cubicBezTo>
                    <a:pt x="1" y="694"/>
                    <a:pt x="1" y="694"/>
                    <a:pt x="1" y="694"/>
                  </a:cubicBezTo>
                  <a:cubicBezTo>
                    <a:pt x="2" y="692"/>
                    <a:pt x="5" y="691"/>
                    <a:pt x="8" y="691"/>
                  </a:cubicBezTo>
                  <a:cubicBezTo>
                    <a:pt x="10" y="691"/>
                    <a:pt x="12" y="693"/>
                    <a:pt x="12" y="694"/>
                  </a:cubicBezTo>
                  <a:cubicBezTo>
                    <a:pt x="12" y="695"/>
                    <a:pt x="12" y="696"/>
                    <a:pt x="13" y="696"/>
                  </a:cubicBezTo>
                  <a:cubicBezTo>
                    <a:pt x="14" y="697"/>
                    <a:pt x="15" y="697"/>
                    <a:pt x="16" y="697"/>
                  </a:cubicBezTo>
                  <a:cubicBezTo>
                    <a:pt x="17" y="697"/>
                    <a:pt x="18" y="697"/>
                    <a:pt x="18" y="696"/>
                  </a:cubicBezTo>
                  <a:cubicBezTo>
                    <a:pt x="18" y="695"/>
                    <a:pt x="18" y="695"/>
                    <a:pt x="18" y="695"/>
                  </a:cubicBezTo>
                  <a:cubicBezTo>
                    <a:pt x="17" y="694"/>
                    <a:pt x="17" y="693"/>
                    <a:pt x="17" y="692"/>
                  </a:cubicBezTo>
                  <a:cubicBezTo>
                    <a:pt x="17" y="691"/>
                    <a:pt x="19" y="690"/>
                    <a:pt x="20" y="690"/>
                  </a:cubicBezTo>
                  <a:cubicBezTo>
                    <a:pt x="22" y="688"/>
                    <a:pt x="23" y="688"/>
                    <a:pt x="22" y="687"/>
                  </a:cubicBezTo>
                  <a:cubicBezTo>
                    <a:pt x="22" y="686"/>
                    <a:pt x="21" y="685"/>
                    <a:pt x="20" y="685"/>
                  </a:cubicBezTo>
                  <a:cubicBezTo>
                    <a:pt x="19" y="684"/>
                    <a:pt x="19" y="684"/>
                    <a:pt x="19" y="684"/>
                  </a:cubicBezTo>
                  <a:cubicBezTo>
                    <a:pt x="21" y="684"/>
                    <a:pt x="21" y="684"/>
                    <a:pt x="21" y="684"/>
                  </a:cubicBezTo>
                  <a:cubicBezTo>
                    <a:pt x="21" y="684"/>
                    <a:pt x="21" y="684"/>
                    <a:pt x="22" y="684"/>
                  </a:cubicBezTo>
                  <a:cubicBezTo>
                    <a:pt x="23" y="683"/>
                    <a:pt x="25" y="683"/>
                    <a:pt x="26" y="683"/>
                  </a:cubicBezTo>
                  <a:cubicBezTo>
                    <a:pt x="27" y="683"/>
                    <a:pt x="29" y="683"/>
                    <a:pt x="30" y="685"/>
                  </a:cubicBezTo>
                  <a:cubicBezTo>
                    <a:pt x="31" y="686"/>
                    <a:pt x="35" y="688"/>
                    <a:pt x="37" y="688"/>
                  </a:cubicBezTo>
                  <a:cubicBezTo>
                    <a:pt x="38" y="688"/>
                    <a:pt x="38" y="688"/>
                    <a:pt x="38" y="688"/>
                  </a:cubicBezTo>
                  <a:cubicBezTo>
                    <a:pt x="39" y="688"/>
                    <a:pt x="39" y="688"/>
                    <a:pt x="39" y="688"/>
                  </a:cubicBezTo>
                  <a:cubicBezTo>
                    <a:pt x="42" y="688"/>
                    <a:pt x="47" y="691"/>
                    <a:pt x="47" y="693"/>
                  </a:cubicBezTo>
                  <a:cubicBezTo>
                    <a:pt x="47" y="694"/>
                    <a:pt x="47" y="695"/>
                    <a:pt x="46" y="697"/>
                  </a:cubicBezTo>
                  <a:cubicBezTo>
                    <a:pt x="46" y="699"/>
                    <a:pt x="46" y="702"/>
                    <a:pt x="46" y="703"/>
                  </a:cubicBezTo>
                  <a:cubicBezTo>
                    <a:pt x="46" y="703"/>
                    <a:pt x="46" y="703"/>
                    <a:pt x="46" y="703"/>
                  </a:cubicBezTo>
                  <a:cubicBezTo>
                    <a:pt x="46" y="703"/>
                    <a:pt x="46" y="703"/>
                    <a:pt x="46" y="703"/>
                  </a:cubicBezTo>
                  <a:cubicBezTo>
                    <a:pt x="43" y="704"/>
                    <a:pt x="40" y="704"/>
                    <a:pt x="36" y="704"/>
                  </a:cubicBezTo>
                  <a:close/>
                  <a:moveTo>
                    <a:pt x="1" y="698"/>
                  </a:moveTo>
                  <a:cubicBezTo>
                    <a:pt x="4" y="699"/>
                    <a:pt x="7" y="700"/>
                    <a:pt x="8" y="701"/>
                  </a:cubicBezTo>
                  <a:cubicBezTo>
                    <a:pt x="9" y="701"/>
                    <a:pt x="24" y="703"/>
                    <a:pt x="36" y="703"/>
                  </a:cubicBezTo>
                  <a:cubicBezTo>
                    <a:pt x="36" y="703"/>
                    <a:pt x="36" y="703"/>
                    <a:pt x="36" y="703"/>
                  </a:cubicBezTo>
                  <a:cubicBezTo>
                    <a:pt x="40" y="703"/>
                    <a:pt x="43" y="703"/>
                    <a:pt x="45" y="702"/>
                  </a:cubicBezTo>
                  <a:cubicBezTo>
                    <a:pt x="45" y="701"/>
                    <a:pt x="45" y="699"/>
                    <a:pt x="45" y="696"/>
                  </a:cubicBezTo>
                  <a:cubicBezTo>
                    <a:pt x="46" y="695"/>
                    <a:pt x="46" y="694"/>
                    <a:pt x="46" y="693"/>
                  </a:cubicBezTo>
                  <a:cubicBezTo>
                    <a:pt x="46" y="691"/>
                    <a:pt x="41" y="689"/>
                    <a:pt x="39" y="689"/>
                  </a:cubicBezTo>
                  <a:cubicBezTo>
                    <a:pt x="39" y="689"/>
                    <a:pt x="39" y="689"/>
                    <a:pt x="38" y="689"/>
                  </a:cubicBezTo>
                  <a:cubicBezTo>
                    <a:pt x="37" y="689"/>
                    <a:pt x="37" y="689"/>
                    <a:pt x="37" y="689"/>
                  </a:cubicBezTo>
                  <a:cubicBezTo>
                    <a:pt x="34" y="689"/>
                    <a:pt x="31" y="687"/>
                    <a:pt x="29" y="685"/>
                  </a:cubicBezTo>
                  <a:cubicBezTo>
                    <a:pt x="29" y="685"/>
                    <a:pt x="27" y="684"/>
                    <a:pt x="26" y="684"/>
                  </a:cubicBezTo>
                  <a:cubicBezTo>
                    <a:pt x="25" y="684"/>
                    <a:pt x="23" y="684"/>
                    <a:pt x="22" y="685"/>
                  </a:cubicBezTo>
                  <a:cubicBezTo>
                    <a:pt x="23" y="686"/>
                    <a:pt x="23" y="686"/>
                    <a:pt x="23" y="686"/>
                  </a:cubicBezTo>
                  <a:cubicBezTo>
                    <a:pt x="24" y="688"/>
                    <a:pt x="22" y="689"/>
                    <a:pt x="21" y="690"/>
                  </a:cubicBezTo>
                  <a:cubicBezTo>
                    <a:pt x="20" y="691"/>
                    <a:pt x="18" y="692"/>
                    <a:pt x="18" y="693"/>
                  </a:cubicBezTo>
                  <a:cubicBezTo>
                    <a:pt x="18" y="693"/>
                    <a:pt x="18" y="694"/>
                    <a:pt x="19" y="694"/>
                  </a:cubicBezTo>
                  <a:cubicBezTo>
                    <a:pt x="19" y="695"/>
                    <a:pt x="19" y="696"/>
                    <a:pt x="19" y="697"/>
                  </a:cubicBezTo>
                  <a:cubicBezTo>
                    <a:pt x="19" y="698"/>
                    <a:pt x="17" y="698"/>
                    <a:pt x="16" y="698"/>
                  </a:cubicBezTo>
                  <a:cubicBezTo>
                    <a:pt x="15" y="698"/>
                    <a:pt x="13" y="698"/>
                    <a:pt x="12" y="697"/>
                  </a:cubicBezTo>
                  <a:cubicBezTo>
                    <a:pt x="11" y="697"/>
                    <a:pt x="11" y="696"/>
                    <a:pt x="11" y="694"/>
                  </a:cubicBezTo>
                  <a:cubicBezTo>
                    <a:pt x="11" y="693"/>
                    <a:pt x="9" y="692"/>
                    <a:pt x="8" y="692"/>
                  </a:cubicBezTo>
                  <a:cubicBezTo>
                    <a:pt x="5" y="692"/>
                    <a:pt x="3" y="693"/>
                    <a:pt x="2" y="694"/>
                  </a:cubicBezTo>
                  <a:cubicBezTo>
                    <a:pt x="2" y="695"/>
                    <a:pt x="2" y="695"/>
                    <a:pt x="2" y="695"/>
                  </a:cubicBezTo>
                  <a:cubicBezTo>
                    <a:pt x="2" y="696"/>
                    <a:pt x="2" y="697"/>
                    <a:pt x="1" y="698"/>
                  </a:cubicBezTo>
                  <a:close/>
                  <a:moveTo>
                    <a:pt x="430" y="379"/>
                  </a:moveTo>
                  <a:cubicBezTo>
                    <a:pt x="426" y="379"/>
                    <a:pt x="423" y="378"/>
                    <a:pt x="421" y="375"/>
                  </a:cubicBezTo>
                  <a:cubicBezTo>
                    <a:pt x="418" y="373"/>
                    <a:pt x="417" y="370"/>
                    <a:pt x="418" y="367"/>
                  </a:cubicBezTo>
                  <a:cubicBezTo>
                    <a:pt x="420" y="362"/>
                    <a:pt x="426" y="359"/>
                    <a:pt x="432" y="359"/>
                  </a:cubicBezTo>
                  <a:cubicBezTo>
                    <a:pt x="433" y="359"/>
                    <a:pt x="434" y="359"/>
                    <a:pt x="435" y="359"/>
                  </a:cubicBezTo>
                  <a:cubicBezTo>
                    <a:pt x="442" y="361"/>
                    <a:pt x="450" y="366"/>
                    <a:pt x="450" y="368"/>
                  </a:cubicBezTo>
                  <a:cubicBezTo>
                    <a:pt x="450" y="369"/>
                    <a:pt x="450" y="370"/>
                    <a:pt x="448" y="370"/>
                  </a:cubicBezTo>
                  <a:cubicBezTo>
                    <a:pt x="447" y="370"/>
                    <a:pt x="445" y="372"/>
                    <a:pt x="442" y="373"/>
                  </a:cubicBezTo>
                  <a:cubicBezTo>
                    <a:pt x="439" y="376"/>
                    <a:pt x="434" y="379"/>
                    <a:pt x="430" y="379"/>
                  </a:cubicBezTo>
                  <a:close/>
                  <a:moveTo>
                    <a:pt x="432" y="360"/>
                  </a:moveTo>
                  <a:cubicBezTo>
                    <a:pt x="426" y="360"/>
                    <a:pt x="421" y="363"/>
                    <a:pt x="419" y="367"/>
                  </a:cubicBezTo>
                  <a:cubicBezTo>
                    <a:pt x="418" y="370"/>
                    <a:pt x="419" y="372"/>
                    <a:pt x="421" y="375"/>
                  </a:cubicBezTo>
                  <a:cubicBezTo>
                    <a:pt x="424" y="377"/>
                    <a:pt x="427" y="378"/>
                    <a:pt x="430" y="378"/>
                  </a:cubicBezTo>
                  <a:cubicBezTo>
                    <a:pt x="434" y="378"/>
                    <a:pt x="438" y="375"/>
                    <a:pt x="442" y="373"/>
                  </a:cubicBezTo>
                  <a:cubicBezTo>
                    <a:pt x="444" y="371"/>
                    <a:pt x="446" y="369"/>
                    <a:pt x="448" y="369"/>
                  </a:cubicBezTo>
                  <a:cubicBezTo>
                    <a:pt x="448" y="369"/>
                    <a:pt x="449" y="369"/>
                    <a:pt x="449" y="368"/>
                  </a:cubicBezTo>
                  <a:cubicBezTo>
                    <a:pt x="449" y="367"/>
                    <a:pt x="443" y="363"/>
                    <a:pt x="435" y="360"/>
                  </a:cubicBezTo>
                  <a:cubicBezTo>
                    <a:pt x="434" y="360"/>
                    <a:pt x="433" y="360"/>
                    <a:pt x="432" y="360"/>
                  </a:cubicBezTo>
                  <a:close/>
                  <a:moveTo>
                    <a:pt x="546" y="332"/>
                  </a:moveTo>
                  <a:cubicBezTo>
                    <a:pt x="540" y="332"/>
                    <a:pt x="533" y="331"/>
                    <a:pt x="526" y="330"/>
                  </a:cubicBezTo>
                  <a:cubicBezTo>
                    <a:pt x="523" y="329"/>
                    <a:pt x="519" y="329"/>
                    <a:pt x="517" y="329"/>
                  </a:cubicBezTo>
                  <a:cubicBezTo>
                    <a:pt x="511" y="328"/>
                    <a:pt x="499" y="326"/>
                    <a:pt x="497" y="321"/>
                  </a:cubicBezTo>
                  <a:cubicBezTo>
                    <a:pt x="497" y="320"/>
                    <a:pt x="497" y="319"/>
                    <a:pt x="499" y="317"/>
                  </a:cubicBezTo>
                  <a:cubicBezTo>
                    <a:pt x="500" y="317"/>
                    <a:pt x="500" y="316"/>
                    <a:pt x="499" y="314"/>
                  </a:cubicBezTo>
                  <a:cubicBezTo>
                    <a:pt x="498" y="311"/>
                    <a:pt x="491" y="308"/>
                    <a:pt x="489" y="308"/>
                  </a:cubicBezTo>
                  <a:cubicBezTo>
                    <a:pt x="488" y="308"/>
                    <a:pt x="488" y="308"/>
                    <a:pt x="487" y="308"/>
                  </a:cubicBezTo>
                  <a:cubicBezTo>
                    <a:pt x="487" y="308"/>
                    <a:pt x="487" y="309"/>
                    <a:pt x="488" y="309"/>
                  </a:cubicBezTo>
                  <a:cubicBezTo>
                    <a:pt x="489" y="312"/>
                    <a:pt x="489" y="315"/>
                    <a:pt x="489" y="316"/>
                  </a:cubicBezTo>
                  <a:cubicBezTo>
                    <a:pt x="488" y="318"/>
                    <a:pt x="485" y="317"/>
                    <a:pt x="481" y="315"/>
                  </a:cubicBezTo>
                  <a:cubicBezTo>
                    <a:pt x="478" y="313"/>
                    <a:pt x="480" y="310"/>
                    <a:pt x="480" y="308"/>
                  </a:cubicBezTo>
                  <a:cubicBezTo>
                    <a:pt x="481" y="306"/>
                    <a:pt x="481" y="305"/>
                    <a:pt x="481" y="305"/>
                  </a:cubicBezTo>
                  <a:cubicBezTo>
                    <a:pt x="481" y="304"/>
                    <a:pt x="480" y="304"/>
                    <a:pt x="479" y="304"/>
                  </a:cubicBezTo>
                  <a:cubicBezTo>
                    <a:pt x="478" y="304"/>
                    <a:pt x="477" y="304"/>
                    <a:pt x="476" y="304"/>
                  </a:cubicBezTo>
                  <a:cubicBezTo>
                    <a:pt x="472" y="304"/>
                    <a:pt x="467" y="304"/>
                    <a:pt x="465" y="301"/>
                  </a:cubicBezTo>
                  <a:cubicBezTo>
                    <a:pt x="464" y="300"/>
                    <a:pt x="463" y="298"/>
                    <a:pt x="464" y="295"/>
                  </a:cubicBezTo>
                  <a:cubicBezTo>
                    <a:pt x="465" y="290"/>
                    <a:pt x="470" y="289"/>
                    <a:pt x="475" y="289"/>
                  </a:cubicBezTo>
                  <a:cubicBezTo>
                    <a:pt x="479" y="289"/>
                    <a:pt x="482" y="288"/>
                    <a:pt x="482" y="286"/>
                  </a:cubicBezTo>
                  <a:cubicBezTo>
                    <a:pt x="482" y="281"/>
                    <a:pt x="485" y="280"/>
                    <a:pt x="488" y="280"/>
                  </a:cubicBezTo>
                  <a:cubicBezTo>
                    <a:pt x="490" y="279"/>
                    <a:pt x="491" y="279"/>
                    <a:pt x="491" y="277"/>
                  </a:cubicBezTo>
                  <a:cubicBezTo>
                    <a:pt x="490" y="275"/>
                    <a:pt x="488" y="273"/>
                    <a:pt x="486" y="271"/>
                  </a:cubicBezTo>
                  <a:cubicBezTo>
                    <a:pt x="484" y="270"/>
                    <a:pt x="483" y="269"/>
                    <a:pt x="483" y="268"/>
                  </a:cubicBezTo>
                  <a:cubicBezTo>
                    <a:pt x="483" y="267"/>
                    <a:pt x="484" y="267"/>
                    <a:pt x="486" y="267"/>
                  </a:cubicBezTo>
                  <a:cubicBezTo>
                    <a:pt x="491" y="267"/>
                    <a:pt x="494" y="266"/>
                    <a:pt x="495" y="264"/>
                  </a:cubicBezTo>
                  <a:cubicBezTo>
                    <a:pt x="496" y="263"/>
                    <a:pt x="496" y="262"/>
                    <a:pt x="496" y="260"/>
                  </a:cubicBezTo>
                  <a:cubicBezTo>
                    <a:pt x="496" y="259"/>
                    <a:pt x="496" y="259"/>
                    <a:pt x="497" y="258"/>
                  </a:cubicBezTo>
                  <a:cubicBezTo>
                    <a:pt x="498" y="257"/>
                    <a:pt x="500" y="257"/>
                    <a:pt x="502" y="257"/>
                  </a:cubicBezTo>
                  <a:cubicBezTo>
                    <a:pt x="505" y="257"/>
                    <a:pt x="508" y="257"/>
                    <a:pt x="509" y="255"/>
                  </a:cubicBezTo>
                  <a:cubicBezTo>
                    <a:pt x="509" y="255"/>
                    <a:pt x="509" y="254"/>
                    <a:pt x="509" y="253"/>
                  </a:cubicBezTo>
                  <a:cubicBezTo>
                    <a:pt x="509" y="250"/>
                    <a:pt x="512" y="247"/>
                    <a:pt x="515" y="246"/>
                  </a:cubicBezTo>
                  <a:cubicBezTo>
                    <a:pt x="515" y="246"/>
                    <a:pt x="515" y="246"/>
                    <a:pt x="515" y="246"/>
                  </a:cubicBezTo>
                  <a:cubicBezTo>
                    <a:pt x="515" y="246"/>
                    <a:pt x="514" y="246"/>
                    <a:pt x="513" y="246"/>
                  </a:cubicBezTo>
                  <a:cubicBezTo>
                    <a:pt x="509" y="245"/>
                    <a:pt x="508" y="243"/>
                    <a:pt x="508" y="242"/>
                  </a:cubicBezTo>
                  <a:cubicBezTo>
                    <a:pt x="508" y="239"/>
                    <a:pt x="511" y="235"/>
                    <a:pt x="515" y="234"/>
                  </a:cubicBezTo>
                  <a:cubicBezTo>
                    <a:pt x="516" y="234"/>
                    <a:pt x="516" y="234"/>
                    <a:pt x="516" y="234"/>
                  </a:cubicBezTo>
                  <a:cubicBezTo>
                    <a:pt x="521" y="233"/>
                    <a:pt x="526" y="232"/>
                    <a:pt x="527" y="230"/>
                  </a:cubicBezTo>
                  <a:cubicBezTo>
                    <a:pt x="528" y="230"/>
                    <a:pt x="528" y="229"/>
                    <a:pt x="527" y="229"/>
                  </a:cubicBezTo>
                  <a:cubicBezTo>
                    <a:pt x="526" y="226"/>
                    <a:pt x="528" y="225"/>
                    <a:pt x="530" y="223"/>
                  </a:cubicBezTo>
                  <a:cubicBezTo>
                    <a:pt x="531" y="222"/>
                    <a:pt x="532" y="221"/>
                    <a:pt x="532" y="220"/>
                  </a:cubicBezTo>
                  <a:cubicBezTo>
                    <a:pt x="532" y="220"/>
                    <a:pt x="532" y="220"/>
                    <a:pt x="532" y="219"/>
                  </a:cubicBezTo>
                  <a:cubicBezTo>
                    <a:pt x="531" y="219"/>
                    <a:pt x="531" y="218"/>
                    <a:pt x="531" y="218"/>
                  </a:cubicBezTo>
                  <a:cubicBezTo>
                    <a:pt x="531" y="217"/>
                    <a:pt x="533" y="216"/>
                    <a:pt x="536" y="215"/>
                  </a:cubicBezTo>
                  <a:cubicBezTo>
                    <a:pt x="538" y="214"/>
                    <a:pt x="541" y="213"/>
                    <a:pt x="541" y="212"/>
                  </a:cubicBezTo>
                  <a:cubicBezTo>
                    <a:pt x="541" y="211"/>
                    <a:pt x="541" y="211"/>
                    <a:pt x="540" y="210"/>
                  </a:cubicBezTo>
                  <a:cubicBezTo>
                    <a:pt x="537" y="207"/>
                    <a:pt x="536" y="203"/>
                    <a:pt x="537" y="201"/>
                  </a:cubicBezTo>
                  <a:cubicBezTo>
                    <a:pt x="538" y="199"/>
                    <a:pt x="540" y="198"/>
                    <a:pt x="541" y="198"/>
                  </a:cubicBezTo>
                  <a:cubicBezTo>
                    <a:pt x="542" y="198"/>
                    <a:pt x="543" y="198"/>
                    <a:pt x="544" y="199"/>
                  </a:cubicBezTo>
                  <a:cubicBezTo>
                    <a:pt x="545" y="200"/>
                    <a:pt x="546" y="201"/>
                    <a:pt x="548" y="201"/>
                  </a:cubicBezTo>
                  <a:cubicBezTo>
                    <a:pt x="552" y="201"/>
                    <a:pt x="556" y="198"/>
                    <a:pt x="556" y="195"/>
                  </a:cubicBezTo>
                  <a:cubicBezTo>
                    <a:pt x="556" y="193"/>
                    <a:pt x="559" y="192"/>
                    <a:pt x="562" y="191"/>
                  </a:cubicBezTo>
                  <a:cubicBezTo>
                    <a:pt x="564" y="190"/>
                    <a:pt x="566" y="190"/>
                    <a:pt x="567" y="188"/>
                  </a:cubicBezTo>
                  <a:cubicBezTo>
                    <a:pt x="568" y="185"/>
                    <a:pt x="579" y="180"/>
                    <a:pt x="585" y="180"/>
                  </a:cubicBezTo>
                  <a:cubicBezTo>
                    <a:pt x="586" y="180"/>
                    <a:pt x="586" y="180"/>
                    <a:pt x="586" y="180"/>
                  </a:cubicBezTo>
                  <a:cubicBezTo>
                    <a:pt x="589" y="180"/>
                    <a:pt x="592" y="178"/>
                    <a:pt x="595" y="177"/>
                  </a:cubicBezTo>
                  <a:cubicBezTo>
                    <a:pt x="598" y="176"/>
                    <a:pt x="601" y="174"/>
                    <a:pt x="604" y="175"/>
                  </a:cubicBezTo>
                  <a:cubicBezTo>
                    <a:pt x="606" y="175"/>
                    <a:pt x="609" y="173"/>
                    <a:pt x="612" y="172"/>
                  </a:cubicBezTo>
                  <a:cubicBezTo>
                    <a:pt x="615" y="170"/>
                    <a:pt x="618" y="168"/>
                    <a:pt x="622" y="168"/>
                  </a:cubicBezTo>
                  <a:cubicBezTo>
                    <a:pt x="623" y="168"/>
                    <a:pt x="625" y="169"/>
                    <a:pt x="626" y="169"/>
                  </a:cubicBezTo>
                  <a:cubicBezTo>
                    <a:pt x="628" y="171"/>
                    <a:pt x="631" y="172"/>
                    <a:pt x="635" y="172"/>
                  </a:cubicBezTo>
                  <a:cubicBezTo>
                    <a:pt x="642" y="172"/>
                    <a:pt x="650" y="169"/>
                    <a:pt x="654" y="167"/>
                  </a:cubicBezTo>
                  <a:cubicBezTo>
                    <a:pt x="658" y="165"/>
                    <a:pt x="661" y="165"/>
                    <a:pt x="665" y="165"/>
                  </a:cubicBezTo>
                  <a:cubicBezTo>
                    <a:pt x="670" y="164"/>
                    <a:pt x="674" y="164"/>
                    <a:pt x="678" y="161"/>
                  </a:cubicBezTo>
                  <a:cubicBezTo>
                    <a:pt x="683" y="157"/>
                    <a:pt x="700" y="150"/>
                    <a:pt x="713" y="150"/>
                  </a:cubicBezTo>
                  <a:cubicBezTo>
                    <a:pt x="717" y="150"/>
                    <a:pt x="721" y="151"/>
                    <a:pt x="723" y="153"/>
                  </a:cubicBezTo>
                  <a:cubicBezTo>
                    <a:pt x="726" y="154"/>
                    <a:pt x="726" y="157"/>
                    <a:pt x="726" y="159"/>
                  </a:cubicBezTo>
                  <a:cubicBezTo>
                    <a:pt x="724" y="166"/>
                    <a:pt x="708" y="174"/>
                    <a:pt x="686" y="179"/>
                  </a:cubicBezTo>
                  <a:cubicBezTo>
                    <a:pt x="658" y="186"/>
                    <a:pt x="608" y="203"/>
                    <a:pt x="605" y="210"/>
                  </a:cubicBezTo>
                  <a:cubicBezTo>
                    <a:pt x="603" y="214"/>
                    <a:pt x="599" y="215"/>
                    <a:pt x="594" y="215"/>
                  </a:cubicBezTo>
                  <a:cubicBezTo>
                    <a:pt x="591" y="216"/>
                    <a:pt x="588" y="217"/>
                    <a:pt x="586" y="219"/>
                  </a:cubicBezTo>
                  <a:cubicBezTo>
                    <a:pt x="583" y="222"/>
                    <a:pt x="579" y="222"/>
                    <a:pt x="575" y="222"/>
                  </a:cubicBezTo>
                  <a:cubicBezTo>
                    <a:pt x="574" y="222"/>
                    <a:pt x="572" y="222"/>
                    <a:pt x="572" y="223"/>
                  </a:cubicBezTo>
                  <a:cubicBezTo>
                    <a:pt x="572" y="223"/>
                    <a:pt x="572" y="223"/>
                    <a:pt x="572" y="223"/>
                  </a:cubicBezTo>
                  <a:cubicBezTo>
                    <a:pt x="573" y="225"/>
                    <a:pt x="573" y="229"/>
                    <a:pt x="571" y="233"/>
                  </a:cubicBezTo>
                  <a:cubicBezTo>
                    <a:pt x="569" y="235"/>
                    <a:pt x="567" y="237"/>
                    <a:pt x="563" y="238"/>
                  </a:cubicBezTo>
                  <a:cubicBezTo>
                    <a:pt x="559" y="238"/>
                    <a:pt x="559" y="240"/>
                    <a:pt x="559" y="242"/>
                  </a:cubicBezTo>
                  <a:cubicBezTo>
                    <a:pt x="559" y="245"/>
                    <a:pt x="560" y="247"/>
                    <a:pt x="555" y="248"/>
                  </a:cubicBezTo>
                  <a:cubicBezTo>
                    <a:pt x="551" y="248"/>
                    <a:pt x="550" y="250"/>
                    <a:pt x="549" y="253"/>
                  </a:cubicBezTo>
                  <a:cubicBezTo>
                    <a:pt x="549" y="255"/>
                    <a:pt x="547" y="259"/>
                    <a:pt x="542" y="263"/>
                  </a:cubicBezTo>
                  <a:cubicBezTo>
                    <a:pt x="537" y="266"/>
                    <a:pt x="537" y="269"/>
                    <a:pt x="537" y="271"/>
                  </a:cubicBezTo>
                  <a:cubicBezTo>
                    <a:pt x="536" y="274"/>
                    <a:pt x="536" y="276"/>
                    <a:pt x="531" y="280"/>
                  </a:cubicBezTo>
                  <a:cubicBezTo>
                    <a:pt x="528" y="281"/>
                    <a:pt x="526" y="284"/>
                    <a:pt x="526" y="287"/>
                  </a:cubicBezTo>
                  <a:cubicBezTo>
                    <a:pt x="525" y="295"/>
                    <a:pt x="530" y="304"/>
                    <a:pt x="536" y="310"/>
                  </a:cubicBezTo>
                  <a:cubicBezTo>
                    <a:pt x="540" y="314"/>
                    <a:pt x="544" y="318"/>
                    <a:pt x="548" y="320"/>
                  </a:cubicBezTo>
                  <a:cubicBezTo>
                    <a:pt x="553" y="323"/>
                    <a:pt x="556" y="326"/>
                    <a:pt x="556" y="328"/>
                  </a:cubicBezTo>
                  <a:cubicBezTo>
                    <a:pt x="555" y="331"/>
                    <a:pt x="552" y="332"/>
                    <a:pt x="546" y="332"/>
                  </a:cubicBezTo>
                  <a:close/>
                  <a:moveTo>
                    <a:pt x="489" y="307"/>
                  </a:moveTo>
                  <a:cubicBezTo>
                    <a:pt x="492" y="307"/>
                    <a:pt x="499" y="310"/>
                    <a:pt x="500" y="314"/>
                  </a:cubicBezTo>
                  <a:cubicBezTo>
                    <a:pt x="501" y="316"/>
                    <a:pt x="500" y="317"/>
                    <a:pt x="499" y="318"/>
                  </a:cubicBezTo>
                  <a:cubicBezTo>
                    <a:pt x="498" y="319"/>
                    <a:pt x="498" y="320"/>
                    <a:pt x="498" y="321"/>
                  </a:cubicBezTo>
                  <a:cubicBezTo>
                    <a:pt x="499" y="324"/>
                    <a:pt x="510" y="327"/>
                    <a:pt x="517" y="328"/>
                  </a:cubicBezTo>
                  <a:cubicBezTo>
                    <a:pt x="519" y="328"/>
                    <a:pt x="523" y="328"/>
                    <a:pt x="526" y="329"/>
                  </a:cubicBezTo>
                  <a:cubicBezTo>
                    <a:pt x="533" y="330"/>
                    <a:pt x="541" y="331"/>
                    <a:pt x="546" y="331"/>
                  </a:cubicBezTo>
                  <a:cubicBezTo>
                    <a:pt x="552" y="331"/>
                    <a:pt x="555" y="330"/>
                    <a:pt x="555" y="328"/>
                  </a:cubicBezTo>
                  <a:cubicBezTo>
                    <a:pt x="555" y="326"/>
                    <a:pt x="552" y="324"/>
                    <a:pt x="547" y="321"/>
                  </a:cubicBezTo>
                  <a:cubicBezTo>
                    <a:pt x="544" y="318"/>
                    <a:pt x="539" y="315"/>
                    <a:pt x="535" y="311"/>
                  </a:cubicBezTo>
                  <a:cubicBezTo>
                    <a:pt x="529" y="305"/>
                    <a:pt x="524" y="295"/>
                    <a:pt x="525" y="287"/>
                  </a:cubicBezTo>
                  <a:cubicBezTo>
                    <a:pt x="525" y="283"/>
                    <a:pt x="527" y="281"/>
                    <a:pt x="530" y="279"/>
                  </a:cubicBezTo>
                  <a:cubicBezTo>
                    <a:pt x="535" y="276"/>
                    <a:pt x="535" y="273"/>
                    <a:pt x="536" y="271"/>
                  </a:cubicBezTo>
                  <a:cubicBezTo>
                    <a:pt x="536" y="268"/>
                    <a:pt x="536" y="266"/>
                    <a:pt x="542" y="262"/>
                  </a:cubicBezTo>
                  <a:cubicBezTo>
                    <a:pt x="547" y="258"/>
                    <a:pt x="548" y="255"/>
                    <a:pt x="548" y="252"/>
                  </a:cubicBezTo>
                  <a:cubicBezTo>
                    <a:pt x="549" y="249"/>
                    <a:pt x="550" y="247"/>
                    <a:pt x="555" y="247"/>
                  </a:cubicBezTo>
                  <a:cubicBezTo>
                    <a:pt x="559" y="246"/>
                    <a:pt x="558" y="245"/>
                    <a:pt x="558" y="243"/>
                  </a:cubicBezTo>
                  <a:cubicBezTo>
                    <a:pt x="558" y="240"/>
                    <a:pt x="558" y="238"/>
                    <a:pt x="562" y="237"/>
                  </a:cubicBezTo>
                  <a:cubicBezTo>
                    <a:pt x="566" y="236"/>
                    <a:pt x="569" y="234"/>
                    <a:pt x="570" y="232"/>
                  </a:cubicBezTo>
                  <a:cubicBezTo>
                    <a:pt x="571" y="229"/>
                    <a:pt x="572" y="225"/>
                    <a:pt x="571" y="223"/>
                  </a:cubicBezTo>
                  <a:cubicBezTo>
                    <a:pt x="571" y="222"/>
                    <a:pt x="571" y="222"/>
                    <a:pt x="571" y="222"/>
                  </a:cubicBezTo>
                  <a:cubicBezTo>
                    <a:pt x="572" y="221"/>
                    <a:pt x="573" y="221"/>
                    <a:pt x="575" y="221"/>
                  </a:cubicBezTo>
                  <a:cubicBezTo>
                    <a:pt x="578" y="221"/>
                    <a:pt x="582" y="221"/>
                    <a:pt x="585" y="218"/>
                  </a:cubicBezTo>
                  <a:cubicBezTo>
                    <a:pt x="587" y="216"/>
                    <a:pt x="591" y="215"/>
                    <a:pt x="594" y="214"/>
                  </a:cubicBezTo>
                  <a:cubicBezTo>
                    <a:pt x="598" y="214"/>
                    <a:pt x="602" y="213"/>
                    <a:pt x="604" y="209"/>
                  </a:cubicBezTo>
                  <a:cubicBezTo>
                    <a:pt x="608" y="201"/>
                    <a:pt x="660" y="184"/>
                    <a:pt x="685" y="178"/>
                  </a:cubicBezTo>
                  <a:cubicBezTo>
                    <a:pt x="707" y="173"/>
                    <a:pt x="723" y="165"/>
                    <a:pt x="725" y="159"/>
                  </a:cubicBezTo>
                  <a:cubicBezTo>
                    <a:pt x="725" y="157"/>
                    <a:pt x="725" y="155"/>
                    <a:pt x="723" y="153"/>
                  </a:cubicBezTo>
                  <a:cubicBezTo>
                    <a:pt x="720" y="152"/>
                    <a:pt x="717" y="151"/>
                    <a:pt x="713" y="151"/>
                  </a:cubicBezTo>
                  <a:cubicBezTo>
                    <a:pt x="700" y="151"/>
                    <a:pt x="683" y="158"/>
                    <a:pt x="679" y="162"/>
                  </a:cubicBezTo>
                  <a:cubicBezTo>
                    <a:pt x="675" y="165"/>
                    <a:pt x="670" y="165"/>
                    <a:pt x="665" y="166"/>
                  </a:cubicBezTo>
                  <a:cubicBezTo>
                    <a:pt x="661" y="166"/>
                    <a:pt x="658" y="166"/>
                    <a:pt x="655" y="168"/>
                  </a:cubicBezTo>
                  <a:cubicBezTo>
                    <a:pt x="651" y="170"/>
                    <a:pt x="643" y="173"/>
                    <a:pt x="635" y="173"/>
                  </a:cubicBezTo>
                  <a:cubicBezTo>
                    <a:pt x="631" y="173"/>
                    <a:pt x="628" y="172"/>
                    <a:pt x="625" y="170"/>
                  </a:cubicBezTo>
                  <a:cubicBezTo>
                    <a:pt x="624" y="169"/>
                    <a:pt x="623" y="169"/>
                    <a:pt x="622" y="169"/>
                  </a:cubicBezTo>
                  <a:cubicBezTo>
                    <a:pt x="618" y="169"/>
                    <a:pt x="615" y="171"/>
                    <a:pt x="612" y="173"/>
                  </a:cubicBezTo>
                  <a:cubicBezTo>
                    <a:pt x="609" y="174"/>
                    <a:pt x="607" y="176"/>
                    <a:pt x="604" y="176"/>
                  </a:cubicBezTo>
                  <a:cubicBezTo>
                    <a:pt x="602" y="175"/>
                    <a:pt x="599" y="177"/>
                    <a:pt x="596" y="178"/>
                  </a:cubicBezTo>
                  <a:cubicBezTo>
                    <a:pt x="593" y="179"/>
                    <a:pt x="589" y="181"/>
                    <a:pt x="586" y="181"/>
                  </a:cubicBezTo>
                  <a:cubicBezTo>
                    <a:pt x="580" y="180"/>
                    <a:pt x="568" y="185"/>
                    <a:pt x="568" y="188"/>
                  </a:cubicBezTo>
                  <a:cubicBezTo>
                    <a:pt x="567" y="190"/>
                    <a:pt x="565" y="191"/>
                    <a:pt x="562" y="192"/>
                  </a:cubicBezTo>
                  <a:cubicBezTo>
                    <a:pt x="559" y="193"/>
                    <a:pt x="557" y="193"/>
                    <a:pt x="557" y="195"/>
                  </a:cubicBezTo>
                  <a:cubicBezTo>
                    <a:pt x="557" y="198"/>
                    <a:pt x="552" y="202"/>
                    <a:pt x="548" y="202"/>
                  </a:cubicBezTo>
                  <a:cubicBezTo>
                    <a:pt x="546" y="202"/>
                    <a:pt x="544" y="201"/>
                    <a:pt x="543" y="200"/>
                  </a:cubicBezTo>
                  <a:cubicBezTo>
                    <a:pt x="543" y="199"/>
                    <a:pt x="542" y="199"/>
                    <a:pt x="541" y="199"/>
                  </a:cubicBezTo>
                  <a:cubicBezTo>
                    <a:pt x="540" y="199"/>
                    <a:pt x="539" y="200"/>
                    <a:pt x="538" y="201"/>
                  </a:cubicBezTo>
                  <a:cubicBezTo>
                    <a:pt x="538" y="203"/>
                    <a:pt x="538" y="206"/>
                    <a:pt x="540" y="209"/>
                  </a:cubicBezTo>
                  <a:cubicBezTo>
                    <a:pt x="542" y="210"/>
                    <a:pt x="542" y="211"/>
                    <a:pt x="542" y="212"/>
                  </a:cubicBezTo>
                  <a:cubicBezTo>
                    <a:pt x="542" y="214"/>
                    <a:pt x="539" y="215"/>
                    <a:pt x="536" y="216"/>
                  </a:cubicBezTo>
                  <a:cubicBezTo>
                    <a:pt x="534" y="217"/>
                    <a:pt x="532" y="217"/>
                    <a:pt x="532" y="218"/>
                  </a:cubicBezTo>
                  <a:cubicBezTo>
                    <a:pt x="532" y="218"/>
                    <a:pt x="532" y="218"/>
                    <a:pt x="532" y="219"/>
                  </a:cubicBezTo>
                  <a:cubicBezTo>
                    <a:pt x="533" y="219"/>
                    <a:pt x="533" y="220"/>
                    <a:pt x="533" y="220"/>
                  </a:cubicBezTo>
                  <a:cubicBezTo>
                    <a:pt x="533" y="222"/>
                    <a:pt x="532" y="223"/>
                    <a:pt x="530" y="224"/>
                  </a:cubicBezTo>
                  <a:cubicBezTo>
                    <a:pt x="528" y="226"/>
                    <a:pt x="527" y="227"/>
                    <a:pt x="528" y="228"/>
                  </a:cubicBezTo>
                  <a:cubicBezTo>
                    <a:pt x="529" y="229"/>
                    <a:pt x="529" y="230"/>
                    <a:pt x="528" y="231"/>
                  </a:cubicBezTo>
                  <a:cubicBezTo>
                    <a:pt x="527" y="233"/>
                    <a:pt x="522" y="234"/>
                    <a:pt x="517" y="235"/>
                  </a:cubicBezTo>
                  <a:cubicBezTo>
                    <a:pt x="515" y="235"/>
                    <a:pt x="515" y="235"/>
                    <a:pt x="515" y="235"/>
                  </a:cubicBezTo>
                  <a:cubicBezTo>
                    <a:pt x="512" y="236"/>
                    <a:pt x="509" y="239"/>
                    <a:pt x="509" y="242"/>
                  </a:cubicBezTo>
                  <a:cubicBezTo>
                    <a:pt x="509" y="243"/>
                    <a:pt x="511" y="244"/>
                    <a:pt x="513" y="245"/>
                  </a:cubicBezTo>
                  <a:cubicBezTo>
                    <a:pt x="516" y="245"/>
                    <a:pt x="517" y="245"/>
                    <a:pt x="517" y="246"/>
                  </a:cubicBezTo>
                  <a:cubicBezTo>
                    <a:pt x="517" y="246"/>
                    <a:pt x="516" y="246"/>
                    <a:pt x="515" y="247"/>
                  </a:cubicBezTo>
                  <a:cubicBezTo>
                    <a:pt x="513" y="248"/>
                    <a:pt x="510" y="250"/>
                    <a:pt x="510" y="253"/>
                  </a:cubicBezTo>
                  <a:cubicBezTo>
                    <a:pt x="510" y="254"/>
                    <a:pt x="510" y="255"/>
                    <a:pt x="509" y="256"/>
                  </a:cubicBezTo>
                  <a:cubicBezTo>
                    <a:pt x="508" y="257"/>
                    <a:pt x="505" y="258"/>
                    <a:pt x="502" y="258"/>
                  </a:cubicBezTo>
                  <a:cubicBezTo>
                    <a:pt x="500" y="258"/>
                    <a:pt x="498" y="258"/>
                    <a:pt x="497" y="259"/>
                  </a:cubicBezTo>
                  <a:cubicBezTo>
                    <a:pt x="497" y="259"/>
                    <a:pt x="497" y="259"/>
                    <a:pt x="497" y="260"/>
                  </a:cubicBezTo>
                  <a:cubicBezTo>
                    <a:pt x="497" y="262"/>
                    <a:pt x="497" y="263"/>
                    <a:pt x="496" y="265"/>
                  </a:cubicBezTo>
                  <a:cubicBezTo>
                    <a:pt x="494" y="267"/>
                    <a:pt x="491" y="268"/>
                    <a:pt x="486" y="268"/>
                  </a:cubicBezTo>
                  <a:cubicBezTo>
                    <a:pt x="484" y="268"/>
                    <a:pt x="484" y="268"/>
                    <a:pt x="484" y="268"/>
                  </a:cubicBezTo>
                  <a:cubicBezTo>
                    <a:pt x="484" y="268"/>
                    <a:pt x="486" y="270"/>
                    <a:pt x="487" y="271"/>
                  </a:cubicBezTo>
                  <a:cubicBezTo>
                    <a:pt x="489" y="273"/>
                    <a:pt x="491" y="275"/>
                    <a:pt x="492" y="277"/>
                  </a:cubicBezTo>
                  <a:cubicBezTo>
                    <a:pt x="492" y="279"/>
                    <a:pt x="490" y="280"/>
                    <a:pt x="488" y="281"/>
                  </a:cubicBezTo>
                  <a:cubicBezTo>
                    <a:pt x="486" y="281"/>
                    <a:pt x="483" y="282"/>
                    <a:pt x="483" y="286"/>
                  </a:cubicBezTo>
                  <a:cubicBezTo>
                    <a:pt x="483" y="289"/>
                    <a:pt x="479" y="290"/>
                    <a:pt x="475" y="290"/>
                  </a:cubicBezTo>
                  <a:cubicBezTo>
                    <a:pt x="471" y="290"/>
                    <a:pt x="466" y="290"/>
                    <a:pt x="465" y="295"/>
                  </a:cubicBezTo>
                  <a:cubicBezTo>
                    <a:pt x="464" y="297"/>
                    <a:pt x="465" y="299"/>
                    <a:pt x="466" y="300"/>
                  </a:cubicBezTo>
                  <a:cubicBezTo>
                    <a:pt x="467" y="303"/>
                    <a:pt x="472" y="303"/>
                    <a:pt x="476" y="303"/>
                  </a:cubicBezTo>
                  <a:cubicBezTo>
                    <a:pt x="477" y="303"/>
                    <a:pt x="478" y="303"/>
                    <a:pt x="479" y="303"/>
                  </a:cubicBezTo>
                  <a:cubicBezTo>
                    <a:pt x="481" y="303"/>
                    <a:pt x="481" y="304"/>
                    <a:pt x="482" y="304"/>
                  </a:cubicBezTo>
                  <a:cubicBezTo>
                    <a:pt x="483" y="305"/>
                    <a:pt x="482" y="307"/>
                    <a:pt x="481" y="308"/>
                  </a:cubicBezTo>
                  <a:cubicBezTo>
                    <a:pt x="481" y="310"/>
                    <a:pt x="480" y="312"/>
                    <a:pt x="482" y="314"/>
                  </a:cubicBezTo>
                  <a:cubicBezTo>
                    <a:pt x="485" y="316"/>
                    <a:pt x="487" y="317"/>
                    <a:pt x="488" y="315"/>
                  </a:cubicBezTo>
                  <a:cubicBezTo>
                    <a:pt x="488" y="314"/>
                    <a:pt x="488" y="312"/>
                    <a:pt x="487" y="310"/>
                  </a:cubicBezTo>
                  <a:cubicBezTo>
                    <a:pt x="486" y="309"/>
                    <a:pt x="486" y="308"/>
                    <a:pt x="487" y="307"/>
                  </a:cubicBezTo>
                  <a:cubicBezTo>
                    <a:pt x="487" y="307"/>
                    <a:pt x="488" y="307"/>
                    <a:pt x="489" y="307"/>
                  </a:cubicBezTo>
                  <a:close/>
                  <a:moveTo>
                    <a:pt x="2343" y="328"/>
                  </a:moveTo>
                  <a:cubicBezTo>
                    <a:pt x="2340" y="328"/>
                    <a:pt x="2338" y="328"/>
                    <a:pt x="2336" y="326"/>
                  </a:cubicBezTo>
                  <a:cubicBezTo>
                    <a:pt x="2335" y="326"/>
                    <a:pt x="2334" y="325"/>
                    <a:pt x="2333" y="325"/>
                  </a:cubicBezTo>
                  <a:cubicBezTo>
                    <a:pt x="2331" y="325"/>
                    <a:pt x="2329" y="326"/>
                    <a:pt x="2327" y="326"/>
                  </a:cubicBezTo>
                  <a:cubicBezTo>
                    <a:pt x="2325" y="327"/>
                    <a:pt x="2323" y="328"/>
                    <a:pt x="2321" y="328"/>
                  </a:cubicBezTo>
                  <a:cubicBezTo>
                    <a:pt x="2319" y="328"/>
                    <a:pt x="2318" y="328"/>
                    <a:pt x="2316" y="327"/>
                  </a:cubicBezTo>
                  <a:cubicBezTo>
                    <a:pt x="2314" y="326"/>
                    <a:pt x="2313" y="324"/>
                    <a:pt x="2314" y="323"/>
                  </a:cubicBezTo>
                  <a:cubicBezTo>
                    <a:pt x="2315" y="317"/>
                    <a:pt x="2332" y="309"/>
                    <a:pt x="2347" y="309"/>
                  </a:cubicBezTo>
                  <a:cubicBezTo>
                    <a:pt x="2348" y="309"/>
                    <a:pt x="2350" y="309"/>
                    <a:pt x="2351" y="310"/>
                  </a:cubicBezTo>
                  <a:cubicBezTo>
                    <a:pt x="2365" y="311"/>
                    <a:pt x="2371" y="316"/>
                    <a:pt x="2371" y="320"/>
                  </a:cubicBezTo>
                  <a:cubicBezTo>
                    <a:pt x="2371" y="321"/>
                    <a:pt x="2370" y="323"/>
                    <a:pt x="2367" y="323"/>
                  </a:cubicBezTo>
                  <a:cubicBezTo>
                    <a:pt x="2366" y="323"/>
                    <a:pt x="2364" y="324"/>
                    <a:pt x="2361" y="325"/>
                  </a:cubicBezTo>
                  <a:cubicBezTo>
                    <a:pt x="2356" y="326"/>
                    <a:pt x="2349" y="328"/>
                    <a:pt x="2343" y="328"/>
                  </a:cubicBezTo>
                  <a:close/>
                  <a:moveTo>
                    <a:pt x="2333" y="324"/>
                  </a:moveTo>
                  <a:cubicBezTo>
                    <a:pt x="2334" y="324"/>
                    <a:pt x="2336" y="325"/>
                    <a:pt x="2337" y="326"/>
                  </a:cubicBezTo>
                  <a:cubicBezTo>
                    <a:pt x="2339" y="327"/>
                    <a:pt x="2341" y="327"/>
                    <a:pt x="2343" y="327"/>
                  </a:cubicBezTo>
                  <a:cubicBezTo>
                    <a:pt x="2349" y="327"/>
                    <a:pt x="2355" y="325"/>
                    <a:pt x="2361" y="324"/>
                  </a:cubicBezTo>
                  <a:cubicBezTo>
                    <a:pt x="2363" y="323"/>
                    <a:pt x="2366" y="322"/>
                    <a:pt x="2367" y="322"/>
                  </a:cubicBezTo>
                  <a:cubicBezTo>
                    <a:pt x="2369" y="322"/>
                    <a:pt x="2370" y="321"/>
                    <a:pt x="2370" y="320"/>
                  </a:cubicBezTo>
                  <a:cubicBezTo>
                    <a:pt x="2370" y="317"/>
                    <a:pt x="2365" y="312"/>
                    <a:pt x="2351" y="311"/>
                  </a:cubicBezTo>
                  <a:cubicBezTo>
                    <a:pt x="2350" y="310"/>
                    <a:pt x="2348" y="310"/>
                    <a:pt x="2347" y="310"/>
                  </a:cubicBezTo>
                  <a:cubicBezTo>
                    <a:pt x="2332" y="310"/>
                    <a:pt x="2316" y="318"/>
                    <a:pt x="2315" y="323"/>
                  </a:cubicBezTo>
                  <a:cubicBezTo>
                    <a:pt x="2314" y="324"/>
                    <a:pt x="2315" y="325"/>
                    <a:pt x="2316" y="326"/>
                  </a:cubicBezTo>
                  <a:cubicBezTo>
                    <a:pt x="2318" y="327"/>
                    <a:pt x="2319" y="327"/>
                    <a:pt x="2321" y="327"/>
                  </a:cubicBezTo>
                  <a:cubicBezTo>
                    <a:pt x="2323" y="327"/>
                    <a:pt x="2325" y="326"/>
                    <a:pt x="2327" y="326"/>
                  </a:cubicBezTo>
                  <a:cubicBezTo>
                    <a:pt x="2329" y="325"/>
                    <a:pt x="2331" y="324"/>
                    <a:pt x="2333" y="324"/>
                  </a:cubicBezTo>
                  <a:close/>
                  <a:moveTo>
                    <a:pt x="876" y="274"/>
                  </a:moveTo>
                  <a:cubicBezTo>
                    <a:pt x="874" y="274"/>
                    <a:pt x="871" y="273"/>
                    <a:pt x="869" y="272"/>
                  </a:cubicBezTo>
                  <a:cubicBezTo>
                    <a:pt x="867" y="271"/>
                    <a:pt x="867" y="270"/>
                    <a:pt x="868" y="269"/>
                  </a:cubicBezTo>
                  <a:cubicBezTo>
                    <a:pt x="868" y="267"/>
                    <a:pt x="873" y="264"/>
                    <a:pt x="877" y="264"/>
                  </a:cubicBezTo>
                  <a:cubicBezTo>
                    <a:pt x="879" y="264"/>
                    <a:pt x="881" y="265"/>
                    <a:pt x="881" y="267"/>
                  </a:cubicBezTo>
                  <a:cubicBezTo>
                    <a:pt x="881" y="269"/>
                    <a:pt x="881" y="271"/>
                    <a:pt x="880" y="272"/>
                  </a:cubicBezTo>
                  <a:cubicBezTo>
                    <a:pt x="879" y="273"/>
                    <a:pt x="877" y="274"/>
                    <a:pt x="876" y="274"/>
                  </a:cubicBezTo>
                  <a:close/>
                  <a:moveTo>
                    <a:pt x="877" y="265"/>
                  </a:moveTo>
                  <a:cubicBezTo>
                    <a:pt x="874" y="265"/>
                    <a:pt x="869" y="268"/>
                    <a:pt x="869" y="270"/>
                  </a:cubicBezTo>
                  <a:cubicBezTo>
                    <a:pt x="868" y="270"/>
                    <a:pt x="868" y="270"/>
                    <a:pt x="869" y="271"/>
                  </a:cubicBezTo>
                  <a:cubicBezTo>
                    <a:pt x="874" y="273"/>
                    <a:pt x="877" y="273"/>
                    <a:pt x="879" y="271"/>
                  </a:cubicBezTo>
                  <a:cubicBezTo>
                    <a:pt x="880" y="270"/>
                    <a:pt x="880" y="269"/>
                    <a:pt x="880" y="267"/>
                  </a:cubicBezTo>
                  <a:cubicBezTo>
                    <a:pt x="880" y="265"/>
                    <a:pt x="879" y="265"/>
                    <a:pt x="877" y="265"/>
                  </a:cubicBezTo>
                  <a:close/>
                  <a:moveTo>
                    <a:pt x="746" y="266"/>
                  </a:moveTo>
                  <a:cubicBezTo>
                    <a:pt x="745" y="266"/>
                    <a:pt x="744" y="266"/>
                    <a:pt x="744" y="265"/>
                  </a:cubicBezTo>
                  <a:cubicBezTo>
                    <a:pt x="741" y="265"/>
                    <a:pt x="740" y="263"/>
                    <a:pt x="740" y="261"/>
                  </a:cubicBezTo>
                  <a:cubicBezTo>
                    <a:pt x="741" y="257"/>
                    <a:pt x="744" y="253"/>
                    <a:pt x="750" y="253"/>
                  </a:cubicBezTo>
                  <a:cubicBezTo>
                    <a:pt x="758" y="253"/>
                    <a:pt x="765" y="255"/>
                    <a:pt x="766" y="258"/>
                  </a:cubicBezTo>
                  <a:cubicBezTo>
                    <a:pt x="767" y="258"/>
                    <a:pt x="767" y="259"/>
                    <a:pt x="766" y="260"/>
                  </a:cubicBezTo>
                  <a:cubicBezTo>
                    <a:pt x="765" y="263"/>
                    <a:pt x="752" y="266"/>
                    <a:pt x="746" y="266"/>
                  </a:cubicBezTo>
                  <a:close/>
                  <a:moveTo>
                    <a:pt x="750" y="254"/>
                  </a:moveTo>
                  <a:cubicBezTo>
                    <a:pt x="744" y="254"/>
                    <a:pt x="742" y="258"/>
                    <a:pt x="741" y="261"/>
                  </a:cubicBezTo>
                  <a:cubicBezTo>
                    <a:pt x="741" y="262"/>
                    <a:pt x="742" y="264"/>
                    <a:pt x="744" y="264"/>
                  </a:cubicBezTo>
                  <a:cubicBezTo>
                    <a:pt x="744" y="265"/>
                    <a:pt x="745" y="265"/>
                    <a:pt x="746" y="265"/>
                  </a:cubicBezTo>
                  <a:cubicBezTo>
                    <a:pt x="753" y="265"/>
                    <a:pt x="764" y="262"/>
                    <a:pt x="766" y="260"/>
                  </a:cubicBezTo>
                  <a:cubicBezTo>
                    <a:pt x="766" y="259"/>
                    <a:pt x="766" y="259"/>
                    <a:pt x="765" y="258"/>
                  </a:cubicBezTo>
                  <a:cubicBezTo>
                    <a:pt x="764" y="256"/>
                    <a:pt x="758" y="254"/>
                    <a:pt x="750" y="254"/>
                  </a:cubicBezTo>
                  <a:close/>
                  <a:moveTo>
                    <a:pt x="1789" y="262"/>
                  </a:moveTo>
                  <a:cubicBezTo>
                    <a:pt x="1778" y="262"/>
                    <a:pt x="1756" y="260"/>
                    <a:pt x="1752" y="255"/>
                  </a:cubicBezTo>
                  <a:cubicBezTo>
                    <a:pt x="1752" y="255"/>
                    <a:pt x="1752" y="254"/>
                    <a:pt x="1752" y="253"/>
                  </a:cubicBezTo>
                  <a:cubicBezTo>
                    <a:pt x="1754" y="249"/>
                    <a:pt x="1763" y="243"/>
                    <a:pt x="1773" y="243"/>
                  </a:cubicBezTo>
                  <a:cubicBezTo>
                    <a:pt x="1774" y="243"/>
                    <a:pt x="1776" y="243"/>
                    <a:pt x="1777" y="243"/>
                  </a:cubicBezTo>
                  <a:cubicBezTo>
                    <a:pt x="1788" y="245"/>
                    <a:pt x="1798" y="254"/>
                    <a:pt x="1798" y="259"/>
                  </a:cubicBezTo>
                  <a:cubicBezTo>
                    <a:pt x="1799" y="260"/>
                    <a:pt x="1798" y="262"/>
                    <a:pt x="1796" y="262"/>
                  </a:cubicBezTo>
                  <a:cubicBezTo>
                    <a:pt x="1794" y="262"/>
                    <a:pt x="1792" y="262"/>
                    <a:pt x="1789" y="262"/>
                  </a:cubicBezTo>
                  <a:close/>
                  <a:moveTo>
                    <a:pt x="1773" y="244"/>
                  </a:moveTo>
                  <a:cubicBezTo>
                    <a:pt x="1764" y="244"/>
                    <a:pt x="1755" y="250"/>
                    <a:pt x="1753" y="253"/>
                  </a:cubicBezTo>
                  <a:cubicBezTo>
                    <a:pt x="1753" y="254"/>
                    <a:pt x="1753" y="254"/>
                    <a:pt x="1753" y="254"/>
                  </a:cubicBezTo>
                  <a:cubicBezTo>
                    <a:pt x="1756" y="258"/>
                    <a:pt x="1777" y="261"/>
                    <a:pt x="1789" y="261"/>
                  </a:cubicBezTo>
                  <a:cubicBezTo>
                    <a:pt x="1792" y="261"/>
                    <a:pt x="1794" y="261"/>
                    <a:pt x="1796" y="261"/>
                  </a:cubicBezTo>
                  <a:cubicBezTo>
                    <a:pt x="1797" y="261"/>
                    <a:pt x="1797" y="260"/>
                    <a:pt x="1797" y="259"/>
                  </a:cubicBezTo>
                  <a:cubicBezTo>
                    <a:pt x="1797" y="255"/>
                    <a:pt x="1787" y="246"/>
                    <a:pt x="1777" y="244"/>
                  </a:cubicBezTo>
                  <a:cubicBezTo>
                    <a:pt x="1776" y="244"/>
                    <a:pt x="1774" y="244"/>
                    <a:pt x="1773" y="244"/>
                  </a:cubicBezTo>
                  <a:close/>
                  <a:moveTo>
                    <a:pt x="1752" y="240"/>
                  </a:moveTo>
                  <a:cubicBezTo>
                    <a:pt x="1752" y="240"/>
                    <a:pt x="1752" y="240"/>
                    <a:pt x="1752" y="240"/>
                  </a:cubicBezTo>
                  <a:cubicBezTo>
                    <a:pt x="1751" y="240"/>
                    <a:pt x="1749" y="240"/>
                    <a:pt x="1747" y="239"/>
                  </a:cubicBezTo>
                  <a:cubicBezTo>
                    <a:pt x="1745" y="238"/>
                    <a:pt x="1745" y="237"/>
                    <a:pt x="1745" y="236"/>
                  </a:cubicBezTo>
                  <a:cubicBezTo>
                    <a:pt x="1745" y="233"/>
                    <a:pt x="1753" y="230"/>
                    <a:pt x="1758" y="230"/>
                  </a:cubicBezTo>
                  <a:cubicBezTo>
                    <a:pt x="1761" y="230"/>
                    <a:pt x="1762" y="232"/>
                    <a:pt x="1762" y="233"/>
                  </a:cubicBezTo>
                  <a:cubicBezTo>
                    <a:pt x="1762" y="235"/>
                    <a:pt x="1761" y="237"/>
                    <a:pt x="1759" y="238"/>
                  </a:cubicBezTo>
                  <a:cubicBezTo>
                    <a:pt x="1757" y="239"/>
                    <a:pt x="1755" y="240"/>
                    <a:pt x="1752" y="240"/>
                  </a:cubicBezTo>
                  <a:close/>
                  <a:moveTo>
                    <a:pt x="1758" y="231"/>
                  </a:moveTo>
                  <a:cubicBezTo>
                    <a:pt x="1753" y="231"/>
                    <a:pt x="1746" y="234"/>
                    <a:pt x="1746" y="236"/>
                  </a:cubicBezTo>
                  <a:cubicBezTo>
                    <a:pt x="1746" y="237"/>
                    <a:pt x="1747" y="238"/>
                    <a:pt x="1748" y="238"/>
                  </a:cubicBezTo>
                  <a:cubicBezTo>
                    <a:pt x="1749" y="239"/>
                    <a:pt x="1751" y="239"/>
                    <a:pt x="1752" y="239"/>
                  </a:cubicBezTo>
                  <a:cubicBezTo>
                    <a:pt x="1752" y="239"/>
                    <a:pt x="1752" y="239"/>
                    <a:pt x="1752" y="239"/>
                  </a:cubicBezTo>
                  <a:cubicBezTo>
                    <a:pt x="1755" y="239"/>
                    <a:pt x="1757" y="238"/>
                    <a:pt x="1758" y="238"/>
                  </a:cubicBezTo>
                  <a:cubicBezTo>
                    <a:pt x="1760" y="237"/>
                    <a:pt x="1761" y="235"/>
                    <a:pt x="1761" y="233"/>
                  </a:cubicBezTo>
                  <a:cubicBezTo>
                    <a:pt x="1761" y="232"/>
                    <a:pt x="1759" y="231"/>
                    <a:pt x="1758" y="231"/>
                  </a:cubicBezTo>
                  <a:close/>
                  <a:moveTo>
                    <a:pt x="1338" y="236"/>
                  </a:moveTo>
                  <a:cubicBezTo>
                    <a:pt x="1333" y="236"/>
                    <a:pt x="1329" y="235"/>
                    <a:pt x="1328" y="233"/>
                  </a:cubicBezTo>
                  <a:cubicBezTo>
                    <a:pt x="1327" y="232"/>
                    <a:pt x="1327" y="231"/>
                    <a:pt x="1327" y="231"/>
                  </a:cubicBezTo>
                  <a:cubicBezTo>
                    <a:pt x="1328" y="230"/>
                    <a:pt x="1329" y="229"/>
                    <a:pt x="1331" y="228"/>
                  </a:cubicBezTo>
                  <a:cubicBezTo>
                    <a:pt x="1333" y="227"/>
                    <a:pt x="1336" y="226"/>
                    <a:pt x="1336" y="225"/>
                  </a:cubicBezTo>
                  <a:cubicBezTo>
                    <a:pt x="1337" y="223"/>
                    <a:pt x="1342" y="222"/>
                    <a:pt x="1345" y="222"/>
                  </a:cubicBezTo>
                  <a:cubicBezTo>
                    <a:pt x="1349" y="222"/>
                    <a:pt x="1352" y="223"/>
                    <a:pt x="1354" y="225"/>
                  </a:cubicBezTo>
                  <a:cubicBezTo>
                    <a:pt x="1355" y="226"/>
                    <a:pt x="1355" y="227"/>
                    <a:pt x="1355" y="228"/>
                  </a:cubicBezTo>
                  <a:cubicBezTo>
                    <a:pt x="1355" y="233"/>
                    <a:pt x="1345" y="236"/>
                    <a:pt x="1338" y="236"/>
                  </a:cubicBezTo>
                  <a:close/>
                  <a:moveTo>
                    <a:pt x="1345" y="223"/>
                  </a:moveTo>
                  <a:cubicBezTo>
                    <a:pt x="1341" y="223"/>
                    <a:pt x="1338" y="224"/>
                    <a:pt x="1337" y="226"/>
                  </a:cubicBezTo>
                  <a:cubicBezTo>
                    <a:pt x="1336" y="227"/>
                    <a:pt x="1334" y="228"/>
                    <a:pt x="1332" y="229"/>
                  </a:cubicBezTo>
                  <a:cubicBezTo>
                    <a:pt x="1330" y="230"/>
                    <a:pt x="1328" y="230"/>
                    <a:pt x="1328" y="231"/>
                  </a:cubicBezTo>
                  <a:cubicBezTo>
                    <a:pt x="1328" y="231"/>
                    <a:pt x="1328" y="231"/>
                    <a:pt x="1329" y="232"/>
                  </a:cubicBezTo>
                  <a:cubicBezTo>
                    <a:pt x="1330" y="234"/>
                    <a:pt x="1333" y="235"/>
                    <a:pt x="1338" y="235"/>
                  </a:cubicBezTo>
                  <a:cubicBezTo>
                    <a:pt x="1345" y="235"/>
                    <a:pt x="1354" y="232"/>
                    <a:pt x="1354" y="228"/>
                  </a:cubicBezTo>
                  <a:cubicBezTo>
                    <a:pt x="1354" y="227"/>
                    <a:pt x="1354" y="226"/>
                    <a:pt x="1353" y="225"/>
                  </a:cubicBezTo>
                  <a:cubicBezTo>
                    <a:pt x="1352" y="224"/>
                    <a:pt x="1349" y="223"/>
                    <a:pt x="1345" y="223"/>
                  </a:cubicBezTo>
                  <a:close/>
                  <a:moveTo>
                    <a:pt x="1879" y="219"/>
                  </a:moveTo>
                  <a:cubicBezTo>
                    <a:pt x="1876" y="219"/>
                    <a:pt x="1874" y="219"/>
                    <a:pt x="1871" y="219"/>
                  </a:cubicBezTo>
                  <a:cubicBezTo>
                    <a:pt x="1860" y="218"/>
                    <a:pt x="1853" y="214"/>
                    <a:pt x="1847" y="211"/>
                  </a:cubicBezTo>
                  <a:cubicBezTo>
                    <a:pt x="1844" y="209"/>
                    <a:pt x="1840" y="207"/>
                    <a:pt x="1836" y="206"/>
                  </a:cubicBezTo>
                  <a:cubicBezTo>
                    <a:pt x="1835" y="206"/>
                    <a:pt x="1834" y="206"/>
                    <a:pt x="1834" y="204"/>
                  </a:cubicBezTo>
                  <a:cubicBezTo>
                    <a:pt x="1834" y="201"/>
                    <a:pt x="1840" y="194"/>
                    <a:pt x="1844" y="194"/>
                  </a:cubicBezTo>
                  <a:cubicBezTo>
                    <a:pt x="1845" y="194"/>
                    <a:pt x="1846" y="195"/>
                    <a:pt x="1846" y="196"/>
                  </a:cubicBezTo>
                  <a:cubicBezTo>
                    <a:pt x="1849" y="200"/>
                    <a:pt x="1855" y="201"/>
                    <a:pt x="1858" y="201"/>
                  </a:cubicBezTo>
                  <a:cubicBezTo>
                    <a:pt x="1861" y="201"/>
                    <a:pt x="1863" y="201"/>
                    <a:pt x="1866" y="200"/>
                  </a:cubicBezTo>
                  <a:cubicBezTo>
                    <a:pt x="1866" y="200"/>
                    <a:pt x="1867" y="200"/>
                    <a:pt x="1868" y="200"/>
                  </a:cubicBezTo>
                  <a:cubicBezTo>
                    <a:pt x="1871" y="200"/>
                    <a:pt x="1873" y="201"/>
                    <a:pt x="1875" y="202"/>
                  </a:cubicBezTo>
                  <a:cubicBezTo>
                    <a:pt x="1877" y="203"/>
                    <a:pt x="1878" y="204"/>
                    <a:pt x="1880" y="204"/>
                  </a:cubicBezTo>
                  <a:cubicBezTo>
                    <a:pt x="1881" y="204"/>
                    <a:pt x="1882" y="204"/>
                    <a:pt x="1882" y="203"/>
                  </a:cubicBezTo>
                  <a:cubicBezTo>
                    <a:pt x="1883" y="203"/>
                    <a:pt x="1885" y="202"/>
                    <a:pt x="1887" y="202"/>
                  </a:cubicBezTo>
                  <a:cubicBezTo>
                    <a:pt x="1893" y="202"/>
                    <a:pt x="1903" y="206"/>
                    <a:pt x="1906" y="209"/>
                  </a:cubicBezTo>
                  <a:cubicBezTo>
                    <a:pt x="1906" y="210"/>
                    <a:pt x="1907" y="210"/>
                    <a:pt x="1907" y="211"/>
                  </a:cubicBezTo>
                  <a:cubicBezTo>
                    <a:pt x="1906" y="216"/>
                    <a:pt x="1894" y="219"/>
                    <a:pt x="1879" y="219"/>
                  </a:cubicBezTo>
                  <a:close/>
                  <a:moveTo>
                    <a:pt x="1844" y="195"/>
                  </a:moveTo>
                  <a:cubicBezTo>
                    <a:pt x="1840" y="195"/>
                    <a:pt x="1835" y="202"/>
                    <a:pt x="1835" y="204"/>
                  </a:cubicBezTo>
                  <a:cubicBezTo>
                    <a:pt x="1835" y="205"/>
                    <a:pt x="1836" y="205"/>
                    <a:pt x="1836" y="205"/>
                  </a:cubicBezTo>
                  <a:cubicBezTo>
                    <a:pt x="1841" y="206"/>
                    <a:pt x="1844" y="208"/>
                    <a:pt x="1848" y="210"/>
                  </a:cubicBezTo>
                  <a:cubicBezTo>
                    <a:pt x="1854" y="213"/>
                    <a:pt x="1860" y="217"/>
                    <a:pt x="1871" y="218"/>
                  </a:cubicBezTo>
                  <a:cubicBezTo>
                    <a:pt x="1874" y="218"/>
                    <a:pt x="1877" y="218"/>
                    <a:pt x="1879" y="218"/>
                  </a:cubicBezTo>
                  <a:cubicBezTo>
                    <a:pt x="1895" y="218"/>
                    <a:pt x="1905" y="214"/>
                    <a:pt x="1906" y="211"/>
                  </a:cubicBezTo>
                  <a:cubicBezTo>
                    <a:pt x="1905" y="210"/>
                    <a:pt x="1905" y="210"/>
                    <a:pt x="1905" y="210"/>
                  </a:cubicBezTo>
                  <a:cubicBezTo>
                    <a:pt x="1902" y="207"/>
                    <a:pt x="1893" y="203"/>
                    <a:pt x="1887" y="203"/>
                  </a:cubicBezTo>
                  <a:cubicBezTo>
                    <a:pt x="1885" y="203"/>
                    <a:pt x="1884" y="204"/>
                    <a:pt x="1883" y="204"/>
                  </a:cubicBezTo>
                  <a:cubicBezTo>
                    <a:pt x="1882" y="205"/>
                    <a:pt x="1881" y="205"/>
                    <a:pt x="1880" y="205"/>
                  </a:cubicBezTo>
                  <a:cubicBezTo>
                    <a:pt x="1878" y="205"/>
                    <a:pt x="1876" y="204"/>
                    <a:pt x="1874" y="203"/>
                  </a:cubicBezTo>
                  <a:cubicBezTo>
                    <a:pt x="1872" y="202"/>
                    <a:pt x="1870" y="201"/>
                    <a:pt x="1868" y="201"/>
                  </a:cubicBezTo>
                  <a:cubicBezTo>
                    <a:pt x="1867" y="201"/>
                    <a:pt x="1867" y="201"/>
                    <a:pt x="1866" y="201"/>
                  </a:cubicBezTo>
                  <a:cubicBezTo>
                    <a:pt x="1863" y="202"/>
                    <a:pt x="1861" y="202"/>
                    <a:pt x="1858" y="202"/>
                  </a:cubicBezTo>
                  <a:cubicBezTo>
                    <a:pt x="1855" y="202"/>
                    <a:pt x="1848" y="201"/>
                    <a:pt x="1846" y="196"/>
                  </a:cubicBezTo>
                  <a:cubicBezTo>
                    <a:pt x="1845" y="196"/>
                    <a:pt x="1845" y="195"/>
                    <a:pt x="1844" y="195"/>
                  </a:cubicBezTo>
                  <a:close/>
                  <a:moveTo>
                    <a:pt x="1721" y="218"/>
                  </a:moveTo>
                  <a:cubicBezTo>
                    <a:pt x="1719" y="218"/>
                    <a:pt x="1718" y="217"/>
                    <a:pt x="1717" y="216"/>
                  </a:cubicBezTo>
                  <a:cubicBezTo>
                    <a:pt x="1716" y="216"/>
                    <a:pt x="1716" y="215"/>
                    <a:pt x="1715" y="214"/>
                  </a:cubicBezTo>
                  <a:cubicBezTo>
                    <a:pt x="1713" y="212"/>
                    <a:pt x="1710" y="209"/>
                    <a:pt x="1706" y="207"/>
                  </a:cubicBezTo>
                  <a:cubicBezTo>
                    <a:pt x="1702" y="205"/>
                    <a:pt x="1701" y="202"/>
                    <a:pt x="1702" y="198"/>
                  </a:cubicBezTo>
                  <a:cubicBezTo>
                    <a:pt x="1704" y="187"/>
                    <a:pt x="1720" y="172"/>
                    <a:pt x="1729" y="172"/>
                  </a:cubicBezTo>
                  <a:cubicBezTo>
                    <a:pt x="1730" y="172"/>
                    <a:pt x="1730" y="172"/>
                    <a:pt x="1730" y="172"/>
                  </a:cubicBezTo>
                  <a:cubicBezTo>
                    <a:pt x="1734" y="173"/>
                    <a:pt x="1739" y="177"/>
                    <a:pt x="1744" y="181"/>
                  </a:cubicBezTo>
                  <a:cubicBezTo>
                    <a:pt x="1749" y="184"/>
                    <a:pt x="1754" y="188"/>
                    <a:pt x="1756" y="188"/>
                  </a:cubicBezTo>
                  <a:cubicBezTo>
                    <a:pt x="1757" y="188"/>
                    <a:pt x="1758" y="188"/>
                    <a:pt x="1758" y="186"/>
                  </a:cubicBezTo>
                  <a:cubicBezTo>
                    <a:pt x="1758" y="180"/>
                    <a:pt x="1762" y="177"/>
                    <a:pt x="1768" y="177"/>
                  </a:cubicBezTo>
                  <a:cubicBezTo>
                    <a:pt x="1771" y="177"/>
                    <a:pt x="1775" y="178"/>
                    <a:pt x="1779" y="180"/>
                  </a:cubicBezTo>
                  <a:cubicBezTo>
                    <a:pt x="1783" y="182"/>
                    <a:pt x="1787" y="182"/>
                    <a:pt x="1792" y="182"/>
                  </a:cubicBezTo>
                  <a:cubicBezTo>
                    <a:pt x="1798" y="182"/>
                    <a:pt x="1805" y="183"/>
                    <a:pt x="1811" y="186"/>
                  </a:cubicBezTo>
                  <a:cubicBezTo>
                    <a:pt x="1817" y="190"/>
                    <a:pt x="1819" y="193"/>
                    <a:pt x="1819" y="195"/>
                  </a:cubicBezTo>
                  <a:cubicBezTo>
                    <a:pt x="1819" y="197"/>
                    <a:pt x="1818" y="198"/>
                    <a:pt x="1814" y="200"/>
                  </a:cubicBezTo>
                  <a:cubicBezTo>
                    <a:pt x="1812" y="201"/>
                    <a:pt x="1812" y="203"/>
                    <a:pt x="1812" y="205"/>
                  </a:cubicBezTo>
                  <a:cubicBezTo>
                    <a:pt x="1812" y="208"/>
                    <a:pt x="1812" y="212"/>
                    <a:pt x="1804" y="212"/>
                  </a:cubicBezTo>
                  <a:cubicBezTo>
                    <a:pt x="1794" y="213"/>
                    <a:pt x="1787" y="208"/>
                    <a:pt x="1784" y="203"/>
                  </a:cubicBezTo>
                  <a:cubicBezTo>
                    <a:pt x="1783" y="201"/>
                    <a:pt x="1783" y="199"/>
                    <a:pt x="1785" y="198"/>
                  </a:cubicBezTo>
                  <a:cubicBezTo>
                    <a:pt x="1785" y="197"/>
                    <a:pt x="1785" y="196"/>
                    <a:pt x="1785" y="196"/>
                  </a:cubicBezTo>
                  <a:cubicBezTo>
                    <a:pt x="1784" y="195"/>
                    <a:pt x="1782" y="194"/>
                    <a:pt x="1780" y="194"/>
                  </a:cubicBezTo>
                  <a:cubicBezTo>
                    <a:pt x="1780" y="194"/>
                    <a:pt x="1778" y="194"/>
                    <a:pt x="1778" y="196"/>
                  </a:cubicBezTo>
                  <a:cubicBezTo>
                    <a:pt x="1778" y="197"/>
                    <a:pt x="1779" y="200"/>
                    <a:pt x="1780" y="203"/>
                  </a:cubicBezTo>
                  <a:cubicBezTo>
                    <a:pt x="1782" y="206"/>
                    <a:pt x="1784" y="209"/>
                    <a:pt x="1782" y="211"/>
                  </a:cubicBezTo>
                  <a:cubicBezTo>
                    <a:pt x="1782" y="212"/>
                    <a:pt x="1780" y="213"/>
                    <a:pt x="1778" y="213"/>
                  </a:cubicBezTo>
                  <a:cubicBezTo>
                    <a:pt x="1776" y="213"/>
                    <a:pt x="1774" y="213"/>
                    <a:pt x="1771" y="213"/>
                  </a:cubicBezTo>
                  <a:cubicBezTo>
                    <a:pt x="1769" y="212"/>
                    <a:pt x="1767" y="212"/>
                    <a:pt x="1765" y="212"/>
                  </a:cubicBezTo>
                  <a:cubicBezTo>
                    <a:pt x="1762" y="212"/>
                    <a:pt x="1757" y="213"/>
                    <a:pt x="1753" y="215"/>
                  </a:cubicBezTo>
                  <a:cubicBezTo>
                    <a:pt x="1751" y="217"/>
                    <a:pt x="1750" y="217"/>
                    <a:pt x="1748" y="217"/>
                  </a:cubicBezTo>
                  <a:cubicBezTo>
                    <a:pt x="1746" y="217"/>
                    <a:pt x="1745" y="216"/>
                    <a:pt x="1743" y="215"/>
                  </a:cubicBezTo>
                  <a:cubicBezTo>
                    <a:pt x="1742" y="213"/>
                    <a:pt x="1741" y="212"/>
                    <a:pt x="1739" y="213"/>
                  </a:cubicBezTo>
                  <a:cubicBezTo>
                    <a:pt x="1738" y="213"/>
                    <a:pt x="1738" y="213"/>
                    <a:pt x="1737" y="214"/>
                  </a:cubicBezTo>
                  <a:cubicBezTo>
                    <a:pt x="1732" y="215"/>
                    <a:pt x="1726" y="218"/>
                    <a:pt x="1721" y="218"/>
                  </a:cubicBezTo>
                  <a:close/>
                  <a:moveTo>
                    <a:pt x="1729" y="173"/>
                  </a:moveTo>
                  <a:cubicBezTo>
                    <a:pt x="1722" y="173"/>
                    <a:pt x="1705" y="187"/>
                    <a:pt x="1703" y="198"/>
                  </a:cubicBezTo>
                  <a:cubicBezTo>
                    <a:pt x="1702" y="202"/>
                    <a:pt x="1703" y="204"/>
                    <a:pt x="1706" y="206"/>
                  </a:cubicBezTo>
                  <a:cubicBezTo>
                    <a:pt x="1711" y="208"/>
                    <a:pt x="1713" y="211"/>
                    <a:pt x="1716" y="214"/>
                  </a:cubicBezTo>
                  <a:cubicBezTo>
                    <a:pt x="1717" y="214"/>
                    <a:pt x="1717" y="215"/>
                    <a:pt x="1718" y="216"/>
                  </a:cubicBezTo>
                  <a:cubicBezTo>
                    <a:pt x="1718" y="216"/>
                    <a:pt x="1720" y="217"/>
                    <a:pt x="1721" y="217"/>
                  </a:cubicBezTo>
                  <a:cubicBezTo>
                    <a:pt x="1726" y="217"/>
                    <a:pt x="1732" y="214"/>
                    <a:pt x="1737" y="213"/>
                  </a:cubicBezTo>
                  <a:cubicBezTo>
                    <a:pt x="1737" y="212"/>
                    <a:pt x="1738" y="212"/>
                    <a:pt x="1739" y="212"/>
                  </a:cubicBezTo>
                  <a:cubicBezTo>
                    <a:pt x="1740" y="212"/>
                    <a:pt x="1740" y="212"/>
                    <a:pt x="1740" y="212"/>
                  </a:cubicBezTo>
                  <a:cubicBezTo>
                    <a:pt x="1742" y="212"/>
                    <a:pt x="1743" y="213"/>
                    <a:pt x="1744" y="214"/>
                  </a:cubicBezTo>
                  <a:cubicBezTo>
                    <a:pt x="1745" y="215"/>
                    <a:pt x="1747" y="216"/>
                    <a:pt x="1748" y="216"/>
                  </a:cubicBezTo>
                  <a:cubicBezTo>
                    <a:pt x="1749" y="216"/>
                    <a:pt x="1751" y="216"/>
                    <a:pt x="1752" y="215"/>
                  </a:cubicBezTo>
                  <a:cubicBezTo>
                    <a:pt x="1757" y="212"/>
                    <a:pt x="1762" y="211"/>
                    <a:pt x="1765" y="211"/>
                  </a:cubicBezTo>
                  <a:cubicBezTo>
                    <a:pt x="1767" y="211"/>
                    <a:pt x="1769" y="211"/>
                    <a:pt x="1771" y="212"/>
                  </a:cubicBezTo>
                  <a:cubicBezTo>
                    <a:pt x="1774" y="212"/>
                    <a:pt x="1776" y="212"/>
                    <a:pt x="1778" y="212"/>
                  </a:cubicBezTo>
                  <a:cubicBezTo>
                    <a:pt x="1780" y="212"/>
                    <a:pt x="1781" y="212"/>
                    <a:pt x="1782" y="211"/>
                  </a:cubicBezTo>
                  <a:cubicBezTo>
                    <a:pt x="1782" y="209"/>
                    <a:pt x="1781" y="206"/>
                    <a:pt x="1779" y="203"/>
                  </a:cubicBezTo>
                  <a:cubicBezTo>
                    <a:pt x="1778" y="200"/>
                    <a:pt x="1777" y="198"/>
                    <a:pt x="1777" y="196"/>
                  </a:cubicBezTo>
                  <a:cubicBezTo>
                    <a:pt x="1777" y="194"/>
                    <a:pt x="1778" y="193"/>
                    <a:pt x="1780" y="193"/>
                  </a:cubicBezTo>
                  <a:cubicBezTo>
                    <a:pt x="1782" y="193"/>
                    <a:pt x="1785" y="194"/>
                    <a:pt x="1786" y="195"/>
                  </a:cubicBezTo>
                  <a:cubicBezTo>
                    <a:pt x="1786" y="196"/>
                    <a:pt x="1786" y="197"/>
                    <a:pt x="1785" y="199"/>
                  </a:cubicBezTo>
                  <a:cubicBezTo>
                    <a:pt x="1784" y="200"/>
                    <a:pt x="1784" y="201"/>
                    <a:pt x="1785" y="203"/>
                  </a:cubicBezTo>
                  <a:cubicBezTo>
                    <a:pt x="1787" y="207"/>
                    <a:pt x="1795" y="212"/>
                    <a:pt x="1804" y="211"/>
                  </a:cubicBezTo>
                  <a:cubicBezTo>
                    <a:pt x="1811" y="211"/>
                    <a:pt x="1811" y="208"/>
                    <a:pt x="1811" y="205"/>
                  </a:cubicBezTo>
                  <a:cubicBezTo>
                    <a:pt x="1811" y="203"/>
                    <a:pt x="1811" y="200"/>
                    <a:pt x="1814" y="199"/>
                  </a:cubicBezTo>
                  <a:cubicBezTo>
                    <a:pt x="1817" y="197"/>
                    <a:pt x="1818" y="196"/>
                    <a:pt x="1818" y="195"/>
                  </a:cubicBezTo>
                  <a:cubicBezTo>
                    <a:pt x="1818" y="193"/>
                    <a:pt x="1816" y="190"/>
                    <a:pt x="1810" y="187"/>
                  </a:cubicBezTo>
                  <a:cubicBezTo>
                    <a:pt x="1805" y="184"/>
                    <a:pt x="1798" y="183"/>
                    <a:pt x="1792" y="183"/>
                  </a:cubicBezTo>
                  <a:cubicBezTo>
                    <a:pt x="1787" y="183"/>
                    <a:pt x="1783" y="183"/>
                    <a:pt x="1779" y="181"/>
                  </a:cubicBezTo>
                  <a:cubicBezTo>
                    <a:pt x="1775" y="179"/>
                    <a:pt x="1771" y="178"/>
                    <a:pt x="1768" y="178"/>
                  </a:cubicBezTo>
                  <a:cubicBezTo>
                    <a:pt x="1764" y="178"/>
                    <a:pt x="1759" y="180"/>
                    <a:pt x="1759" y="186"/>
                  </a:cubicBezTo>
                  <a:cubicBezTo>
                    <a:pt x="1759" y="188"/>
                    <a:pt x="1757" y="189"/>
                    <a:pt x="1756" y="189"/>
                  </a:cubicBezTo>
                  <a:cubicBezTo>
                    <a:pt x="1754" y="189"/>
                    <a:pt x="1749" y="185"/>
                    <a:pt x="1744" y="181"/>
                  </a:cubicBezTo>
                  <a:cubicBezTo>
                    <a:pt x="1739" y="178"/>
                    <a:pt x="1734" y="174"/>
                    <a:pt x="1730" y="173"/>
                  </a:cubicBezTo>
                  <a:cubicBezTo>
                    <a:pt x="1729" y="173"/>
                    <a:pt x="1729" y="173"/>
                    <a:pt x="1729" y="173"/>
                  </a:cubicBezTo>
                  <a:close/>
                  <a:moveTo>
                    <a:pt x="1155" y="119"/>
                  </a:moveTo>
                  <a:cubicBezTo>
                    <a:pt x="1153" y="119"/>
                    <a:pt x="1152" y="119"/>
                    <a:pt x="1151" y="118"/>
                  </a:cubicBezTo>
                  <a:cubicBezTo>
                    <a:pt x="1150" y="118"/>
                    <a:pt x="1149" y="117"/>
                    <a:pt x="1149" y="116"/>
                  </a:cubicBezTo>
                  <a:cubicBezTo>
                    <a:pt x="1149" y="114"/>
                    <a:pt x="1151" y="112"/>
                    <a:pt x="1153" y="110"/>
                  </a:cubicBezTo>
                  <a:cubicBezTo>
                    <a:pt x="1156" y="107"/>
                    <a:pt x="1161" y="102"/>
                    <a:pt x="1161" y="97"/>
                  </a:cubicBezTo>
                  <a:cubicBezTo>
                    <a:pt x="1161" y="91"/>
                    <a:pt x="1164" y="90"/>
                    <a:pt x="1168" y="90"/>
                  </a:cubicBezTo>
                  <a:cubicBezTo>
                    <a:pt x="1169" y="90"/>
                    <a:pt x="1169" y="90"/>
                    <a:pt x="1169" y="90"/>
                  </a:cubicBezTo>
                  <a:cubicBezTo>
                    <a:pt x="1170" y="90"/>
                    <a:pt x="1171" y="90"/>
                    <a:pt x="1171" y="90"/>
                  </a:cubicBezTo>
                  <a:cubicBezTo>
                    <a:pt x="1171" y="90"/>
                    <a:pt x="1172" y="89"/>
                    <a:pt x="1171" y="89"/>
                  </a:cubicBezTo>
                  <a:cubicBezTo>
                    <a:pt x="1171" y="86"/>
                    <a:pt x="1173" y="85"/>
                    <a:pt x="1174" y="83"/>
                  </a:cubicBezTo>
                  <a:cubicBezTo>
                    <a:pt x="1175" y="81"/>
                    <a:pt x="1177" y="79"/>
                    <a:pt x="1177" y="77"/>
                  </a:cubicBezTo>
                  <a:cubicBezTo>
                    <a:pt x="1177" y="75"/>
                    <a:pt x="1181" y="74"/>
                    <a:pt x="1184" y="74"/>
                  </a:cubicBezTo>
                  <a:cubicBezTo>
                    <a:pt x="1188" y="74"/>
                    <a:pt x="1192" y="74"/>
                    <a:pt x="1192" y="72"/>
                  </a:cubicBezTo>
                  <a:cubicBezTo>
                    <a:pt x="1192" y="70"/>
                    <a:pt x="1193" y="69"/>
                    <a:pt x="1195" y="69"/>
                  </a:cubicBezTo>
                  <a:cubicBezTo>
                    <a:pt x="1198" y="69"/>
                    <a:pt x="1202" y="72"/>
                    <a:pt x="1204" y="75"/>
                  </a:cubicBezTo>
                  <a:cubicBezTo>
                    <a:pt x="1204" y="76"/>
                    <a:pt x="1204" y="79"/>
                    <a:pt x="1202" y="82"/>
                  </a:cubicBezTo>
                  <a:cubicBezTo>
                    <a:pt x="1197" y="86"/>
                    <a:pt x="1196" y="89"/>
                    <a:pt x="1197" y="90"/>
                  </a:cubicBezTo>
                  <a:cubicBezTo>
                    <a:pt x="1197" y="91"/>
                    <a:pt x="1197" y="91"/>
                    <a:pt x="1197" y="91"/>
                  </a:cubicBezTo>
                  <a:cubicBezTo>
                    <a:pt x="1198" y="91"/>
                    <a:pt x="1198" y="90"/>
                    <a:pt x="1199" y="89"/>
                  </a:cubicBezTo>
                  <a:cubicBezTo>
                    <a:pt x="1201" y="85"/>
                    <a:pt x="1208" y="81"/>
                    <a:pt x="1214" y="81"/>
                  </a:cubicBezTo>
                  <a:cubicBezTo>
                    <a:pt x="1217" y="81"/>
                    <a:pt x="1219" y="82"/>
                    <a:pt x="1221" y="84"/>
                  </a:cubicBezTo>
                  <a:cubicBezTo>
                    <a:pt x="1223" y="87"/>
                    <a:pt x="1227" y="88"/>
                    <a:pt x="1231" y="89"/>
                  </a:cubicBezTo>
                  <a:cubicBezTo>
                    <a:pt x="1236" y="91"/>
                    <a:pt x="1241" y="93"/>
                    <a:pt x="1240" y="97"/>
                  </a:cubicBezTo>
                  <a:cubicBezTo>
                    <a:pt x="1239" y="105"/>
                    <a:pt x="1203" y="114"/>
                    <a:pt x="1190" y="114"/>
                  </a:cubicBezTo>
                  <a:cubicBezTo>
                    <a:pt x="1189" y="114"/>
                    <a:pt x="1189" y="114"/>
                    <a:pt x="1189" y="114"/>
                  </a:cubicBezTo>
                  <a:cubicBezTo>
                    <a:pt x="1183" y="114"/>
                    <a:pt x="1177" y="116"/>
                    <a:pt x="1170" y="117"/>
                  </a:cubicBezTo>
                  <a:cubicBezTo>
                    <a:pt x="1164" y="118"/>
                    <a:pt x="1159" y="119"/>
                    <a:pt x="1155" y="119"/>
                  </a:cubicBezTo>
                  <a:close/>
                  <a:moveTo>
                    <a:pt x="1168" y="91"/>
                  </a:moveTo>
                  <a:cubicBezTo>
                    <a:pt x="1165" y="91"/>
                    <a:pt x="1162" y="92"/>
                    <a:pt x="1162" y="97"/>
                  </a:cubicBezTo>
                  <a:cubicBezTo>
                    <a:pt x="1162" y="103"/>
                    <a:pt x="1157" y="107"/>
                    <a:pt x="1154" y="111"/>
                  </a:cubicBezTo>
                  <a:cubicBezTo>
                    <a:pt x="1152" y="113"/>
                    <a:pt x="1150" y="115"/>
                    <a:pt x="1150" y="116"/>
                  </a:cubicBezTo>
                  <a:cubicBezTo>
                    <a:pt x="1150" y="116"/>
                    <a:pt x="1150" y="117"/>
                    <a:pt x="1151" y="117"/>
                  </a:cubicBezTo>
                  <a:cubicBezTo>
                    <a:pt x="1152" y="118"/>
                    <a:pt x="1154" y="118"/>
                    <a:pt x="1155" y="118"/>
                  </a:cubicBezTo>
                  <a:cubicBezTo>
                    <a:pt x="1159" y="118"/>
                    <a:pt x="1164" y="117"/>
                    <a:pt x="1170" y="116"/>
                  </a:cubicBezTo>
                  <a:cubicBezTo>
                    <a:pt x="1176" y="115"/>
                    <a:pt x="1183" y="113"/>
                    <a:pt x="1188" y="113"/>
                  </a:cubicBezTo>
                  <a:cubicBezTo>
                    <a:pt x="1189" y="113"/>
                    <a:pt x="1189" y="113"/>
                    <a:pt x="1189" y="113"/>
                  </a:cubicBezTo>
                  <a:cubicBezTo>
                    <a:pt x="1190" y="113"/>
                    <a:pt x="1190" y="113"/>
                    <a:pt x="1190" y="113"/>
                  </a:cubicBezTo>
                  <a:cubicBezTo>
                    <a:pt x="1205" y="113"/>
                    <a:pt x="1238" y="103"/>
                    <a:pt x="1239" y="97"/>
                  </a:cubicBezTo>
                  <a:cubicBezTo>
                    <a:pt x="1240" y="94"/>
                    <a:pt x="1235" y="92"/>
                    <a:pt x="1231" y="90"/>
                  </a:cubicBezTo>
                  <a:cubicBezTo>
                    <a:pt x="1227" y="89"/>
                    <a:pt x="1223" y="88"/>
                    <a:pt x="1220" y="85"/>
                  </a:cubicBezTo>
                  <a:cubicBezTo>
                    <a:pt x="1219" y="83"/>
                    <a:pt x="1216" y="82"/>
                    <a:pt x="1214" y="82"/>
                  </a:cubicBezTo>
                  <a:cubicBezTo>
                    <a:pt x="1208" y="82"/>
                    <a:pt x="1202" y="86"/>
                    <a:pt x="1200" y="89"/>
                  </a:cubicBezTo>
                  <a:cubicBezTo>
                    <a:pt x="1199" y="91"/>
                    <a:pt x="1198" y="92"/>
                    <a:pt x="1197" y="92"/>
                  </a:cubicBezTo>
                  <a:cubicBezTo>
                    <a:pt x="1196" y="91"/>
                    <a:pt x="1196" y="91"/>
                    <a:pt x="1196" y="91"/>
                  </a:cubicBezTo>
                  <a:cubicBezTo>
                    <a:pt x="1195" y="89"/>
                    <a:pt x="1196" y="85"/>
                    <a:pt x="1201" y="81"/>
                  </a:cubicBezTo>
                  <a:cubicBezTo>
                    <a:pt x="1203" y="79"/>
                    <a:pt x="1203" y="77"/>
                    <a:pt x="1203" y="75"/>
                  </a:cubicBezTo>
                  <a:cubicBezTo>
                    <a:pt x="1202" y="72"/>
                    <a:pt x="1198" y="70"/>
                    <a:pt x="1195" y="70"/>
                  </a:cubicBezTo>
                  <a:cubicBezTo>
                    <a:pt x="1194" y="70"/>
                    <a:pt x="1193" y="71"/>
                    <a:pt x="1193" y="72"/>
                  </a:cubicBezTo>
                  <a:cubicBezTo>
                    <a:pt x="1193" y="75"/>
                    <a:pt x="1189" y="75"/>
                    <a:pt x="1185" y="75"/>
                  </a:cubicBezTo>
                  <a:cubicBezTo>
                    <a:pt x="1181" y="75"/>
                    <a:pt x="1178" y="76"/>
                    <a:pt x="1178" y="77"/>
                  </a:cubicBezTo>
                  <a:cubicBezTo>
                    <a:pt x="1178" y="80"/>
                    <a:pt x="1176" y="82"/>
                    <a:pt x="1175" y="83"/>
                  </a:cubicBezTo>
                  <a:cubicBezTo>
                    <a:pt x="1174" y="85"/>
                    <a:pt x="1172" y="87"/>
                    <a:pt x="1172" y="89"/>
                  </a:cubicBezTo>
                  <a:cubicBezTo>
                    <a:pt x="1173" y="90"/>
                    <a:pt x="1172" y="90"/>
                    <a:pt x="1172" y="91"/>
                  </a:cubicBezTo>
                  <a:cubicBezTo>
                    <a:pt x="1171" y="91"/>
                    <a:pt x="1170" y="91"/>
                    <a:pt x="1169" y="91"/>
                  </a:cubicBezTo>
                  <a:cubicBezTo>
                    <a:pt x="1168" y="91"/>
                    <a:pt x="1168" y="91"/>
                    <a:pt x="1168" y="91"/>
                  </a:cubicBezTo>
                  <a:close/>
                  <a:moveTo>
                    <a:pt x="1141" y="92"/>
                  </a:moveTo>
                  <a:cubicBezTo>
                    <a:pt x="1134" y="92"/>
                    <a:pt x="1126" y="90"/>
                    <a:pt x="1118" y="87"/>
                  </a:cubicBezTo>
                  <a:cubicBezTo>
                    <a:pt x="1112" y="85"/>
                    <a:pt x="1105" y="83"/>
                    <a:pt x="1101" y="83"/>
                  </a:cubicBezTo>
                  <a:cubicBezTo>
                    <a:pt x="1101" y="83"/>
                    <a:pt x="1100" y="83"/>
                    <a:pt x="1099" y="83"/>
                  </a:cubicBezTo>
                  <a:cubicBezTo>
                    <a:pt x="1099" y="84"/>
                    <a:pt x="1098" y="84"/>
                    <a:pt x="1098" y="84"/>
                  </a:cubicBezTo>
                  <a:cubicBezTo>
                    <a:pt x="1094" y="84"/>
                    <a:pt x="1091" y="80"/>
                    <a:pt x="1089" y="78"/>
                  </a:cubicBezTo>
                  <a:cubicBezTo>
                    <a:pt x="1088" y="76"/>
                    <a:pt x="1086" y="74"/>
                    <a:pt x="1085" y="74"/>
                  </a:cubicBezTo>
                  <a:cubicBezTo>
                    <a:pt x="1084" y="73"/>
                    <a:pt x="1083" y="73"/>
                    <a:pt x="1082" y="73"/>
                  </a:cubicBezTo>
                  <a:cubicBezTo>
                    <a:pt x="1079" y="73"/>
                    <a:pt x="1077" y="73"/>
                    <a:pt x="1074" y="70"/>
                  </a:cubicBezTo>
                  <a:cubicBezTo>
                    <a:pt x="1073" y="70"/>
                    <a:pt x="1073" y="69"/>
                    <a:pt x="1073" y="69"/>
                  </a:cubicBezTo>
                  <a:cubicBezTo>
                    <a:pt x="1073" y="67"/>
                    <a:pt x="1076" y="65"/>
                    <a:pt x="1078" y="63"/>
                  </a:cubicBezTo>
                  <a:cubicBezTo>
                    <a:pt x="1081" y="61"/>
                    <a:pt x="1084" y="59"/>
                    <a:pt x="1084" y="57"/>
                  </a:cubicBezTo>
                  <a:cubicBezTo>
                    <a:pt x="1084" y="53"/>
                    <a:pt x="1108" y="47"/>
                    <a:pt x="1119" y="47"/>
                  </a:cubicBezTo>
                  <a:cubicBezTo>
                    <a:pt x="1123" y="47"/>
                    <a:pt x="1125" y="47"/>
                    <a:pt x="1125" y="48"/>
                  </a:cubicBezTo>
                  <a:cubicBezTo>
                    <a:pt x="1127" y="52"/>
                    <a:pt x="1132" y="57"/>
                    <a:pt x="1134" y="57"/>
                  </a:cubicBezTo>
                  <a:cubicBezTo>
                    <a:pt x="1135" y="57"/>
                    <a:pt x="1135" y="57"/>
                    <a:pt x="1135" y="55"/>
                  </a:cubicBezTo>
                  <a:cubicBezTo>
                    <a:pt x="1135" y="53"/>
                    <a:pt x="1137" y="51"/>
                    <a:pt x="1141" y="51"/>
                  </a:cubicBezTo>
                  <a:cubicBezTo>
                    <a:pt x="1147" y="51"/>
                    <a:pt x="1156" y="54"/>
                    <a:pt x="1158" y="59"/>
                  </a:cubicBezTo>
                  <a:cubicBezTo>
                    <a:pt x="1159" y="61"/>
                    <a:pt x="1159" y="63"/>
                    <a:pt x="1157" y="65"/>
                  </a:cubicBezTo>
                  <a:cubicBezTo>
                    <a:pt x="1153" y="71"/>
                    <a:pt x="1149" y="78"/>
                    <a:pt x="1149" y="80"/>
                  </a:cubicBezTo>
                  <a:cubicBezTo>
                    <a:pt x="1150" y="80"/>
                    <a:pt x="1150" y="80"/>
                    <a:pt x="1151" y="80"/>
                  </a:cubicBezTo>
                  <a:cubicBezTo>
                    <a:pt x="1152" y="80"/>
                    <a:pt x="1153" y="82"/>
                    <a:pt x="1153" y="84"/>
                  </a:cubicBezTo>
                  <a:cubicBezTo>
                    <a:pt x="1153" y="87"/>
                    <a:pt x="1149" y="92"/>
                    <a:pt x="1141" y="92"/>
                  </a:cubicBezTo>
                  <a:close/>
                  <a:moveTo>
                    <a:pt x="1101" y="82"/>
                  </a:moveTo>
                  <a:cubicBezTo>
                    <a:pt x="1106" y="82"/>
                    <a:pt x="1112" y="84"/>
                    <a:pt x="1119" y="86"/>
                  </a:cubicBezTo>
                  <a:cubicBezTo>
                    <a:pt x="1127" y="89"/>
                    <a:pt x="1135" y="91"/>
                    <a:pt x="1141" y="91"/>
                  </a:cubicBezTo>
                  <a:cubicBezTo>
                    <a:pt x="1149" y="91"/>
                    <a:pt x="1152" y="87"/>
                    <a:pt x="1152" y="84"/>
                  </a:cubicBezTo>
                  <a:cubicBezTo>
                    <a:pt x="1152" y="82"/>
                    <a:pt x="1151" y="81"/>
                    <a:pt x="1150" y="81"/>
                  </a:cubicBezTo>
                  <a:cubicBezTo>
                    <a:pt x="1149" y="81"/>
                    <a:pt x="1149" y="81"/>
                    <a:pt x="1149" y="80"/>
                  </a:cubicBezTo>
                  <a:cubicBezTo>
                    <a:pt x="1148" y="78"/>
                    <a:pt x="1151" y="73"/>
                    <a:pt x="1157" y="64"/>
                  </a:cubicBezTo>
                  <a:cubicBezTo>
                    <a:pt x="1158" y="63"/>
                    <a:pt x="1158" y="61"/>
                    <a:pt x="1157" y="59"/>
                  </a:cubicBezTo>
                  <a:cubicBezTo>
                    <a:pt x="1155" y="55"/>
                    <a:pt x="1147" y="52"/>
                    <a:pt x="1141" y="52"/>
                  </a:cubicBezTo>
                  <a:cubicBezTo>
                    <a:pt x="1140" y="52"/>
                    <a:pt x="1136" y="53"/>
                    <a:pt x="1136" y="55"/>
                  </a:cubicBezTo>
                  <a:cubicBezTo>
                    <a:pt x="1136" y="58"/>
                    <a:pt x="1135" y="58"/>
                    <a:pt x="1134" y="58"/>
                  </a:cubicBezTo>
                  <a:cubicBezTo>
                    <a:pt x="1131" y="58"/>
                    <a:pt x="1126" y="52"/>
                    <a:pt x="1124" y="49"/>
                  </a:cubicBezTo>
                  <a:cubicBezTo>
                    <a:pt x="1124" y="48"/>
                    <a:pt x="1123" y="48"/>
                    <a:pt x="1119" y="48"/>
                  </a:cubicBezTo>
                  <a:cubicBezTo>
                    <a:pt x="1108" y="48"/>
                    <a:pt x="1085" y="54"/>
                    <a:pt x="1085" y="57"/>
                  </a:cubicBezTo>
                  <a:cubicBezTo>
                    <a:pt x="1085" y="60"/>
                    <a:pt x="1082" y="62"/>
                    <a:pt x="1079" y="64"/>
                  </a:cubicBezTo>
                  <a:cubicBezTo>
                    <a:pt x="1077" y="66"/>
                    <a:pt x="1074" y="67"/>
                    <a:pt x="1074" y="69"/>
                  </a:cubicBezTo>
                  <a:cubicBezTo>
                    <a:pt x="1074" y="69"/>
                    <a:pt x="1074" y="69"/>
                    <a:pt x="1075" y="70"/>
                  </a:cubicBezTo>
                  <a:cubicBezTo>
                    <a:pt x="1077" y="72"/>
                    <a:pt x="1079" y="72"/>
                    <a:pt x="1082" y="72"/>
                  </a:cubicBezTo>
                  <a:cubicBezTo>
                    <a:pt x="1083" y="72"/>
                    <a:pt x="1084" y="72"/>
                    <a:pt x="1085" y="73"/>
                  </a:cubicBezTo>
                  <a:cubicBezTo>
                    <a:pt x="1087" y="73"/>
                    <a:pt x="1089" y="75"/>
                    <a:pt x="1090" y="77"/>
                  </a:cubicBezTo>
                  <a:cubicBezTo>
                    <a:pt x="1092" y="80"/>
                    <a:pt x="1094" y="83"/>
                    <a:pt x="1098" y="83"/>
                  </a:cubicBezTo>
                  <a:cubicBezTo>
                    <a:pt x="1098" y="83"/>
                    <a:pt x="1099" y="83"/>
                    <a:pt x="1099" y="82"/>
                  </a:cubicBezTo>
                  <a:cubicBezTo>
                    <a:pt x="1100" y="82"/>
                    <a:pt x="1101" y="82"/>
                    <a:pt x="1101" y="82"/>
                  </a:cubicBezTo>
                  <a:close/>
                  <a:moveTo>
                    <a:pt x="1064" y="65"/>
                  </a:moveTo>
                  <a:cubicBezTo>
                    <a:pt x="1063" y="65"/>
                    <a:pt x="1062" y="65"/>
                    <a:pt x="1060" y="65"/>
                  </a:cubicBezTo>
                  <a:cubicBezTo>
                    <a:pt x="1055" y="64"/>
                    <a:pt x="1053" y="61"/>
                    <a:pt x="1051" y="59"/>
                  </a:cubicBezTo>
                  <a:cubicBezTo>
                    <a:pt x="1050" y="58"/>
                    <a:pt x="1049" y="57"/>
                    <a:pt x="1047" y="56"/>
                  </a:cubicBezTo>
                  <a:cubicBezTo>
                    <a:pt x="1046" y="56"/>
                    <a:pt x="1045" y="55"/>
                    <a:pt x="1045" y="54"/>
                  </a:cubicBezTo>
                  <a:cubicBezTo>
                    <a:pt x="1046" y="52"/>
                    <a:pt x="1052" y="50"/>
                    <a:pt x="1058" y="50"/>
                  </a:cubicBezTo>
                  <a:cubicBezTo>
                    <a:pt x="1064" y="50"/>
                    <a:pt x="1066" y="49"/>
                    <a:pt x="1066" y="49"/>
                  </a:cubicBezTo>
                  <a:cubicBezTo>
                    <a:pt x="1066" y="49"/>
                    <a:pt x="1066" y="47"/>
                    <a:pt x="1061" y="46"/>
                  </a:cubicBezTo>
                  <a:cubicBezTo>
                    <a:pt x="1056" y="43"/>
                    <a:pt x="1055" y="40"/>
                    <a:pt x="1055" y="38"/>
                  </a:cubicBezTo>
                  <a:cubicBezTo>
                    <a:pt x="1056" y="36"/>
                    <a:pt x="1058" y="35"/>
                    <a:pt x="1060" y="35"/>
                  </a:cubicBezTo>
                  <a:cubicBezTo>
                    <a:pt x="1061" y="35"/>
                    <a:pt x="1061" y="35"/>
                    <a:pt x="1061" y="35"/>
                  </a:cubicBezTo>
                  <a:cubicBezTo>
                    <a:pt x="1061" y="35"/>
                    <a:pt x="1061" y="35"/>
                    <a:pt x="1062" y="35"/>
                  </a:cubicBezTo>
                  <a:cubicBezTo>
                    <a:pt x="1065" y="35"/>
                    <a:pt x="1069" y="32"/>
                    <a:pt x="1069" y="30"/>
                  </a:cubicBezTo>
                  <a:cubicBezTo>
                    <a:pt x="1070" y="28"/>
                    <a:pt x="1069" y="27"/>
                    <a:pt x="1067" y="26"/>
                  </a:cubicBezTo>
                  <a:cubicBezTo>
                    <a:pt x="1066" y="25"/>
                    <a:pt x="1065" y="24"/>
                    <a:pt x="1065" y="23"/>
                  </a:cubicBezTo>
                  <a:cubicBezTo>
                    <a:pt x="1065" y="19"/>
                    <a:pt x="1075" y="17"/>
                    <a:pt x="1084" y="15"/>
                  </a:cubicBezTo>
                  <a:cubicBezTo>
                    <a:pt x="1091" y="13"/>
                    <a:pt x="1096" y="11"/>
                    <a:pt x="1099" y="9"/>
                  </a:cubicBezTo>
                  <a:cubicBezTo>
                    <a:pt x="1100" y="8"/>
                    <a:pt x="1102" y="7"/>
                    <a:pt x="1103" y="7"/>
                  </a:cubicBezTo>
                  <a:cubicBezTo>
                    <a:pt x="1104" y="7"/>
                    <a:pt x="1104" y="7"/>
                    <a:pt x="1105" y="8"/>
                  </a:cubicBezTo>
                  <a:cubicBezTo>
                    <a:pt x="1107" y="9"/>
                    <a:pt x="1107" y="11"/>
                    <a:pt x="1107" y="13"/>
                  </a:cubicBezTo>
                  <a:cubicBezTo>
                    <a:pt x="1108" y="17"/>
                    <a:pt x="1109" y="22"/>
                    <a:pt x="1116" y="23"/>
                  </a:cubicBezTo>
                  <a:cubicBezTo>
                    <a:pt x="1123" y="24"/>
                    <a:pt x="1128" y="26"/>
                    <a:pt x="1127" y="28"/>
                  </a:cubicBezTo>
                  <a:cubicBezTo>
                    <a:pt x="1127" y="29"/>
                    <a:pt x="1126" y="30"/>
                    <a:pt x="1122" y="31"/>
                  </a:cubicBezTo>
                  <a:cubicBezTo>
                    <a:pt x="1120" y="31"/>
                    <a:pt x="1119" y="31"/>
                    <a:pt x="1119" y="32"/>
                  </a:cubicBezTo>
                  <a:cubicBezTo>
                    <a:pt x="1118" y="32"/>
                    <a:pt x="1119" y="34"/>
                    <a:pt x="1120" y="35"/>
                  </a:cubicBezTo>
                  <a:cubicBezTo>
                    <a:pt x="1121" y="37"/>
                    <a:pt x="1122" y="39"/>
                    <a:pt x="1121" y="41"/>
                  </a:cubicBezTo>
                  <a:cubicBezTo>
                    <a:pt x="1121" y="42"/>
                    <a:pt x="1120" y="42"/>
                    <a:pt x="1118" y="43"/>
                  </a:cubicBezTo>
                  <a:cubicBezTo>
                    <a:pt x="1116" y="43"/>
                    <a:pt x="1113" y="44"/>
                    <a:pt x="1109" y="44"/>
                  </a:cubicBezTo>
                  <a:cubicBezTo>
                    <a:pt x="1099" y="46"/>
                    <a:pt x="1078" y="51"/>
                    <a:pt x="1078" y="54"/>
                  </a:cubicBezTo>
                  <a:cubicBezTo>
                    <a:pt x="1079" y="56"/>
                    <a:pt x="1078" y="58"/>
                    <a:pt x="1076" y="60"/>
                  </a:cubicBezTo>
                  <a:cubicBezTo>
                    <a:pt x="1073" y="63"/>
                    <a:pt x="1069" y="65"/>
                    <a:pt x="1064" y="65"/>
                  </a:cubicBezTo>
                  <a:close/>
                  <a:moveTo>
                    <a:pt x="1060" y="36"/>
                  </a:moveTo>
                  <a:cubicBezTo>
                    <a:pt x="1058" y="36"/>
                    <a:pt x="1057" y="37"/>
                    <a:pt x="1056" y="38"/>
                  </a:cubicBezTo>
                  <a:cubicBezTo>
                    <a:pt x="1056" y="40"/>
                    <a:pt x="1057" y="43"/>
                    <a:pt x="1062" y="45"/>
                  </a:cubicBezTo>
                  <a:cubicBezTo>
                    <a:pt x="1065" y="46"/>
                    <a:pt x="1067" y="48"/>
                    <a:pt x="1067" y="49"/>
                  </a:cubicBezTo>
                  <a:cubicBezTo>
                    <a:pt x="1066" y="51"/>
                    <a:pt x="1062" y="51"/>
                    <a:pt x="1058" y="51"/>
                  </a:cubicBezTo>
                  <a:cubicBezTo>
                    <a:pt x="1051" y="51"/>
                    <a:pt x="1046" y="53"/>
                    <a:pt x="1046" y="54"/>
                  </a:cubicBezTo>
                  <a:cubicBezTo>
                    <a:pt x="1046" y="54"/>
                    <a:pt x="1047" y="55"/>
                    <a:pt x="1048" y="55"/>
                  </a:cubicBezTo>
                  <a:cubicBezTo>
                    <a:pt x="1050" y="56"/>
                    <a:pt x="1051" y="57"/>
                    <a:pt x="1052" y="59"/>
                  </a:cubicBezTo>
                  <a:cubicBezTo>
                    <a:pt x="1053" y="60"/>
                    <a:pt x="1055" y="63"/>
                    <a:pt x="1061" y="64"/>
                  </a:cubicBezTo>
                  <a:cubicBezTo>
                    <a:pt x="1062" y="64"/>
                    <a:pt x="1063" y="64"/>
                    <a:pt x="1064" y="64"/>
                  </a:cubicBezTo>
                  <a:cubicBezTo>
                    <a:pt x="1068" y="64"/>
                    <a:pt x="1073" y="62"/>
                    <a:pt x="1075" y="59"/>
                  </a:cubicBezTo>
                  <a:cubicBezTo>
                    <a:pt x="1077" y="57"/>
                    <a:pt x="1078" y="56"/>
                    <a:pt x="1077" y="54"/>
                  </a:cubicBezTo>
                  <a:cubicBezTo>
                    <a:pt x="1077" y="50"/>
                    <a:pt x="1091" y="47"/>
                    <a:pt x="1109" y="43"/>
                  </a:cubicBezTo>
                  <a:cubicBezTo>
                    <a:pt x="1112" y="43"/>
                    <a:pt x="1116" y="42"/>
                    <a:pt x="1118" y="42"/>
                  </a:cubicBezTo>
                  <a:cubicBezTo>
                    <a:pt x="1119" y="41"/>
                    <a:pt x="1120" y="41"/>
                    <a:pt x="1120" y="40"/>
                  </a:cubicBezTo>
                  <a:cubicBezTo>
                    <a:pt x="1121" y="39"/>
                    <a:pt x="1120" y="37"/>
                    <a:pt x="1119" y="36"/>
                  </a:cubicBezTo>
                  <a:cubicBezTo>
                    <a:pt x="1118" y="34"/>
                    <a:pt x="1117" y="32"/>
                    <a:pt x="1118" y="31"/>
                  </a:cubicBezTo>
                  <a:cubicBezTo>
                    <a:pt x="1119" y="30"/>
                    <a:pt x="1120" y="30"/>
                    <a:pt x="1122" y="30"/>
                  </a:cubicBezTo>
                  <a:cubicBezTo>
                    <a:pt x="1125" y="29"/>
                    <a:pt x="1126" y="28"/>
                    <a:pt x="1126" y="28"/>
                  </a:cubicBezTo>
                  <a:cubicBezTo>
                    <a:pt x="1127" y="27"/>
                    <a:pt x="1123" y="25"/>
                    <a:pt x="1116" y="24"/>
                  </a:cubicBezTo>
                  <a:cubicBezTo>
                    <a:pt x="1108" y="22"/>
                    <a:pt x="1107" y="18"/>
                    <a:pt x="1106" y="14"/>
                  </a:cubicBezTo>
                  <a:cubicBezTo>
                    <a:pt x="1106" y="11"/>
                    <a:pt x="1106" y="10"/>
                    <a:pt x="1105" y="8"/>
                  </a:cubicBezTo>
                  <a:cubicBezTo>
                    <a:pt x="1104" y="8"/>
                    <a:pt x="1103" y="8"/>
                    <a:pt x="1103" y="8"/>
                  </a:cubicBezTo>
                  <a:cubicBezTo>
                    <a:pt x="1102" y="8"/>
                    <a:pt x="1101" y="9"/>
                    <a:pt x="1099" y="10"/>
                  </a:cubicBezTo>
                  <a:cubicBezTo>
                    <a:pt x="1096" y="11"/>
                    <a:pt x="1092" y="14"/>
                    <a:pt x="1084" y="16"/>
                  </a:cubicBezTo>
                  <a:cubicBezTo>
                    <a:pt x="1071" y="19"/>
                    <a:pt x="1066" y="21"/>
                    <a:pt x="1066" y="23"/>
                  </a:cubicBezTo>
                  <a:cubicBezTo>
                    <a:pt x="1066" y="24"/>
                    <a:pt x="1067" y="24"/>
                    <a:pt x="1068" y="25"/>
                  </a:cubicBezTo>
                  <a:cubicBezTo>
                    <a:pt x="1070" y="26"/>
                    <a:pt x="1071" y="28"/>
                    <a:pt x="1070" y="30"/>
                  </a:cubicBezTo>
                  <a:cubicBezTo>
                    <a:pt x="1070" y="33"/>
                    <a:pt x="1066" y="36"/>
                    <a:pt x="1061" y="36"/>
                  </a:cubicBezTo>
                  <a:cubicBezTo>
                    <a:pt x="1061" y="36"/>
                    <a:pt x="1061" y="36"/>
                    <a:pt x="1060" y="36"/>
                  </a:cubicBezTo>
                  <a:close/>
                  <a:moveTo>
                    <a:pt x="548" y="51"/>
                  </a:moveTo>
                  <a:cubicBezTo>
                    <a:pt x="548" y="51"/>
                    <a:pt x="548" y="51"/>
                    <a:pt x="548" y="51"/>
                  </a:cubicBezTo>
                  <a:cubicBezTo>
                    <a:pt x="542" y="51"/>
                    <a:pt x="538" y="51"/>
                    <a:pt x="536" y="49"/>
                  </a:cubicBezTo>
                  <a:cubicBezTo>
                    <a:pt x="534" y="48"/>
                    <a:pt x="534" y="46"/>
                    <a:pt x="534" y="44"/>
                  </a:cubicBezTo>
                  <a:cubicBezTo>
                    <a:pt x="535" y="41"/>
                    <a:pt x="540" y="39"/>
                    <a:pt x="545" y="39"/>
                  </a:cubicBezTo>
                  <a:cubicBezTo>
                    <a:pt x="550" y="39"/>
                    <a:pt x="554" y="39"/>
                    <a:pt x="555" y="38"/>
                  </a:cubicBezTo>
                  <a:cubicBezTo>
                    <a:pt x="555" y="38"/>
                    <a:pt x="555" y="37"/>
                    <a:pt x="555" y="36"/>
                  </a:cubicBezTo>
                  <a:cubicBezTo>
                    <a:pt x="555" y="36"/>
                    <a:pt x="555" y="36"/>
                    <a:pt x="555" y="35"/>
                  </a:cubicBezTo>
                  <a:cubicBezTo>
                    <a:pt x="556" y="34"/>
                    <a:pt x="558" y="34"/>
                    <a:pt x="563" y="34"/>
                  </a:cubicBezTo>
                  <a:cubicBezTo>
                    <a:pt x="570" y="34"/>
                    <a:pt x="582" y="35"/>
                    <a:pt x="584" y="38"/>
                  </a:cubicBezTo>
                  <a:cubicBezTo>
                    <a:pt x="584" y="39"/>
                    <a:pt x="584" y="40"/>
                    <a:pt x="584" y="40"/>
                  </a:cubicBezTo>
                  <a:cubicBezTo>
                    <a:pt x="583" y="43"/>
                    <a:pt x="580" y="43"/>
                    <a:pt x="577" y="43"/>
                  </a:cubicBezTo>
                  <a:cubicBezTo>
                    <a:pt x="573" y="44"/>
                    <a:pt x="570" y="44"/>
                    <a:pt x="568" y="46"/>
                  </a:cubicBezTo>
                  <a:cubicBezTo>
                    <a:pt x="566" y="50"/>
                    <a:pt x="556" y="51"/>
                    <a:pt x="548" y="51"/>
                  </a:cubicBezTo>
                  <a:close/>
                  <a:moveTo>
                    <a:pt x="563" y="35"/>
                  </a:moveTo>
                  <a:cubicBezTo>
                    <a:pt x="558" y="35"/>
                    <a:pt x="556" y="36"/>
                    <a:pt x="556" y="36"/>
                  </a:cubicBezTo>
                  <a:cubicBezTo>
                    <a:pt x="557" y="37"/>
                    <a:pt x="556" y="38"/>
                    <a:pt x="556" y="39"/>
                  </a:cubicBezTo>
                  <a:cubicBezTo>
                    <a:pt x="555" y="40"/>
                    <a:pt x="552" y="40"/>
                    <a:pt x="545" y="40"/>
                  </a:cubicBezTo>
                  <a:cubicBezTo>
                    <a:pt x="539" y="40"/>
                    <a:pt x="536" y="43"/>
                    <a:pt x="535" y="45"/>
                  </a:cubicBezTo>
                  <a:cubicBezTo>
                    <a:pt x="535" y="46"/>
                    <a:pt x="535" y="47"/>
                    <a:pt x="537" y="48"/>
                  </a:cubicBezTo>
                  <a:cubicBezTo>
                    <a:pt x="538" y="50"/>
                    <a:pt x="543" y="50"/>
                    <a:pt x="548" y="50"/>
                  </a:cubicBezTo>
                  <a:cubicBezTo>
                    <a:pt x="548" y="50"/>
                    <a:pt x="548" y="50"/>
                    <a:pt x="548" y="50"/>
                  </a:cubicBezTo>
                  <a:cubicBezTo>
                    <a:pt x="556" y="50"/>
                    <a:pt x="565" y="49"/>
                    <a:pt x="568" y="46"/>
                  </a:cubicBezTo>
                  <a:cubicBezTo>
                    <a:pt x="570" y="43"/>
                    <a:pt x="573" y="43"/>
                    <a:pt x="577" y="42"/>
                  </a:cubicBezTo>
                  <a:cubicBezTo>
                    <a:pt x="580" y="42"/>
                    <a:pt x="582" y="42"/>
                    <a:pt x="583" y="40"/>
                  </a:cubicBezTo>
                  <a:cubicBezTo>
                    <a:pt x="583" y="39"/>
                    <a:pt x="583" y="39"/>
                    <a:pt x="583" y="39"/>
                  </a:cubicBezTo>
                  <a:cubicBezTo>
                    <a:pt x="581" y="37"/>
                    <a:pt x="571" y="35"/>
                    <a:pt x="563" y="35"/>
                  </a:cubicBezTo>
                  <a:close/>
                  <a:moveTo>
                    <a:pt x="420" y="47"/>
                  </a:moveTo>
                  <a:cubicBezTo>
                    <a:pt x="414" y="47"/>
                    <a:pt x="407" y="46"/>
                    <a:pt x="405" y="43"/>
                  </a:cubicBezTo>
                  <a:cubicBezTo>
                    <a:pt x="405" y="42"/>
                    <a:pt x="405" y="41"/>
                    <a:pt x="405" y="40"/>
                  </a:cubicBezTo>
                  <a:cubicBezTo>
                    <a:pt x="406" y="39"/>
                    <a:pt x="409" y="38"/>
                    <a:pt x="412" y="38"/>
                  </a:cubicBezTo>
                  <a:cubicBezTo>
                    <a:pt x="415" y="37"/>
                    <a:pt x="418" y="36"/>
                    <a:pt x="419" y="35"/>
                  </a:cubicBezTo>
                  <a:cubicBezTo>
                    <a:pt x="421" y="32"/>
                    <a:pt x="426" y="32"/>
                    <a:pt x="432" y="31"/>
                  </a:cubicBezTo>
                  <a:cubicBezTo>
                    <a:pt x="435" y="30"/>
                    <a:pt x="440" y="30"/>
                    <a:pt x="440" y="29"/>
                  </a:cubicBezTo>
                  <a:cubicBezTo>
                    <a:pt x="440" y="29"/>
                    <a:pt x="440" y="28"/>
                    <a:pt x="439" y="28"/>
                  </a:cubicBezTo>
                  <a:cubicBezTo>
                    <a:pt x="438" y="27"/>
                    <a:pt x="437" y="26"/>
                    <a:pt x="438" y="24"/>
                  </a:cubicBezTo>
                  <a:cubicBezTo>
                    <a:pt x="439" y="21"/>
                    <a:pt x="445" y="18"/>
                    <a:pt x="452" y="18"/>
                  </a:cubicBezTo>
                  <a:cubicBezTo>
                    <a:pt x="455" y="18"/>
                    <a:pt x="457" y="19"/>
                    <a:pt x="460" y="20"/>
                  </a:cubicBezTo>
                  <a:cubicBezTo>
                    <a:pt x="466" y="23"/>
                    <a:pt x="469" y="25"/>
                    <a:pt x="468" y="27"/>
                  </a:cubicBezTo>
                  <a:cubicBezTo>
                    <a:pt x="468" y="29"/>
                    <a:pt x="465" y="31"/>
                    <a:pt x="459" y="31"/>
                  </a:cubicBezTo>
                  <a:cubicBezTo>
                    <a:pt x="447" y="32"/>
                    <a:pt x="443" y="36"/>
                    <a:pt x="442" y="40"/>
                  </a:cubicBezTo>
                  <a:cubicBezTo>
                    <a:pt x="442" y="42"/>
                    <a:pt x="439" y="42"/>
                    <a:pt x="436" y="42"/>
                  </a:cubicBezTo>
                  <a:cubicBezTo>
                    <a:pt x="433" y="42"/>
                    <a:pt x="431" y="42"/>
                    <a:pt x="431" y="44"/>
                  </a:cubicBezTo>
                  <a:cubicBezTo>
                    <a:pt x="431" y="45"/>
                    <a:pt x="429" y="46"/>
                    <a:pt x="427" y="47"/>
                  </a:cubicBezTo>
                  <a:cubicBezTo>
                    <a:pt x="426" y="47"/>
                    <a:pt x="423" y="47"/>
                    <a:pt x="420" y="47"/>
                  </a:cubicBezTo>
                  <a:close/>
                  <a:moveTo>
                    <a:pt x="452" y="19"/>
                  </a:moveTo>
                  <a:cubicBezTo>
                    <a:pt x="445" y="19"/>
                    <a:pt x="440" y="22"/>
                    <a:pt x="439" y="25"/>
                  </a:cubicBezTo>
                  <a:cubicBezTo>
                    <a:pt x="438" y="26"/>
                    <a:pt x="439" y="26"/>
                    <a:pt x="440" y="27"/>
                  </a:cubicBezTo>
                  <a:cubicBezTo>
                    <a:pt x="440" y="27"/>
                    <a:pt x="441" y="28"/>
                    <a:pt x="441" y="29"/>
                  </a:cubicBezTo>
                  <a:cubicBezTo>
                    <a:pt x="441" y="31"/>
                    <a:pt x="437" y="31"/>
                    <a:pt x="432" y="32"/>
                  </a:cubicBezTo>
                  <a:cubicBezTo>
                    <a:pt x="427" y="32"/>
                    <a:pt x="421" y="33"/>
                    <a:pt x="420" y="35"/>
                  </a:cubicBezTo>
                  <a:cubicBezTo>
                    <a:pt x="419" y="37"/>
                    <a:pt x="415" y="38"/>
                    <a:pt x="412" y="39"/>
                  </a:cubicBezTo>
                  <a:cubicBezTo>
                    <a:pt x="409" y="39"/>
                    <a:pt x="407" y="40"/>
                    <a:pt x="406" y="41"/>
                  </a:cubicBezTo>
                  <a:cubicBezTo>
                    <a:pt x="406" y="42"/>
                    <a:pt x="406" y="42"/>
                    <a:pt x="406" y="42"/>
                  </a:cubicBezTo>
                  <a:cubicBezTo>
                    <a:pt x="408" y="45"/>
                    <a:pt x="415" y="46"/>
                    <a:pt x="420" y="46"/>
                  </a:cubicBezTo>
                  <a:cubicBezTo>
                    <a:pt x="423" y="46"/>
                    <a:pt x="425" y="46"/>
                    <a:pt x="427" y="46"/>
                  </a:cubicBezTo>
                  <a:cubicBezTo>
                    <a:pt x="429" y="45"/>
                    <a:pt x="430" y="44"/>
                    <a:pt x="430" y="44"/>
                  </a:cubicBezTo>
                  <a:cubicBezTo>
                    <a:pt x="430" y="41"/>
                    <a:pt x="433" y="41"/>
                    <a:pt x="436" y="41"/>
                  </a:cubicBezTo>
                  <a:cubicBezTo>
                    <a:pt x="438" y="41"/>
                    <a:pt x="441" y="41"/>
                    <a:pt x="441" y="39"/>
                  </a:cubicBezTo>
                  <a:cubicBezTo>
                    <a:pt x="441" y="38"/>
                    <a:pt x="443" y="31"/>
                    <a:pt x="459" y="30"/>
                  </a:cubicBezTo>
                  <a:cubicBezTo>
                    <a:pt x="466" y="29"/>
                    <a:pt x="467" y="28"/>
                    <a:pt x="467" y="27"/>
                  </a:cubicBezTo>
                  <a:cubicBezTo>
                    <a:pt x="468" y="25"/>
                    <a:pt x="465" y="23"/>
                    <a:pt x="459" y="21"/>
                  </a:cubicBezTo>
                  <a:cubicBezTo>
                    <a:pt x="457" y="20"/>
                    <a:pt x="455" y="19"/>
                    <a:pt x="452" y="19"/>
                  </a:cubicBezTo>
                  <a:close/>
                  <a:moveTo>
                    <a:pt x="493" y="46"/>
                  </a:moveTo>
                  <a:cubicBezTo>
                    <a:pt x="493" y="46"/>
                    <a:pt x="493" y="46"/>
                    <a:pt x="493" y="46"/>
                  </a:cubicBezTo>
                  <a:cubicBezTo>
                    <a:pt x="489" y="46"/>
                    <a:pt x="484" y="45"/>
                    <a:pt x="482" y="44"/>
                  </a:cubicBezTo>
                  <a:cubicBezTo>
                    <a:pt x="481" y="44"/>
                    <a:pt x="481" y="43"/>
                    <a:pt x="481" y="43"/>
                  </a:cubicBezTo>
                  <a:cubicBezTo>
                    <a:pt x="481" y="41"/>
                    <a:pt x="490" y="38"/>
                    <a:pt x="495" y="38"/>
                  </a:cubicBezTo>
                  <a:cubicBezTo>
                    <a:pt x="500" y="38"/>
                    <a:pt x="501" y="40"/>
                    <a:pt x="501" y="42"/>
                  </a:cubicBezTo>
                  <a:cubicBezTo>
                    <a:pt x="501" y="43"/>
                    <a:pt x="500" y="45"/>
                    <a:pt x="498" y="45"/>
                  </a:cubicBezTo>
                  <a:cubicBezTo>
                    <a:pt x="497" y="46"/>
                    <a:pt x="496" y="46"/>
                    <a:pt x="493" y="46"/>
                  </a:cubicBezTo>
                  <a:close/>
                  <a:moveTo>
                    <a:pt x="482" y="43"/>
                  </a:moveTo>
                  <a:cubicBezTo>
                    <a:pt x="482" y="43"/>
                    <a:pt x="482" y="43"/>
                    <a:pt x="482" y="43"/>
                  </a:cubicBezTo>
                  <a:cubicBezTo>
                    <a:pt x="484" y="44"/>
                    <a:pt x="489" y="45"/>
                    <a:pt x="493" y="45"/>
                  </a:cubicBezTo>
                  <a:cubicBezTo>
                    <a:pt x="495" y="45"/>
                    <a:pt x="497" y="45"/>
                    <a:pt x="498" y="45"/>
                  </a:cubicBezTo>
                  <a:cubicBezTo>
                    <a:pt x="499" y="44"/>
                    <a:pt x="500" y="43"/>
                    <a:pt x="500" y="42"/>
                  </a:cubicBezTo>
                  <a:cubicBezTo>
                    <a:pt x="500" y="40"/>
                    <a:pt x="498" y="39"/>
                    <a:pt x="495" y="39"/>
                  </a:cubicBezTo>
                  <a:cubicBezTo>
                    <a:pt x="490" y="39"/>
                    <a:pt x="483" y="42"/>
                    <a:pt x="482" y="43"/>
                  </a:cubicBezTo>
                  <a:close/>
                  <a:moveTo>
                    <a:pt x="600" y="37"/>
                  </a:moveTo>
                  <a:cubicBezTo>
                    <a:pt x="600" y="37"/>
                    <a:pt x="600" y="37"/>
                    <a:pt x="600" y="37"/>
                  </a:cubicBezTo>
                  <a:cubicBezTo>
                    <a:pt x="595" y="37"/>
                    <a:pt x="590" y="36"/>
                    <a:pt x="588" y="33"/>
                  </a:cubicBezTo>
                  <a:cubicBezTo>
                    <a:pt x="587" y="33"/>
                    <a:pt x="586" y="32"/>
                    <a:pt x="586" y="31"/>
                  </a:cubicBezTo>
                  <a:cubicBezTo>
                    <a:pt x="586" y="29"/>
                    <a:pt x="590" y="27"/>
                    <a:pt x="593" y="25"/>
                  </a:cubicBezTo>
                  <a:cubicBezTo>
                    <a:pt x="596" y="23"/>
                    <a:pt x="599" y="21"/>
                    <a:pt x="599" y="20"/>
                  </a:cubicBezTo>
                  <a:cubicBezTo>
                    <a:pt x="598" y="19"/>
                    <a:pt x="599" y="19"/>
                    <a:pt x="599" y="18"/>
                  </a:cubicBezTo>
                  <a:cubicBezTo>
                    <a:pt x="600" y="17"/>
                    <a:pt x="606" y="16"/>
                    <a:pt x="609" y="16"/>
                  </a:cubicBezTo>
                  <a:cubicBezTo>
                    <a:pt x="614" y="16"/>
                    <a:pt x="623" y="17"/>
                    <a:pt x="623" y="20"/>
                  </a:cubicBezTo>
                  <a:cubicBezTo>
                    <a:pt x="624" y="22"/>
                    <a:pt x="625" y="22"/>
                    <a:pt x="627" y="23"/>
                  </a:cubicBezTo>
                  <a:cubicBezTo>
                    <a:pt x="629" y="24"/>
                    <a:pt x="630" y="25"/>
                    <a:pt x="630" y="26"/>
                  </a:cubicBezTo>
                  <a:cubicBezTo>
                    <a:pt x="630" y="27"/>
                    <a:pt x="630" y="27"/>
                    <a:pt x="630" y="28"/>
                  </a:cubicBezTo>
                  <a:cubicBezTo>
                    <a:pt x="627" y="31"/>
                    <a:pt x="612" y="37"/>
                    <a:pt x="600" y="37"/>
                  </a:cubicBezTo>
                  <a:close/>
                  <a:moveTo>
                    <a:pt x="609" y="17"/>
                  </a:moveTo>
                  <a:cubicBezTo>
                    <a:pt x="604" y="17"/>
                    <a:pt x="600" y="18"/>
                    <a:pt x="600" y="19"/>
                  </a:cubicBezTo>
                  <a:cubicBezTo>
                    <a:pt x="600" y="19"/>
                    <a:pt x="599" y="19"/>
                    <a:pt x="600" y="20"/>
                  </a:cubicBezTo>
                  <a:cubicBezTo>
                    <a:pt x="600" y="22"/>
                    <a:pt x="597" y="24"/>
                    <a:pt x="593" y="26"/>
                  </a:cubicBezTo>
                  <a:cubicBezTo>
                    <a:pt x="591" y="28"/>
                    <a:pt x="587" y="30"/>
                    <a:pt x="587" y="31"/>
                  </a:cubicBezTo>
                  <a:cubicBezTo>
                    <a:pt x="587" y="32"/>
                    <a:pt x="588" y="32"/>
                    <a:pt x="588" y="33"/>
                  </a:cubicBezTo>
                  <a:cubicBezTo>
                    <a:pt x="591" y="35"/>
                    <a:pt x="595" y="36"/>
                    <a:pt x="600" y="36"/>
                  </a:cubicBezTo>
                  <a:cubicBezTo>
                    <a:pt x="612" y="36"/>
                    <a:pt x="627" y="30"/>
                    <a:pt x="629" y="28"/>
                  </a:cubicBezTo>
                  <a:cubicBezTo>
                    <a:pt x="629" y="27"/>
                    <a:pt x="629" y="27"/>
                    <a:pt x="629" y="26"/>
                  </a:cubicBezTo>
                  <a:cubicBezTo>
                    <a:pt x="629" y="25"/>
                    <a:pt x="628" y="25"/>
                    <a:pt x="627" y="24"/>
                  </a:cubicBezTo>
                  <a:cubicBezTo>
                    <a:pt x="625" y="23"/>
                    <a:pt x="623" y="22"/>
                    <a:pt x="622" y="20"/>
                  </a:cubicBezTo>
                  <a:cubicBezTo>
                    <a:pt x="622" y="19"/>
                    <a:pt x="616" y="17"/>
                    <a:pt x="609" y="17"/>
                  </a:cubicBezTo>
                  <a:close/>
                  <a:moveTo>
                    <a:pt x="388" y="36"/>
                  </a:moveTo>
                  <a:cubicBezTo>
                    <a:pt x="388" y="36"/>
                    <a:pt x="388" y="36"/>
                    <a:pt x="388" y="36"/>
                  </a:cubicBezTo>
                  <a:cubicBezTo>
                    <a:pt x="382" y="36"/>
                    <a:pt x="376" y="33"/>
                    <a:pt x="375" y="31"/>
                  </a:cubicBezTo>
                  <a:cubicBezTo>
                    <a:pt x="375" y="30"/>
                    <a:pt x="375" y="29"/>
                    <a:pt x="375" y="29"/>
                  </a:cubicBezTo>
                  <a:cubicBezTo>
                    <a:pt x="376" y="27"/>
                    <a:pt x="380" y="27"/>
                    <a:pt x="384" y="27"/>
                  </a:cubicBezTo>
                  <a:cubicBezTo>
                    <a:pt x="389" y="26"/>
                    <a:pt x="394" y="26"/>
                    <a:pt x="398" y="24"/>
                  </a:cubicBezTo>
                  <a:cubicBezTo>
                    <a:pt x="400" y="23"/>
                    <a:pt x="405" y="22"/>
                    <a:pt x="411" y="22"/>
                  </a:cubicBezTo>
                  <a:cubicBezTo>
                    <a:pt x="416" y="22"/>
                    <a:pt x="422" y="23"/>
                    <a:pt x="424" y="25"/>
                  </a:cubicBezTo>
                  <a:cubicBezTo>
                    <a:pt x="424" y="26"/>
                    <a:pt x="424" y="26"/>
                    <a:pt x="424" y="27"/>
                  </a:cubicBezTo>
                  <a:cubicBezTo>
                    <a:pt x="423" y="28"/>
                    <a:pt x="422" y="28"/>
                    <a:pt x="421" y="28"/>
                  </a:cubicBezTo>
                  <a:cubicBezTo>
                    <a:pt x="420" y="28"/>
                    <a:pt x="418" y="28"/>
                    <a:pt x="417" y="28"/>
                  </a:cubicBezTo>
                  <a:cubicBezTo>
                    <a:pt x="415" y="28"/>
                    <a:pt x="413" y="28"/>
                    <a:pt x="411" y="28"/>
                  </a:cubicBezTo>
                  <a:cubicBezTo>
                    <a:pt x="406" y="28"/>
                    <a:pt x="402" y="29"/>
                    <a:pt x="399" y="32"/>
                  </a:cubicBezTo>
                  <a:cubicBezTo>
                    <a:pt x="396" y="35"/>
                    <a:pt x="392" y="36"/>
                    <a:pt x="388" y="36"/>
                  </a:cubicBezTo>
                  <a:close/>
                  <a:moveTo>
                    <a:pt x="411" y="23"/>
                  </a:moveTo>
                  <a:cubicBezTo>
                    <a:pt x="405" y="23"/>
                    <a:pt x="401" y="24"/>
                    <a:pt x="398" y="25"/>
                  </a:cubicBezTo>
                  <a:cubicBezTo>
                    <a:pt x="395" y="27"/>
                    <a:pt x="389" y="27"/>
                    <a:pt x="384" y="28"/>
                  </a:cubicBezTo>
                  <a:cubicBezTo>
                    <a:pt x="381" y="28"/>
                    <a:pt x="377" y="28"/>
                    <a:pt x="376" y="29"/>
                  </a:cubicBezTo>
                  <a:cubicBezTo>
                    <a:pt x="376" y="30"/>
                    <a:pt x="376" y="30"/>
                    <a:pt x="376" y="30"/>
                  </a:cubicBezTo>
                  <a:cubicBezTo>
                    <a:pt x="377" y="32"/>
                    <a:pt x="382" y="35"/>
                    <a:pt x="388" y="35"/>
                  </a:cubicBezTo>
                  <a:cubicBezTo>
                    <a:pt x="388" y="35"/>
                    <a:pt x="388" y="35"/>
                    <a:pt x="388" y="35"/>
                  </a:cubicBezTo>
                  <a:cubicBezTo>
                    <a:pt x="392" y="35"/>
                    <a:pt x="396" y="34"/>
                    <a:pt x="399" y="31"/>
                  </a:cubicBezTo>
                  <a:cubicBezTo>
                    <a:pt x="402" y="28"/>
                    <a:pt x="406" y="27"/>
                    <a:pt x="411" y="27"/>
                  </a:cubicBezTo>
                  <a:cubicBezTo>
                    <a:pt x="413" y="27"/>
                    <a:pt x="415" y="27"/>
                    <a:pt x="417" y="27"/>
                  </a:cubicBezTo>
                  <a:cubicBezTo>
                    <a:pt x="419" y="27"/>
                    <a:pt x="420" y="27"/>
                    <a:pt x="421" y="27"/>
                  </a:cubicBezTo>
                  <a:cubicBezTo>
                    <a:pt x="422" y="27"/>
                    <a:pt x="423" y="27"/>
                    <a:pt x="423" y="26"/>
                  </a:cubicBezTo>
                  <a:cubicBezTo>
                    <a:pt x="423" y="26"/>
                    <a:pt x="423" y="26"/>
                    <a:pt x="423" y="26"/>
                  </a:cubicBezTo>
                  <a:cubicBezTo>
                    <a:pt x="422" y="24"/>
                    <a:pt x="417" y="23"/>
                    <a:pt x="411" y="23"/>
                  </a:cubicBezTo>
                  <a:close/>
                  <a:moveTo>
                    <a:pt x="530" y="31"/>
                  </a:moveTo>
                  <a:cubicBezTo>
                    <a:pt x="520" y="31"/>
                    <a:pt x="513" y="29"/>
                    <a:pt x="510" y="26"/>
                  </a:cubicBezTo>
                  <a:cubicBezTo>
                    <a:pt x="509" y="26"/>
                    <a:pt x="509" y="25"/>
                    <a:pt x="509" y="25"/>
                  </a:cubicBezTo>
                  <a:cubicBezTo>
                    <a:pt x="510" y="23"/>
                    <a:pt x="513" y="22"/>
                    <a:pt x="518" y="20"/>
                  </a:cubicBezTo>
                  <a:cubicBezTo>
                    <a:pt x="521" y="19"/>
                    <a:pt x="525" y="18"/>
                    <a:pt x="525" y="17"/>
                  </a:cubicBezTo>
                  <a:cubicBezTo>
                    <a:pt x="525" y="17"/>
                    <a:pt x="525" y="17"/>
                    <a:pt x="525" y="17"/>
                  </a:cubicBezTo>
                  <a:cubicBezTo>
                    <a:pt x="523" y="15"/>
                    <a:pt x="521" y="13"/>
                    <a:pt x="522" y="12"/>
                  </a:cubicBezTo>
                  <a:cubicBezTo>
                    <a:pt x="522" y="11"/>
                    <a:pt x="523" y="11"/>
                    <a:pt x="524" y="11"/>
                  </a:cubicBezTo>
                  <a:cubicBezTo>
                    <a:pt x="527" y="11"/>
                    <a:pt x="531" y="12"/>
                    <a:pt x="536" y="14"/>
                  </a:cubicBezTo>
                  <a:cubicBezTo>
                    <a:pt x="540" y="16"/>
                    <a:pt x="544" y="16"/>
                    <a:pt x="547" y="16"/>
                  </a:cubicBezTo>
                  <a:cubicBezTo>
                    <a:pt x="548" y="16"/>
                    <a:pt x="549" y="16"/>
                    <a:pt x="551" y="16"/>
                  </a:cubicBezTo>
                  <a:cubicBezTo>
                    <a:pt x="552" y="16"/>
                    <a:pt x="553" y="16"/>
                    <a:pt x="554" y="16"/>
                  </a:cubicBezTo>
                  <a:cubicBezTo>
                    <a:pt x="557" y="16"/>
                    <a:pt x="559" y="16"/>
                    <a:pt x="560" y="17"/>
                  </a:cubicBezTo>
                  <a:cubicBezTo>
                    <a:pt x="561" y="18"/>
                    <a:pt x="562" y="19"/>
                    <a:pt x="561" y="21"/>
                  </a:cubicBezTo>
                  <a:cubicBezTo>
                    <a:pt x="560" y="27"/>
                    <a:pt x="544" y="31"/>
                    <a:pt x="530" y="31"/>
                  </a:cubicBezTo>
                  <a:close/>
                  <a:moveTo>
                    <a:pt x="524" y="12"/>
                  </a:moveTo>
                  <a:cubicBezTo>
                    <a:pt x="523" y="12"/>
                    <a:pt x="523" y="12"/>
                    <a:pt x="523" y="12"/>
                  </a:cubicBezTo>
                  <a:cubicBezTo>
                    <a:pt x="523" y="13"/>
                    <a:pt x="523" y="14"/>
                    <a:pt x="526" y="16"/>
                  </a:cubicBezTo>
                  <a:cubicBezTo>
                    <a:pt x="526" y="17"/>
                    <a:pt x="526" y="17"/>
                    <a:pt x="526" y="18"/>
                  </a:cubicBezTo>
                  <a:cubicBezTo>
                    <a:pt x="526" y="19"/>
                    <a:pt x="523" y="20"/>
                    <a:pt x="518" y="21"/>
                  </a:cubicBezTo>
                  <a:cubicBezTo>
                    <a:pt x="515" y="22"/>
                    <a:pt x="510" y="24"/>
                    <a:pt x="510" y="25"/>
                  </a:cubicBezTo>
                  <a:cubicBezTo>
                    <a:pt x="510" y="25"/>
                    <a:pt x="510" y="25"/>
                    <a:pt x="510" y="25"/>
                  </a:cubicBezTo>
                  <a:cubicBezTo>
                    <a:pt x="513" y="28"/>
                    <a:pt x="520" y="30"/>
                    <a:pt x="530" y="30"/>
                  </a:cubicBezTo>
                  <a:cubicBezTo>
                    <a:pt x="544" y="30"/>
                    <a:pt x="560" y="26"/>
                    <a:pt x="560" y="21"/>
                  </a:cubicBezTo>
                  <a:cubicBezTo>
                    <a:pt x="560" y="20"/>
                    <a:pt x="560" y="19"/>
                    <a:pt x="560" y="18"/>
                  </a:cubicBezTo>
                  <a:cubicBezTo>
                    <a:pt x="559" y="17"/>
                    <a:pt x="556" y="17"/>
                    <a:pt x="554" y="17"/>
                  </a:cubicBezTo>
                  <a:cubicBezTo>
                    <a:pt x="553" y="17"/>
                    <a:pt x="552" y="17"/>
                    <a:pt x="551" y="17"/>
                  </a:cubicBezTo>
                  <a:cubicBezTo>
                    <a:pt x="550" y="17"/>
                    <a:pt x="548" y="17"/>
                    <a:pt x="547" y="17"/>
                  </a:cubicBezTo>
                  <a:cubicBezTo>
                    <a:pt x="544" y="17"/>
                    <a:pt x="539" y="17"/>
                    <a:pt x="536" y="15"/>
                  </a:cubicBezTo>
                  <a:cubicBezTo>
                    <a:pt x="531" y="13"/>
                    <a:pt x="527" y="12"/>
                    <a:pt x="524" y="12"/>
                  </a:cubicBezTo>
                  <a:close/>
                  <a:moveTo>
                    <a:pt x="646" y="28"/>
                  </a:moveTo>
                  <a:cubicBezTo>
                    <a:pt x="641" y="28"/>
                    <a:pt x="638" y="27"/>
                    <a:pt x="636" y="25"/>
                  </a:cubicBezTo>
                  <a:cubicBezTo>
                    <a:pt x="635" y="24"/>
                    <a:pt x="635" y="23"/>
                    <a:pt x="636" y="23"/>
                  </a:cubicBezTo>
                  <a:cubicBezTo>
                    <a:pt x="637" y="20"/>
                    <a:pt x="649" y="17"/>
                    <a:pt x="653" y="17"/>
                  </a:cubicBezTo>
                  <a:cubicBezTo>
                    <a:pt x="653" y="17"/>
                    <a:pt x="653" y="17"/>
                    <a:pt x="654" y="18"/>
                  </a:cubicBezTo>
                  <a:cubicBezTo>
                    <a:pt x="655" y="18"/>
                    <a:pt x="656" y="17"/>
                    <a:pt x="658" y="16"/>
                  </a:cubicBezTo>
                  <a:cubicBezTo>
                    <a:pt x="659" y="14"/>
                    <a:pt x="662" y="13"/>
                    <a:pt x="665" y="13"/>
                  </a:cubicBezTo>
                  <a:cubicBezTo>
                    <a:pt x="666" y="13"/>
                    <a:pt x="667" y="13"/>
                    <a:pt x="668" y="13"/>
                  </a:cubicBezTo>
                  <a:cubicBezTo>
                    <a:pt x="672" y="14"/>
                    <a:pt x="674" y="16"/>
                    <a:pt x="674" y="19"/>
                  </a:cubicBezTo>
                  <a:cubicBezTo>
                    <a:pt x="674" y="22"/>
                    <a:pt x="670" y="25"/>
                    <a:pt x="661" y="26"/>
                  </a:cubicBezTo>
                  <a:cubicBezTo>
                    <a:pt x="660" y="26"/>
                    <a:pt x="658" y="27"/>
                    <a:pt x="657" y="27"/>
                  </a:cubicBezTo>
                  <a:cubicBezTo>
                    <a:pt x="654" y="27"/>
                    <a:pt x="649" y="28"/>
                    <a:pt x="646" y="28"/>
                  </a:cubicBezTo>
                  <a:close/>
                  <a:moveTo>
                    <a:pt x="653" y="18"/>
                  </a:moveTo>
                  <a:cubicBezTo>
                    <a:pt x="648" y="18"/>
                    <a:pt x="638" y="21"/>
                    <a:pt x="637" y="23"/>
                  </a:cubicBezTo>
                  <a:cubicBezTo>
                    <a:pt x="636" y="23"/>
                    <a:pt x="636" y="24"/>
                    <a:pt x="637" y="24"/>
                  </a:cubicBezTo>
                  <a:cubicBezTo>
                    <a:pt x="638" y="26"/>
                    <a:pt x="641" y="27"/>
                    <a:pt x="646" y="27"/>
                  </a:cubicBezTo>
                  <a:cubicBezTo>
                    <a:pt x="649" y="27"/>
                    <a:pt x="653" y="26"/>
                    <a:pt x="657" y="26"/>
                  </a:cubicBezTo>
                  <a:cubicBezTo>
                    <a:pt x="658" y="26"/>
                    <a:pt x="659" y="25"/>
                    <a:pt x="661" y="25"/>
                  </a:cubicBezTo>
                  <a:cubicBezTo>
                    <a:pt x="670" y="24"/>
                    <a:pt x="673" y="21"/>
                    <a:pt x="673" y="19"/>
                  </a:cubicBezTo>
                  <a:cubicBezTo>
                    <a:pt x="673" y="16"/>
                    <a:pt x="671" y="14"/>
                    <a:pt x="668" y="14"/>
                  </a:cubicBezTo>
                  <a:cubicBezTo>
                    <a:pt x="667" y="14"/>
                    <a:pt x="666" y="14"/>
                    <a:pt x="665" y="14"/>
                  </a:cubicBezTo>
                  <a:cubicBezTo>
                    <a:pt x="662" y="14"/>
                    <a:pt x="660" y="15"/>
                    <a:pt x="658" y="16"/>
                  </a:cubicBezTo>
                  <a:cubicBezTo>
                    <a:pt x="657" y="18"/>
                    <a:pt x="656" y="19"/>
                    <a:pt x="654" y="19"/>
                  </a:cubicBezTo>
                  <a:cubicBezTo>
                    <a:pt x="653" y="18"/>
                    <a:pt x="653" y="18"/>
                    <a:pt x="653" y="18"/>
                  </a:cubicBezTo>
                  <a:close/>
                  <a:moveTo>
                    <a:pt x="1040" y="20"/>
                  </a:moveTo>
                  <a:cubicBezTo>
                    <a:pt x="1036" y="20"/>
                    <a:pt x="1032" y="19"/>
                    <a:pt x="1031" y="18"/>
                  </a:cubicBezTo>
                  <a:cubicBezTo>
                    <a:pt x="1029" y="16"/>
                    <a:pt x="1029" y="15"/>
                    <a:pt x="1029" y="14"/>
                  </a:cubicBezTo>
                  <a:cubicBezTo>
                    <a:pt x="1030" y="12"/>
                    <a:pt x="1037" y="10"/>
                    <a:pt x="1042" y="10"/>
                  </a:cubicBezTo>
                  <a:cubicBezTo>
                    <a:pt x="1044" y="10"/>
                    <a:pt x="1049" y="11"/>
                    <a:pt x="1050" y="13"/>
                  </a:cubicBezTo>
                  <a:cubicBezTo>
                    <a:pt x="1051" y="13"/>
                    <a:pt x="1051" y="14"/>
                    <a:pt x="1051" y="15"/>
                  </a:cubicBezTo>
                  <a:cubicBezTo>
                    <a:pt x="1050" y="18"/>
                    <a:pt x="1046" y="20"/>
                    <a:pt x="1040" y="20"/>
                  </a:cubicBezTo>
                  <a:close/>
                  <a:moveTo>
                    <a:pt x="1042" y="11"/>
                  </a:moveTo>
                  <a:cubicBezTo>
                    <a:pt x="1036" y="11"/>
                    <a:pt x="1031" y="13"/>
                    <a:pt x="1030" y="15"/>
                  </a:cubicBezTo>
                  <a:cubicBezTo>
                    <a:pt x="1030" y="15"/>
                    <a:pt x="1030" y="16"/>
                    <a:pt x="1031" y="17"/>
                  </a:cubicBezTo>
                  <a:cubicBezTo>
                    <a:pt x="1032" y="18"/>
                    <a:pt x="1036" y="19"/>
                    <a:pt x="1040" y="19"/>
                  </a:cubicBezTo>
                  <a:cubicBezTo>
                    <a:pt x="1043" y="19"/>
                    <a:pt x="1049" y="18"/>
                    <a:pt x="1050" y="14"/>
                  </a:cubicBezTo>
                  <a:cubicBezTo>
                    <a:pt x="1050" y="14"/>
                    <a:pt x="1050" y="14"/>
                    <a:pt x="1050" y="13"/>
                  </a:cubicBezTo>
                  <a:cubicBezTo>
                    <a:pt x="1049" y="12"/>
                    <a:pt x="1046" y="11"/>
                    <a:pt x="1042" y="11"/>
                  </a:cubicBezTo>
                  <a:close/>
                  <a:moveTo>
                    <a:pt x="553" y="13"/>
                  </a:moveTo>
                  <a:cubicBezTo>
                    <a:pt x="544" y="13"/>
                    <a:pt x="535" y="11"/>
                    <a:pt x="534" y="8"/>
                  </a:cubicBezTo>
                  <a:cubicBezTo>
                    <a:pt x="534" y="8"/>
                    <a:pt x="534" y="8"/>
                    <a:pt x="534" y="8"/>
                  </a:cubicBezTo>
                  <a:cubicBezTo>
                    <a:pt x="534" y="7"/>
                    <a:pt x="534" y="7"/>
                    <a:pt x="534" y="7"/>
                  </a:cubicBezTo>
                  <a:cubicBezTo>
                    <a:pt x="535" y="7"/>
                    <a:pt x="536" y="7"/>
                    <a:pt x="541" y="6"/>
                  </a:cubicBezTo>
                  <a:cubicBezTo>
                    <a:pt x="546" y="6"/>
                    <a:pt x="553" y="6"/>
                    <a:pt x="554" y="5"/>
                  </a:cubicBezTo>
                  <a:cubicBezTo>
                    <a:pt x="554" y="5"/>
                    <a:pt x="554" y="5"/>
                    <a:pt x="554" y="5"/>
                  </a:cubicBezTo>
                  <a:cubicBezTo>
                    <a:pt x="554" y="4"/>
                    <a:pt x="554" y="4"/>
                    <a:pt x="554" y="3"/>
                  </a:cubicBezTo>
                  <a:cubicBezTo>
                    <a:pt x="555" y="1"/>
                    <a:pt x="563" y="0"/>
                    <a:pt x="568" y="0"/>
                  </a:cubicBezTo>
                  <a:cubicBezTo>
                    <a:pt x="571" y="0"/>
                    <a:pt x="579" y="1"/>
                    <a:pt x="581" y="3"/>
                  </a:cubicBezTo>
                  <a:cubicBezTo>
                    <a:pt x="581" y="4"/>
                    <a:pt x="582" y="5"/>
                    <a:pt x="581" y="6"/>
                  </a:cubicBezTo>
                  <a:cubicBezTo>
                    <a:pt x="580" y="8"/>
                    <a:pt x="576" y="8"/>
                    <a:pt x="573" y="8"/>
                  </a:cubicBezTo>
                  <a:cubicBezTo>
                    <a:pt x="571" y="8"/>
                    <a:pt x="570" y="8"/>
                    <a:pt x="568" y="8"/>
                  </a:cubicBezTo>
                  <a:cubicBezTo>
                    <a:pt x="565" y="7"/>
                    <a:pt x="564" y="8"/>
                    <a:pt x="563" y="10"/>
                  </a:cubicBezTo>
                  <a:cubicBezTo>
                    <a:pt x="561" y="11"/>
                    <a:pt x="559" y="13"/>
                    <a:pt x="553" y="13"/>
                  </a:cubicBezTo>
                  <a:close/>
                  <a:moveTo>
                    <a:pt x="535" y="8"/>
                  </a:moveTo>
                  <a:cubicBezTo>
                    <a:pt x="536" y="10"/>
                    <a:pt x="543" y="12"/>
                    <a:pt x="553" y="12"/>
                  </a:cubicBezTo>
                  <a:cubicBezTo>
                    <a:pt x="559" y="12"/>
                    <a:pt x="560" y="11"/>
                    <a:pt x="562" y="9"/>
                  </a:cubicBezTo>
                  <a:cubicBezTo>
                    <a:pt x="563" y="8"/>
                    <a:pt x="564" y="6"/>
                    <a:pt x="568" y="7"/>
                  </a:cubicBezTo>
                  <a:cubicBezTo>
                    <a:pt x="570" y="7"/>
                    <a:pt x="572" y="7"/>
                    <a:pt x="573" y="7"/>
                  </a:cubicBezTo>
                  <a:cubicBezTo>
                    <a:pt x="577" y="7"/>
                    <a:pt x="580" y="7"/>
                    <a:pt x="580" y="5"/>
                  </a:cubicBezTo>
                  <a:cubicBezTo>
                    <a:pt x="581" y="5"/>
                    <a:pt x="580" y="4"/>
                    <a:pt x="580" y="4"/>
                  </a:cubicBezTo>
                  <a:cubicBezTo>
                    <a:pt x="579" y="2"/>
                    <a:pt x="574" y="1"/>
                    <a:pt x="568" y="1"/>
                  </a:cubicBezTo>
                  <a:cubicBezTo>
                    <a:pt x="561" y="1"/>
                    <a:pt x="555" y="3"/>
                    <a:pt x="555" y="4"/>
                  </a:cubicBezTo>
                  <a:cubicBezTo>
                    <a:pt x="555" y="4"/>
                    <a:pt x="555" y="4"/>
                    <a:pt x="555" y="4"/>
                  </a:cubicBezTo>
                  <a:cubicBezTo>
                    <a:pt x="555" y="5"/>
                    <a:pt x="555" y="5"/>
                    <a:pt x="555" y="5"/>
                  </a:cubicBezTo>
                  <a:cubicBezTo>
                    <a:pt x="554" y="7"/>
                    <a:pt x="549" y="7"/>
                    <a:pt x="541" y="7"/>
                  </a:cubicBezTo>
                  <a:cubicBezTo>
                    <a:pt x="539" y="8"/>
                    <a:pt x="536" y="8"/>
                    <a:pt x="535"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7" name="Freeform 345"/>
            <p:cNvSpPr>
              <a:spLocks noEditPoints="1"/>
            </p:cNvSpPr>
            <p:nvPr/>
          </p:nvSpPr>
          <p:spPr>
            <a:xfrm>
              <a:off x="5260976" y="1106488"/>
              <a:ext cx="4214813" cy="1617663"/>
            </a:xfrm>
            <a:custGeom>
              <a:gdLst>
                <a:gd name="T0" fmla="*/ 653 w 2485"/>
                <a:gd name="T1" fmla="*/ 19 h 953"/>
                <a:gd name="T2" fmla="*/ 1104 w 2485"/>
                <a:gd name="T3" fmla="*/ 9 h 953"/>
                <a:gd name="T4" fmla="*/ 868 w 2485"/>
                <a:gd name="T5" fmla="*/ 272 h 953"/>
                <a:gd name="T6" fmla="*/ 1199 w 2485"/>
                <a:gd name="T7" fmla="*/ 90 h 953"/>
                <a:gd name="T8" fmla="*/ 1813 w 2485"/>
                <a:gd name="T9" fmla="*/ 200 h 953"/>
                <a:gd name="T10" fmla="*/ 1905 w 2485"/>
                <a:gd name="T11" fmla="*/ 212 h 953"/>
                <a:gd name="T12" fmla="*/ 1775 w 2485"/>
                <a:gd name="T13" fmla="*/ 771 h 953"/>
                <a:gd name="T14" fmla="*/ 441 w 2485"/>
                <a:gd name="T15" fmla="*/ 41 h 953"/>
                <a:gd name="T16" fmla="*/ 2409 w 2485"/>
                <a:gd name="T17" fmla="*/ 438 h 953"/>
                <a:gd name="T18" fmla="*/ 2159 w 2485"/>
                <a:gd name="T19" fmla="*/ 366 h 953"/>
                <a:gd name="T20" fmla="*/ 1921 w 2485"/>
                <a:gd name="T21" fmla="*/ 320 h 953"/>
                <a:gd name="T22" fmla="*/ 1760 w 2485"/>
                <a:gd name="T23" fmla="*/ 271 h 953"/>
                <a:gd name="T24" fmla="*/ 1632 w 2485"/>
                <a:gd name="T25" fmla="*/ 303 h 953"/>
                <a:gd name="T26" fmla="*/ 1527 w 2485"/>
                <a:gd name="T27" fmla="*/ 251 h 953"/>
                <a:gd name="T28" fmla="*/ 1352 w 2485"/>
                <a:gd name="T29" fmla="*/ 247 h 953"/>
                <a:gd name="T30" fmla="*/ 1333 w 2485"/>
                <a:gd name="T31" fmla="*/ 213 h 953"/>
                <a:gd name="T32" fmla="*/ 1263 w 2485"/>
                <a:gd name="T33" fmla="*/ 151 h 953"/>
                <a:gd name="T34" fmla="*/ 1140 w 2485"/>
                <a:gd name="T35" fmla="*/ 174 h 953"/>
                <a:gd name="T36" fmla="*/ 988 w 2485"/>
                <a:gd name="T37" fmla="*/ 207 h 953"/>
                <a:gd name="T38" fmla="*/ 938 w 2485"/>
                <a:gd name="T39" fmla="*/ 248 h 953"/>
                <a:gd name="T40" fmla="*/ 865 w 2485"/>
                <a:gd name="T41" fmla="*/ 321 h 953"/>
                <a:gd name="T42" fmla="*/ 824 w 2485"/>
                <a:gd name="T43" fmla="*/ 369 h 953"/>
                <a:gd name="T44" fmla="*/ 762 w 2485"/>
                <a:gd name="T45" fmla="*/ 440 h 953"/>
                <a:gd name="T46" fmla="*/ 791 w 2485"/>
                <a:gd name="T47" fmla="*/ 385 h 953"/>
                <a:gd name="T48" fmla="*/ 699 w 2485"/>
                <a:gd name="T49" fmla="*/ 339 h 953"/>
                <a:gd name="T50" fmla="*/ 589 w 2485"/>
                <a:gd name="T51" fmla="*/ 355 h 953"/>
                <a:gd name="T52" fmla="*/ 485 w 2485"/>
                <a:gd name="T53" fmla="*/ 381 h 953"/>
                <a:gd name="T54" fmla="*/ 353 w 2485"/>
                <a:gd name="T55" fmla="*/ 387 h 953"/>
                <a:gd name="T56" fmla="*/ 270 w 2485"/>
                <a:gd name="T57" fmla="*/ 475 h 953"/>
                <a:gd name="T58" fmla="*/ 185 w 2485"/>
                <a:gd name="T59" fmla="*/ 422 h 953"/>
                <a:gd name="T60" fmla="*/ 193 w 2485"/>
                <a:gd name="T61" fmla="*/ 362 h 953"/>
                <a:gd name="T62" fmla="*/ 141 w 2485"/>
                <a:gd name="T63" fmla="*/ 417 h 953"/>
                <a:gd name="T64" fmla="*/ 126 w 2485"/>
                <a:gd name="T65" fmla="*/ 571 h 953"/>
                <a:gd name="T66" fmla="*/ 132 w 2485"/>
                <a:gd name="T67" fmla="*/ 670 h 953"/>
                <a:gd name="T68" fmla="*/ 206 w 2485"/>
                <a:gd name="T69" fmla="*/ 746 h 953"/>
                <a:gd name="T70" fmla="*/ 290 w 2485"/>
                <a:gd name="T71" fmla="*/ 815 h 953"/>
                <a:gd name="T72" fmla="*/ 297 w 2485"/>
                <a:gd name="T73" fmla="*/ 910 h 953"/>
                <a:gd name="T74" fmla="*/ 430 w 2485"/>
                <a:gd name="T75" fmla="*/ 861 h 953"/>
                <a:gd name="T76" fmla="*/ 427 w 2485"/>
                <a:gd name="T77" fmla="*/ 778 h 953"/>
                <a:gd name="T78" fmla="*/ 588 w 2485"/>
                <a:gd name="T79" fmla="*/ 782 h 953"/>
                <a:gd name="T80" fmla="*/ 675 w 2485"/>
                <a:gd name="T81" fmla="*/ 702 h 953"/>
                <a:gd name="T82" fmla="*/ 815 w 2485"/>
                <a:gd name="T83" fmla="*/ 716 h 953"/>
                <a:gd name="T84" fmla="*/ 978 w 2485"/>
                <a:gd name="T85" fmla="*/ 800 h 953"/>
                <a:gd name="T86" fmla="*/ 1129 w 2485"/>
                <a:gd name="T87" fmla="*/ 782 h 953"/>
                <a:gd name="T88" fmla="*/ 1259 w 2485"/>
                <a:gd name="T89" fmla="*/ 791 h 953"/>
                <a:gd name="T90" fmla="*/ 1454 w 2485"/>
                <a:gd name="T91" fmla="*/ 759 h 953"/>
                <a:gd name="T92" fmla="*/ 1605 w 2485"/>
                <a:gd name="T93" fmla="*/ 819 h 953"/>
                <a:gd name="T94" fmla="*/ 1625 w 2485"/>
                <a:gd name="T95" fmla="*/ 919 h 953"/>
                <a:gd name="T96" fmla="*/ 1737 w 2485"/>
                <a:gd name="T97" fmla="*/ 711 h 953"/>
                <a:gd name="T98" fmla="*/ 1753 w 2485"/>
                <a:gd name="T99" fmla="*/ 630 h 953"/>
                <a:gd name="T100" fmla="*/ 1950 w 2485"/>
                <a:gd name="T101" fmla="*/ 610 h 953"/>
                <a:gd name="T102" fmla="*/ 2084 w 2485"/>
                <a:gd name="T103" fmla="*/ 541 h 953"/>
                <a:gd name="T104" fmla="*/ 1985 w 2485"/>
                <a:gd name="T105" fmla="*/ 767 h 953"/>
                <a:gd name="T106" fmla="*/ 2080 w 2485"/>
                <a:gd name="T107" fmla="*/ 637 h 953"/>
                <a:gd name="T108" fmla="*/ 2233 w 2485"/>
                <a:gd name="T109" fmla="*/ 559 h 953"/>
                <a:gd name="T110" fmla="*/ 2337 w 2485"/>
                <a:gd name="T111" fmla="*/ 474 h 953"/>
                <a:gd name="T112" fmla="*/ 2436 w 2485"/>
                <a:gd name="T113" fmla="*/ 484 h 953"/>
                <a:gd name="T114" fmla="*/ 1279 w 2485"/>
                <a:gd name="T115" fmla="*/ 710 h 953"/>
                <a:gd name="T116" fmla="*/ 499 w 2485"/>
                <a:gd name="T117" fmla="*/ 43 h 953"/>
                <a:gd name="T118" fmla="*/ 509 w 2485"/>
                <a:gd name="T119" fmla="*/ 27 h 953"/>
                <a:gd name="T120" fmla="*/ 541 w 2485"/>
                <a:gd name="T121" fmla="*/ 263 h 953"/>
                <a:gd name="T122" fmla="*/ 543 w 2485"/>
                <a:gd name="T123" fmla="*/ 201 h 9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5" h="953">
                  <a:moveTo>
                    <a:pt x="37" y="689"/>
                  </a:moveTo>
                  <a:cubicBezTo>
                    <a:pt x="35" y="690"/>
                    <a:pt x="30" y="688"/>
                    <a:pt x="28" y="686"/>
                  </a:cubicBezTo>
                  <a:cubicBezTo>
                    <a:pt x="27" y="684"/>
                    <a:pt x="23" y="685"/>
                    <a:pt x="20" y="685"/>
                  </a:cubicBezTo>
                  <a:cubicBezTo>
                    <a:pt x="20" y="686"/>
                    <a:pt x="21" y="686"/>
                    <a:pt x="22" y="687"/>
                  </a:cubicBezTo>
                  <a:cubicBezTo>
                    <a:pt x="24" y="691"/>
                    <a:pt x="14" y="691"/>
                    <a:pt x="17" y="695"/>
                  </a:cubicBezTo>
                  <a:cubicBezTo>
                    <a:pt x="20" y="699"/>
                    <a:pt x="10" y="700"/>
                    <a:pt x="10" y="695"/>
                  </a:cubicBezTo>
                  <a:cubicBezTo>
                    <a:pt x="10" y="691"/>
                    <a:pt x="0" y="693"/>
                    <a:pt x="0" y="696"/>
                  </a:cubicBezTo>
                  <a:cubicBezTo>
                    <a:pt x="1" y="697"/>
                    <a:pt x="0" y="698"/>
                    <a:pt x="0" y="699"/>
                  </a:cubicBezTo>
                  <a:cubicBezTo>
                    <a:pt x="2" y="700"/>
                    <a:pt x="6" y="702"/>
                    <a:pt x="7" y="702"/>
                  </a:cubicBezTo>
                  <a:cubicBezTo>
                    <a:pt x="9" y="703"/>
                    <a:pt x="35" y="706"/>
                    <a:pt x="45" y="704"/>
                  </a:cubicBezTo>
                  <a:cubicBezTo>
                    <a:pt x="44" y="702"/>
                    <a:pt x="45" y="696"/>
                    <a:pt x="45" y="694"/>
                  </a:cubicBezTo>
                  <a:cubicBezTo>
                    <a:pt x="45" y="692"/>
                    <a:pt x="39" y="688"/>
                    <a:pt x="37" y="689"/>
                  </a:cubicBezTo>
                  <a:close/>
                  <a:moveTo>
                    <a:pt x="660" y="27"/>
                  </a:moveTo>
                  <a:cubicBezTo>
                    <a:pt x="676" y="25"/>
                    <a:pt x="675" y="16"/>
                    <a:pt x="667" y="14"/>
                  </a:cubicBezTo>
                  <a:cubicBezTo>
                    <a:pt x="658" y="13"/>
                    <a:pt x="657" y="19"/>
                    <a:pt x="653" y="19"/>
                  </a:cubicBezTo>
                  <a:cubicBezTo>
                    <a:pt x="648" y="19"/>
                    <a:pt x="632" y="22"/>
                    <a:pt x="635" y="25"/>
                  </a:cubicBezTo>
                  <a:cubicBezTo>
                    <a:pt x="639" y="30"/>
                    <a:pt x="651" y="28"/>
                    <a:pt x="660" y="27"/>
                  </a:cubicBezTo>
                  <a:close/>
                  <a:moveTo>
                    <a:pt x="743" y="266"/>
                  </a:moveTo>
                  <a:cubicBezTo>
                    <a:pt x="748" y="267"/>
                    <a:pt x="763" y="264"/>
                    <a:pt x="765" y="261"/>
                  </a:cubicBezTo>
                  <a:cubicBezTo>
                    <a:pt x="767" y="258"/>
                    <a:pt x="759" y="254"/>
                    <a:pt x="749" y="254"/>
                  </a:cubicBezTo>
                  <a:cubicBezTo>
                    <a:pt x="739" y="254"/>
                    <a:pt x="738" y="265"/>
                    <a:pt x="743" y="266"/>
                  </a:cubicBezTo>
                  <a:close/>
                  <a:moveTo>
                    <a:pt x="1060" y="46"/>
                  </a:moveTo>
                  <a:cubicBezTo>
                    <a:pt x="1069" y="50"/>
                    <a:pt x="1066" y="52"/>
                    <a:pt x="1057" y="52"/>
                  </a:cubicBezTo>
                  <a:cubicBezTo>
                    <a:pt x="1048" y="52"/>
                    <a:pt x="1041" y="55"/>
                    <a:pt x="1047" y="57"/>
                  </a:cubicBezTo>
                  <a:cubicBezTo>
                    <a:pt x="1051" y="59"/>
                    <a:pt x="1051" y="63"/>
                    <a:pt x="1060" y="65"/>
                  </a:cubicBezTo>
                  <a:cubicBezTo>
                    <a:pt x="1069" y="68"/>
                    <a:pt x="1078" y="60"/>
                    <a:pt x="1077" y="55"/>
                  </a:cubicBezTo>
                  <a:cubicBezTo>
                    <a:pt x="1076" y="50"/>
                    <a:pt x="1108" y="45"/>
                    <a:pt x="1117" y="43"/>
                  </a:cubicBezTo>
                  <a:cubicBezTo>
                    <a:pt x="1125" y="41"/>
                    <a:pt x="1111" y="32"/>
                    <a:pt x="1121" y="31"/>
                  </a:cubicBezTo>
                  <a:cubicBezTo>
                    <a:pt x="1130" y="30"/>
                    <a:pt x="1126" y="26"/>
                    <a:pt x="1115" y="24"/>
                  </a:cubicBezTo>
                  <a:cubicBezTo>
                    <a:pt x="1103" y="22"/>
                    <a:pt x="1108" y="13"/>
                    <a:pt x="1104" y="9"/>
                  </a:cubicBezTo>
                  <a:cubicBezTo>
                    <a:pt x="1100" y="6"/>
                    <a:pt x="1098" y="13"/>
                    <a:pt x="1083" y="16"/>
                  </a:cubicBezTo>
                  <a:cubicBezTo>
                    <a:pt x="1068" y="19"/>
                    <a:pt x="1060" y="23"/>
                    <a:pt x="1066" y="26"/>
                  </a:cubicBezTo>
                  <a:cubicBezTo>
                    <a:pt x="1072" y="29"/>
                    <a:pt x="1066" y="37"/>
                    <a:pt x="1060" y="36"/>
                  </a:cubicBezTo>
                  <a:cubicBezTo>
                    <a:pt x="1054" y="36"/>
                    <a:pt x="1052" y="43"/>
                    <a:pt x="1060" y="46"/>
                  </a:cubicBezTo>
                  <a:close/>
                  <a:moveTo>
                    <a:pt x="1083" y="58"/>
                  </a:moveTo>
                  <a:cubicBezTo>
                    <a:pt x="1083" y="63"/>
                    <a:pt x="1069" y="68"/>
                    <a:pt x="1073" y="71"/>
                  </a:cubicBezTo>
                  <a:cubicBezTo>
                    <a:pt x="1077" y="74"/>
                    <a:pt x="1080" y="73"/>
                    <a:pt x="1084" y="74"/>
                  </a:cubicBezTo>
                  <a:cubicBezTo>
                    <a:pt x="1088" y="75"/>
                    <a:pt x="1091" y="86"/>
                    <a:pt x="1098" y="84"/>
                  </a:cubicBezTo>
                  <a:cubicBezTo>
                    <a:pt x="1106" y="82"/>
                    <a:pt x="1127" y="93"/>
                    <a:pt x="1140" y="93"/>
                  </a:cubicBezTo>
                  <a:cubicBezTo>
                    <a:pt x="1152" y="93"/>
                    <a:pt x="1153" y="82"/>
                    <a:pt x="1149" y="82"/>
                  </a:cubicBezTo>
                  <a:cubicBezTo>
                    <a:pt x="1146" y="81"/>
                    <a:pt x="1149" y="75"/>
                    <a:pt x="1156" y="65"/>
                  </a:cubicBezTo>
                  <a:cubicBezTo>
                    <a:pt x="1163" y="56"/>
                    <a:pt x="1134" y="48"/>
                    <a:pt x="1134" y="56"/>
                  </a:cubicBezTo>
                  <a:cubicBezTo>
                    <a:pt x="1134" y="64"/>
                    <a:pt x="1126" y="54"/>
                    <a:pt x="1124" y="50"/>
                  </a:cubicBezTo>
                  <a:cubicBezTo>
                    <a:pt x="1121" y="45"/>
                    <a:pt x="1083" y="53"/>
                    <a:pt x="1083" y="58"/>
                  </a:cubicBezTo>
                  <a:close/>
                  <a:moveTo>
                    <a:pt x="868" y="272"/>
                  </a:moveTo>
                  <a:cubicBezTo>
                    <a:pt x="875" y="276"/>
                    <a:pt x="880" y="275"/>
                    <a:pt x="879" y="268"/>
                  </a:cubicBezTo>
                  <a:cubicBezTo>
                    <a:pt x="879" y="261"/>
                    <a:pt x="863" y="270"/>
                    <a:pt x="868" y="272"/>
                  </a:cubicBezTo>
                  <a:close/>
                  <a:moveTo>
                    <a:pt x="1049" y="16"/>
                  </a:moveTo>
                  <a:cubicBezTo>
                    <a:pt x="1051" y="9"/>
                    <a:pt x="1022" y="12"/>
                    <a:pt x="1030" y="18"/>
                  </a:cubicBezTo>
                  <a:cubicBezTo>
                    <a:pt x="1032" y="20"/>
                    <a:pt x="1048" y="22"/>
                    <a:pt x="1049" y="16"/>
                  </a:cubicBezTo>
                  <a:close/>
                  <a:moveTo>
                    <a:pt x="2315" y="327"/>
                  </a:moveTo>
                  <a:cubicBezTo>
                    <a:pt x="2324" y="332"/>
                    <a:pt x="2329" y="322"/>
                    <a:pt x="2336" y="327"/>
                  </a:cubicBezTo>
                  <a:cubicBezTo>
                    <a:pt x="2343" y="332"/>
                    <a:pt x="2359" y="325"/>
                    <a:pt x="2366" y="324"/>
                  </a:cubicBezTo>
                  <a:cubicBezTo>
                    <a:pt x="2373" y="322"/>
                    <a:pt x="2370" y="314"/>
                    <a:pt x="2350" y="311"/>
                  </a:cubicBezTo>
                  <a:cubicBezTo>
                    <a:pt x="2331" y="308"/>
                    <a:pt x="2306" y="323"/>
                    <a:pt x="2315" y="327"/>
                  </a:cubicBezTo>
                  <a:close/>
                  <a:moveTo>
                    <a:pt x="1150" y="119"/>
                  </a:moveTo>
                  <a:cubicBezTo>
                    <a:pt x="1156" y="122"/>
                    <a:pt x="1175" y="115"/>
                    <a:pt x="1188" y="115"/>
                  </a:cubicBezTo>
                  <a:cubicBezTo>
                    <a:pt x="1201" y="115"/>
                    <a:pt x="1237" y="105"/>
                    <a:pt x="1239" y="98"/>
                  </a:cubicBezTo>
                  <a:cubicBezTo>
                    <a:pt x="1240" y="91"/>
                    <a:pt x="1225" y="92"/>
                    <a:pt x="1220" y="86"/>
                  </a:cubicBezTo>
                  <a:cubicBezTo>
                    <a:pt x="1214" y="80"/>
                    <a:pt x="1202" y="85"/>
                    <a:pt x="1199" y="90"/>
                  </a:cubicBezTo>
                  <a:cubicBezTo>
                    <a:pt x="1196" y="95"/>
                    <a:pt x="1192" y="90"/>
                    <a:pt x="1200" y="82"/>
                  </a:cubicBezTo>
                  <a:cubicBezTo>
                    <a:pt x="1208" y="74"/>
                    <a:pt x="1192" y="68"/>
                    <a:pt x="1192" y="73"/>
                  </a:cubicBezTo>
                  <a:cubicBezTo>
                    <a:pt x="1191" y="78"/>
                    <a:pt x="1176" y="74"/>
                    <a:pt x="1176" y="78"/>
                  </a:cubicBezTo>
                  <a:cubicBezTo>
                    <a:pt x="1176" y="83"/>
                    <a:pt x="1171" y="85"/>
                    <a:pt x="1171" y="90"/>
                  </a:cubicBezTo>
                  <a:cubicBezTo>
                    <a:pt x="1171" y="95"/>
                    <a:pt x="1161" y="87"/>
                    <a:pt x="1160" y="98"/>
                  </a:cubicBezTo>
                  <a:cubicBezTo>
                    <a:pt x="1160" y="109"/>
                    <a:pt x="1144" y="115"/>
                    <a:pt x="1150" y="119"/>
                  </a:cubicBezTo>
                  <a:close/>
                  <a:moveTo>
                    <a:pt x="1705" y="207"/>
                  </a:moveTo>
                  <a:cubicBezTo>
                    <a:pt x="1711" y="210"/>
                    <a:pt x="1713" y="213"/>
                    <a:pt x="1716" y="217"/>
                  </a:cubicBezTo>
                  <a:cubicBezTo>
                    <a:pt x="1720" y="220"/>
                    <a:pt x="1733" y="215"/>
                    <a:pt x="1738" y="213"/>
                  </a:cubicBezTo>
                  <a:cubicBezTo>
                    <a:pt x="1743" y="212"/>
                    <a:pt x="1743" y="221"/>
                    <a:pt x="1752" y="216"/>
                  </a:cubicBezTo>
                  <a:cubicBezTo>
                    <a:pt x="1760" y="211"/>
                    <a:pt x="1768" y="213"/>
                    <a:pt x="1777" y="213"/>
                  </a:cubicBezTo>
                  <a:cubicBezTo>
                    <a:pt x="1787" y="213"/>
                    <a:pt x="1776" y="202"/>
                    <a:pt x="1776" y="197"/>
                  </a:cubicBezTo>
                  <a:cubicBezTo>
                    <a:pt x="1777" y="191"/>
                    <a:pt x="1787" y="195"/>
                    <a:pt x="1784" y="199"/>
                  </a:cubicBezTo>
                  <a:cubicBezTo>
                    <a:pt x="1780" y="204"/>
                    <a:pt x="1789" y="213"/>
                    <a:pt x="1803" y="213"/>
                  </a:cubicBezTo>
                  <a:cubicBezTo>
                    <a:pt x="1817" y="212"/>
                    <a:pt x="1806" y="203"/>
                    <a:pt x="1813" y="200"/>
                  </a:cubicBezTo>
                  <a:cubicBezTo>
                    <a:pt x="1820" y="197"/>
                    <a:pt x="1819" y="194"/>
                    <a:pt x="1809" y="188"/>
                  </a:cubicBezTo>
                  <a:cubicBezTo>
                    <a:pt x="1799" y="182"/>
                    <a:pt x="1787" y="185"/>
                    <a:pt x="1778" y="182"/>
                  </a:cubicBezTo>
                  <a:cubicBezTo>
                    <a:pt x="1769" y="177"/>
                    <a:pt x="1758" y="177"/>
                    <a:pt x="1757" y="187"/>
                  </a:cubicBezTo>
                  <a:cubicBezTo>
                    <a:pt x="1757" y="196"/>
                    <a:pt x="1739" y="176"/>
                    <a:pt x="1729" y="173"/>
                  </a:cubicBezTo>
                  <a:cubicBezTo>
                    <a:pt x="1720" y="170"/>
                    <a:pt x="1691" y="200"/>
                    <a:pt x="1705" y="207"/>
                  </a:cubicBezTo>
                  <a:close/>
                  <a:moveTo>
                    <a:pt x="1795" y="262"/>
                  </a:moveTo>
                  <a:cubicBezTo>
                    <a:pt x="1802" y="261"/>
                    <a:pt x="1789" y="247"/>
                    <a:pt x="1776" y="244"/>
                  </a:cubicBezTo>
                  <a:cubicBezTo>
                    <a:pt x="1762" y="242"/>
                    <a:pt x="1750" y="253"/>
                    <a:pt x="1752" y="256"/>
                  </a:cubicBezTo>
                  <a:cubicBezTo>
                    <a:pt x="1756" y="261"/>
                    <a:pt x="1787" y="264"/>
                    <a:pt x="1795" y="262"/>
                  </a:cubicBezTo>
                  <a:close/>
                  <a:moveTo>
                    <a:pt x="1760" y="234"/>
                  </a:moveTo>
                  <a:cubicBezTo>
                    <a:pt x="1760" y="228"/>
                    <a:pt x="1737" y="236"/>
                    <a:pt x="1747" y="240"/>
                  </a:cubicBezTo>
                  <a:cubicBezTo>
                    <a:pt x="1752" y="241"/>
                    <a:pt x="1760" y="241"/>
                    <a:pt x="1760" y="234"/>
                  </a:cubicBezTo>
                  <a:close/>
                  <a:moveTo>
                    <a:pt x="1835" y="207"/>
                  </a:moveTo>
                  <a:cubicBezTo>
                    <a:pt x="1845" y="208"/>
                    <a:pt x="1851" y="218"/>
                    <a:pt x="1870" y="219"/>
                  </a:cubicBezTo>
                  <a:cubicBezTo>
                    <a:pt x="1890" y="220"/>
                    <a:pt x="1905" y="216"/>
                    <a:pt x="1905" y="212"/>
                  </a:cubicBezTo>
                  <a:cubicBezTo>
                    <a:pt x="1906" y="208"/>
                    <a:pt x="1887" y="201"/>
                    <a:pt x="1882" y="205"/>
                  </a:cubicBezTo>
                  <a:cubicBezTo>
                    <a:pt x="1876" y="208"/>
                    <a:pt x="1872" y="199"/>
                    <a:pt x="1865" y="201"/>
                  </a:cubicBezTo>
                  <a:cubicBezTo>
                    <a:pt x="1858" y="204"/>
                    <a:pt x="1848" y="203"/>
                    <a:pt x="1845" y="197"/>
                  </a:cubicBezTo>
                  <a:cubicBezTo>
                    <a:pt x="1842" y="191"/>
                    <a:pt x="1830" y="207"/>
                    <a:pt x="1835" y="207"/>
                  </a:cubicBezTo>
                  <a:close/>
                  <a:moveTo>
                    <a:pt x="398" y="32"/>
                  </a:moveTo>
                  <a:cubicBezTo>
                    <a:pt x="408" y="23"/>
                    <a:pt x="421" y="32"/>
                    <a:pt x="423" y="28"/>
                  </a:cubicBezTo>
                  <a:cubicBezTo>
                    <a:pt x="424" y="23"/>
                    <a:pt x="404" y="22"/>
                    <a:pt x="397" y="26"/>
                  </a:cubicBezTo>
                  <a:cubicBezTo>
                    <a:pt x="389" y="30"/>
                    <a:pt x="372" y="27"/>
                    <a:pt x="374" y="31"/>
                  </a:cubicBezTo>
                  <a:cubicBezTo>
                    <a:pt x="376" y="34"/>
                    <a:pt x="388" y="41"/>
                    <a:pt x="398" y="32"/>
                  </a:cubicBezTo>
                  <a:close/>
                  <a:moveTo>
                    <a:pt x="1791" y="759"/>
                  </a:moveTo>
                  <a:cubicBezTo>
                    <a:pt x="1787" y="747"/>
                    <a:pt x="1798" y="735"/>
                    <a:pt x="1790" y="728"/>
                  </a:cubicBezTo>
                  <a:cubicBezTo>
                    <a:pt x="1781" y="722"/>
                    <a:pt x="1784" y="709"/>
                    <a:pt x="1780" y="711"/>
                  </a:cubicBezTo>
                  <a:cubicBezTo>
                    <a:pt x="1776" y="714"/>
                    <a:pt x="1780" y="725"/>
                    <a:pt x="1773" y="726"/>
                  </a:cubicBezTo>
                  <a:cubicBezTo>
                    <a:pt x="1766" y="727"/>
                    <a:pt x="1773" y="733"/>
                    <a:pt x="1770" y="742"/>
                  </a:cubicBezTo>
                  <a:cubicBezTo>
                    <a:pt x="1768" y="751"/>
                    <a:pt x="1771" y="763"/>
                    <a:pt x="1775" y="771"/>
                  </a:cubicBezTo>
                  <a:cubicBezTo>
                    <a:pt x="1778" y="779"/>
                    <a:pt x="1770" y="820"/>
                    <a:pt x="1774" y="827"/>
                  </a:cubicBezTo>
                  <a:cubicBezTo>
                    <a:pt x="1777" y="834"/>
                    <a:pt x="1768" y="864"/>
                    <a:pt x="1771" y="868"/>
                  </a:cubicBezTo>
                  <a:cubicBezTo>
                    <a:pt x="1776" y="874"/>
                    <a:pt x="1773" y="859"/>
                    <a:pt x="1780" y="858"/>
                  </a:cubicBezTo>
                  <a:cubicBezTo>
                    <a:pt x="1788" y="857"/>
                    <a:pt x="1788" y="867"/>
                    <a:pt x="1793" y="869"/>
                  </a:cubicBezTo>
                  <a:cubicBezTo>
                    <a:pt x="1798" y="871"/>
                    <a:pt x="1795" y="855"/>
                    <a:pt x="1790" y="856"/>
                  </a:cubicBezTo>
                  <a:cubicBezTo>
                    <a:pt x="1786" y="857"/>
                    <a:pt x="1783" y="846"/>
                    <a:pt x="1780" y="839"/>
                  </a:cubicBezTo>
                  <a:cubicBezTo>
                    <a:pt x="1778" y="832"/>
                    <a:pt x="1785" y="824"/>
                    <a:pt x="1785" y="815"/>
                  </a:cubicBezTo>
                  <a:cubicBezTo>
                    <a:pt x="1785" y="807"/>
                    <a:pt x="1796" y="807"/>
                    <a:pt x="1802" y="813"/>
                  </a:cubicBezTo>
                  <a:cubicBezTo>
                    <a:pt x="1808" y="820"/>
                    <a:pt x="1809" y="816"/>
                    <a:pt x="1807" y="811"/>
                  </a:cubicBezTo>
                  <a:cubicBezTo>
                    <a:pt x="1804" y="806"/>
                    <a:pt x="1796" y="772"/>
                    <a:pt x="1791" y="759"/>
                  </a:cubicBezTo>
                  <a:close/>
                  <a:moveTo>
                    <a:pt x="438" y="28"/>
                  </a:moveTo>
                  <a:cubicBezTo>
                    <a:pt x="444" y="33"/>
                    <a:pt x="422" y="31"/>
                    <a:pt x="419" y="36"/>
                  </a:cubicBezTo>
                  <a:cubicBezTo>
                    <a:pt x="416" y="40"/>
                    <a:pt x="402" y="39"/>
                    <a:pt x="405" y="44"/>
                  </a:cubicBezTo>
                  <a:cubicBezTo>
                    <a:pt x="408" y="49"/>
                    <a:pt x="429" y="49"/>
                    <a:pt x="429" y="45"/>
                  </a:cubicBezTo>
                  <a:cubicBezTo>
                    <a:pt x="429" y="41"/>
                    <a:pt x="440" y="44"/>
                    <a:pt x="441" y="41"/>
                  </a:cubicBezTo>
                  <a:cubicBezTo>
                    <a:pt x="441" y="37"/>
                    <a:pt x="446" y="32"/>
                    <a:pt x="458" y="31"/>
                  </a:cubicBezTo>
                  <a:cubicBezTo>
                    <a:pt x="470" y="31"/>
                    <a:pt x="470" y="26"/>
                    <a:pt x="459" y="21"/>
                  </a:cubicBezTo>
                  <a:cubicBezTo>
                    <a:pt x="448" y="16"/>
                    <a:pt x="432" y="24"/>
                    <a:pt x="438" y="28"/>
                  </a:cubicBezTo>
                  <a:close/>
                  <a:moveTo>
                    <a:pt x="420" y="376"/>
                  </a:moveTo>
                  <a:cubicBezTo>
                    <a:pt x="432" y="387"/>
                    <a:pt x="441" y="371"/>
                    <a:pt x="447" y="370"/>
                  </a:cubicBezTo>
                  <a:cubicBezTo>
                    <a:pt x="453" y="370"/>
                    <a:pt x="444" y="364"/>
                    <a:pt x="434" y="361"/>
                  </a:cubicBezTo>
                  <a:cubicBezTo>
                    <a:pt x="425" y="358"/>
                    <a:pt x="411" y="368"/>
                    <a:pt x="420" y="376"/>
                  </a:cubicBezTo>
                  <a:close/>
                  <a:moveTo>
                    <a:pt x="2481" y="449"/>
                  </a:moveTo>
                  <a:cubicBezTo>
                    <a:pt x="2476" y="448"/>
                    <a:pt x="2462" y="439"/>
                    <a:pt x="2459" y="434"/>
                  </a:cubicBezTo>
                  <a:cubicBezTo>
                    <a:pt x="2456" y="429"/>
                    <a:pt x="2439" y="427"/>
                    <a:pt x="2439" y="429"/>
                  </a:cubicBezTo>
                  <a:cubicBezTo>
                    <a:pt x="2439" y="432"/>
                    <a:pt x="2434" y="429"/>
                    <a:pt x="2432" y="426"/>
                  </a:cubicBezTo>
                  <a:cubicBezTo>
                    <a:pt x="2431" y="423"/>
                    <a:pt x="2414" y="423"/>
                    <a:pt x="2413" y="426"/>
                  </a:cubicBezTo>
                  <a:cubicBezTo>
                    <a:pt x="2413" y="429"/>
                    <a:pt x="2418" y="429"/>
                    <a:pt x="2420" y="432"/>
                  </a:cubicBezTo>
                  <a:cubicBezTo>
                    <a:pt x="2423" y="436"/>
                    <a:pt x="2417" y="438"/>
                    <a:pt x="2418" y="442"/>
                  </a:cubicBezTo>
                  <a:cubicBezTo>
                    <a:pt x="2419" y="445"/>
                    <a:pt x="2411" y="440"/>
                    <a:pt x="2409" y="438"/>
                  </a:cubicBezTo>
                  <a:cubicBezTo>
                    <a:pt x="2406" y="435"/>
                    <a:pt x="2407" y="427"/>
                    <a:pt x="2408" y="423"/>
                  </a:cubicBezTo>
                  <a:cubicBezTo>
                    <a:pt x="2409" y="418"/>
                    <a:pt x="2403" y="419"/>
                    <a:pt x="2402" y="415"/>
                  </a:cubicBezTo>
                  <a:cubicBezTo>
                    <a:pt x="2402" y="411"/>
                    <a:pt x="2382" y="402"/>
                    <a:pt x="2374" y="398"/>
                  </a:cubicBezTo>
                  <a:cubicBezTo>
                    <a:pt x="2366" y="395"/>
                    <a:pt x="2356" y="392"/>
                    <a:pt x="2353" y="388"/>
                  </a:cubicBezTo>
                  <a:cubicBezTo>
                    <a:pt x="2350" y="383"/>
                    <a:pt x="2335" y="383"/>
                    <a:pt x="2330" y="377"/>
                  </a:cubicBezTo>
                  <a:cubicBezTo>
                    <a:pt x="2324" y="371"/>
                    <a:pt x="2300" y="361"/>
                    <a:pt x="2289" y="360"/>
                  </a:cubicBezTo>
                  <a:cubicBezTo>
                    <a:pt x="2279" y="360"/>
                    <a:pt x="2281" y="354"/>
                    <a:pt x="2276" y="355"/>
                  </a:cubicBezTo>
                  <a:cubicBezTo>
                    <a:pt x="2271" y="356"/>
                    <a:pt x="2248" y="355"/>
                    <a:pt x="2242" y="353"/>
                  </a:cubicBezTo>
                  <a:cubicBezTo>
                    <a:pt x="2235" y="352"/>
                    <a:pt x="2233" y="358"/>
                    <a:pt x="2228" y="356"/>
                  </a:cubicBezTo>
                  <a:cubicBezTo>
                    <a:pt x="2223" y="354"/>
                    <a:pt x="2198" y="344"/>
                    <a:pt x="2195" y="348"/>
                  </a:cubicBezTo>
                  <a:cubicBezTo>
                    <a:pt x="2192" y="351"/>
                    <a:pt x="2193" y="356"/>
                    <a:pt x="2190" y="357"/>
                  </a:cubicBezTo>
                  <a:cubicBezTo>
                    <a:pt x="2187" y="358"/>
                    <a:pt x="2190" y="362"/>
                    <a:pt x="2197" y="369"/>
                  </a:cubicBezTo>
                  <a:cubicBezTo>
                    <a:pt x="2204" y="375"/>
                    <a:pt x="2200" y="380"/>
                    <a:pt x="2193" y="383"/>
                  </a:cubicBezTo>
                  <a:cubicBezTo>
                    <a:pt x="2187" y="386"/>
                    <a:pt x="2177" y="380"/>
                    <a:pt x="2173" y="375"/>
                  </a:cubicBezTo>
                  <a:cubicBezTo>
                    <a:pt x="2170" y="370"/>
                    <a:pt x="2161" y="373"/>
                    <a:pt x="2159" y="366"/>
                  </a:cubicBezTo>
                  <a:cubicBezTo>
                    <a:pt x="2157" y="360"/>
                    <a:pt x="2162" y="359"/>
                    <a:pt x="2166" y="362"/>
                  </a:cubicBezTo>
                  <a:cubicBezTo>
                    <a:pt x="2170" y="366"/>
                    <a:pt x="2176" y="363"/>
                    <a:pt x="2177" y="358"/>
                  </a:cubicBezTo>
                  <a:cubicBezTo>
                    <a:pt x="2178" y="353"/>
                    <a:pt x="2165" y="350"/>
                    <a:pt x="2159" y="351"/>
                  </a:cubicBezTo>
                  <a:cubicBezTo>
                    <a:pt x="2152" y="351"/>
                    <a:pt x="2148" y="360"/>
                    <a:pt x="2141" y="364"/>
                  </a:cubicBezTo>
                  <a:cubicBezTo>
                    <a:pt x="2134" y="368"/>
                    <a:pt x="2108" y="363"/>
                    <a:pt x="2105" y="360"/>
                  </a:cubicBezTo>
                  <a:cubicBezTo>
                    <a:pt x="2102" y="358"/>
                    <a:pt x="2065" y="360"/>
                    <a:pt x="2061" y="363"/>
                  </a:cubicBezTo>
                  <a:cubicBezTo>
                    <a:pt x="2057" y="365"/>
                    <a:pt x="2060" y="375"/>
                    <a:pt x="2058" y="376"/>
                  </a:cubicBezTo>
                  <a:cubicBezTo>
                    <a:pt x="2056" y="377"/>
                    <a:pt x="2054" y="365"/>
                    <a:pt x="2054" y="362"/>
                  </a:cubicBezTo>
                  <a:cubicBezTo>
                    <a:pt x="2054" y="360"/>
                    <a:pt x="2050" y="358"/>
                    <a:pt x="2043" y="358"/>
                  </a:cubicBezTo>
                  <a:cubicBezTo>
                    <a:pt x="2036" y="358"/>
                    <a:pt x="2033" y="358"/>
                    <a:pt x="2035" y="355"/>
                  </a:cubicBezTo>
                  <a:cubicBezTo>
                    <a:pt x="2038" y="352"/>
                    <a:pt x="2033" y="350"/>
                    <a:pt x="2038" y="346"/>
                  </a:cubicBezTo>
                  <a:cubicBezTo>
                    <a:pt x="2043" y="342"/>
                    <a:pt x="2028" y="331"/>
                    <a:pt x="2014" y="325"/>
                  </a:cubicBezTo>
                  <a:cubicBezTo>
                    <a:pt x="2000" y="320"/>
                    <a:pt x="1968" y="323"/>
                    <a:pt x="1959" y="325"/>
                  </a:cubicBezTo>
                  <a:cubicBezTo>
                    <a:pt x="1951" y="328"/>
                    <a:pt x="1933" y="327"/>
                    <a:pt x="1925" y="327"/>
                  </a:cubicBezTo>
                  <a:cubicBezTo>
                    <a:pt x="1917" y="328"/>
                    <a:pt x="1924" y="324"/>
                    <a:pt x="1921" y="320"/>
                  </a:cubicBezTo>
                  <a:cubicBezTo>
                    <a:pt x="1919" y="316"/>
                    <a:pt x="1905" y="312"/>
                    <a:pt x="1903" y="315"/>
                  </a:cubicBezTo>
                  <a:cubicBezTo>
                    <a:pt x="1901" y="318"/>
                    <a:pt x="1897" y="315"/>
                    <a:pt x="1897" y="313"/>
                  </a:cubicBezTo>
                  <a:cubicBezTo>
                    <a:pt x="1897" y="310"/>
                    <a:pt x="1884" y="305"/>
                    <a:pt x="1879" y="307"/>
                  </a:cubicBezTo>
                  <a:cubicBezTo>
                    <a:pt x="1874" y="308"/>
                    <a:pt x="1872" y="302"/>
                    <a:pt x="1878" y="302"/>
                  </a:cubicBezTo>
                  <a:cubicBezTo>
                    <a:pt x="1884" y="302"/>
                    <a:pt x="1894" y="303"/>
                    <a:pt x="1890" y="296"/>
                  </a:cubicBezTo>
                  <a:cubicBezTo>
                    <a:pt x="1885" y="289"/>
                    <a:pt x="1846" y="287"/>
                    <a:pt x="1843" y="288"/>
                  </a:cubicBezTo>
                  <a:cubicBezTo>
                    <a:pt x="1839" y="290"/>
                    <a:pt x="1842" y="295"/>
                    <a:pt x="1834" y="303"/>
                  </a:cubicBezTo>
                  <a:cubicBezTo>
                    <a:pt x="1826" y="311"/>
                    <a:pt x="1817" y="305"/>
                    <a:pt x="1819" y="301"/>
                  </a:cubicBezTo>
                  <a:cubicBezTo>
                    <a:pt x="1820" y="298"/>
                    <a:pt x="1830" y="298"/>
                    <a:pt x="1830" y="294"/>
                  </a:cubicBezTo>
                  <a:cubicBezTo>
                    <a:pt x="1830" y="290"/>
                    <a:pt x="1816" y="293"/>
                    <a:pt x="1814" y="289"/>
                  </a:cubicBezTo>
                  <a:cubicBezTo>
                    <a:pt x="1811" y="286"/>
                    <a:pt x="1817" y="284"/>
                    <a:pt x="1822" y="285"/>
                  </a:cubicBezTo>
                  <a:cubicBezTo>
                    <a:pt x="1827" y="287"/>
                    <a:pt x="1836" y="288"/>
                    <a:pt x="1836" y="285"/>
                  </a:cubicBezTo>
                  <a:cubicBezTo>
                    <a:pt x="1837" y="283"/>
                    <a:pt x="1831" y="283"/>
                    <a:pt x="1822" y="281"/>
                  </a:cubicBezTo>
                  <a:cubicBezTo>
                    <a:pt x="1814" y="280"/>
                    <a:pt x="1793" y="275"/>
                    <a:pt x="1782" y="276"/>
                  </a:cubicBezTo>
                  <a:cubicBezTo>
                    <a:pt x="1771" y="277"/>
                    <a:pt x="1766" y="272"/>
                    <a:pt x="1760" y="271"/>
                  </a:cubicBezTo>
                  <a:cubicBezTo>
                    <a:pt x="1754" y="271"/>
                    <a:pt x="1754" y="275"/>
                    <a:pt x="1757" y="278"/>
                  </a:cubicBezTo>
                  <a:cubicBezTo>
                    <a:pt x="1760" y="281"/>
                    <a:pt x="1751" y="284"/>
                    <a:pt x="1744" y="282"/>
                  </a:cubicBezTo>
                  <a:cubicBezTo>
                    <a:pt x="1737" y="281"/>
                    <a:pt x="1727" y="286"/>
                    <a:pt x="1731" y="291"/>
                  </a:cubicBezTo>
                  <a:cubicBezTo>
                    <a:pt x="1735" y="297"/>
                    <a:pt x="1739" y="290"/>
                    <a:pt x="1742" y="292"/>
                  </a:cubicBezTo>
                  <a:cubicBezTo>
                    <a:pt x="1746" y="293"/>
                    <a:pt x="1733" y="297"/>
                    <a:pt x="1738" y="299"/>
                  </a:cubicBezTo>
                  <a:cubicBezTo>
                    <a:pt x="1743" y="302"/>
                    <a:pt x="1743" y="307"/>
                    <a:pt x="1743" y="309"/>
                  </a:cubicBezTo>
                  <a:cubicBezTo>
                    <a:pt x="1743" y="312"/>
                    <a:pt x="1734" y="313"/>
                    <a:pt x="1731" y="309"/>
                  </a:cubicBezTo>
                  <a:cubicBezTo>
                    <a:pt x="1728" y="305"/>
                    <a:pt x="1723" y="309"/>
                    <a:pt x="1717" y="308"/>
                  </a:cubicBezTo>
                  <a:cubicBezTo>
                    <a:pt x="1711" y="308"/>
                    <a:pt x="1707" y="311"/>
                    <a:pt x="1713" y="312"/>
                  </a:cubicBezTo>
                  <a:cubicBezTo>
                    <a:pt x="1720" y="313"/>
                    <a:pt x="1722" y="317"/>
                    <a:pt x="1713" y="318"/>
                  </a:cubicBezTo>
                  <a:cubicBezTo>
                    <a:pt x="1705" y="318"/>
                    <a:pt x="1707" y="310"/>
                    <a:pt x="1702" y="311"/>
                  </a:cubicBezTo>
                  <a:cubicBezTo>
                    <a:pt x="1696" y="312"/>
                    <a:pt x="1685" y="307"/>
                    <a:pt x="1679" y="307"/>
                  </a:cubicBezTo>
                  <a:cubicBezTo>
                    <a:pt x="1673" y="307"/>
                    <a:pt x="1670" y="312"/>
                    <a:pt x="1662" y="312"/>
                  </a:cubicBezTo>
                  <a:cubicBezTo>
                    <a:pt x="1654" y="313"/>
                    <a:pt x="1644" y="308"/>
                    <a:pt x="1640" y="304"/>
                  </a:cubicBezTo>
                  <a:cubicBezTo>
                    <a:pt x="1637" y="300"/>
                    <a:pt x="1636" y="298"/>
                    <a:pt x="1632" y="303"/>
                  </a:cubicBezTo>
                  <a:cubicBezTo>
                    <a:pt x="1628" y="308"/>
                    <a:pt x="1628" y="318"/>
                    <a:pt x="1624" y="318"/>
                  </a:cubicBezTo>
                  <a:cubicBezTo>
                    <a:pt x="1620" y="319"/>
                    <a:pt x="1619" y="327"/>
                    <a:pt x="1615" y="330"/>
                  </a:cubicBezTo>
                  <a:cubicBezTo>
                    <a:pt x="1611" y="332"/>
                    <a:pt x="1611" y="326"/>
                    <a:pt x="1606" y="327"/>
                  </a:cubicBezTo>
                  <a:cubicBezTo>
                    <a:pt x="1601" y="327"/>
                    <a:pt x="1585" y="312"/>
                    <a:pt x="1584" y="307"/>
                  </a:cubicBezTo>
                  <a:cubicBezTo>
                    <a:pt x="1583" y="303"/>
                    <a:pt x="1574" y="294"/>
                    <a:pt x="1571" y="292"/>
                  </a:cubicBezTo>
                  <a:cubicBezTo>
                    <a:pt x="1568" y="291"/>
                    <a:pt x="1574" y="290"/>
                    <a:pt x="1577" y="293"/>
                  </a:cubicBezTo>
                  <a:cubicBezTo>
                    <a:pt x="1580" y="295"/>
                    <a:pt x="1584" y="295"/>
                    <a:pt x="1587" y="294"/>
                  </a:cubicBezTo>
                  <a:cubicBezTo>
                    <a:pt x="1591" y="292"/>
                    <a:pt x="1590" y="284"/>
                    <a:pt x="1585" y="284"/>
                  </a:cubicBezTo>
                  <a:cubicBezTo>
                    <a:pt x="1579" y="284"/>
                    <a:pt x="1581" y="279"/>
                    <a:pt x="1584" y="278"/>
                  </a:cubicBezTo>
                  <a:cubicBezTo>
                    <a:pt x="1587" y="277"/>
                    <a:pt x="1577" y="269"/>
                    <a:pt x="1581" y="268"/>
                  </a:cubicBezTo>
                  <a:cubicBezTo>
                    <a:pt x="1584" y="267"/>
                    <a:pt x="1583" y="263"/>
                    <a:pt x="1578" y="263"/>
                  </a:cubicBezTo>
                  <a:cubicBezTo>
                    <a:pt x="1573" y="262"/>
                    <a:pt x="1568" y="258"/>
                    <a:pt x="1568" y="256"/>
                  </a:cubicBezTo>
                  <a:cubicBezTo>
                    <a:pt x="1568" y="253"/>
                    <a:pt x="1548" y="253"/>
                    <a:pt x="1549" y="256"/>
                  </a:cubicBezTo>
                  <a:cubicBezTo>
                    <a:pt x="1550" y="259"/>
                    <a:pt x="1542" y="258"/>
                    <a:pt x="1543" y="256"/>
                  </a:cubicBezTo>
                  <a:cubicBezTo>
                    <a:pt x="1545" y="253"/>
                    <a:pt x="1536" y="254"/>
                    <a:pt x="1527" y="251"/>
                  </a:cubicBezTo>
                  <a:cubicBezTo>
                    <a:pt x="1517" y="248"/>
                    <a:pt x="1517" y="242"/>
                    <a:pt x="1514" y="241"/>
                  </a:cubicBezTo>
                  <a:cubicBezTo>
                    <a:pt x="1511" y="241"/>
                    <a:pt x="1512" y="251"/>
                    <a:pt x="1507" y="248"/>
                  </a:cubicBezTo>
                  <a:cubicBezTo>
                    <a:pt x="1502" y="246"/>
                    <a:pt x="1497" y="250"/>
                    <a:pt x="1500" y="256"/>
                  </a:cubicBezTo>
                  <a:cubicBezTo>
                    <a:pt x="1502" y="262"/>
                    <a:pt x="1500" y="262"/>
                    <a:pt x="1500" y="267"/>
                  </a:cubicBezTo>
                  <a:cubicBezTo>
                    <a:pt x="1499" y="271"/>
                    <a:pt x="1497" y="270"/>
                    <a:pt x="1491" y="268"/>
                  </a:cubicBezTo>
                  <a:cubicBezTo>
                    <a:pt x="1485" y="266"/>
                    <a:pt x="1485" y="272"/>
                    <a:pt x="1473" y="269"/>
                  </a:cubicBezTo>
                  <a:cubicBezTo>
                    <a:pt x="1461" y="266"/>
                    <a:pt x="1456" y="270"/>
                    <a:pt x="1454" y="266"/>
                  </a:cubicBezTo>
                  <a:cubicBezTo>
                    <a:pt x="1452" y="262"/>
                    <a:pt x="1448" y="261"/>
                    <a:pt x="1448" y="265"/>
                  </a:cubicBezTo>
                  <a:cubicBezTo>
                    <a:pt x="1447" y="268"/>
                    <a:pt x="1429" y="267"/>
                    <a:pt x="1427" y="262"/>
                  </a:cubicBezTo>
                  <a:cubicBezTo>
                    <a:pt x="1426" y="257"/>
                    <a:pt x="1430" y="256"/>
                    <a:pt x="1433" y="255"/>
                  </a:cubicBezTo>
                  <a:cubicBezTo>
                    <a:pt x="1436" y="254"/>
                    <a:pt x="1430" y="252"/>
                    <a:pt x="1420" y="252"/>
                  </a:cubicBezTo>
                  <a:cubicBezTo>
                    <a:pt x="1410" y="253"/>
                    <a:pt x="1403" y="247"/>
                    <a:pt x="1393" y="248"/>
                  </a:cubicBezTo>
                  <a:cubicBezTo>
                    <a:pt x="1383" y="249"/>
                    <a:pt x="1360" y="251"/>
                    <a:pt x="1357" y="253"/>
                  </a:cubicBezTo>
                  <a:cubicBezTo>
                    <a:pt x="1353" y="255"/>
                    <a:pt x="1360" y="260"/>
                    <a:pt x="1355" y="261"/>
                  </a:cubicBezTo>
                  <a:cubicBezTo>
                    <a:pt x="1350" y="261"/>
                    <a:pt x="1353" y="251"/>
                    <a:pt x="1352" y="247"/>
                  </a:cubicBezTo>
                  <a:cubicBezTo>
                    <a:pt x="1351" y="242"/>
                    <a:pt x="1344" y="241"/>
                    <a:pt x="1345" y="245"/>
                  </a:cubicBezTo>
                  <a:cubicBezTo>
                    <a:pt x="1346" y="248"/>
                    <a:pt x="1333" y="250"/>
                    <a:pt x="1330" y="247"/>
                  </a:cubicBezTo>
                  <a:cubicBezTo>
                    <a:pt x="1327" y="244"/>
                    <a:pt x="1322" y="241"/>
                    <a:pt x="1313" y="238"/>
                  </a:cubicBezTo>
                  <a:cubicBezTo>
                    <a:pt x="1305" y="236"/>
                    <a:pt x="1294" y="245"/>
                    <a:pt x="1297" y="248"/>
                  </a:cubicBezTo>
                  <a:cubicBezTo>
                    <a:pt x="1299" y="250"/>
                    <a:pt x="1305" y="248"/>
                    <a:pt x="1306" y="250"/>
                  </a:cubicBezTo>
                  <a:cubicBezTo>
                    <a:pt x="1306" y="254"/>
                    <a:pt x="1288" y="252"/>
                    <a:pt x="1288" y="255"/>
                  </a:cubicBezTo>
                  <a:cubicBezTo>
                    <a:pt x="1288" y="258"/>
                    <a:pt x="1271" y="262"/>
                    <a:pt x="1266" y="263"/>
                  </a:cubicBezTo>
                  <a:cubicBezTo>
                    <a:pt x="1251" y="265"/>
                    <a:pt x="1248" y="265"/>
                    <a:pt x="1242" y="270"/>
                  </a:cubicBezTo>
                  <a:cubicBezTo>
                    <a:pt x="1235" y="276"/>
                    <a:pt x="1240" y="265"/>
                    <a:pt x="1245" y="260"/>
                  </a:cubicBezTo>
                  <a:cubicBezTo>
                    <a:pt x="1251" y="255"/>
                    <a:pt x="1256" y="257"/>
                    <a:pt x="1259" y="253"/>
                  </a:cubicBezTo>
                  <a:cubicBezTo>
                    <a:pt x="1262" y="249"/>
                    <a:pt x="1267" y="250"/>
                    <a:pt x="1275" y="248"/>
                  </a:cubicBezTo>
                  <a:cubicBezTo>
                    <a:pt x="1283" y="247"/>
                    <a:pt x="1283" y="242"/>
                    <a:pt x="1286" y="241"/>
                  </a:cubicBezTo>
                  <a:cubicBezTo>
                    <a:pt x="1290" y="239"/>
                    <a:pt x="1300" y="235"/>
                    <a:pt x="1302" y="231"/>
                  </a:cubicBezTo>
                  <a:cubicBezTo>
                    <a:pt x="1303" y="227"/>
                    <a:pt x="1323" y="221"/>
                    <a:pt x="1326" y="221"/>
                  </a:cubicBezTo>
                  <a:cubicBezTo>
                    <a:pt x="1330" y="221"/>
                    <a:pt x="1331" y="213"/>
                    <a:pt x="1333" y="213"/>
                  </a:cubicBezTo>
                  <a:cubicBezTo>
                    <a:pt x="1336" y="213"/>
                    <a:pt x="1347" y="208"/>
                    <a:pt x="1351" y="207"/>
                  </a:cubicBezTo>
                  <a:cubicBezTo>
                    <a:pt x="1355" y="205"/>
                    <a:pt x="1357" y="201"/>
                    <a:pt x="1358" y="198"/>
                  </a:cubicBezTo>
                  <a:cubicBezTo>
                    <a:pt x="1358" y="195"/>
                    <a:pt x="1352" y="195"/>
                    <a:pt x="1351" y="193"/>
                  </a:cubicBezTo>
                  <a:cubicBezTo>
                    <a:pt x="1351" y="190"/>
                    <a:pt x="1354" y="192"/>
                    <a:pt x="1359" y="190"/>
                  </a:cubicBezTo>
                  <a:cubicBezTo>
                    <a:pt x="1363" y="188"/>
                    <a:pt x="1359" y="182"/>
                    <a:pt x="1355" y="184"/>
                  </a:cubicBezTo>
                  <a:cubicBezTo>
                    <a:pt x="1351" y="185"/>
                    <a:pt x="1357" y="180"/>
                    <a:pt x="1354" y="176"/>
                  </a:cubicBezTo>
                  <a:cubicBezTo>
                    <a:pt x="1350" y="173"/>
                    <a:pt x="1344" y="179"/>
                    <a:pt x="1344" y="175"/>
                  </a:cubicBezTo>
                  <a:cubicBezTo>
                    <a:pt x="1344" y="171"/>
                    <a:pt x="1344" y="165"/>
                    <a:pt x="1341" y="163"/>
                  </a:cubicBezTo>
                  <a:cubicBezTo>
                    <a:pt x="1339" y="160"/>
                    <a:pt x="1334" y="167"/>
                    <a:pt x="1328" y="163"/>
                  </a:cubicBezTo>
                  <a:cubicBezTo>
                    <a:pt x="1323" y="159"/>
                    <a:pt x="1307" y="157"/>
                    <a:pt x="1307" y="158"/>
                  </a:cubicBezTo>
                  <a:cubicBezTo>
                    <a:pt x="1307" y="160"/>
                    <a:pt x="1300" y="156"/>
                    <a:pt x="1298" y="158"/>
                  </a:cubicBezTo>
                  <a:cubicBezTo>
                    <a:pt x="1297" y="159"/>
                    <a:pt x="1284" y="159"/>
                    <a:pt x="1280" y="158"/>
                  </a:cubicBezTo>
                  <a:cubicBezTo>
                    <a:pt x="1277" y="157"/>
                    <a:pt x="1271" y="159"/>
                    <a:pt x="1271" y="163"/>
                  </a:cubicBezTo>
                  <a:cubicBezTo>
                    <a:pt x="1271" y="167"/>
                    <a:pt x="1256" y="166"/>
                    <a:pt x="1253" y="165"/>
                  </a:cubicBezTo>
                  <a:cubicBezTo>
                    <a:pt x="1250" y="164"/>
                    <a:pt x="1263" y="153"/>
                    <a:pt x="1263" y="151"/>
                  </a:cubicBezTo>
                  <a:cubicBezTo>
                    <a:pt x="1263" y="150"/>
                    <a:pt x="1241" y="152"/>
                    <a:pt x="1239" y="150"/>
                  </a:cubicBezTo>
                  <a:cubicBezTo>
                    <a:pt x="1238" y="148"/>
                    <a:pt x="1227" y="147"/>
                    <a:pt x="1222" y="147"/>
                  </a:cubicBezTo>
                  <a:cubicBezTo>
                    <a:pt x="1217" y="147"/>
                    <a:pt x="1222" y="146"/>
                    <a:pt x="1226" y="145"/>
                  </a:cubicBezTo>
                  <a:cubicBezTo>
                    <a:pt x="1231" y="145"/>
                    <a:pt x="1235" y="141"/>
                    <a:pt x="1240" y="140"/>
                  </a:cubicBezTo>
                  <a:cubicBezTo>
                    <a:pt x="1245" y="139"/>
                    <a:pt x="1244" y="138"/>
                    <a:pt x="1242" y="135"/>
                  </a:cubicBezTo>
                  <a:cubicBezTo>
                    <a:pt x="1240" y="132"/>
                    <a:pt x="1234" y="133"/>
                    <a:pt x="1229" y="132"/>
                  </a:cubicBezTo>
                  <a:cubicBezTo>
                    <a:pt x="1225" y="130"/>
                    <a:pt x="1219" y="128"/>
                    <a:pt x="1214" y="128"/>
                  </a:cubicBezTo>
                  <a:cubicBezTo>
                    <a:pt x="1210" y="128"/>
                    <a:pt x="1205" y="130"/>
                    <a:pt x="1195" y="132"/>
                  </a:cubicBezTo>
                  <a:cubicBezTo>
                    <a:pt x="1185" y="134"/>
                    <a:pt x="1184" y="142"/>
                    <a:pt x="1179" y="144"/>
                  </a:cubicBezTo>
                  <a:cubicBezTo>
                    <a:pt x="1174" y="146"/>
                    <a:pt x="1165" y="156"/>
                    <a:pt x="1169" y="157"/>
                  </a:cubicBezTo>
                  <a:cubicBezTo>
                    <a:pt x="1173" y="158"/>
                    <a:pt x="1171" y="160"/>
                    <a:pt x="1172" y="163"/>
                  </a:cubicBezTo>
                  <a:cubicBezTo>
                    <a:pt x="1172" y="166"/>
                    <a:pt x="1169" y="166"/>
                    <a:pt x="1164" y="165"/>
                  </a:cubicBezTo>
                  <a:cubicBezTo>
                    <a:pt x="1159" y="165"/>
                    <a:pt x="1141" y="165"/>
                    <a:pt x="1142" y="168"/>
                  </a:cubicBezTo>
                  <a:cubicBezTo>
                    <a:pt x="1142" y="172"/>
                    <a:pt x="1152" y="174"/>
                    <a:pt x="1151" y="176"/>
                  </a:cubicBezTo>
                  <a:cubicBezTo>
                    <a:pt x="1150" y="178"/>
                    <a:pt x="1143" y="176"/>
                    <a:pt x="1140" y="174"/>
                  </a:cubicBezTo>
                  <a:cubicBezTo>
                    <a:pt x="1137" y="172"/>
                    <a:pt x="1129" y="173"/>
                    <a:pt x="1127" y="176"/>
                  </a:cubicBezTo>
                  <a:cubicBezTo>
                    <a:pt x="1126" y="180"/>
                    <a:pt x="1120" y="179"/>
                    <a:pt x="1118" y="178"/>
                  </a:cubicBezTo>
                  <a:cubicBezTo>
                    <a:pt x="1116" y="178"/>
                    <a:pt x="1112" y="180"/>
                    <a:pt x="1108" y="179"/>
                  </a:cubicBezTo>
                  <a:cubicBezTo>
                    <a:pt x="1105" y="178"/>
                    <a:pt x="1115" y="173"/>
                    <a:pt x="1112" y="171"/>
                  </a:cubicBezTo>
                  <a:cubicBezTo>
                    <a:pt x="1110" y="168"/>
                    <a:pt x="1100" y="171"/>
                    <a:pt x="1099" y="175"/>
                  </a:cubicBezTo>
                  <a:cubicBezTo>
                    <a:pt x="1098" y="178"/>
                    <a:pt x="1091" y="172"/>
                    <a:pt x="1089" y="173"/>
                  </a:cubicBezTo>
                  <a:cubicBezTo>
                    <a:pt x="1087" y="174"/>
                    <a:pt x="1084" y="176"/>
                    <a:pt x="1080" y="178"/>
                  </a:cubicBezTo>
                  <a:cubicBezTo>
                    <a:pt x="1075" y="180"/>
                    <a:pt x="1067" y="176"/>
                    <a:pt x="1066" y="179"/>
                  </a:cubicBezTo>
                  <a:cubicBezTo>
                    <a:pt x="1064" y="182"/>
                    <a:pt x="1074" y="184"/>
                    <a:pt x="1074" y="185"/>
                  </a:cubicBezTo>
                  <a:cubicBezTo>
                    <a:pt x="1075" y="187"/>
                    <a:pt x="1051" y="186"/>
                    <a:pt x="1050" y="189"/>
                  </a:cubicBezTo>
                  <a:cubicBezTo>
                    <a:pt x="1050" y="191"/>
                    <a:pt x="1042" y="191"/>
                    <a:pt x="1032" y="191"/>
                  </a:cubicBezTo>
                  <a:cubicBezTo>
                    <a:pt x="1022" y="192"/>
                    <a:pt x="1026" y="196"/>
                    <a:pt x="1019" y="198"/>
                  </a:cubicBezTo>
                  <a:cubicBezTo>
                    <a:pt x="1011" y="199"/>
                    <a:pt x="1007" y="199"/>
                    <a:pt x="1005" y="203"/>
                  </a:cubicBezTo>
                  <a:cubicBezTo>
                    <a:pt x="1002" y="207"/>
                    <a:pt x="996" y="208"/>
                    <a:pt x="994" y="205"/>
                  </a:cubicBezTo>
                  <a:cubicBezTo>
                    <a:pt x="991" y="202"/>
                    <a:pt x="984" y="206"/>
                    <a:pt x="988" y="207"/>
                  </a:cubicBezTo>
                  <a:cubicBezTo>
                    <a:pt x="992" y="207"/>
                    <a:pt x="988" y="211"/>
                    <a:pt x="986" y="210"/>
                  </a:cubicBezTo>
                  <a:cubicBezTo>
                    <a:pt x="983" y="209"/>
                    <a:pt x="976" y="214"/>
                    <a:pt x="980" y="214"/>
                  </a:cubicBezTo>
                  <a:cubicBezTo>
                    <a:pt x="984" y="213"/>
                    <a:pt x="986" y="217"/>
                    <a:pt x="984" y="219"/>
                  </a:cubicBezTo>
                  <a:cubicBezTo>
                    <a:pt x="982" y="221"/>
                    <a:pt x="974" y="216"/>
                    <a:pt x="972" y="218"/>
                  </a:cubicBezTo>
                  <a:cubicBezTo>
                    <a:pt x="969" y="221"/>
                    <a:pt x="976" y="223"/>
                    <a:pt x="980" y="223"/>
                  </a:cubicBezTo>
                  <a:cubicBezTo>
                    <a:pt x="983" y="222"/>
                    <a:pt x="986" y="225"/>
                    <a:pt x="986" y="228"/>
                  </a:cubicBezTo>
                  <a:cubicBezTo>
                    <a:pt x="986" y="231"/>
                    <a:pt x="977" y="226"/>
                    <a:pt x="975" y="228"/>
                  </a:cubicBezTo>
                  <a:cubicBezTo>
                    <a:pt x="973" y="231"/>
                    <a:pt x="977" y="232"/>
                    <a:pt x="981" y="232"/>
                  </a:cubicBezTo>
                  <a:cubicBezTo>
                    <a:pt x="985" y="233"/>
                    <a:pt x="982" y="234"/>
                    <a:pt x="985" y="238"/>
                  </a:cubicBezTo>
                  <a:cubicBezTo>
                    <a:pt x="986" y="238"/>
                    <a:pt x="986" y="238"/>
                    <a:pt x="986" y="238"/>
                  </a:cubicBezTo>
                  <a:cubicBezTo>
                    <a:pt x="988" y="241"/>
                    <a:pt x="984" y="242"/>
                    <a:pt x="985" y="244"/>
                  </a:cubicBezTo>
                  <a:cubicBezTo>
                    <a:pt x="985" y="247"/>
                    <a:pt x="980" y="248"/>
                    <a:pt x="980" y="246"/>
                  </a:cubicBezTo>
                  <a:cubicBezTo>
                    <a:pt x="980" y="243"/>
                    <a:pt x="969" y="242"/>
                    <a:pt x="967" y="245"/>
                  </a:cubicBezTo>
                  <a:cubicBezTo>
                    <a:pt x="964" y="248"/>
                    <a:pt x="963" y="250"/>
                    <a:pt x="960" y="247"/>
                  </a:cubicBezTo>
                  <a:cubicBezTo>
                    <a:pt x="957" y="245"/>
                    <a:pt x="949" y="248"/>
                    <a:pt x="938" y="248"/>
                  </a:cubicBezTo>
                  <a:cubicBezTo>
                    <a:pt x="928" y="249"/>
                    <a:pt x="906" y="250"/>
                    <a:pt x="901" y="252"/>
                  </a:cubicBezTo>
                  <a:cubicBezTo>
                    <a:pt x="895" y="254"/>
                    <a:pt x="891" y="261"/>
                    <a:pt x="896" y="266"/>
                  </a:cubicBezTo>
                  <a:cubicBezTo>
                    <a:pt x="901" y="271"/>
                    <a:pt x="896" y="273"/>
                    <a:pt x="896" y="276"/>
                  </a:cubicBezTo>
                  <a:cubicBezTo>
                    <a:pt x="896" y="280"/>
                    <a:pt x="909" y="286"/>
                    <a:pt x="916" y="287"/>
                  </a:cubicBezTo>
                  <a:cubicBezTo>
                    <a:pt x="923" y="288"/>
                    <a:pt x="928" y="296"/>
                    <a:pt x="924" y="301"/>
                  </a:cubicBezTo>
                  <a:cubicBezTo>
                    <a:pt x="920" y="306"/>
                    <a:pt x="908" y="300"/>
                    <a:pt x="899" y="293"/>
                  </a:cubicBezTo>
                  <a:cubicBezTo>
                    <a:pt x="891" y="287"/>
                    <a:pt x="872" y="284"/>
                    <a:pt x="866" y="285"/>
                  </a:cubicBezTo>
                  <a:cubicBezTo>
                    <a:pt x="860" y="285"/>
                    <a:pt x="863" y="279"/>
                    <a:pt x="855" y="279"/>
                  </a:cubicBezTo>
                  <a:cubicBezTo>
                    <a:pt x="848" y="279"/>
                    <a:pt x="841" y="287"/>
                    <a:pt x="846" y="287"/>
                  </a:cubicBezTo>
                  <a:cubicBezTo>
                    <a:pt x="852" y="287"/>
                    <a:pt x="855" y="286"/>
                    <a:pt x="852" y="289"/>
                  </a:cubicBezTo>
                  <a:cubicBezTo>
                    <a:pt x="849" y="291"/>
                    <a:pt x="854" y="291"/>
                    <a:pt x="860" y="293"/>
                  </a:cubicBezTo>
                  <a:cubicBezTo>
                    <a:pt x="867" y="296"/>
                    <a:pt x="855" y="300"/>
                    <a:pt x="848" y="296"/>
                  </a:cubicBezTo>
                  <a:cubicBezTo>
                    <a:pt x="842" y="291"/>
                    <a:pt x="834" y="295"/>
                    <a:pt x="832" y="299"/>
                  </a:cubicBezTo>
                  <a:cubicBezTo>
                    <a:pt x="831" y="302"/>
                    <a:pt x="840" y="312"/>
                    <a:pt x="852" y="314"/>
                  </a:cubicBezTo>
                  <a:cubicBezTo>
                    <a:pt x="863" y="316"/>
                    <a:pt x="860" y="319"/>
                    <a:pt x="865" y="321"/>
                  </a:cubicBezTo>
                  <a:cubicBezTo>
                    <a:pt x="870" y="323"/>
                    <a:pt x="866" y="325"/>
                    <a:pt x="863" y="325"/>
                  </a:cubicBezTo>
                  <a:cubicBezTo>
                    <a:pt x="859" y="326"/>
                    <a:pt x="852" y="320"/>
                    <a:pt x="846" y="317"/>
                  </a:cubicBezTo>
                  <a:cubicBezTo>
                    <a:pt x="840" y="314"/>
                    <a:pt x="825" y="318"/>
                    <a:pt x="821" y="315"/>
                  </a:cubicBezTo>
                  <a:cubicBezTo>
                    <a:pt x="818" y="311"/>
                    <a:pt x="823" y="308"/>
                    <a:pt x="820" y="305"/>
                  </a:cubicBezTo>
                  <a:cubicBezTo>
                    <a:pt x="817" y="303"/>
                    <a:pt x="820" y="297"/>
                    <a:pt x="824" y="291"/>
                  </a:cubicBezTo>
                  <a:cubicBezTo>
                    <a:pt x="828" y="285"/>
                    <a:pt x="823" y="275"/>
                    <a:pt x="818" y="273"/>
                  </a:cubicBezTo>
                  <a:cubicBezTo>
                    <a:pt x="812" y="271"/>
                    <a:pt x="812" y="277"/>
                    <a:pt x="814" y="279"/>
                  </a:cubicBezTo>
                  <a:cubicBezTo>
                    <a:pt x="815" y="280"/>
                    <a:pt x="814" y="288"/>
                    <a:pt x="810" y="294"/>
                  </a:cubicBezTo>
                  <a:cubicBezTo>
                    <a:pt x="806" y="299"/>
                    <a:pt x="793" y="299"/>
                    <a:pt x="793" y="303"/>
                  </a:cubicBezTo>
                  <a:cubicBezTo>
                    <a:pt x="793" y="307"/>
                    <a:pt x="784" y="309"/>
                    <a:pt x="787" y="312"/>
                  </a:cubicBezTo>
                  <a:cubicBezTo>
                    <a:pt x="790" y="315"/>
                    <a:pt x="802" y="328"/>
                    <a:pt x="803" y="332"/>
                  </a:cubicBezTo>
                  <a:cubicBezTo>
                    <a:pt x="805" y="336"/>
                    <a:pt x="793" y="349"/>
                    <a:pt x="795" y="356"/>
                  </a:cubicBezTo>
                  <a:cubicBezTo>
                    <a:pt x="797" y="364"/>
                    <a:pt x="793" y="367"/>
                    <a:pt x="795" y="371"/>
                  </a:cubicBezTo>
                  <a:cubicBezTo>
                    <a:pt x="798" y="375"/>
                    <a:pt x="803" y="372"/>
                    <a:pt x="807" y="373"/>
                  </a:cubicBezTo>
                  <a:cubicBezTo>
                    <a:pt x="810" y="375"/>
                    <a:pt x="816" y="371"/>
                    <a:pt x="824" y="369"/>
                  </a:cubicBezTo>
                  <a:cubicBezTo>
                    <a:pt x="832" y="368"/>
                    <a:pt x="846" y="376"/>
                    <a:pt x="852" y="379"/>
                  </a:cubicBezTo>
                  <a:cubicBezTo>
                    <a:pt x="857" y="381"/>
                    <a:pt x="854" y="386"/>
                    <a:pt x="857" y="390"/>
                  </a:cubicBezTo>
                  <a:cubicBezTo>
                    <a:pt x="860" y="394"/>
                    <a:pt x="851" y="394"/>
                    <a:pt x="850" y="401"/>
                  </a:cubicBezTo>
                  <a:cubicBezTo>
                    <a:pt x="850" y="407"/>
                    <a:pt x="866" y="410"/>
                    <a:pt x="867" y="412"/>
                  </a:cubicBezTo>
                  <a:cubicBezTo>
                    <a:pt x="868" y="414"/>
                    <a:pt x="855" y="412"/>
                    <a:pt x="851" y="411"/>
                  </a:cubicBezTo>
                  <a:cubicBezTo>
                    <a:pt x="846" y="409"/>
                    <a:pt x="846" y="403"/>
                    <a:pt x="844" y="401"/>
                  </a:cubicBezTo>
                  <a:cubicBezTo>
                    <a:pt x="843" y="400"/>
                    <a:pt x="847" y="395"/>
                    <a:pt x="848" y="391"/>
                  </a:cubicBezTo>
                  <a:cubicBezTo>
                    <a:pt x="848" y="387"/>
                    <a:pt x="842" y="384"/>
                    <a:pt x="840" y="382"/>
                  </a:cubicBezTo>
                  <a:cubicBezTo>
                    <a:pt x="838" y="379"/>
                    <a:pt x="835" y="375"/>
                    <a:pt x="831" y="376"/>
                  </a:cubicBezTo>
                  <a:cubicBezTo>
                    <a:pt x="827" y="376"/>
                    <a:pt x="813" y="378"/>
                    <a:pt x="809" y="382"/>
                  </a:cubicBezTo>
                  <a:cubicBezTo>
                    <a:pt x="805" y="385"/>
                    <a:pt x="809" y="396"/>
                    <a:pt x="812" y="402"/>
                  </a:cubicBezTo>
                  <a:cubicBezTo>
                    <a:pt x="814" y="407"/>
                    <a:pt x="799" y="415"/>
                    <a:pt x="800" y="419"/>
                  </a:cubicBezTo>
                  <a:cubicBezTo>
                    <a:pt x="800" y="423"/>
                    <a:pt x="795" y="425"/>
                    <a:pt x="789" y="429"/>
                  </a:cubicBezTo>
                  <a:cubicBezTo>
                    <a:pt x="782" y="432"/>
                    <a:pt x="775" y="435"/>
                    <a:pt x="775" y="440"/>
                  </a:cubicBezTo>
                  <a:cubicBezTo>
                    <a:pt x="776" y="446"/>
                    <a:pt x="767" y="443"/>
                    <a:pt x="762" y="440"/>
                  </a:cubicBezTo>
                  <a:cubicBezTo>
                    <a:pt x="758" y="438"/>
                    <a:pt x="752" y="442"/>
                    <a:pt x="746" y="442"/>
                  </a:cubicBezTo>
                  <a:cubicBezTo>
                    <a:pt x="739" y="441"/>
                    <a:pt x="739" y="436"/>
                    <a:pt x="734" y="438"/>
                  </a:cubicBezTo>
                  <a:cubicBezTo>
                    <a:pt x="729" y="440"/>
                    <a:pt x="725" y="436"/>
                    <a:pt x="727" y="432"/>
                  </a:cubicBezTo>
                  <a:cubicBezTo>
                    <a:pt x="728" y="428"/>
                    <a:pt x="734" y="431"/>
                    <a:pt x="735" y="434"/>
                  </a:cubicBezTo>
                  <a:cubicBezTo>
                    <a:pt x="735" y="436"/>
                    <a:pt x="739" y="435"/>
                    <a:pt x="743" y="433"/>
                  </a:cubicBezTo>
                  <a:cubicBezTo>
                    <a:pt x="747" y="430"/>
                    <a:pt x="745" y="436"/>
                    <a:pt x="751" y="436"/>
                  </a:cubicBezTo>
                  <a:cubicBezTo>
                    <a:pt x="758" y="437"/>
                    <a:pt x="754" y="433"/>
                    <a:pt x="759" y="433"/>
                  </a:cubicBezTo>
                  <a:cubicBezTo>
                    <a:pt x="764" y="434"/>
                    <a:pt x="764" y="432"/>
                    <a:pt x="762" y="430"/>
                  </a:cubicBezTo>
                  <a:cubicBezTo>
                    <a:pt x="761" y="428"/>
                    <a:pt x="766" y="426"/>
                    <a:pt x="769" y="425"/>
                  </a:cubicBezTo>
                  <a:cubicBezTo>
                    <a:pt x="772" y="423"/>
                    <a:pt x="771" y="418"/>
                    <a:pt x="773" y="417"/>
                  </a:cubicBezTo>
                  <a:cubicBezTo>
                    <a:pt x="776" y="415"/>
                    <a:pt x="774" y="412"/>
                    <a:pt x="777" y="412"/>
                  </a:cubicBezTo>
                  <a:cubicBezTo>
                    <a:pt x="780" y="412"/>
                    <a:pt x="782" y="407"/>
                    <a:pt x="784" y="407"/>
                  </a:cubicBezTo>
                  <a:cubicBezTo>
                    <a:pt x="787" y="407"/>
                    <a:pt x="789" y="403"/>
                    <a:pt x="787" y="401"/>
                  </a:cubicBezTo>
                  <a:cubicBezTo>
                    <a:pt x="785" y="398"/>
                    <a:pt x="788" y="392"/>
                    <a:pt x="791" y="391"/>
                  </a:cubicBezTo>
                  <a:cubicBezTo>
                    <a:pt x="794" y="390"/>
                    <a:pt x="794" y="387"/>
                    <a:pt x="791" y="385"/>
                  </a:cubicBezTo>
                  <a:cubicBezTo>
                    <a:pt x="789" y="384"/>
                    <a:pt x="779" y="377"/>
                    <a:pt x="780" y="373"/>
                  </a:cubicBezTo>
                  <a:cubicBezTo>
                    <a:pt x="780" y="369"/>
                    <a:pt x="778" y="361"/>
                    <a:pt x="779" y="358"/>
                  </a:cubicBezTo>
                  <a:cubicBezTo>
                    <a:pt x="781" y="355"/>
                    <a:pt x="780" y="348"/>
                    <a:pt x="779" y="344"/>
                  </a:cubicBezTo>
                  <a:cubicBezTo>
                    <a:pt x="779" y="341"/>
                    <a:pt x="782" y="336"/>
                    <a:pt x="783" y="329"/>
                  </a:cubicBezTo>
                  <a:cubicBezTo>
                    <a:pt x="784" y="322"/>
                    <a:pt x="775" y="315"/>
                    <a:pt x="771" y="313"/>
                  </a:cubicBezTo>
                  <a:cubicBezTo>
                    <a:pt x="767" y="311"/>
                    <a:pt x="769" y="307"/>
                    <a:pt x="776" y="302"/>
                  </a:cubicBezTo>
                  <a:cubicBezTo>
                    <a:pt x="782" y="296"/>
                    <a:pt x="782" y="280"/>
                    <a:pt x="782" y="277"/>
                  </a:cubicBezTo>
                  <a:cubicBezTo>
                    <a:pt x="782" y="273"/>
                    <a:pt x="769" y="270"/>
                    <a:pt x="764" y="271"/>
                  </a:cubicBezTo>
                  <a:cubicBezTo>
                    <a:pt x="759" y="271"/>
                    <a:pt x="741" y="270"/>
                    <a:pt x="736" y="270"/>
                  </a:cubicBezTo>
                  <a:cubicBezTo>
                    <a:pt x="732" y="269"/>
                    <a:pt x="730" y="273"/>
                    <a:pt x="728" y="278"/>
                  </a:cubicBezTo>
                  <a:cubicBezTo>
                    <a:pt x="726" y="282"/>
                    <a:pt x="721" y="289"/>
                    <a:pt x="718" y="298"/>
                  </a:cubicBezTo>
                  <a:cubicBezTo>
                    <a:pt x="715" y="308"/>
                    <a:pt x="704" y="311"/>
                    <a:pt x="699" y="313"/>
                  </a:cubicBezTo>
                  <a:cubicBezTo>
                    <a:pt x="694" y="315"/>
                    <a:pt x="691" y="322"/>
                    <a:pt x="693" y="326"/>
                  </a:cubicBezTo>
                  <a:cubicBezTo>
                    <a:pt x="695" y="329"/>
                    <a:pt x="699" y="327"/>
                    <a:pt x="701" y="328"/>
                  </a:cubicBezTo>
                  <a:cubicBezTo>
                    <a:pt x="703" y="329"/>
                    <a:pt x="701" y="338"/>
                    <a:pt x="699" y="339"/>
                  </a:cubicBezTo>
                  <a:cubicBezTo>
                    <a:pt x="698" y="341"/>
                    <a:pt x="702" y="344"/>
                    <a:pt x="698" y="346"/>
                  </a:cubicBezTo>
                  <a:cubicBezTo>
                    <a:pt x="695" y="349"/>
                    <a:pt x="691" y="354"/>
                    <a:pt x="694" y="356"/>
                  </a:cubicBezTo>
                  <a:cubicBezTo>
                    <a:pt x="696" y="359"/>
                    <a:pt x="706" y="360"/>
                    <a:pt x="711" y="363"/>
                  </a:cubicBezTo>
                  <a:cubicBezTo>
                    <a:pt x="715" y="365"/>
                    <a:pt x="714" y="370"/>
                    <a:pt x="717" y="375"/>
                  </a:cubicBezTo>
                  <a:cubicBezTo>
                    <a:pt x="720" y="379"/>
                    <a:pt x="724" y="376"/>
                    <a:pt x="726" y="379"/>
                  </a:cubicBezTo>
                  <a:cubicBezTo>
                    <a:pt x="728" y="382"/>
                    <a:pt x="720" y="393"/>
                    <a:pt x="717" y="393"/>
                  </a:cubicBezTo>
                  <a:cubicBezTo>
                    <a:pt x="714" y="394"/>
                    <a:pt x="703" y="382"/>
                    <a:pt x="699" y="379"/>
                  </a:cubicBezTo>
                  <a:cubicBezTo>
                    <a:pt x="696" y="377"/>
                    <a:pt x="682" y="373"/>
                    <a:pt x="676" y="369"/>
                  </a:cubicBezTo>
                  <a:cubicBezTo>
                    <a:pt x="669" y="366"/>
                    <a:pt x="664" y="366"/>
                    <a:pt x="656" y="361"/>
                  </a:cubicBezTo>
                  <a:cubicBezTo>
                    <a:pt x="649" y="356"/>
                    <a:pt x="643" y="354"/>
                    <a:pt x="629" y="354"/>
                  </a:cubicBezTo>
                  <a:cubicBezTo>
                    <a:pt x="616" y="355"/>
                    <a:pt x="608" y="351"/>
                    <a:pt x="603" y="352"/>
                  </a:cubicBezTo>
                  <a:cubicBezTo>
                    <a:pt x="598" y="353"/>
                    <a:pt x="600" y="347"/>
                    <a:pt x="592" y="344"/>
                  </a:cubicBezTo>
                  <a:cubicBezTo>
                    <a:pt x="584" y="341"/>
                    <a:pt x="579" y="336"/>
                    <a:pt x="575" y="338"/>
                  </a:cubicBezTo>
                  <a:cubicBezTo>
                    <a:pt x="570" y="341"/>
                    <a:pt x="572" y="349"/>
                    <a:pt x="579" y="350"/>
                  </a:cubicBezTo>
                  <a:cubicBezTo>
                    <a:pt x="586" y="351"/>
                    <a:pt x="582" y="355"/>
                    <a:pt x="589" y="355"/>
                  </a:cubicBezTo>
                  <a:cubicBezTo>
                    <a:pt x="597" y="354"/>
                    <a:pt x="599" y="357"/>
                    <a:pt x="599" y="361"/>
                  </a:cubicBezTo>
                  <a:cubicBezTo>
                    <a:pt x="598" y="366"/>
                    <a:pt x="602" y="370"/>
                    <a:pt x="605" y="373"/>
                  </a:cubicBezTo>
                  <a:cubicBezTo>
                    <a:pt x="609" y="376"/>
                    <a:pt x="607" y="381"/>
                    <a:pt x="601" y="381"/>
                  </a:cubicBezTo>
                  <a:cubicBezTo>
                    <a:pt x="595" y="381"/>
                    <a:pt x="588" y="382"/>
                    <a:pt x="591" y="386"/>
                  </a:cubicBezTo>
                  <a:cubicBezTo>
                    <a:pt x="594" y="390"/>
                    <a:pt x="589" y="391"/>
                    <a:pt x="583" y="389"/>
                  </a:cubicBezTo>
                  <a:cubicBezTo>
                    <a:pt x="578" y="387"/>
                    <a:pt x="581" y="383"/>
                    <a:pt x="583" y="381"/>
                  </a:cubicBezTo>
                  <a:cubicBezTo>
                    <a:pt x="586" y="378"/>
                    <a:pt x="578" y="375"/>
                    <a:pt x="575" y="374"/>
                  </a:cubicBezTo>
                  <a:cubicBezTo>
                    <a:pt x="571" y="373"/>
                    <a:pt x="556" y="383"/>
                    <a:pt x="552" y="385"/>
                  </a:cubicBezTo>
                  <a:cubicBezTo>
                    <a:pt x="548" y="387"/>
                    <a:pt x="538" y="382"/>
                    <a:pt x="528" y="385"/>
                  </a:cubicBezTo>
                  <a:cubicBezTo>
                    <a:pt x="517" y="388"/>
                    <a:pt x="518" y="396"/>
                    <a:pt x="514" y="395"/>
                  </a:cubicBezTo>
                  <a:cubicBezTo>
                    <a:pt x="510" y="394"/>
                    <a:pt x="499" y="396"/>
                    <a:pt x="495" y="393"/>
                  </a:cubicBezTo>
                  <a:cubicBezTo>
                    <a:pt x="490" y="391"/>
                    <a:pt x="494" y="389"/>
                    <a:pt x="498" y="390"/>
                  </a:cubicBezTo>
                  <a:cubicBezTo>
                    <a:pt x="503" y="390"/>
                    <a:pt x="504" y="388"/>
                    <a:pt x="502" y="385"/>
                  </a:cubicBezTo>
                  <a:cubicBezTo>
                    <a:pt x="499" y="382"/>
                    <a:pt x="505" y="378"/>
                    <a:pt x="505" y="375"/>
                  </a:cubicBezTo>
                  <a:cubicBezTo>
                    <a:pt x="505" y="373"/>
                    <a:pt x="488" y="379"/>
                    <a:pt x="485" y="381"/>
                  </a:cubicBezTo>
                  <a:cubicBezTo>
                    <a:pt x="482" y="384"/>
                    <a:pt x="485" y="388"/>
                    <a:pt x="482" y="389"/>
                  </a:cubicBezTo>
                  <a:cubicBezTo>
                    <a:pt x="479" y="391"/>
                    <a:pt x="479" y="387"/>
                    <a:pt x="476" y="385"/>
                  </a:cubicBezTo>
                  <a:cubicBezTo>
                    <a:pt x="472" y="384"/>
                    <a:pt x="447" y="390"/>
                    <a:pt x="443" y="395"/>
                  </a:cubicBezTo>
                  <a:cubicBezTo>
                    <a:pt x="438" y="401"/>
                    <a:pt x="429" y="401"/>
                    <a:pt x="429" y="404"/>
                  </a:cubicBezTo>
                  <a:cubicBezTo>
                    <a:pt x="429" y="407"/>
                    <a:pt x="417" y="407"/>
                    <a:pt x="413" y="409"/>
                  </a:cubicBezTo>
                  <a:cubicBezTo>
                    <a:pt x="408" y="411"/>
                    <a:pt x="411" y="420"/>
                    <a:pt x="409" y="424"/>
                  </a:cubicBezTo>
                  <a:cubicBezTo>
                    <a:pt x="408" y="429"/>
                    <a:pt x="390" y="427"/>
                    <a:pt x="385" y="427"/>
                  </a:cubicBezTo>
                  <a:cubicBezTo>
                    <a:pt x="379" y="428"/>
                    <a:pt x="377" y="417"/>
                    <a:pt x="373" y="416"/>
                  </a:cubicBezTo>
                  <a:cubicBezTo>
                    <a:pt x="369" y="416"/>
                    <a:pt x="371" y="410"/>
                    <a:pt x="373" y="407"/>
                  </a:cubicBezTo>
                  <a:cubicBezTo>
                    <a:pt x="374" y="405"/>
                    <a:pt x="377" y="407"/>
                    <a:pt x="383" y="403"/>
                  </a:cubicBezTo>
                  <a:cubicBezTo>
                    <a:pt x="388" y="400"/>
                    <a:pt x="394" y="405"/>
                    <a:pt x="396" y="403"/>
                  </a:cubicBezTo>
                  <a:cubicBezTo>
                    <a:pt x="398" y="400"/>
                    <a:pt x="388" y="394"/>
                    <a:pt x="387" y="389"/>
                  </a:cubicBezTo>
                  <a:cubicBezTo>
                    <a:pt x="386" y="383"/>
                    <a:pt x="375" y="382"/>
                    <a:pt x="368" y="384"/>
                  </a:cubicBezTo>
                  <a:cubicBezTo>
                    <a:pt x="362" y="385"/>
                    <a:pt x="355" y="384"/>
                    <a:pt x="350" y="382"/>
                  </a:cubicBezTo>
                  <a:cubicBezTo>
                    <a:pt x="346" y="379"/>
                    <a:pt x="346" y="385"/>
                    <a:pt x="353" y="387"/>
                  </a:cubicBezTo>
                  <a:cubicBezTo>
                    <a:pt x="360" y="389"/>
                    <a:pt x="356" y="394"/>
                    <a:pt x="357" y="397"/>
                  </a:cubicBezTo>
                  <a:cubicBezTo>
                    <a:pt x="358" y="401"/>
                    <a:pt x="355" y="408"/>
                    <a:pt x="352" y="413"/>
                  </a:cubicBezTo>
                  <a:cubicBezTo>
                    <a:pt x="348" y="419"/>
                    <a:pt x="351" y="419"/>
                    <a:pt x="356" y="419"/>
                  </a:cubicBezTo>
                  <a:cubicBezTo>
                    <a:pt x="362" y="418"/>
                    <a:pt x="362" y="426"/>
                    <a:pt x="362" y="432"/>
                  </a:cubicBezTo>
                  <a:cubicBezTo>
                    <a:pt x="362" y="437"/>
                    <a:pt x="357" y="439"/>
                    <a:pt x="357" y="443"/>
                  </a:cubicBezTo>
                  <a:cubicBezTo>
                    <a:pt x="357" y="447"/>
                    <a:pt x="352" y="441"/>
                    <a:pt x="351" y="442"/>
                  </a:cubicBezTo>
                  <a:cubicBezTo>
                    <a:pt x="349" y="444"/>
                    <a:pt x="348" y="442"/>
                    <a:pt x="347" y="438"/>
                  </a:cubicBezTo>
                  <a:cubicBezTo>
                    <a:pt x="346" y="435"/>
                    <a:pt x="337" y="437"/>
                    <a:pt x="332" y="435"/>
                  </a:cubicBezTo>
                  <a:cubicBezTo>
                    <a:pt x="327" y="434"/>
                    <a:pt x="325" y="436"/>
                    <a:pt x="323" y="440"/>
                  </a:cubicBezTo>
                  <a:cubicBezTo>
                    <a:pt x="320" y="444"/>
                    <a:pt x="314" y="445"/>
                    <a:pt x="310" y="445"/>
                  </a:cubicBezTo>
                  <a:cubicBezTo>
                    <a:pt x="306" y="446"/>
                    <a:pt x="300" y="453"/>
                    <a:pt x="296" y="456"/>
                  </a:cubicBezTo>
                  <a:cubicBezTo>
                    <a:pt x="292" y="458"/>
                    <a:pt x="291" y="463"/>
                    <a:pt x="297" y="468"/>
                  </a:cubicBezTo>
                  <a:cubicBezTo>
                    <a:pt x="302" y="473"/>
                    <a:pt x="303" y="477"/>
                    <a:pt x="303" y="480"/>
                  </a:cubicBezTo>
                  <a:cubicBezTo>
                    <a:pt x="302" y="482"/>
                    <a:pt x="288" y="482"/>
                    <a:pt x="285" y="479"/>
                  </a:cubicBezTo>
                  <a:cubicBezTo>
                    <a:pt x="283" y="476"/>
                    <a:pt x="274" y="475"/>
                    <a:pt x="270" y="475"/>
                  </a:cubicBezTo>
                  <a:cubicBezTo>
                    <a:pt x="267" y="476"/>
                    <a:pt x="258" y="465"/>
                    <a:pt x="254" y="465"/>
                  </a:cubicBezTo>
                  <a:cubicBezTo>
                    <a:pt x="249" y="465"/>
                    <a:pt x="246" y="471"/>
                    <a:pt x="245" y="473"/>
                  </a:cubicBezTo>
                  <a:cubicBezTo>
                    <a:pt x="243" y="476"/>
                    <a:pt x="247" y="477"/>
                    <a:pt x="249" y="482"/>
                  </a:cubicBezTo>
                  <a:cubicBezTo>
                    <a:pt x="251" y="487"/>
                    <a:pt x="259" y="487"/>
                    <a:pt x="263" y="487"/>
                  </a:cubicBezTo>
                  <a:cubicBezTo>
                    <a:pt x="268" y="487"/>
                    <a:pt x="266" y="493"/>
                    <a:pt x="265" y="496"/>
                  </a:cubicBezTo>
                  <a:cubicBezTo>
                    <a:pt x="263" y="498"/>
                    <a:pt x="256" y="500"/>
                    <a:pt x="254" y="497"/>
                  </a:cubicBezTo>
                  <a:cubicBezTo>
                    <a:pt x="252" y="495"/>
                    <a:pt x="243" y="497"/>
                    <a:pt x="242" y="494"/>
                  </a:cubicBezTo>
                  <a:cubicBezTo>
                    <a:pt x="242" y="490"/>
                    <a:pt x="236" y="485"/>
                    <a:pt x="229" y="486"/>
                  </a:cubicBezTo>
                  <a:cubicBezTo>
                    <a:pt x="222" y="487"/>
                    <a:pt x="221" y="483"/>
                    <a:pt x="221" y="478"/>
                  </a:cubicBezTo>
                  <a:cubicBezTo>
                    <a:pt x="222" y="473"/>
                    <a:pt x="218" y="470"/>
                    <a:pt x="218" y="467"/>
                  </a:cubicBezTo>
                  <a:cubicBezTo>
                    <a:pt x="218" y="465"/>
                    <a:pt x="215" y="460"/>
                    <a:pt x="218" y="458"/>
                  </a:cubicBezTo>
                  <a:cubicBezTo>
                    <a:pt x="222" y="456"/>
                    <a:pt x="219" y="452"/>
                    <a:pt x="220" y="449"/>
                  </a:cubicBezTo>
                  <a:cubicBezTo>
                    <a:pt x="220" y="445"/>
                    <a:pt x="214" y="441"/>
                    <a:pt x="208" y="441"/>
                  </a:cubicBezTo>
                  <a:cubicBezTo>
                    <a:pt x="203" y="441"/>
                    <a:pt x="204" y="435"/>
                    <a:pt x="200" y="434"/>
                  </a:cubicBezTo>
                  <a:cubicBezTo>
                    <a:pt x="195" y="433"/>
                    <a:pt x="186" y="425"/>
                    <a:pt x="185" y="422"/>
                  </a:cubicBezTo>
                  <a:cubicBezTo>
                    <a:pt x="185" y="419"/>
                    <a:pt x="178" y="419"/>
                    <a:pt x="180" y="418"/>
                  </a:cubicBezTo>
                  <a:cubicBezTo>
                    <a:pt x="183" y="416"/>
                    <a:pt x="188" y="418"/>
                    <a:pt x="192" y="422"/>
                  </a:cubicBezTo>
                  <a:cubicBezTo>
                    <a:pt x="196" y="426"/>
                    <a:pt x="202" y="429"/>
                    <a:pt x="212" y="430"/>
                  </a:cubicBezTo>
                  <a:cubicBezTo>
                    <a:pt x="222" y="432"/>
                    <a:pt x="226" y="436"/>
                    <a:pt x="237" y="438"/>
                  </a:cubicBezTo>
                  <a:cubicBezTo>
                    <a:pt x="249" y="440"/>
                    <a:pt x="255" y="442"/>
                    <a:pt x="271" y="444"/>
                  </a:cubicBezTo>
                  <a:cubicBezTo>
                    <a:pt x="288" y="446"/>
                    <a:pt x="309" y="430"/>
                    <a:pt x="314" y="425"/>
                  </a:cubicBezTo>
                  <a:cubicBezTo>
                    <a:pt x="318" y="421"/>
                    <a:pt x="312" y="412"/>
                    <a:pt x="312" y="408"/>
                  </a:cubicBezTo>
                  <a:cubicBezTo>
                    <a:pt x="312" y="405"/>
                    <a:pt x="305" y="404"/>
                    <a:pt x="304" y="402"/>
                  </a:cubicBezTo>
                  <a:cubicBezTo>
                    <a:pt x="303" y="399"/>
                    <a:pt x="298" y="395"/>
                    <a:pt x="292" y="395"/>
                  </a:cubicBezTo>
                  <a:cubicBezTo>
                    <a:pt x="286" y="395"/>
                    <a:pt x="285" y="387"/>
                    <a:pt x="280" y="388"/>
                  </a:cubicBezTo>
                  <a:cubicBezTo>
                    <a:pt x="275" y="388"/>
                    <a:pt x="271" y="386"/>
                    <a:pt x="258" y="377"/>
                  </a:cubicBezTo>
                  <a:cubicBezTo>
                    <a:pt x="246" y="368"/>
                    <a:pt x="228" y="362"/>
                    <a:pt x="224" y="364"/>
                  </a:cubicBezTo>
                  <a:cubicBezTo>
                    <a:pt x="221" y="365"/>
                    <a:pt x="219" y="366"/>
                    <a:pt x="217" y="363"/>
                  </a:cubicBezTo>
                  <a:cubicBezTo>
                    <a:pt x="215" y="360"/>
                    <a:pt x="210" y="360"/>
                    <a:pt x="206" y="363"/>
                  </a:cubicBezTo>
                  <a:cubicBezTo>
                    <a:pt x="203" y="365"/>
                    <a:pt x="200" y="360"/>
                    <a:pt x="193" y="362"/>
                  </a:cubicBezTo>
                  <a:cubicBezTo>
                    <a:pt x="187" y="363"/>
                    <a:pt x="183" y="359"/>
                    <a:pt x="185" y="357"/>
                  </a:cubicBezTo>
                  <a:cubicBezTo>
                    <a:pt x="187" y="355"/>
                    <a:pt x="196" y="357"/>
                    <a:pt x="196" y="354"/>
                  </a:cubicBezTo>
                  <a:cubicBezTo>
                    <a:pt x="195" y="350"/>
                    <a:pt x="192" y="354"/>
                    <a:pt x="186" y="350"/>
                  </a:cubicBezTo>
                  <a:cubicBezTo>
                    <a:pt x="180" y="346"/>
                    <a:pt x="177" y="348"/>
                    <a:pt x="176" y="352"/>
                  </a:cubicBezTo>
                  <a:cubicBezTo>
                    <a:pt x="174" y="355"/>
                    <a:pt x="170" y="354"/>
                    <a:pt x="167" y="351"/>
                  </a:cubicBezTo>
                  <a:cubicBezTo>
                    <a:pt x="166" y="351"/>
                    <a:pt x="166" y="351"/>
                    <a:pt x="166" y="351"/>
                  </a:cubicBezTo>
                  <a:cubicBezTo>
                    <a:pt x="165" y="356"/>
                    <a:pt x="162" y="357"/>
                    <a:pt x="158" y="356"/>
                  </a:cubicBezTo>
                  <a:cubicBezTo>
                    <a:pt x="155" y="355"/>
                    <a:pt x="151" y="361"/>
                    <a:pt x="146" y="361"/>
                  </a:cubicBezTo>
                  <a:cubicBezTo>
                    <a:pt x="142" y="361"/>
                    <a:pt x="137" y="366"/>
                    <a:pt x="137" y="370"/>
                  </a:cubicBezTo>
                  <a:cubicBezTo>
                    <a:pt x="136" y="374"/>
                    <a:pt x="131" y="372"/>
                    <a:pt x="131" y="374"/>
                  </a:cubicBezTo>
                  <a:cubicBezTo>
                    <a:pt x="131" y="377"/>
                    <a:pt x="131" y="379"/>
                    <a:pt x="129" y="382"/>
                  </a:cubicBezTo>
                  <a:cubicBezTo>
                    <a:pt x="127" y="385"/>
                    <a:pt x="129" y="386"/>
                    <a:pt x="131" y="390"/>
                  </a:cubicBezTo>
                  <a:cubicBezTo>
                    <a:pt x="133" y="395"/>
                    <a:pt x="138" y="394"/>
                    <a:pt x="140" y="395"/>
                  </a:cubicBezTo>
                  <a:cubicBezTo>
                    <a:pt x="142" y="397"/>
                    <a:pt x="150" y="404"/>
                    <a:pt x="150" y="406"/>
                  </a:cubicBezTo>
                  <a:cubicBezTo>
                    <a:pt x="150" y="409"/>
                    <a:pt x="144" y="415"/>
                    <a:pt x="141" y="417"/>
                  </a:cubicBezTo>
                  <a:cubicBezTo>
                    <a:pt x="139" y="419"/>
                    <a:pt x="135" y="423"/>
                    <a:pt x="137" y="425"/>
                  </a:cubicBezTo>
                  <a:cubicBezTo>
                    <a:pt x="139" y="428"/>
                    <a:pt x="146" y="439"/>
                    <a:pt x="151" y="447"/>
                  </a:cubicBezTo>
                  <a:cubicBezTo>
                    <a:pt x="155" y="456"/>
                    <a:pt x="149" y="452"/>
                    <a:pt x="146" y="456"/>
                  </a:cubicBezTo>
                  <a:cubicBezTo>
                    <a:pt x="143" y="460"/>
                    <a:pt x="147" y="465"/>
                    <a:pt x="148" y="467"/>
                  </a:cubicBezTo>
                  <a:cubicBezTo>
                    <a:pt x="149" y="470"/>
                    <a:pt x="144" y="469"/>
                    <a:pt x="145" y="472"/>
                  </a:cubicBezTo>
                  <a:cubicBezTo>
                    <a:pt x="145" y="474"/>
                    <a:pt x="152" y="475"/>
                    <a:pt x="152" y="476"/>
                  </a:cubicBezTo>
                  <a:cubicBezTo>
                    <a:pt x="152" y="478"/>
                    <a:pt x="148" y="480"/>
                    <a:pt x="150" y="484"/>
                  </a:cubicBezTo>
                  <a:cubicBezTo>
                    <a:pt x="152" y="487"/>
                    <a:pt x="157" y="487"/>
                    <a:pt x="158" y="491"/>
                  </a:cubicBezTo>
                  <a:cubicBezTo>
                    <a:pt x="158" y="496"/>
                    <a:pt x="148" y="496"/>
                    <a:pt x="149" y="499"/>
                  </a:cubicBezTo>
                  <a:cubicBezTo>
                    <a:pt x="149" y="503"/>
                    <a:pt x="161" y="507"/>
                    <a:pt x="167" y="514"/>
                  </a:cubicBezTo>
                  <a:cubicBezTo>
                    <a:pt x="173" y="520"/>
                    <a:pt x="172" y="522"/>
                    <a:pt x="171" y="525"/>
                  </a:cubicBezTo>
                  <a:cubicBezTo>
                    <a:pt x="168" y="532"/>
                    <a:pt x="153" y="538"/>
                    <a:pt x="149" y="546"/>
                  </a:cubicBezTo>
                  <a:cubicBezTo>
                    <a:pt x="146" y="554"/>
                    <a:pt x="133" y="558"/>
                    <a:pt x="127" y="564"/>
                  </a:cubicBezTo>
                  <a:cubicBezTo>
                    <a:pt x="125" y="566"/>
                    <a:pt x="122" y="570"/>
                    <a:pt x="120" y="573"/>
                  </a:cubicBezTo>
                  <a:cubicBezTo>
                    <a:pt x="123" y="572"/>
                    <a:pt x="125" y="571"/>
                    <a:pt x="126" y="571"/>
                  </a:cubicBezTo>
                  <a:cubicBezTo>
                    <a:pt x="130" y="569"/>
                    <a:pt x="132" y="577"/>
                    <a:pt x="135" y="580"/>
                  </a:cubicBezTo>
                  <a:cubicBezTo>
                    <a:pt x="139" y="583"/>
                    <a:pt x="146" y="580"/>
                    <a:pt x="148" y="583"/>
                  </a:cubicBezTo>
                  <a:cubicBezTo>
                    <a:pt x="151" y="585"/>
                    <a:pt x="146" y="586"/>
                    <a:pt x="141" y="585"/>
                  </a:cubicBezTo>
                  <a:cubicBezTo>
                    <a:pt x="136" y="584"/>
                    <a:pt x="135" y="587"/>
                    <a:pt x="127" y="590"/>
                  </a:cubicBezTo>
                  <a:cubicBezTo>
                    <a:pt x="122" y="592"/>
                    <a:pt x="122" y="594"/>
                    <a:pt x="120" y="595"/>
                  </a:cubicBezTo>
                  <a:cubicBezTo>
                    <a:pt x="124" y="600"/>
                    <a:pt x="119" y="601"/>
                    <a:pt x="117" y="605"/>
                  </a:cubicBezTo>
                  <a:cubicBezTo>
                    <a:pt x="115" y="609"/>
                    <a:pt x="113" y="610"/>
                    <a:pt x="112" y="612"/>
                  </a:cubicBezTo>
                  <a:cubicBezTo>
                    <a:pt x="112" y="615"/>
                    <a:pt x="113" y="617"/>
                    <a:pt x="113" y="621"/>
                  </a:cubicBezTo>
                  <a:cubicBezTo>
                    <a:pt x="114" y="624"/>
                    <a:pt x="114" y="625"/>
                    <a:pt x="117" y="628"/>
                  </a:cubicBezTo>
                  <a:cubicBezTo>
                    <a:pt x="119" y="632"/>
                    <a:pt x="115" y="632"/>
                    <a:pt x="113" y="633"/>
                  </a:cubicBezTo>
                  <a:cubicBezTo>
                    <a:pt x="111" y="635"/>
                    <a:pt x="112" y="638"/>
                    <a:pt x="115" y="641"/>
                  </a:cubicBezTo>
                  <a:cubicBezTo>
                    <a:pt x="117" y="643"/>
                    <a:pt x="117" y="647"/>
                    <a:pt x="116" y="649"/>
                  </a:cubicBezTo>
                  <a:cubicBezTo>
                    <a:pt x="115" y="651"/>
                    <a:pt x="118" y="655"/>
                    <a:pt x="121" y="657"/>
                  </a:cubicBezTo>
                  <a:cubicBezTo>
                    <a:pt x="123" y="660"/>
                    <a:pt x="123" y="666"/>
                    <a:pt x="125" y="667"/>
                  </a:cubicBezTo>
                  <a:cubicBezTo>
                    <a:pt x="127" y="669"/>
                    <a:pt x="129" y="671"/>
                    <a:pt x="132" y="670"/>
                  </a:cubicBezTo>
                  <a:cubicBezTo>
                    <a:pt x="136" y="669"/>
                    <a:pt x="138" y="670"/>
                    <a:pt x="140" y="673"/>
                  </a:cubicBezTo>
                  <a:cubicBezTo>
                    <a:pt x="141" y="676"/>
                    <a:pt x="144" y="675"/>
                    <a:pt x="148" y="673"/>
                  </a:cubicBezTo>
                  <a:cubicBezTo>
                    <a:pt x="151" y="672"/>
                    <a:pt x="159" y="676"/>
                    <a:pt x="161" y="677"/>
                  </a:cubicBezTo>
                  <a:cubicBezTo>
                    <a:pt x="163" y="678"/>
                    <a:pt x="162" y="683"/>
                    <a:pt x="162" y="687"/>
                  </a:cubicBezTo>
                  <a:cubicBezTo>
                    <a:pt x="163" y="691"/>
                    <a:pt x="160" y="695"/>
                    <a:pt x="164" y="697"/>
                  </a:cubicBezTo>
                  <a:cubicBezTo>
                    <a:pt x="167" y="700"/>
                    <a:pt x="167" y="705"/>
                    <a:pt x="171" y="706"/>
                  </a:cubicBezTo>
                  <a:cubicBezTo>
                    <a:pt x="175" y="708"/>
                    <a:pt x="177" y="714"/>
                    <a:pt x="179" y="714"/>
                  </a:cubicBezTo>
                  <a:cubicBezTo>
                    <a:pt x="182" y="715"/>
                    <a:pt x="187" y="719"/>
                    <a:pt x="187" y="722"/>
                  </a:cubicBezTo>
                  <a:cubicBezTo>
                    <a:pt x="188" y="725"/>
                    <a:pt x="183" y="727"/>
                    <a:pt x="180" y="729"/>
                  </a:cubicBezTo>
                  <a:cubicBezTo>
                    <a:pt x="177" y="730"/>
                    <a:pt x="171" y="725"/>
                    <a:pt x="169" y="727"/>
                  </a:cubicBezTo>
                  <a:cubicBezTo>
                    <a:pt x="167" y="729"/>
                    <a:pt x="170" y="733"/>
                    <a:pt x="172" y="741"/>
                  </a:cubicBezTo>
                  <a:cubicBezTo>
                    <a:pt x="173" y="748"/>
                    <a:pt x="175" y="748"/>
                    <a:pt x="178" y="748"/>
                  </a:cubicBezTo>
                  <a:cubicBezTo>
                    <a:pt x="181" y="748"/>
                    <a:pt x="182" y="746"/>
                    <a:pt x="185" y="745"/>
                  </a:cubicBezTo>
                  <a:cubicBezTo>
                    <a:pt x="187" y="743"/>
                    <a:pt x="192" y="745"/>
                    <a:pt x="194" y="744"/>
                  </a:cubicBezTo>
                  <a:cubicBezTo>
                    <a:pt x="197" y="743"/>
                    <a:pt x="205" y="743"/>
                    <a:pt x="206" y="746"/>
                  </a:cubicBezTo>
                  <a:cubicBezTo>
                    <a:pt x="208" y="748"/>
                    <a:pt x="209" y="754"/>
                    <a:pt x="208" y="757"/>
                  </a:cubicBezTo>
                  <a:cubicBezTo>
                    <a:pt x="207" y="759"/>
                    <a:pt x="210" y="762"/>
                    <a:pt x="211" y="765"/>
                  </a:cubicBezTo>
                  <a:cubicBezTo>
                    <a:pt x="213" y="768"/>
                    <a:pt x="220" y="766"/>
                    <a:pt x="222" y="767"/>
                  </a:cubicBezTo>
                  <a:cubicBezTo>
                    <a:pt x="224" y="768"/>
                    <a:pt x="229" y="775"/>
                    <a:pt x="228" y="779"/>
                  </a:cubicBezTo>
                  <a:cubicBezTo>
                    <a:pt x="227" y="782"/>
                    <a:pt x="232" y="782"/>
                    <a:pt x="234" y="782"/>
                  </a:cubicBezTo>
                  <a:cubicBezTo>
                    <a:pt x="236" y="781"/>
                    <a:pt x="238" y="783"/>
                    <a:pt x="241" y="785"/>
                  </a:cubicBezTo>
                  <a:cubicBezTo>
                    <a:pt x="244" y="786"/>
                    <a:pt x="246" y="786"/>
                    <a:pt x="248" y="784"/>
                  </a:cubicBezTo>
                  <a:cubicBezTo>
                    <a:pt x="251" y="782"/>
                    <a:pt x="255" y="781"/>
                    <a:pt x="257" y="783"/>
                  </a:cubicBezTo>
                  <a:cubicBezTo>
                    <a:pt x="258" y="786"/>
                    <a:pt x="263" y="790"/>
                    <a:pt x="263" y="791"/>
                  </a:cubicBezTo>
                  <a:cubicBezTo>
                    <a:pt x="263" y="792"/>
                    <a:pt x="271" y="791"/>
                    <a:pt x="275" y="793"/>
                  </a:cubicBezTo>
                  <a:cubicBezTo>
                    <a:pt x="279" y="795"/>
                    <a:pt x="283" y="794"/>
                    <a:pt x="287" y="796"/>
                  </a:cubicBezTo>
                  <a:cubicBezTo>
                    <a:pt x="291" y="799"/>
                    <a:pt x="295" y="799"/>
                    <a:pt x="296" y="802"/>
                  </a:cubicBezTo>
                  <a:cubicBezTo>
                    <a:pt x="296" y="804"/>
                    <a:pt x="291" y="806"/>
                    <a:pt x="291" y="808"/>
                  </a:cubicBezTo>
                  <a:cubicBezTo>
                    <a:pt x="291" y="809"/>
                    <a:pt x="295" y="810"/>
                    <a:pt x="295" y="812"/>
                  </a:cubicBezTo>
                  <a:cubicBezTo>
                    <a:pt x="295" y="814"/>
                    <a:pt x="290" y="814"/>
                    <a:pt x="290" y="815"/>
                  </a:cubicBezTo>
                  <a:cubicBezTo>
                    <a:pt x="289" y="817"/>
                    <a:pt x="292" y="819"/>
                    <a:pt x="293" y="821"/>
                  </a:cubicBezTo>
                  <a:cubicBezTo>
                    <a:pt x="294" y="822"/>
                    <a:pt x="290" y="828"/>
                    <a:pt x="290" y="830"/>
                  </a:cubicBezTo>
                  <a:cubicBezTo>
                    <a:pt x="290" y="831"/>
                    <a:pt x="281" y="829"/>
                    <a:pt x="278" y="829"/>
                  </a:cubicBezTo>
                  <a:cubicBezTo>
                    <a:pt x="276" y="829"/>
                    <a:pt x="269" y="837"/>
                    <a:pt x="267" y="837"/>
                  </a:cubicBezTo>
                  <a:cubicBezTo>
                    <a:pt x="265" y="837"/>
                    <a:pt x="266" y="841"/>
                    <a:pt x="267" y="844"/>
                  </a:cubicBezTo>
                  <a:cubicBezTo>
                    <a:pt x="274" y="843"/>
                    <a:pt x="281" y="842"/>
                    <a:pt x="282" y="844"/>
                  </a:cubicBezTo>
                  <a:cubicBezTo>
                    <a:pt x="283" y="846"/>
                    <a:pt x="267" y="853"/>
                    <a:pt x="264" y="854"/>
                  </a:cubicBezTo>
                  <a:cubicBezTo>
                    <a:pt x="261" y="855"/>
                    <a:pt x="269" y="860"/>
                    <a:pt x="269" y="862"/>
                  </a:cubicBezTo>
                  <a:cubicBezTo>
                    <a:pt x="269" y="865"/>
                    <a:pt x="260" y="866"/>
                    <a:pt x="261" y="871"/>
                  </a:cubicBezTo>
                  <a:cubicBezTo>
                    <a:pt x="261" y="876"/>
                    <a:pt x="258" y="877"/>
                    <a:pt x="253" y="877"/>
                  </a:cubicBezTo>
                  <a:cubicBezTo>
                    <a:pt x="248" y="877"/>
                    <a:pt x="246" y="880"/>
                    <a:pt x="249" y="880"/>
                  </a:cubicBezTo>
                  <a:cubicBezTo>
                    <a:pt x="251" y="881"/>
                    <a:pt x="251" y="887"/>
                    <a:pt x="260" y="890"/>
                  </a:cubicBezTo>
                  <a:cubicBezTo>
                    <a:pt x="269" y="892"/>
                    <a:pt x="279" y="901"/>
                    <a:pt x="287" y="909"/>
                  </a:cubicBezTo>
                  <a:cubicBezTo>
                    <a:pt x="288" y="910"/>
                    <a:pt x="290" y="911"/>
                    <a:pt x="291" y="912"/>
                  </a:cubicBezTo>
                  <a:cubicBezTo>
                    <a:pt x="293" y="911"/>
                    <a:pt x="295" y="910"/>
                    <a:pt x="297" y="910"/>
                  </a:cubicBezTo>
                  <a:cubicBezTo>
                    <a:pt x="301" y="909"/>
                    <a:pt x="309" y="912"/>
                    <a:pt x="314" y="915"/>
                  </a:cubicBezTo>
                  <a:cubicBezTo>
                    <a:pt x="318" y="918"/>
                    <a:pt x="335" y="914"/>
                    <a:pt x="337" y="917"/>
                  </a:cubicBezTo>
                  <a:cubicBezTo>
                    <a:pt x="338" y="919"/>
                    <a:pt x="342" y="922"/>
                    <a:pt x="346" y="922"/>
                  </a:cubicBezTo>
                  <a:cubicBezTo>
                    <a:pt x="349" y="922"/>
                    <a:pt x="352" y="929"/>
                    <a:pt x="355" y="927"/>
                  </a:cubicBezTo>
                  <a:cubicBezTo>
                    <a:pt x="357" y="925"/>
                    <a:pt x="367" y="925"/>
                    <a:pt x="369" y="925"/>
                  </a:cubicBezTo>
                  <a:cubicBezTo>
                    <a:pt x="372" y="925"/>
                    <a:pt x="372" y="927"/>
                    <a:pt x="375" y="927"/>
                  </a:cubicBezTo>
                  <a:cubicBezTo>
                    <a:pt x="377" y="927"/>
                    <a:pt x="377" y="937"/>
                    <a:pt x="379" y="936"/>
                  </a:cubicBezTo>
                  <a:cubicBezTo>
                    <a:pt x="381" y="935"/>
                    <a:pt x="388" y="942"/>
                    <a:pt x="393" y="942"/>
                  </a:cubicBezTo>
                  <a:cubicBezTo>
                    <a:pt x="397" y="943"/>
                    <a:pt x="402" y="951"/>
                    <a:pt x="404" y="950"/>
                  </a:cubicBezTo>
                  <a:cubicBezTo>
                    <a:pt x="406" y="950"/>
                    <a:pt x="409" y="953"/>
                    <a:pt x="410" y="950"/>
                  </a:cubicBezTo>
                  <a:cubicBezTo>
                    <a:pt x="411" y="947"/>
                    <a:pt x="418" y="949"/>
                    <a:pt x="419" y="943"/>
                  </a:cubicBezTo>
                  <a:cubicBezTo>
                    <a:pt x="411" y="933"/>
                    <a:pt x="403" y="922"/>
                    <a:pt x="403" y="918"/>
                  </a:cubicBezTo>
                  <a:cubicBezTo>
                    <a:pt x="403" y="911"/>
                    <a:pt x="406" y="906"/>
                    <a:pt x="397" y="898"/>
                  </a:cubicBezTo>
                  <a:cubicBezTo>
                    <a:pt x="388" y="890"/>
                    <a:pt x="398" y="885"/>
                    <a:pt x="405" y="877"/>
                  </a:cubicBezTo>
                  <a:cubicBezTo>
                    <a:pt x="410" y="870"/>
                    <a:pt x="423" y="867"/>
                    <a:pt x="430" y="861"/>
                  </a:cubicBezTo>
                  <a:cubicBezTo>
                    <a:pt x="429" y="860"/>
                    <a:pt x="427" y="859"/>
                    <a:pt x="426" y="859"/>
                  </a:cubicBezTo>
                  <a:cubicBezTo>
                    <a:pt x="420" y="856"/>
                    <a:pt x="418" y="853"/>
                    <a:pt x="422" y="852"/>
                  </a:cubicBezTo>
                  <a:cubicBezTo>
                    <a:pt x="427" y="851"/>
                    <a:pt x="425" y="848"/>
                    <a:pt x="420" y="843"/>
                  </a:cubicBezTo>
                  <a:cubicBezTo>
                    <a:pt x="416" y="838"/>
                    <a:pt x="414" y="833"/>
                    <a:pt x="411" y="833"/>
                  </a:cubicBezTo>
                  <a:cubicBezTo>
                    <a:pt x="409" y="833"/>
                    <a:pt x="405" y="832"/>
                    <a:pt x="401" y="833"/>
                  </a:cubicBezTo>
                  <a:cubicBezTo>
                    <a:pt x="397" y="835"/>
                    <a:pt x="398" y="830"/>
                    <a:pt x="398" y="826"/>
                  </a:cubicBezTo>
                  <a:cubicBezTo>
                    <a:pt x="399" y="821"/>
                    <a:pt x="391" y="822"/>
                    <a:pt x="390" y="820"/>
                  </a:cubicBezTo>
                  <a:cubicBezTo>
                    <a:pt x="389" y="818"/>
                    <a:pt x="392" y="812"/>
                    <a:pt x="393" y="811"/>
                  </a:cubicBezTo>
                  <a:cubicBezTo>
                    <a:pt x="395" y="810"/>
                    <a:pt x="398" y="808"/>
                    <a:pt x="398" y="806"/>
                  </a:cubicBezTo>
                  <a:cubicBezTo>
                    <a:pt x="398" y="804"/>
                    <a:pt x="391" y="804"/>
                    <a:pt x="394" y="799"/>
                  </a:cubicBezTo>
                  <a:cubicBezTo>
                    <a:pt x="397" y="795"/>
                    <a:pt x="402" y="795"/>
                    <a:pt x="402" y="790"/>
                  </a:cubicBezTo>
                  <a:cubicBezTo>
                    <a:pt x="402" y="786"/>
                    <a:pt x="406" y="782"/>
                    <a:pt x="410" y="785"/>
                  </a:cubicBezTo>
                  <a:cubicBezTo>
                    <a:pt x="415" y="788"/>
                    <a:pt x="417" y="797"/>
                    <a:pt x="422" y="795"/>
                  </a:cubicBezTo>
                  <a:cubicBezTo>
                    <a:pt x="427" y="793"/>
                    <a:pt x="424" y="788"/>
                    <a:pt x="423" y="786"/>
                  </a:cubicBezTo>
                  <a:cubicBezTo>
                    <a:pt x="422" y="783"/>
                    <a:pt x="421" y="779"/>
                    <a:pt x="427" y="778"/>
                  </a:cubicBezTo>
                  <a:cubicBezTo>
                    <a:pt x="433" y="777"/>
                    <a:pt x="430" y="771"/>
                    <a:pt x="435" y="771"/>
                  </a:cubicBezTo>
                  <a:cubicBezTo>
                    <a:pt x="439" y="771"/>
                    <a:pt x="448" y="765"/>
                    <a:pt x="450" y="764"/>
                  </a:cubicBezTo>
                  <a:cubicBezTo>
                    <a:pt x="453" y="762"/>
                    <a:pt x="458" y="759"/>
                    <a:pt x="461" y="761"/>
                  </a:cubicBezTo>
                  <a:cubicBezTo>
                    <a:pt x="464" y="762"/>
                    <a:pt x="467" y="765"/>
                    <a:pt x="469" y="761"/>
                  </a:cubicBezTo>
                  <a:cubicBezTo>
                    <a:pt x="471" y="756"/>
                    <a:pt x="478" y="758"/>
                    <a:pt x="479" y="761"/>
                  </a:cubicBezTo>
                  <a:cubicBezTo>
                    <a:pt x="480" y="763"/>
                    <a:pt x="492" y="763"/>
                    <a:pt x="496" y="766"/>
                  </a:cubicBezTo>
                  <a:cubicBezTo>
                    <a:pt x="500" y="768"/>
                    <a:pt x="508" y="773"/>
                    <a:pt x="508" y="776"/>
                  </a:cubicBezTo>
                  <a:cubicBezTo>
                    <a:pt x="508" y="779"/>
                    <a:pt x="512" y="782"/>
                    <a:pt x="512" y="778"/>
                  </a:cubicBezTo>
                  <a:cubicBezTo>
                    <a:pt x="512" y="773"/>
                    <a:pt x="515" y="775"/>
                    <a:pt x="520" y="778"/>
                  </a:cubicBezTo>
                  <a:cubicBezTo>
                    <a:pt x="526" y="781"/>
                    <a:pt x="533" y="780"/>
                    <a:pt x="534" y="777"/>
                  </a:cubicBezTo>
                  <a:cubicBezTo>
                    <a:pt x="535" y="773"/>
                    <a:pt x="545" y="770"/>
                    <a:pt x="548" y="772"/>
                  </a:cubicBezTo>
                  <a:cubicBezTo>
                    <a:pt x="551" y="775"/>
                    <a:pt x="553" y="777"/>
                    <a:pt x="557" y="773"/>
                  </a:cubicBezTo>
                  <a:cubicBezTo>
                    <a:pt x="560" y="769"/>
                    <a:pt x="569" y="770"/>
                    <a:pt x="571" y="773"/>
                  </a:cubicBezTo>
                  <a:cubicBezTo>
                    <a:pt x="572" y="777"/>
                    <a:pt x="577" y="778"/>
                    <a:pt x="580" y="778"/>
                  </a:cubicBezTo>
                  <a:cubicBezTo>
                    <a:pt x="584" y="778"/>
                    <a:pt x="585" y="784"/>
                    <a:pt x="588" y="782"/>
                  </a:cubicBezTo>
                  <a:cubicBezTo>
                    <a:pt x="590" y="781"/>
                    <a:pt x="589" y="775"/>
                    <a:pt x="593" y="775"/>
                  </a:cubicBezTo>
                  <a:cubicBezTo>
                    <a:pt x="596" y="776"/>
                    <a:pt x="598" y="780"/>
                    <a:pt x="604" y="780"/>
                  </a:cubicBezTo>
                  <a:cubicBezTo>
                    <a:pt x="609" y="780"/>
                    <a:pt x="613" y="779"/>
                    <a:pt x="613" y="775"/>
                  </a:cubicBezTo>
                  <a:cubicBezTo>
                    <a:pt x="613" y="771"/>
                    <a:pt x="612" y="764"/>
                    <a:pt x="609" y="764"/>
                  </a:cubicBezTo>
                  <a:cubicBezTo>
                    <a:pt x="606" y="764"/>
                    <a:pt x="602" y="761"/>
                    <a:pt x="598" y="761"/>
                  </a:cubicBezTo>
                  <a:cubicBezTo>
                    <a:pt x="595" y="761"/>
                    <a:pt x="591" y="755"/>
                    <a:pt x="595" y="753"/>
                  </a:cubicBezTo>
                  <a:cubicBezTo>
                    <a:pt x="598" y="752"/>
                    <a:pt x="605" y="749"/>
                    <a:pt x="604" y="746"/>
                  </a:cubicBezTo>
                  <a:cubicBezTo>
                    <a:pt x="602" y="742"/>
                    <a:pt x="601" y="736"/>
                    <a:pt x="606" y="735"/>
                  </a:cubicBezTo>
                  <a:cubicBezTo>
                    <a:pt x="611" y="735"/>
                    <a:pt x="622" y="735"/>
                    <a:pt x="622" y="733"/>
                  </a:cubicBezTo>
                  <a:cubicBezTo>
                    <a:pt x="621" y="731"/>
                    <a:pt x="611" y="730"/>
                    <a:pt x="609" y="726"/>
                  </a:cubicBezTo>
                  <a:cubicBezTo>
                    <a:pt x="607" y="723"/>
                    <a:pt x="606" y="715"/>
                    <a:pt x="608" y="714"/>
                  </a:cubicBezTo>
                  <a:cubicBezTo>
                    <a:pt x="610" y="713"/>
                    <a:pt x="617" y="715"/>
                    <a:pt x="620" y="713"/>
                  </a:cubicBezTo>
                  <a:cubicBezTo>
                    <a:pt x="624" y="712"/>
                    <a:pt x="633" y="715"/>
                    <a:pt x="638" y="712"/>
                  </a:cubicBezTo>
                  <a:cubicBezTo>
                    <a:pt x="643" y="708"/>
                    <a:pt x="654" y="707"/>
                    <a:pt x="660" y="707"/>
                  </a:cubicBezTo>
                  <a:cubicBezTo>
                    <a:pt x="666" y="707"/>
                    <a:pt x="670" y="703"/>
                    <a:pt x="675" y="702"/>
                  </a:cubicBezTo>
                  <a:cubicBezTo>
                    <a:pt x="679" y="702"/>
                    <a:pt x="692" y="700"/>
                    <a:pt x="695" y="699"/>
                  </a:cubicBezTo>
                  <a:cubicBezTo>
                    <a:pt x="698" y="697"/>
                    <a:pt x="716" y="695"/>
                    <a:pt x="717" y="692"/>
                  </a:cubicBezTo>
                  <a:cubicBezTo>
                    <a:pt x="717" y="688"/>
                    <a:pt x="731" y="686"/>
                    <a:pt x="735" y="687"/>
                  </a:cubicBezTo>
                  <a:cubicBezTo>
                    <a:pt x="738" y="689"/>
                    <a:pt x="743" y="690"/>
                    <a:pt x="746" y="689"/>
                  </a:cubicBezTo>
                  <a:cubicBezTo>
                    <a:pt x="749" y="688"/>
                    <a:pt x="756" y="691"/>
                    <a:pt x="755" y="695"/>
                  </a:cubicBezTo>
                  <a:cubicBezTo>
                    <a:pt x="755" y="698"/>
                    <a:pt x="758" y="702"/>
                    <a:pt x="758" y="705"/>
                  </a:cubicBezTo>
                  <a:cubicBezTo>
                    <a:pt x="758" y="708"/>
                    <a:pt x="754" y="709"/>
                    <a:pt x="756" y="711"/>
                  </a:cubicBezTo>
                  <a:cubicBezTo>
                    <a:pt x="758" y="713"/>
                    <a:pt x="767" y="712"/>
                    <a:pt x="769" y="709"/>
                  </a:cubicBezTo>
                  <a:cubicBezTo>
                    <a:pt x="772" y="706"/>
                    <a:pt x="775" y="710"/>
                    <a:pt x="775" y="712"/>
                  </a:cubicBezTo>
                  <a:cubicBezTo>
                    <a:pt x="775" y="715"/>
                    <a:pt x="779" y="716"/>
                    <a:pt x="779" y="713"/>
                  </a:cubicBezTo>
                  <a:cubicBezTo>
                    <a:pt x="779" y="711"/>
                    <a:pt x="784" y="712"/>
                    <a:pt x="786" y="714"/>
                  </a:cubicBezTo>
                  <a:cubicBezTo>
                    <a:pt x="788" y="716"/>
                    <a:pt x="794" y="712"/>
                    <a:pt x="794" y="715"/>
                  </a:cubicBezTo>
                  <a:cubicBezTo>
                    <a:pt x="794" y="719"/>
                    <a:pt x="785" y="721"/>
                    <a:pt x="788" y="725"/>
                  </a:cubicBezTo>
                  <a:cubicBezTo>
                    <a:pt x="792" y="728"/>
                    <a:pt x="795" y="721"/>
                    <a:pt x="799" y="722"/>
                  </a:cubicBezTo>
                  <a:cubicBezTo>
                    <a:pt x="804" y="724"/>
                    <a:pt x="811" y="717"/>
                    <a:pt x="815" y="716"/>
                  </a:cubicBezTo>
                  <a:cubicBezTo>
                    <a:pt x="820" y="715"/>
                    <a:pt x="825" y="711"/>
                    <a:pt x="828" y="708"/>
                  </a:cubicBezTo>
                  <a:cubicBezTo>
                    <a:pt x="832" y="706"/>
                    <a:pt x="841" y="707"/>
                    <a:pt x="838" y="709"/>
                  </a:cubicBezTo>
                  <a:cubicBezTo>
                    <a:pt x="836" y="712"/>
                    <a:pt x="833" y="717"/>
                    <a:pt x="842" y="720"/>
                  </a:cubicBezTo>
                  <a:cubicBezTo>
                    <a:pt x="852" y="724"/>
                    <a:pt x="863" y="742"/>
                    <a:pt x="869" y="752"/>
                  </a:cubicBezTo>
                  <a:cubicBezTo>
                    <a:pt x="875" y="761"/>
                    <a:pt x="881" y="778"/>
                    <a:pt x="884" y="778"/>
                  </a:cubicBezTo>
                  <a:cubicBezTo>
                    <a:pt x="888" y="778"/>
                    <a:pt x="888" y="770"/>
                    <a:pt x="893" y="769"/>
                  </a:cubicBezTo>
                  <a:cubicBezTo>
                    <a:pt x="897" y="768"/>
                    <a:pt x="899" y="776"/>
                    <a:pt x="904" y="777"/>
                  </a:cubicBezTo>
                  <a:cubicBezTo>
                    <a:pt x="909" y="778"/>
                    <a:pt x="915" y="780"/>
                    <a:pt x="918" y="779"/>
                  </a:cubicBezTo>
                  <a:cubicBezTo>
                    <a:pt x="922" y="778"/>
                    <a:pt x="930" y="773"/>
                    <a:pt x="933" y="775"/>
                  </a:cubicBezTo>
                  <a:cubicBezTo>
                    <a:pt x="936" y="776"/>
                    <a:pt x="939" y="776"/>
                    <a:pt x="942" y="782"/>
                  </a:cubicBezTo>
                  <a:cubicBezTo>
                    <a:pt x="945" y="789"/>
                    <a:pt x="949" y="790"/>
                    <a:pt x="951" y="790"/>
                  </a:cubicBezTo>
                  <a:cubicBezTo>
                    <a:pt x="954" y="790"/>
                    <a:pt x="954" y="793"/>
                    <a:pt x="954" y="795"/>
                  </a:cubicBezTo>
                  <a:cubicBezTo>
                    <a:pt x="954" y="798"/>
                    <a:pt x="959" y="801"/>
                    <a:pt x="962" y="801"/>
                  </a:cubicBezTo>
                  <a:cubicBezTo>
                    <a:pt x="964" y="801"/>
                    <a:pt x="971" y="801"/>
                    <a:pt x="973" y="799"/>
                  </a:cubicBezTo>
                  <a:cubicBezTo>
                    <a:pt x="975" y="798"/>
                    <a:pt x="978" y="797"/>
                    <a:pt x="978" y="800"/>
                  </a:cubicBezTo>
                  <a:cubicBezTo>
                    <a:pt x="979" y="803"/>
                    <a:pt x="983" y="807"/>
                    <a:pt x="985" y="807"/>
                  </a:cubicBezTo>
                  <a:cubicBezTo>
                    <a:pt x="988" y="807"/>
                    <a:pt x="993" y="810"/>
                    <a:pt x="993" y="807"/>
                  </a:cubicBezTo>
                  <a:cubicBezTo>
                    <a:pt x="994" y="805"/>
                    <a:pt x="1001" y="804"/>
                    <a:pt x="1003" y="804"/>
                  </a:cubicBezTo>
                  <a:cubicBezTo>
                    <a:pt x="1006" y="803"/>
                    <a:pt x="1015" y="801"/>
                    <a:pt x="1017" y="798"/>
                  </a:cubicBezTo>
                  <a:cubicBezTo>
                    <a:pt x="1018" y="794"/>
                    <a:pt x="1026" y="794"/>
                    <a:pt x="1028" y="791"/>
                  </a:cubicBezTo>
                  <a:cubicBezTo>
                    <a:pt x="1030" y="789"/>
                    <a:pt x="1036" y="787"/>
                    <a:pt x="1037" y="785"/>
                  </a:cubicBezTo>
                  <a:cubicBezTo>
                    <a:pt x="1039" y="782"/>
                    <a:pt x="1046" y="783"/>
                    <a:pt x="1047" y="780"/>
                  </a:cubicBezTo>
                  <a:cubicBezTo>
                    <a:pt x="1048" y="778"/>
                    <a:pt x="1054" y="778"/>
                    <a:pt x="1057" y="779"/>
                  </a:cubicBezTo>
                  <a:cubicBezTo>
                    <a:pt x="1060" y="779"/>
                    <a:pt x="1076" y="782"/>
                    <a:pt x="1078" y="782"/>
                  </a:cubicBezTo>
                  <a:cubicBezTo>
                    <a:pt x="1080" y="782"/>
                    <a:pt x="1080" y="790"/>
                    <a:pt x="1082" y="790"/>
                  </a:cubicBezTo>
                  <a:cubicBezTo>
                    <a:pt x="1085" y="791"/>
                    <a:pt x="1092" y="797"/>
                    <a:pt x="1094" y="795"/>
                  </a:cubicBezTo>
                  <a:cubicBezTo>
                    <a:pt x="1097" y="793"/>
                    <a:pt x="1102" y="792"/>
                    <a:pt x="1106" y="794"/>
                  </a:cubicBezTo>
                  <a:cubicBezTo>
                    <a:pt x="1110" y="797"/>
                    <a:pt x="1115" y="800"/>
                    <a:pt x="1116" y="797"/>
                  </a:cubicBezTo>
                  <a:cubicBezTo>
                    <a:pt x="1118" y="794"/>
                    <a:pt x="1127" y="793"/>
                    <a:pt x="1128" y="791"/>
                  </a:cubicBezTo>
                  <a:cubicBezTo>
                    <a:pt x="1130" y="789"/>
                    <a:pt x="1131" y="784"/>
                    <a:pt x="1129" y="782"/>
                  </a:cubicBezTo>
                  <a:cubicBezTo>
                    <a:pt x="1127" y="781"/>
                    <a:pt x="1125" y="774"/>
                    <a:pt x="1124" y="770"/>
                  </a:cubicBezTo>
                  <a:cubicBezTo>
                    <a:pt x="1123" y="767"/>
                    <a:pt x="1129" y="766"/>
                    <a:pt x="1130" y="763"/>
                  </a:cubicBezTo>
                  <a:cubicBezTo>
                    <a:pt x="1131" y="760"/>
                    <a:pt x="1136" y="760"/>
                    <a:pt x="1137" y="758"/>
                  </a:cubicBezTo>
                  <a:cubicBezTo>
                    <a:pt x="1139" y="756"/>
                    <a:pt x="1140" y="752"/>
                    <a:pt x="1143" y="753"/>
                  </a:cubicBezTo>
                  <a:cubicBezTo>
                    <a:pt x="1146" y="754"/>
                    <a:pt x="1152" y="756"/>
                    <a:pt x="1153" y="758"/>
                  </a:cubicBezTo>
                  <a:cubicBezTo>
                    <a:pt x="1155" y="759"/>
                    <a:pt x="1159" y="760"/>
                    <a:pt x="1162" y="760"/>
                  </a:cubicBezTo>
                  <a:cubicBezTo>
                    <a:pt x="1165" y="760"/>
                    <a:pt x="1170" y="762"/>
                    <a:pt x="1173" y="764"/>
                  </a:cubicBezTo>
                  <a:cubicBezTo>
                    <a:pt x="1176" y="766"/>
                    <a:pt x="1186" y="766"/>
                    <a:pt x="1187" y="768"/>
                  </a:cubicBezTo>
                  <a:cubicBezTo>
                    <a:pt x="1189" y="771"/>
                    <a:pt x="1187" y="778"/>
                    <a:pt x="1189" y="781"/>
                  </a:cubicBezTo>
                  <a:cubicBezTo>
                    <a:pt x="1191" y="783"/>
                    <a:pt x="1196" y="789"/>
                    <a:pt x="1198" y="788"/>
                  </a:cubicBezTo>
                  <a:cubicBezTo>
                    <a:pt x="1200" y="786"/>
                    <a:pt x="1208" y="792"/>
                    <a:pt x="1211" y="792"/>
                  </a:cubicBezTo>
                  <a:cubicBezTo>
                    <a:pt x="1214" y="791"/>
                    <a:pt x="1219" y="786"/>
                    <a:pt x="1221" y="786"/>
                  </a:cubicBezTo>
                  <a:cubicBezTo>
                    <a:pt x="1224" y="786"/>
                    <a:pt x="1232" y="784"/>
                    <a:pt x="1235" y="785"/>
                  </a:cubicBezTo>
                  <a:cubicBezTo>
                    <a:pt x="1237" y="785"/>
                    <a:pt x="1247" y="789"/>
                    <a:pt x="1248" y="788"/>
                  </a:cubicBezTo>
                  <a:cubicBezTo>
                    <a:pt x="1249" y="787"/>
                    <a:pt x="1258" y="788"/>
                    <a:pt x="1259" y="791"/>
                  </a:cubicBezTo>
                  <a:cubicBezTo>
                    <a:pt x="1260" y="793"/>
                    <a:pt x="1271" y="793"/>
                    <a:pt x="1271" y="796"/>
                  </a:cubicBezTo>
                  <a:cubicBezTo>
                    <a:pt x="1271" y="799"/>
                    <a:pt x="1277" y="801"/>
                    <a:pt x="1279" y="804"/>
                  </a:cubicBezTo>
                  <a:cubicBezTo>
                    <a:pt x="1281" y="808"/>
                    <a:pt x="1295" y="806"/>
                    <a:pt x="1297" y="808"/>
                  </a:cubicBezTo>
                  <a:cubicBezTo>
                    <a:pt x="1300" y="810"/>
                    <a:pt x="1316" y="810"/>
                    <a:pt x="1317" y="808"/>
                  </a:cubicBezTo>
                  <a:cubicBezTo>
                    <a:pt x="1317" y="806"/>
                    <a:pt x="1333" y="805"/>
                    <a:pt x="1336" y="803"/>
                  </a:cubicBezTo>
                  <a:cubicBezTo>
                    <a:pt x="1339" y="801"/>
                    <a:pt x="1347" y="802"/>
                    <a:pt x="1347" y="799"/>
                  </a:cubicBezTo>
                  <a:cubicBezTo>
                    <a:pt x="1348" y="796"/>
                    <a:pt x="1356" y="794"/>
                    <a:pt x="1359" y="791"/>
                  </a:cubicBezTo>
                  <a:cubicBezTo>
                    <a:pt x="1362" y="789"/>
                    <a:pt x="1376" y="789"/>
                    <a:pt x="1377" y="792"/>
                  </a:cubicBezTo>
                  <a:cubicBezTo>
                    <a:pt x="1378" y="795"/>
                    <a:pt x="1386" y="796"/>
                    <a:pt x="1389" y="795"/>
                  </a:cubicBezTo>
                  <a:cubicBezTo>
                    <a:pt x="1393" y="793"/>
                    <a:pt x="1402" y="795"/>
                    <a:pt x="1403" y="798"/>
                  </a:cubicBezTo>
                  <a:cubicBezTo>
                    <a:pt x="1405" y="801"/>
                    <a:pt x="1415" y="803"/>
                    <a:pt x="1417" y="802"/>
                  </a:cubicBezTo>
                  <a:cubicBezTo>
                    <a:pt x="1420" y="801"/>
                    <a:pt x="1428" y="795"/>
                    <a:pt x="1431" y="795"/>
                  </a:cubicBezTo>
                  <a:cubicBezTo>
                    <a:pt x="1434" y="794"/>
                    <a:pt x="1439" y="791"/>
                    <a:pt x="1438" y="788"/>
                  </a:cubicBezTo>
                  <a:cubicBezTo>
                    <a:pt x="1437" y="785"/>
                    <a:pt x="1444" y="776"/>
                    <a:pt x="1445" y="773"/>
                  </a:cubicBezTo>
                  <a:cubicBezTo>
                    <a:pt x="1445" y="770"/>
                    <a:pt x="1451" y="760"/>
                    <a:pt x="1454" y="759"/>
                  </a:cubicBezTo>
                  <a:cubicBezTo>
                    <a:pt x="1456" y="758"/>
                    <a:pt x="1460" y="755"/>
                    <a:pt x="1460" y="752"/>
                  </a:cubicBezTo>
                  <a:cubicBezTo>
                    <a:pt x="1460" y="749"/>
                    <a:pt x="1458" y="742"/>
                    <a:pt x="1456" y="742"/>
                  </a:cubicBezTo>
                  <a:cubicBezTo>
                    <a:pt x="1453" y="742"/>
                    <a:pt x="1448" y="742"/>
                    <a:pt x="1454" y="734"/>
                  </a:cubicBezTo>
                  <a:cubicBezTo>
                    <a:pt x="1460" y="726"/>
                    <a:pt x="1471" y="728"/>
                    <a:pt x="1473" y="728"/>
                  </a:cubicBezTo>
                  <a:cubicBezTo>
                    <a:pt x="1475" y="728"/>
                    <a:pt x="1488" y="724"/>
                    <a:pt x="1494" y="726"/>
                  </a:cubicBezTo>
                  <a:cubicBezTo>
                    <a:pt x="1500" y="728"/>
                    <a:pt x="1504" y="725"/>
                    <a:pt x="1511" y="729"/>
                  </a:cubicBezTo>
                  <a:cubicBezTo>
                    <a:pt x="1517" y="732"/>
                    <a:pt x="1526" y="731"/>
                    <a:pt x="1528" y="734"/>
                  </a:cubicBezTo>
                  <a:cubicBezTo>
                    <a:pt x="1531" y="737"/>
                    <a:pt x="1539" y="739"/>
                    <a:pt x="1538" y="745"/>
                  </a:cubicBezTo>
                  <a:cubicBezTo>
                    <a:pt x="1537" y="750"/>
                    <a:pt x="1543" y="747"/>
                    <a:pt x="1545" y="758"/>
                  </a:cubicBezTo>
                  <a:cubicBezTo>
                    <a:pt x="1547" y="769"/>
                    <a:pt x="1552" y="770"/>
                    <a:pt x="1553" y="775"/>
                  </a:cubicBezTo>
                  <a:cubicBezTo>
                    <a:pt x="1555" y="780"/>
                    <a:pt x="1562" y="790"/>
                    <a:pt x="1561" y="793"/>
                  </a:cubicBezTo>
                  <a:cubicBezTo>
                    <a:pt x="1560" y="796"/>
                    <a:pt x="1559" y="801"/>
                    <a:pt x="1566" y="801"/>
                  </a:cubicBezTo>
                  <a:cubicBezTo>
                    <a:pt x="1574" y="801"/>
                    <a:pt x="1579" y="807"/>
                    <a:pt x="1580" y="806"/>
                  </a:cubicBezTo>
                  <a:cubicBezTo>
                    <a:pt x="1582" y="805"/>
                    <a:pt x="1591" y="808"/>
                    <a:pt x="1595" y="813"/>
                  </a:cubicBezTo>
                  <a:cubicBezTo>
                    <a:pt x="1599" y="817"/>
                    <a:pt x="1606" y="815"/>
                    <a:pt x="1605" y="819"/>
                  </a:cubicBezTo>
                  <a:cubicBezTo>
                    <a:pt x="1605" y="824"/>
                    <a:pt x="1609" y="828"/>
                    <a:pt x="1608" y="832"/>
                  </a:cubicBezTo>
                  <a:cubicBezTo>
                    <a:pt x="1608" y="836"/>
                    <a:pt x="1617" y="838"/>
                    <a:pt x="1623" y="838"/>
                  </a:cubicBezTo>
                  <a:cubicBezTo>
                    <a:pt x="1629" y="837"/>
                    <a:pt x="1633" y="840"/>
                    <a:pt x="1636" y="835"/>
                  </a:cubicBezTo>
                  <a:cubicBezTo>
                    <a:pt x="1638" y="829"/>
                    <a:pt x="1647" y="832"/>
                    <a:pt x="1650" y="829"/>
                  </a:cubicBezTo>
                  <a:cubicBezTo>
                    <a:pt x="1653" y="827"/>
                    <a:pt x="1662" y="825"/>
                    <a:pt x="1661" y="832"/>
                  </a:cubicBezTo>
                  <a:cubicBezTo>
                    <a:pt x="1661" y="840"/>
                    <a:pt x="1666" y="842"/>
                    <a:pt x="1662" y="844"/>
                  </a:cubicBezTo>
                  <a:cubicBezTo>
                    <a:pt x="1657" y="847"/>
                    <a:pt x="1655" y="858"/>
                    <a:pt x="1654" y="863"/>
                  </a:cubicBezTo>
                  <a:cubicBezTo>
                    <a:pt x="1653" y="868"/>
                    <a:pt x="1646" y="869"/>
                    <a:pt x="1645" y="874"/>
                  </a:cubicBezTo>
                  <a:cubicBezTo>
                    <a:pt x="1645" y="879"/>
                    <a:pt x="1639" y="880"/>
                    <a:pt x="1639" y="884"/>
                  </a:cubicBezTo>
                  <a:cubicBezTo>
                    <a:pt x="1639" y="887"/>
                    <a:pt x="1630" y="887"/>
                    <a:pt x="1626" y="884"/>
                  </a:cubicBezTo>
                  <a:cubicBezTo>
                    <a:pt x="1621" y="881"/>
                    <a:pt x="1617" y="889"/>
                    <a:pt x="1614" y="889"/>
                  </a:cubicBezTo>
                  <a:cubicBezTo>
                    <a:pt x="1610" y="889"/>
                    <a:pt x="1611" y="896"/>
                    <a:pt x="1611" y="899"/>
                  </a:cubicBezTo>
                  <a:cubicBezTo>
                    <a:pt x="1612" y="902"/>
                    <a:pt x="1610" y="906"/>
                    <a:pt x="1612" y="912"/>
                  </a:cubicBezTo>
                  <a:cubicBezTo>
                    <a:pt x="1613" y="914"/>
                    <a:pt x="1613" y="920"/>
                    <a:pt x="1613" y="925"/>
                  </a:cubicBezTo>
                  <a:cubicBezTo>
                    <a:pt x="1619" y="922"/>
                    <a:pt x="1623" y="919"/>
                    <a:pt x="1625" y="919"/>
                  </a:cubicBezTo>
                  <a:cubicBezTo>
                    <a:pt x="1631" y="919"/>
                    <a:pt x="1636" y="928"/>
                    <a:pt x="1642" y="928"/>
                  </a:cubicBezTo>
                  <a:cubicBezTo>
                    <a:pt x="1648" y="929"/>
                    <a:pt x="1676" y="910"/>
                    <a:pt x="1676" y="907"/>
                  </a:cubicBezTo>
                  <a:cubicBezTo>
                    <a:pt x="1676" y="904"/>
                    <a:pt x="1692" y="889"/>
                    <a:pt x="1699" y="881"/>
                  </a:cubicBezTo>
                  <a:cubicBezTo>
                    <a:pt x="1707" y="873"/>
                    <a:pt x="1717" y="861"/>
                    <a:pt x="1721" y="852"/>
                  </a:cubicBezTo>
                  <a:cubicBezTo>
                    <a:pt x="1723" y="847"/>
                    <a:pt x="1734" y="836"/>
                    <a:pt x="1736" y="832"/>
                  </a:cubicBezTo>
                  <a:cubicBezTo>
                    <a:pt x="1739" y="827"/>
                    <a:pt x="1740" y="827"/>
                    <a:pt x="1745" y="817"/>
                  </a:cubicBezTo>
                  <a:cubicBezTo>
                    <a:pt x="1750" y="807"/>
                    <a:pt x="1750" y="780"/>
                    <a:pt x="1751" y="779"/>
                  </a:cubicBezTo>
                  <a:cubicBezTo>
                    <a:pt x="1753" y="777"/>
                    <a:pt x="1752" y="772"/>
                    <a:pt x="1754" y="770"/>
                  </a:cubicBezTo>
                  <a:cubicBezTo>
                    <a:pt x="1756" y="767"/>
                    <a:pt x="1755" y="763"/>
                    <a:pt x="1760" y="759"/>
                  </a:cubicBezTo>
                  <a:cubicBezTo>
                    <a:pt x="1764" y="756"/>
                    <a:pt x="1763" y="752"/>
                    <a:pt x="1762" y="750"/>
                  </a:cubicBezTo>
                  <a:cubicBezTo>
                    <a:pt x="1761" y="747"/>
                    <a:pt x="1762" y="741"/>
                    <a:pt x="1761" y="739"/>
                  </a:cubicBezTo>
                  <a:cubicBezTo>
                    <a:pt x="1760" y="737"/>
                    <a:pt x="1760" y="736"/>
                    <a:pt x="1763" y="734"/>
                  </a:cubicBezTo>
                  <a:cubicBezTo>
                    <a:pt x="1765" y="733"/>
                    <a:pt x="1761" y="729"/>
                    <a:pt x="1757" y="727"/>
                  </a:cubicBezTo>
                  <a:cubicBezTo>
                    <a:pt x="1754" y="725"/>
                    <a:pt x="1749" y="724"/>
                    <a:pt x="1749" y="720"/>
                  </a:cubicBezTo>
                  <a:cubicBezTo>
                    <a:pt x="1748" y="716"/>
                    <a:pt x="1742" y="711"/>
                    <a:pt x="1737" y="711"/>
                  </a:cubicBezTo>
                  <a:cubicBezTo>
                    <a:pt x="1733" y="712"/>
                    <a:pt x="1724" y="709"/>
                    <a:pt x="1725" y="712"/>
                  </a:cubicBezTo>
                  <a:cubicBezTo>
                    <a:pt x="1726" y="715"/>
                    <a:pt x="1724" y="717"/>
                    <a:pt x="1722" y="717"/>
                  </a:cubicBezTo>
                  <a:cubicBezTo>
                    <a:pt x="1720" y="716"/>
                    <a:pt x="1719" y="718"/>
                    <a:pt x="1716" y="722"/>
                  </a:cubicBezTo>
                  <a:cubicBezTo>
                    <a:pt x="1713" y="727"/>
                    <a:pt x="1703" y="727"/>
                    <a:pt x="1708" y="723"/>
                  </a:cubicBezTo>
                  <a:cubicBezTo>
                    <a:pt x="1712" y="719"/>
                    <a:pt x="1706" y="719"/>
                    <a:pt x="1707" y="714"/>
                  </a:cubicBezTo>
                  <a:cubicBezTo>
                    <a:pt x="1708" y="710"/>
                    <a:pt x="1711" y="706"/>
                    <a:pt x="1707" y="709"/>
                  </a:cubicBezTo>
                  <a:cubicBezTo>
                    <a:pt x="1702" y="711"/>
                    <a:pt x="1702" y="718"/>
                    <a:pt x="1697" y="719"/>
                  </a:cubicBezTo>
                  <a:cubicBezTo>
                    <a:pt x="1693" y="720"/>
                    <a:pt x="1695" y="707"/>
                    <a:pt x="1696" y="704"/>
                  </a:cubicBezTo>
                  <a:cubicBezTo>
                    <a:pt x="1697" y="701"/>
                    <a:pt x="1688" y="704"/>
                    <a:pt x="1679" y="704"/>
                  </a:cubicBezTo>
                  <a:cubicBezTo>
                    <a:pt x="1670" y="703"/>
                    <a:pt x="1673" y="697"/>
                    <a:pt x="1680" y="693"/>
                  </a:cubicBezTo>
                  <a:cubicBezTo>
                    <a:pt x="1687" y="689"/>
                    <a:pt x="1686" y="685"/>
                    <a:pt x="1690" y="684"/>
                  </a:cubicBezTo>
                  <a:cubicBezTo>
                    <a:pt x="1693" y="682"/>
                    <a:pt x="1703" y="676"/>
                    <a:pt x="1708" y="673"/>
                  </a:cubicBezTo>
                  <a:cubicBezTo>
                    <a:pt x="1714" y="670"/>
                    <a:pt x="1715" y="666"/>
                    <a:pt x="1716" y="662"/>
                  </a:cubicBezTo>
                  <a:cubicBezTo>
                    <a:pt x="1717" y="659"/>
                    <a:pt x="1728" y="654"/>
                    <a:pt x="1737" y="647"/>
                  </a:cubicBezTo>
                  <a:cubicBezTo>
                    <a:pt x="1746" y="639"/>
                    <a:pt x="1751" y="635"/>
                    <a:pt x="1753" y="630"/>
                  </a:cubicBezTo>
                  <a:cubicBezTo>
                    <a:pt x="1755" y="626"/>
                    <a:pt x="1769" y="620"/>
                    <a:pt x="1769" y="617"/>
                  </a:cubicBezTo>
                  <a:cubicBezTo>
                    <a:pt x="1769" y="613"/>
                    <a:pt x="1785" y="605"/>
                    <a:pt x="1796" y="602"/>
                  </a:cubicBezTo>
                  <a:cubicBezTo>
                    <a:pt x="1807" y="600"/>
                    <a:pt x="1825" y="603"/>
                    <a:pt x="1828" y="606"/>
                  </a:cubicBezTo>
                  <a:cubicBezTo>
                    <a:pt x="1831" y="610"/>
                    <a:pt x="1834" y="608"/>
                    <a:pt x="1836" y="606"/>
                  </a:cubicBezTo>
                  <a:cubicBezTo>
                    <a:pt x="1837" y="604"/>
                    <a:pt x="1842" y="605"/>
                    <a:pt x="1849" y="606"/>
                  </a:cubicBezTo>
                  <a:cubicBezTo>
                    <a:pt x="1856" y="607"/>
                    <a:pt x="1858" y="602"/>
                    <a:pt x="1863" y="604"/>
                  </a:cubicBezTo>
                  <a:cubicBezTo>
                    <a:pt x="1868" y="605"/>
                    <a:pt x="1872" y="606"/>
                    <a:pt x="1875" y="601"/>
                  </a:cubicBezTo>
                  <a:cubicBezTo>
                    <a:pt x="1878" y="595"/>
                    <a:pt x="1892" y="596"/>
                    <a:pt x="1896" y="598"/>
                  </a:cubicBezTo>
                  <a:cubicBezTo>
                    <a:pt x="1899" y="601"/>
                    <a:pt x="1901" y="604"/>
                    <a:pt x="1907" y="600"/>
                  </a:cubicBezTo>
                  <a:cubicBezTo>
                    <a:pt x="1912" y="597"/>
                    <a:pt x="1912" y="605"/>
                    <a:pt x="1917" y="605"/>
                  </a:cubicBezTo>
                  <a:cubicBezTo>
                    <a:pt x="1922" y="606"/>
                    <a:pt x="1918" y="610"/>
                    <a:pt x="1914" y="610"/>
                  </a:cubicBezTo>
                  <a:cubicBezTo>
                    <a:pt x="1910" y="610"/>
                    <a:pt x="1904" y="612"/>
                    <a:pt x="1909" y="615"/>
                  </a:cubicBezTo>
                  <a:cubicBezTo>
                    <a:pt x="1914" y="618"/>
                    <a:pt x="1920" y="612"/>
                    <a:pt x="1924" y="613"/>
                  </a:cubicBezTo>
                  <a:cubicBezTo>
                    <a:pt x="1928" y="613"/>
                    <a:pt x="1934" y="614"/>
                    <a:pt x="1939" y="610"/>
                  </a:cubicBezTo>
                  <a:cubicBezTo>
                    <a:pt x="1945" y="607"/>
                    <a:pt x="1946" y="613"/>
                    <a:pt x="1950" y="610"/>
                  </a:cubicBezTo>
                  <a:cubicBezTo>
                    <a:pt x="1953" y="607"/>
                    <a:pt x="1961" y="606"/>
                    <a:pt x="1965" y="606"/>
                  </a:cubicBezTo>
                  <a:cubicBezTo>
                    <a:pt x="1968" y="607"/>
                    <a:pt x="1965" y="602"/>
                    <a:pt x="1959" y="602"/>
                  </a:cubicBezTo>
                  <a:cubicBezTo>
                    <a:pt x="1952" y="602"/>
                    <a:pt x="1953" y="598"/>
                    <a:pt x="1958" y="590"/>
                  </a:cubicBezTo>
                  <a:cubicBezTo>
                    <a:pt x="1963" y="581"/>
                    <a:pt x="1973" y="576"/>
                    <a:pt x="1979" y="571"/>
                  </a:cubicBezTo>
                  <a:cubicBezTo>
                    <a:pt x="1985" y="565"/>
                    <a:pt x="1990" y="568"/>
                    <a:pt x="1990" y="564"/>
                  </a:cubicBezTo>
                  <a:cubicBezTo>
                    <a:pt x="1990" y="561"/>
                    <a:pt x="1993" y="551"/>
                    <a:pt x="1997" y="551"/>
                  </a:cubicBezTo>
                  <a:cubicBezTo>
                    <a:pt x="2002" y="551"/>
                    <a:pt x="2014" y="553"/>
                    <a:pt x="2021" y="549"/>
                  </a:cubicBezTo>
                  <a:cubicBezTo>
                    <a:pt x="2029" y="545"/>
                    <a:pt x="2028" y="552"/>
                    <a:pt x="2031" y="553"/>
                  </a:cubicBezTo>
                  <a:cubicBezTo>
                    <a:pt x="2034" y="554"/>
                    <a:pt x="2038" y="547"/>
                    <a:pt x="2042" y="549"/>
                  </a:cubicBezTo>
                  <a:cubicBezTo>
                    <a:pt x="2045" y="551"/>
                    <a:pt x="2036" y="556"/>
                    <a:pt x="2034" y="562"/>
                  </a:cubicBezTo>
                  <a:cubicBezTo>
                    <a:pt x="2033" y="569"/>
                    <a:pt x="2039" y="566"/>
                    <a:pt x="2043" y="568"/>
                  </a:cubicBezTo>
                  <a:cubicBezTo>
                    <a:pt x="2046" y="570"/>
                    <a:pt x="2038" y="572"/>
                    <a:pt x="2039" y="574"/>
                  </a:cubicBezTo>
                  <a:cubicBezTo>
                    <a:pt x="2040" y="576"/>
                    <a:pt x="2047" y="576"/>
                    <a:pt x="2056" y="566"/>
                  </a:cubicBezTo>
                  <a:cubicBezTo>
                    <a:pt x="2066" y="557"/>
                    <a:pt x="2074" y="554"/>
                    <a:pt x="2081" y="555"/>
                  </a:cubicBezTo>
                  <a:cubicBezTo>
                    <a:pt x="2087" y="556"/>
                    <a:pt x="2083" y="550"/>
                    <a:pt x="2084" y="541"/>
                  </a:cubicBezTo>
                  <a:cubicBezTo>
                    <a:pt x="2084" y="532"/>
                    <a:pt x="2102" y="529"/>
                    <a:pt x="2108" y="532"/>
                  </a:cubicBezTo>
                  <a:cubicBezTo>
                    <a:pt x="2114" y="535"/>
                    <a:pt x="2114" y="537"/>
                    <a:pt x="2108" y="535"/>
                  </a:cubicBezTo>
                  <a:cubicBezTo>
                    <a:pt x="2102" y="534"/>
                    <a:pt x="2097" y="539"/>
                    <a:pt x="2097" y="546"/>
                  </a:cubicBezTo>
                  <a:cubicBezTo>
                    <a:pt x="2097" y="554"/>
                    <a:pt x="2092" y="556"/>
                    <a:pt x="2095" y="559"/>
                  </a:cubicBezTo>
                  <a:cubicBezTo>
                    <a:pt x="2098" y="562"/>
                    <a:pt x="2091" y="562"/>
                    <a:pt x="2091" y="565"/>
                  </a:cubicBezTo>
                  <a:cubicBezTo>
                    <a:pt x="2090" y="568"/>
                    <a:pt x="2091" y="571"/>
                    <a:pt x="2086" y="572"/>
                  </a:cubicBezTo>
                  <a:cubicBezTo>
                    <a:pt x="2082" y="573"/>
                    <a:pt x="2068" y="575"/>
                    <a:pt x="2067" y="580"/>
                  </a:cubicBezTo>
                  <a:cubicBezTo>
                    <a:pt x="2067" y="586"/>
                    <a:pt x="2059" y="587"/>
                    <a:pt x="2055" y="593"/>
                  </a:cubicBezTo>
                  <a:cubicBezTo>
                    <a:pt x="2052" y="600"/>
                    <a:pt x="2038" y="604"/>
                    <a:pt x="2028" y="618"/>
                  </a:cubicBezTo>
                  <a:cubicBezTo>
                    <a:pt x="2019" y="632"/>
                    <a:pt x="2005" y="632"/>
                    <a:pt x="2005" y="635"/>
                  </a:cubicBezTo>
                  <a:cubicBezTo>
                    <a:pt x="2005" y="637"/>
                    <a:pt x="1994" y="637"/>
                    <a:pt x="1991" y="637"/>
                  </a:cubicBezTo>
                  <a:cubicBezTo>
                    <a:pt x="1988" y="638"/>
                    <a:pt x="1994" y="646"/>
                    <a:pt x="1986" y="655"/>
                  </a:cubicBezTo>
                  <a:cubicBezTo>
                    <a:pt x="1978" y="664"/>
                    <a:pt x="1973" y="676"/>
                    <a:pt x="1973" y="688"/>
                  </a:cubicBezTo>
                  <a:cubicBezTo>
                    <a:pt x="1973" y="701"/>
                    <a:pt x="1977" y="736"/>
                    <a:pt x="1981" y="742"/>
                  </a:cubicBezTo>
                  <a:cubicBezTo>
                    <a:pt x="1984" y="748"/>
                    <a:pt x="1982" y="764"/>
                    <a:pt x="1985" y="767"/>
                  </a:cubicBezTo>
                  <a:cubicBezTo>
                    <a:pt x="1988" y="770"/>
                    <a:pt x="1987" y="775"/>
                    <a:pt x="1989" y="777"/>
                  </a:cubicBezTo>
                  <a:cubicBezTo>
                    <a:pt x="1991" y="779"/>
                    <a:pt x="1999" y="769"/>
                    <a:pt x="2004" y="764"/>
                  </a:cubicBezTo>
                  <a:cubicBezTo>
                    <a:pt x="2010" y="760"/>
                    <a:pt x="2008" y="758"/>
                    <a:pt x="2012" y="756"/>
                  </a:cubicBezTo>
                  <a:cubicBezTo>
                    <a:pt x="2015" y="753"/>
                    <a:pt x="2014" y="744"/>
                    <a:pt x="2015" y="741"/>
                  </a:cubicBezTo>
                  <a:cubicBezTo>
                    <a:pt x="2016" y="738"/>
                    <a:pt x="2023" y="737"/>
                    <a:pt x="2025" y="734"/>
                  </a:cubicBezTo>
                  <a:cubicBezTo>
                    <a:pt x="2027" y="732"/>
                    <a:pt x="2033" y="733"/>
                    <a:pt x="2036" y="732"/>
                  </a:cubicBezTo>
                  <a:cubicBezTo>
                    <a:pt x="2039" y="731"/>
                    <a:pt x="2035" y="724"/>
                    <a:pt x="2034" y="720"/>
                  </a:cubicBezTo>
                  <a:cubicBezTo>
                    <a:pt x="2033" y="716"/>
                    <a:pt x="2043" y="710"/>
                    <a:pt x="2048" y="707"/>
                  </a:cubicBezTo>
                  <a:cubicBezTo>
                    <a:pt x="2053" y="703"/>
                    <a:pt x="2060" y="709"/>
                    <a:pt x="2066" y="704"/>
                  </a:cubicBezTo>
                  <a:cubicBezTo>
                    <a:pt x="2071" y="698"/>
                    <a:pt x="2065" y="692"/>
                    <a:pt x="2063" y="689"/>
                  </a:cubicBezTo>
                  <a:cubicBezTo>
                    <a:pt x="2061" y="686"/>
                    <a:pt x="2069" y="673"/>
                    <a:pt x="2073" y="672"/>
                  </a:cubicBezTo>
                  <a:cubicBezTo>
                    <a:pt x="2078" y="670"/>
                    <a:pt x="2080" y="675"/>
                    <a:pt x="2085" y="671"/>
                  </a:cubicBezTo>
                  <a:cubicBezTo>
                    <a:pt x="2089" y="667"/>
                    <a:pt x="2081" y="661"/>
                    <a:pt x="2078" y="661"/>
                  </a:cubicBezTo>
                  <a:cubicBezTo>
                    <a:pt x="2075" y="662"/>
                    <a:pt x="2074" y="650"/>
                    <a:pt x="2081" y="645"/>
                  </a:cubicBezTo>
                  <a:cubicBezTo>
                    <a:pt x="2088" y="639"/>
                    <a:pt x="2085" y="638"/>
                    <a:pt x="2080" y="637"/>
                  </a:cubicBezTo>
                  <a:cubicBezTo>
                    <a:pt x="2076" y="636"/>
                    <a:pt x="2075" y="638"/>
                    <a:pt x="2071" y="638"/>
                  </a:cubicBezTo>
                  <a:cubicBezTo>
                    <a:pt x="2067" y="638"/>
                    <a:pt x="2064" y="630"/>
                    <a:pt x="2069" y="623"/>
                  </a:cubicBezTo>
                  <a:cubicBezTo>
                    <a:pt x="2075" y="615"/>
                    <a:pt x="2080" y="616"/>
                    <a:pt x="2082" y="610"/>
                  </a:cubicBezTo>
                  <a:cubicBezTo>
                    <a:pt x="2083" y="604"/>
                    <a:pt x="2091" y="595"/>
                    <a:pt x="2093" y="592"/>
                  </a:cubicBezTo>
                  <a:cubicBezTo>
                    <a:pt x="2094" y="588"/>
                    <a:pt x="2102" y="592"/>
                    <a:pt x="2105" y="591"/>
                  </a:cubicBezTo>
                  <a:cubicBezTo>
                    <a:pt x="2108" y="590"/>
                    <a:pt x="2107" y="597"/>
                    <a:pt x="2111" y="593"/>
                  </a:cubicBezTo>
                  <a:cubicBezTo>
                    <a:pt x="2114" y="590"/>
                    <a:pt x="2120" y="579"/>
                    <a:pt x="2125" y="579"/>
                  </a:cubicBezTo>
                  <a:cubicBezTo>
                    <a:pt x="2130" y="579"/>
                    <a:pt x="2127" y="587"/>
                    <a:pt x="2128" y="592"/>
                  </a:cubicBezTo>
                  <a:cubicBezTo>
                    <a:pt x="2130" y="597"/>
                    <a:pt x="2133" y="591"/>
                    <a:pt x="2142" y="584"/>
                  </a:cubicBezTo>
                  <a:cubicBezTo>
                    <a:pt x="2151" y="578"/>
                    <a:pt x="2172" y="579"/>
                    <a:pt x="2178" y="582"/>
                  </a:cubicBezTo>
                  <a:cubicBezTo>
                    <a:pt x="2185" y="585"/>
                    <a:pt x="2186" y="592"/>
                    <a:pt x="2189" y="591"/>
                  </a:cubicBezTo>
                  <a:cubicBezTo>
                    <a:pt x="2194" y="590"/>
                    <a:pt x="2190" y="584"/>
                    <a:pt x="2195" y="582"/>
                  </a:cubicBezTo>
                  <a:cubicBezTo>
                    <a:pt x="2200" y="581"/>
                    <a:pt x="2209" y="575"/>
                    <a:pt x="2216" y="570"/>
                  </a:cubicBezTo>
                  <a:cubicBezTo>
                    <a:pt x="2223" y="565"/>
                    <a:pt x="2221" y="569"/>
                    <a:pt x="2225" y="565"/>
                  </a:cubicBezTo>
                  <a:cubicBezTo>
                    <a:pt x="2228" y="560"/>
                    <a:pt x="2232" y="562"/>
                    <a:pt x="2233" y="559"/>
                  </a:cubicBezTo>
                  <a:cubicBezTo>
                    <a:pt x="2234" y="556"/>
                    <a:pt x="2244" y="551"/>
                    <a:pt x="2258" y="548"/>
                  </a:cubicBezTo>
                  <a:cubicBezTo>
                    <a:pt x="2271" y="545"/>
                    <a:pt x="2289" y="536"/>
                    <a:pt x="2288" y="533"/>
                  </a:cubicBezTo>
                  <a:cubicBezTo>
                    <a:pt x="2287" y="530"/>
                    <a:pt x="2293" y="529"/>
                    <a:pt x="2294" y="532"/>
                  </a:cubicBezTo>
                  <a:cubicBezTo>
                    <a:pt x="2294" y="535"/>
                    <a:pt x="2300" y="534"/>
                    <a:pt x="2307" y="535"/>
                  </a:cubicBezTo>
                  <a:cubicBezTo>
                    <a:pt x="2314" y="537"/>
                    <a:pt x="2317" y="539"/>
                    <a:pt x="2323" y="534"/>
                  </a:cubicBezTo>
                  <a:cubicBezTo>
                    <a:pt x="2328" y="528"/>
                    <a:pt x="2322" y="526"/>
                    <a:pt x="2322" y="522"/>
                  </a:cubicBezTo>
                  <a:cubicBezTo>
                    <a:pt x="2322" y="518"/>
                    <a:pt x="2313" y="513"/>
                    <a:pt x="2314" y="509"/>
                  </a:cubicBezTo>
                  <a:cubicBezTo>
                    <a:pt x="2315" y="504"/>
                    <a:pt x="2307" y="492"/>
                    <a:pt x="2304" y="495"/>
                  </a:cubicBezTo>
                  <a:cubicBezTo>
                    <a:pt x="2301" y="497"/>
                    <a:pt x="2295" y="493"/>
                    <a:pt x="2295" y="489"/>
                  </a:cubicBezTo>
                  <a:cubicBezTo>
                    <a:pt x="2295" y="486"/>
                    <a:pt x="2295" y="482"/>
                    <a:pt x="2291" y="484"/>
                  </a:cubicBezTo>
                  <a:cubicBezTo>
                    <a:pt x="2287" y="487"/>
                    <a:pt x="2280" y="485"/>
                    <a:pt x="2279" y="482"/>
                  </a:cubicBezTo>
                  <a:cubicBezTo>
                    <a:pt x="2277" y="478"/>
                    <a:pt x="2287" y="475"/>
                    <a:pt x="2293" y="478"/>
                  </a:cubicBezTo>
                  <a:cubicBezTo>
                    <a:pt x="2299" y="480"/>
                    <a:pt x="2298" y="483"/>
                    <a:pt x="2301" y="485"/>
                  </a:cubicBezTo>
                  <a:cubicBezTo>
                    <a:pt x="2304" y="487"/>
                    <a:pt x="2313" y="486"/>
                    <a:pt x="2317" y="484"/>
                  </a:cubicBezTo>
                  <a:cubicBezTo>
                    <a:pt x="2322" y="481"/>
                    <a:pt x="2334" y="477"/>
                    <a:pt x="2337" y="474"/>
                  </a:cubicBezTo>
                  <a:cubicBezTo>
                    <a:pt x="2339" y="470"/>
                    <a:pt x="2336" y="468"/>
                    <a:pt x="2341" y="466"/>
                  </a:cubicBezTo>
                  <a:cubicBezTo>
                    <a:pt x="2345" y="464"/>
                    <a:pt x="2342" y="459"/>
                    <a:pt x="2338" y="458"/>
                  </a:cubicBezTo>
                  <a:cubicBezTo>
                    <a:pt x="2334" y="456"/>
                    <a:pt x="2335" y="450"/>
                    <a:pt x="2339" y="450"/>
                  </a:cubicBezTo>
                  <a:cubicBezTo>
                    <a:pt x="2343" y="450"/>
                    <a:pt x="2342" y="446"/>
                    <a:pt x="2345" y="446"/>
                  </a:cubicBezTo>
                  <a:cubicBezTo>
                    <a:pt x="2347" y="445"/>
                    <a:pt x="2348" y="448"/>
                    <a:pt x="2352" y="445"/>
                  </a:cubicBezTo>
                  <a:cubicBezTo>
                    <a:pt x="2357" y="443"/>
                    <a:pt x="2353" y="449"/>
                    <a:pt x="2350" y="453"/>
                  </a:cubicBezTo>
                  <a:cubicBezTo>
                    <a:pt x="2348" y="457"/>
                    <a:pt x="2355" y="461"/>
                    <a:pt x="2356" y="463"/>
                  </a:cubicBezTo>
                  <a:cubicBezTo>
                    <a:pt x="2356" y="465"/>
                    <a:pt x="2365" y="466"/>
                    <a:pt x="2371" y="463"/>
                  </a:cubicBezTo>
                  <a:cubicBezTo>
                    <a:pt x="2376" y="461"/>
                    <a:pt x="2392" y="467"/>
                    <a:pt x="2393" y="471"/>
                  </a:cubicBezTo>
                  <a:cubicBezTo>
                    <a:pt x="2394" y="475"/>
                    <a:pt x="2397" y="480"/>
                    <a:pt x="2404" y="483"/>
                  </a:cubicBezTo>
                  <a:cubicBezTo>
                    <a:pt x="2411" y="487"/>
                    <a:pt x="2417" y="485"/>
                    <a:pt x="2418" y="489"/>
                  </a:cubicBezTo>
                  <a:cubicBezTo>
                    <a:pt x="2419" y="492"/>
                    <a:pt x="2422" y="493"/>
                    <a:pt x="2426" y="493"/>
                  </a:cubicBezTo>
                  <a:cubicBezTo>
                    <a:pt x="2430" y="492"/>
                    <a:pt x="2432" y="496"/>
                    <a:pt x="2435" y="493"/>
                  </a:cubicBezTo>
                  <a:cubicBezTo>
                    <a:pt x="2438" y="491"/>
                    <a:pt x="2439" y="495"/>
                    <a:pt x="2443" y="492"/>
                  </a:cubicBezTo>
                  <a:cubicBezTo>
                    <a:pt x="2446" y="489"/>
                    <a:pt x="2435" y="486"/>
                    <a:pt x="2436" y="484"/>
                  </a:cubicBezTo>
                  <a:cubicBezTo>
                    <a:pt x="2438" y="481"/>
                    <a:pt x="2440" y="486"/>
                    <a:pt x="2443" y="485"/>
                  </a:cubicBezTo>
                  <a:cubicBezTo>
                    <a:pt x="2447" y="485"/>
                    <a:pt x="2442" y="479"/>
                    <a:pt x="2445" y="478"/>
                  </a:cubicBezTo>
                  <a:cubicBezTo>
                    <a:pt x="2447" y="478"/>
                    <a:pt x="2445" y="465"/>
                    <a:pt x="2443" y="464"/>
                  </a:cubicBezTo>
                  <a:cubicBezTo>
                    <a:pt x="2440" y="463"/>
                    <a:pt x="2442" y="459"/>
                    <a:pt x="2447" y="462"/>
                  </a:cubicBezTo>
                  <a:cubicBezTo>
                    <a:pt x="2452" y="466"/>
                    <a:pt x="2460" y="466"/>
                    <a:pt x="2464" y="466"/>
                  </a:cubicBezTo>
                  <a:cubicBezTo>
                    <a:pt x="2467" y="466"/>
                    <a:pt x="2464" y="462"/>
                    <a:pt x="2460" y="462"/>
                  </a:cubicBezTo>
                  <a:cubicBezTo>
                    <a:pt x="2456" y="461"/>
                    <a:pt x="2461" y="458"/>
                    <a:pt x="2463" y="460"/>
                  </a:cubicBezTo>
                  <a:cubicBezTo>
                    <a:pt x="2466" y="463"/>
                    <a:pt x="2471" y="464"/>
                    <a:pt x="2471" y="461"/>
                  </a:cubicBezTo>
                  <a:cubicBezTo>
                    <a:pt x="2472" y="459"/>
                    <a:pt x="2474" y="453"/>
                    <a:pt x="2479" y="453"/>
                  </a:cubicBezTo>
                  <a:cubicBezTo>
                    <a:pt x="2483" y="453"/>
                    <a:pt x="2485" y="451"/>
                    <a:pt x="2481" y="449"/>
                  </a:cubicBezTo>
                  <a:close/>
                  <a:moveTo>
                    <a:pt x="1281" y="732"/>
                  </a:moveTo>
                  <a:cubicBezTo>
                    <a:pt x="1269" y="742"/>
                    <a:pt x="1244" y="745"/>
                    <a:pt x="1244" y="754"/>
                  </a:cubicBezTo>
                  <a:cubicBezTo>
                    <a:pt x="1244" y="763"/>
                    <a:pt x="1215" y="768"/>
                    <a:pt x="1212" y="764"/>
                  </a:cubicBezTo>
                  <a:cubicBezTo>
                    <a:pt x="1210" y="760"/>
                    <a:pt x="1234" y="759"/>
                    <a:pt x="1240" y="746"/>
                  </a:cubicBezTo>
                  <a:cubicBezTo>
                    <a:pt x="1246" y="733"/>
                    <a:pt x="1268" y="727"/>
                    <a:pt x="1279" y="710"/>
                  </a:cubicBezTo>
                  <a:cubicBezTo>
                    <a:pt x="1286" y="697"/>
                    <a:pt x="1293" y="679"/>
                    <a:pt x="1297" y="680"/>
                  </a:cubicBezTo>
                  <a:cubicBezTo>
                    <a:pt x="1302" y="681"/>
                    <a:pt x="1293" y="721"/>
                    <a:pt x="1281" y="732"/>
                  </a:cubicBezTo>
                  <a:close/>
                  <a:moveTo>
                    <a:pt x="1336" y="226"/>
                  </a:moveTo>
                  <a:cubicBezTo>
                    <a:pt x="1334" y="230"/>
                    <a:pt x="1325" y="230"/>
                    <a:pt x="1327" y="233"/>
                  </a:cubicBezTo>
                  <a:cubicBezTo>
                    <a:pt x="1331" y="239"/>
                    <a:pt x="1353" y="236"/>
                    <a:pt x="1353" y="229"/>
                  </a:cubicBezTo>
                  <a:cubicBezTo>
                    <a:pt x="1354" y="222"/>
                    <a:pt x="1337" y="223"/>
                    <a:pt x="1336" y="226"/>
                  </a:cubicBezTo>
                  <a:close/>
                  <a:moveTo>
                    <a:pt x="552" y="14"/>
                  </a:moveTo>
                  <a:cubicBezTo>
                    <a:pt x="563" y="14"/>
                    <a:pt x="560" y="7"/>
                    <a:pt x="567" y="8"/>
                  </a:cubicBezTo>
                  <a:cubicBezTo>
                    <a:pt x="574" y="9"/>
                    <a:pt x="583" y="9"/>
                    <a:pt x="579" y="4"/>
                  </a:cubicBezTo>
                  <a:cubicBezTo>
                    <a:pt x="576" y="0"/>
                    <a:pt x="551" y="2"/>
                    <a:pt x="553" y="5"/>
                  </a:cubicBezTo>
                  <a:cubicBezTo>
                    <a:pt x="556" y="9"/>
                    <a:pt x="533" y="7"/>
                    <a:pt x="534" y="9"/>
                  </a:cubicBezTo>
                  <a:cubicBezTo>
                    <a:pt x="534" y="11"/>
                    <a:pt x="542" y="14"/>
                    <a:pt x="552" y="14"/>
                  </a:cubicBezTo>
                  <a:close/>
                  <a:moveTo>
                    <a:pt x="499" y="43"/>
                  </a:moveTo>
                  <a:cubicBezTo>
                    <a:pt x="499" y="36"/>
                    <a:pt x="477" y="43"/>
                    <a:pt x="481" y="45"/>
                  </a:cubicBezTo>
                  <a:cubicBezTo>
                    <a:pt x="485" y="46"/>
                    <a:pt x="499" y="50"/>
                    <a:pt x="499" y="43"/>
                  </a:cubicBezTo>
                  <a:close/>
                  <a:moveTo>
                    <a:pt x="555" y="37"/>
                  </a:moveTo>
                  <a:cubicBezTo>
                    <a:pt x="556" y="41"/>
                    <a:pt x="552" y="41"/>
                    <a:pt x="544" y="41"/>
                  </a:cubicBezTo>
                  <a:cubicBezTo>
                    <a:pt x="535" y="41"/>
                    <a:pt x="531" y="46"/>
                    <a:pt x="535" y="50"/>
                  </a:cubicBezTo>
                  <a:cubicBezTo>
                    <a:pt x="540" y="54"/>
                    <a:pt x="563" y="52"/>
                    <a:pt x="567" y="47"/>
                  </a:cubicBezTo>
                  <a:cubicBezTo>
                    <a:pt x="571" y="42"/>
                    <a:pt x="581" y="46"/>
                    <a:pt x="583" y="41"/>
                  </a:cubicBezTo>
                  <a:cubicBezTo>
                    <a:pt x="584" y="36"/>
                    <a:pt x="553" y="34"/>
                    <a:pt x="555" y="37"/>
                  </a:cubicBezTo>
                  <a:close/>
                  <a:moveTo>
                    <a:pt x="628" y="29"/>
                  </a:moveTo>
                  <a:cubicBezTo>
                    <a:pt x="631" y="25"/>
                    <a:pt x="623" y="25"/>
                    <a:pt x="622" y="21"/>
                  </a:cubicBezTo>
                  <a:cubicBezTo>
                    <a:pt x="621" y="17"/>
                    <a:pt x="597" y="16"/>
                    <a:pt x="598" y="21"/>
                  </a:cubicBezTo>
                  <a:cubicBezTo>
                    <a:pt x="599" y="25"/>
                    <a:pt x="581" y="30"/>
                    <a:pt x="587" y="34"/>
                  </a:cubicBezTo>
                  <a:cubicBezTo>
                    <a:pt x="597" y="42"/>
                    <a:pt x="625" y="33"/>
                    <a:pt x="628" y="29"/>
                  </a:cubicBezTo>
                  <a:close/>
                  <a:moveTo>
                    <a:pt x="560" y="22"/>
                  </a:moveTo>
                  <a:cubicBezTo>
                    <a:pt x="561" y="13"/>
                    <a:pt x="546" y="20"/>
                    <a:pt x="535" y="16"/>
                  </a:cubicBezTo>
                  <a:cubicBezTo>
                    <a:pt x="524" y="11"/>
                    <a:pt x="517" y="11"/>
                    <a:pt x="525" y="18"/>
                  </a:cubicBezTo>
                  <a:cubicBezTo>
                    <a:pt x="528" y="21"/>
                    <a:pt x="505" y="23"/>
                    <a:pt x="509" y="27"/>
                  </a:cubicBezTo>
                  <a:cubicBezTo>
                    <a:pt x="517" y="35"/>
                    <a:pt x="558" y="31"/>
                    <a:pt x="560" y="22"/>
                  </a:cubicBezTo>
                  <a:close/>
                  <a:moveTo>
                    <a:pt x="496" y="261"/>
                  </a:moveTo>
                  <a:cubicBezTo>
                    <a:pt x="496" y="265"/>
                    <a:pt x="494" y="268"/>
                    <a:pt x="485" y="268"/>
                  </a:cubicBezTo>
                  <a:cubicBezTo>
                    <a:pt x="477" y="268"/>
                    <a:pt x="489" y="273"/>
                    <a:pt x="490" y="278"/>
                  </a:cubicBezTo>
                  <a:cubicBezTo>
                    <a:pt x="491" y="283"/>
                    <a:pt x="482" y="279"/>
                    <a:pt x="481" y="287"/>
                  </a:cubicBezTo>
                  <a:cubicBezTo>
                    <a:pt x="481" y="294"/>
                    <a:pt x="466" y="287"/>
                    <a:pt x="463" y="296"/>
                  </a:cubicBezTo>
                  <a:cubicBezTo>
                    <a:pt x="461" y="305"/>
                    <a:pt x="471" y="304"/>
                    <a:pt x="478" y="305"/>
                  </a:cubicBezTo>
                  <a:cubicBezTo>
                    <a:pt x="485" y="305"/>
                    <a:pt x="475" y="311"/>
                    <a:pt x="481" y="315"/>
                  </a:cubicBezTo>
                  <a:cubicBezTo>
                    <a:pt x="486" y="319"/>
                    <a:pt x="490" y="318"/>
                    <a:pt x="486" y="311"/>
                  </a:cubicBezTo>
                  <a:cubicBezTo>
                    <a:pt x="483" y="303"/>
                    <a:pt x="504" y="313"/>
                    <a:pt x="498" y="319"/>
                  </a:cubicBezTo>
                  <a:cubicBezTo>
                    <a:pt x="491" y="324"/>
                    <a:pt x="508" y="329"/>
                    <a:pt x="516" y="329"/>
                  </a:cubicBezTo>
                  <a:cubicBezTo>
                    <a:pt x="525" y="330"/>
                    <a:pt x="554" y="336"/>
                    <a:pt x="554" y="329"/>
                  </a:cubicBezTo>
                  <a:cubicBezTo>
                    <a:pt x="555" y="325"/>
                    <a:pt x="543" y="321"/>
                    <a:pt x="534" y="311"/>
                  </a:cubicBezTo>
                  <a:cubicBezTo>
                    <a:pt x="525" y="302"/>
                    <a:pt x="519" y="287"/>
                    <a:pt x="529" y="280"/>
                  </a:cubicBezTo>
                  <a:cubicBezTo>
                    <a:pt x="540" y="274"/>
                    <a:pt x="531" y="271"/>
                    <a:pt x="541" y="263"/>
                  </a:cubicBezTo>
                  <a:cubicBezTo>
                    <a:pt x="551" y="256"/>
                    <a:pt x="545" y="249"/>
                    <a:pt x="554" y="248"/>
                  </a:cubicBezTo>
                  <a:cubicBezTo>
                    <a:pt x="562" y="247"/>
                    <a:pt x="553" y="240"/>
                    <a:pt x="561" y="238"/>
                  </a:cubicBezTo>
                  <a:cubicBezTo>
                    <a:pt x="570" y="237"/>
                    <a:pt x="572" y="228"/>
                    <a:pt x="571" y="224"/>
                  </a:cubicBezTo>
                  <a:cubicBezTo>
                    <a:pt x="569" y="221"/>
                    <a:pt x="580" y="225"/>
                    <a:pt x="584" y="219"/>
                  </a:cubicBezTo>
                  <a:cubicBezTo>
                    <a:pt x="589" y="214"/>
                    <a:pt x="600" y="218"/>
                    <a:pt x="604" y="210"/>
                  </a:cubicBezTo>
                  <a:cubicBezTo>
                    <a:pt x="607" y="203"/>
                    <a:pt x="657" y="186"/>
                    <a:pt x="685" y="180"/>
                  </a:cubicBezTo>
                  <a:cubicBezTo>
                    <a:pt x="712" y="173"/>
                    <a:pt x="732" y="162"/>
                    <a:pt x="722" y="154"/>
                  </a:cubicBezTo>
                  <a:cubicBezTo>
                    <a:pt x="712" y="146"/>
                    <a:pt x="684" y="157"/>
                    <a:pt x="677" y="163"/>
                  </a:cubicBezTo>
                  <a:cubicBezTo>
                    <a:pt x="670" y="168"/>
                    <a:pt x="660" y="164"/>
                    <a:pt x="654" y="168"/>
                  </a:cubicBezTo>
                  <a:cubicBezTo>
                    <a:pt x="647" y="172"/>
                    <a:pt x="632" y="176"/>
                    <a:pt x="625" y="171"/>
                  </a:cubicBezTo>
                  <a:cubicBezTo>
                    <a:pt x="617" y="166"/>
                    <a:pt x="609" y="176"/>
                    <a:pt x="603" y="176"/>
                  </a:cubicBezTo>
                  <a:cubicBezTo>
                    <a:pt x="598" y="176"/>
                    <a:pt x="591" y="182"/>
                    <a:pt x="585" y="181"/>
                  </a:cubicBezTo>
                  <a:cubicBezTo>
                    <a:pt x="579" y="181"/>
                    <a:pt x="567" y="186"/>
                    <a:pt x="566" y="189"/>
                  </a:cubicBezTo>
                  <a:cubicBezTo>
                    <a:pt x="565" y="193"/>
                    <a:pt x="555" y="192"/>
                    <a:pt x="555" y="196"/>
                  </a:cubicBezTo>
                  <a:cubicBezTo>
                    <a:pt x="555" y="201"/>
                    <a:pt x="547" y="204"/>
                    <a:pt x="543" y="201"/>
                  </a:cubicBezTo>
                  <a:cubicBezTo>
                    <a:pt x="538" y="197"/>
                    <a:pt x="533" y="205"/>
                    <a:pt x="539" y="210"/>
                  </a:cubicBezTo>
                  <a:cubicBezTo>
                    <a:pt x="545" y="216"/>
                    <a:pt x="528" y="216"/>
                    <a:pt x="531" y="220"/>
                  </a:cubicBezTo>
                  <a:cubicBezTo>
                    <a:pt x="534" y="223"/>
                    <a:pt x="525" y="225"/>
                    <a:pt x="527" y="229"/>
                  </a:cubicBezTo>
                  <a:cubicBezTo>
                    <a:pt x="529" y="233"/>
                    <a:pt x="521" y="235"/>
                    <a:pt x="514" y="236"/>
                  </a:cubicBezTo>
                  <a:cubicBezTo>
                    <a:pt x="508" y="237"/>
                    <a:pt x="504" y="246"/>
                    <a:pt x="512" y="246"/>
                  </a:cubicBezTo>
                  <a:cubicBezTo>
                    <a:pt x="521" y="247"/>
                    <a:pt x="508" y="248"/>
                    <a:pt x="509" y="254"/>
                  </a:cubicBezTo>
                  <a:cubicBezTo>
                    <a:pt x="509" y="261"/>
                    <a:pt x="495" y="256"/>
                    <a:pt x="496" y="2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8" name="Freeform 346"/>
            <p:cNvSpPr>
              <a:spLocks noEditPoints="1"/>
            </p:cNvSpPr>
            <p:nvPr/>
          </p:nvSpPr>
          <p:spPr>
            <a:xfrm>
              <a:off x="5259388" y="1108075"/>
              <a:ext cx="4214813" cy="1614488"/>
            </a:xfrm>
            <a:custGeom>
              <a:gdLst>
                <a:gd name="T0" fmla="*/ 282 w 2485"/>
                <a:gd name="T1" fmla="*/ 794 h 951"/>
                <a:gd name="T2" fmla="*/ 113 w 2485"/>
                <a:gd name="T3" fmla="*/ 611 h 951"/>
                <a:gd name="T4" fmla="*/ 168 w 2485"/>
                <a:gd name="T5" fmla="*/ 350 h 951"/>
                <a:gd name="T6" fmla="*/ 254 w 2485"/>
                <a:gd name="T7" fmla="*/ 464 h 951"/>
                <a:gd name="T8" fmla="*/ 483 w 2485"/>
                <a:gd name="T9" fmla="*/ 388 h 951"/>
                <a:gd name="T10" fmla="*/ 700 w 2485"/>
                <a:gd name="T11" fmla="*/ 338 h 951"/>
                <a:gd name="T12" fmla="*/ 776 w 2485"/>
                <a:gd name="T13" fmla="*/ 439 h 951"/>
                <a:gd name="T14" fmla="*/ 833 w 2485"/>
                <a:gd name="T15" fmla="*/ 298 h 951"/>
                <a:gd name="T16" fmla="*/ 987 w 2485"/>
                <a:gd name="T17" fmla="*/ 209 h 951"/>
                <a:gd name="T18" fmla="*/ 1228 w 2485"/>
                <a:gd name="T19" fmla="*/ 145 h 951"/>
                <a:gd name="T20" fmla="*/ 1304 w 2485"/>
                <a:gd name="T21" fmla="*/ 249 h 951"/>
                <a:gd name="T22" fmla="*/ 1585 w 2485"/>
                <a:gd name="T23" fmla="*/ 277 h 951"/>
                <a:gd name="T24" fmla="*/ 1838 w 2485"/>
                <a:gd name="T25" fmla="*/ 283 h 951"/>
                <a:gd name="T26" fmla="*/ 2175 w 2485"/>
                <a:gd name="T27" fmla="*/ 374 h 951"/>
                <a:gd name="T28" fmla="*/ 2438 w 2485"/>
                <a:gd name="T29" fmla="*/ 482 h 951"/>
                <a:gd name="T30" fmla="*/ 2290 w 2485"/>
                <a:gd name="T31" fmla="*/ 532 h 951"/>
                <a:gd name="T32" fmla="*/ 2013 w 2485"/>
                <a:gd name="T33" fmla="*/ 755 h 951"/>
                <a:gd name="T34" fmla="*/ 1974 w 2485"/>
                <a:gd name="T35" fmla="*/ 575 h 951"/>
                <a:gd name="T36" fmla="*/ 1707 w 2485"/>
                <a:gd name="T37" fmla="*/ 707 h 951"/>
                <a:gd name="T38" fmla="*/ 1662 w 2485"/>
                <a:gd name="T39" fmla="*/ 831 h 951"/>
                <a:gd name="T40" fmla="*/ 1298 w 2485"/>
                <a:gd name="T41" fmla="*/ 807 h 951"/>
                <a:gd name="T42" fmla="*/ 963 w 2485"/>
                <a:gd name="T43" fmla="*/ 801 h 951"/>
                <a:gd name="T44" fmla="*/ 631 w 2485"/>
                <a:gd name="T45" fmla="*/ 713 h 951"/>
                <a:gd name="T46" fmla="*/ 423 w 2485"/>
                <a:gd name="T47" fmla="*/ 794 h 951"/>
                <a:gd name="T48" fmla="*/ 399 w 2485"/>
                <a:gd name="T49" fmla="*/ 832 h 951"/>
                <a:gd name="T50" fmla="*/ 604 w 2485"/>
                <a:gd name="T51" fmla="*/ 745 h 951"/>
                <a:gd name="T52" fmla="*/ 894 w 2485"/>
                <a:gd name="T53" fmla="*/ 767 h 951"/>
                <a:gd name="T54" fmla="*/ 1212 w 2485"/>
                <a:gd name="T55" fmla="*/ 790 h 951"/>
                <a:gd name="T56" fmla="*/ 1581 w 2485"/>
                <a:gd name="T57" fmla="*/ 805 h 951"/>
                <a:gd name="T58" fmla="*/ 1726 w 2485"/>
                <a:gd name="T59" fmla="*/ 715 h 951"/>
                <a:gd name="T60" fmla="*/ 1943 w 2485"/>
                <a:gd name="T61" fmla="*/ 608 h 951"/>
                <a:gd name="T62" fmla="*/ 1974 w 2485"/>
                <a:gd name="T63" fmla="*/ 687 h 951"/>
                <a:gd name="T64" fmla="*/ 2180 w 2485"/>
                <a:gd name="T65" fmla="*/ 580 h 951"/>
                <a:gd name="T66" fmla="*/ 2425 w 2485"/>
                <a:gd name="T67" fmla="*/ 491 h 951"/>
                <a:gd name="T68" fmla="*/ 2243 w 2485"/>
                <a:gd name="T69" fmla="*/ 353 h 951"/>
                <a:gd name="T70" fmla="*/ 1844 w 2485"/>
                <a:gd name="T71" fmla="*/ 288 h 951"/>
                <a:gd name="T72" fmla="*/ 1616 w 2485"/>
                <a:gd name="T73" fmla="*/ 329 h 951"/>
                <a:gd name="T74" fmla="*/ 1358 w 2485"/>
                <a:gd name="T75" fmla="*/ 256 h 951"/>
                <a:gd name="T76" fmla="*/ 1291 w 2485"/>
                <a:gd name="T77" fmla="*/ 158 h 951"/>
                <a:gd name="T78" fmla="*/ 1072 w 2485"/>
                <a:gd name="T79" fmla="*/ 182 h 951"/>
                <a:gd name="T80" fmla="*/ 869 w 2485"/>
                <a:gd name="T81" fmla="*/ 284 h 951"/>
                <a:gd name="T82" fmla="*/ 868 w 2485"/>
                <a:gd name="T83" fmla="*/ 412 h 951"/>
                <a:gd name="T84" fmla="*/ 769 w 2485"/>
                <a:gd name="T85" fmla="*/ 309 h 951"/>
                <a:gd name="T86" fmla="*/ 584 w 2485"/>
                <a:gd name="T87" fmla="*/ 378 h 951"/>
                <a:gd name="T88" fmla="*/ 361 w 2485"/>
                <a:gd name="T89" fmla="*/ 418 h 951"/>
                <a:gd name="T90" fmla="*/ 314 w 2485"/>
                <a:gd name="T91" fmla="*/ 424 h 951"/>
                <a:gd name="T92" fmla="*/ 157 w 2485"/>
                <a:gd name="T93" fmla="*/ 504 h 951"/>
                <a:gd name="T94" fmla="*/ 191 w 2485"/>
                <a:gd name="T95" fmla="*/ 743 h 951"/>
                <a:gd name="T96" fmla="*/ 338 w 2485"/>
                <a:gd name="T97" fmla="*/ 915 h 951"/>
                <a:gd name="T98" fmla="*/ 1808 w 2485"/>
                <a:gd name="T99" fmla="*/ 815 h 951"/>
                <a:gd name="T100" fmla="*/ 18 w 2485"/>
                <a:gd name="T101" fmla="*/ 696 h 951"/>
                <a:gd name="T102" fmla="*/ 497 w 2485"/>
                <a:gd name="T103" fmla="*/ 321 h 951"/>
                <a:gd name="T104" fmla="*/ 586 w 2485"/>
                <a:gd name="T105" fmla="*/ 219 h 951"/>
                <a:gd name="T106" fmla="*/ 532 w 2485"/>
                <a:gd name="T107" fmla="*/ 218 h 951"/>
                <a:gd name="T108" fmla="*/ 881 w 2485"/>
                <a:gd name="T109" fmla="*/ 267 h 951"/>
                <a:gd name="T110" fmla="*/ 1332 w 2485"/>
                <a:gd name="T111" fmla="*/ 229 h 951"/>
                <a:gd name="T112" fmla="*/ 1778 w 2485"/>
                <a:gd name="T113" fmla="*/ 213 h 951"/>
                <a:gd name="T114" fmla="*/ 1240 w 2485"/>
                <a:gd name="T115" fmla="*/ 97 h 951"/>
                <a:gd name="T116" fmla="*/ 1134 w 2485"/>
                <a:gd name="T117" fmla="*/ 58 h 951"/>
                <a:gd name="T118" fmla="*/ 1103 w 2485"/>
                <a:gd name="T119" fmla="*/ 8 h 951"/>
                <a:gd name="T120" fmla="*/ 441 w 2485"/>
                <a:gd name="T121" fmla="*/ 39 h 951"/>
                <a:gd name="T122" fmla="*/ 399 w 2485"/>
                <a:gd name="T123" fmla="*/ 31 h 951"/>
                <a:gd name="T124" fmla="*/ 1051 w 2485"/>
                <a:gd name="T125" fmla="*/ 15 h 9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5" h="951">
                  <a:moveTo>
                    <a:pt x="409" y="951"/>
                  </a:moveTo>
                  <a:cubicBezTo>
                    <a:pt x="409" y="951"/>
                    <a:pt x="408" y="951"/>
                    <a:pt x="407" y="950"/>
                  </a:cubicBezTo>
                  <a:cubicBezTo>
                    <a:pt x="406" y="950"/>
                    <a:pt x="405" y="950"/>
                    <a:pt x="405" y="950"/>
                  </a:cubicBezTo>
                  <a:cubicBezTo>
                    <a:pt x="404" y="950"/>
                    <a:pt x="402" y="949"/>
                    <a:pt x="400" y="947"/>
                  </a:cubicBezTo>
                  <a:cubicBezTo>
                    <a:pt x="398" y="945"/>
                    <a:pt x="396" y="942"/>
                    <a:pt x="394" y="942"/>
                  </a:cubicBezTo>
                  <a:cubicBezTo>
                    <a:pt x="391" y="942"/>
                    <a:pt x="388" y="940"/>
                    <a:pt x="385" y="938"/>
                  </a:cubicBezTo>
                  <a:cubicBezTo>
                    <a:pt x="383" y="937"/>
                    <a:pt x="381" y="936"/>
                    <a:pt x="380" y="936"/>
                  </a:cubicBezTo>
                  <a:cubicBezTo>
                    <a:pt x="380" y="936"/>
                    <a:pt x="380" y="936"/>
                    <a:pt x="380" y="936"/>
                  </a:cubicBezTo>
                  <a:cubicBezTo>
                    <a:pt x="380" y="936"/>
                    <a:pt x="380" y="936"/>
                    <a:pt x="380" y="936"/>
                  </a:cubicBezTo>
                  <a:cubicBezTo>
                    <a:pt x="379" y="936"/>
                    <a:pt x="378" y="934"/>
                    <a:pt x="378" y="931"/>
                  </a:cubicBezTo>
                  <a:cubicBezTo>
                    <a:pt x="377" y="929"/>
                    <a:pt x="377" y="927"/>
                    <a:pt x="376" y="927"/>
                  </a:cubicBezTo>
                  <a:cubicBezTo>
                    <a:pt x="374" y="927"/>
                    <a:pt x="373" y="926"/>
                    <a:pt x="373" y="925"/>
                  </a:cubicBezTo>
                  <a:cubicBezTo>
                    <a:pt x="372" y="925"/>
                    <a:pt x="372" y="925"/>
                    <a:pt x="370" y="925"/>
                  </a:cubicBezTo>
                  <a:cubicBezTo>
                    <a:pt x="360" y="925"/>
                    <a:pt x="357" y="926"/>
                    <a:pt x="356" y="926"/>
                  </a:cubicBezTo>
                  <a:cubicBezTo>
                    <a:pt x="355" y="927"/>
                    <a:pt x="355" y="927"/>
                    <a:pt x="355" y="927"/>
                  </a:cubicBezTo>
                  <a:cubicBezTo>
                    <a:pt x="353" y="927"/>
                    <a:pt x="352" y="926"/>
                    <a:pt x="351" y="924"/>
                  </a:cubicBezTo>
                  <a:cubicBezTo>
                    <a:pt x="349" y="923"/>
                    <a:pt x="348" y="922"/>
                    <a:pt x="347" y="922"/>
                  </a:cubicBezTo>
                  <a:cubicBezTo>
                    <a:pt x="343" y="922"/>
                    <a:pt x="339" y="918"/>
                    <a:pt x="337" y="916"/>
                  </a:cubicBezTo>
                  <a:cubicBezTo>
                    <a:pt x="337" y="915"/>
                    <a:pt x="335" y="915"/>
                    <a:pt x="333" y="915"/>
                  </a:cubicBezTo>
                  <a:cubicBezTo>
                    <a:pt x="332" y="915"/>
                    <a:pt x="330" y="915"/>
                    <a:pt x="328" y="915"/>
                  </a:cubicBezTo>
                  <a:cubicBezTo>
                    <a:pt x="326" y="916"/>
                    <a:pt x="324" y="916"/>
                    <a:pt x="322" y="916"/>
                  </a:cubicBezTo>
                  <a:cubicBezTo>
                    <a:pt x="319" y="916"/>
                    <a:pt x="316" y="915"/>
                    <a:pt x="315" y="914"/>
                  </a:cubicBezTo>
                  <a:cubicBezTo>
                    <a:pt x="311" y="911"/>
                    <a:pt x="304" y="909"/>
                    <a:pt x="299" y="909"/>
                  </a:cubicBezTo>
                  <a:cubicBezTo>
                    <a:pt x="298" y="909"/>
                    <a:pt x="298" y="909"/>
                    <a:pt x="298" y="909"/>
                  </a:cubicBezTo>
                  <a:cubicBezTo>
                    <a:pt x="297" y="909"/>
                    <a:pt x="295" y="910"/>
                    <a:pt x="292" y="912"/>
                  </a:cubicBezTo>
                  <a:cubicBezTo>
                    <a:pt x="292" y="912"/>
                    <a:pt x="292" y="912"/>
                    <a:pt x="292" y="912"/>
                  </a:cubicBezTo>
                  <a:cubicBezTo>
                    <a:pt x="292" y="912"/>
                    <a:pt x="292" y="912"/>
                    <a:pt x="292" y="912"/>
                  </a:cubicBezTo>
                  <a:cubicBezTo>
                    <a:pt x="290" y="911"/>
                    <a:pt x="289" y="910"/>
                    <a:pt x="288" y="908"/>
                  </a:cubicBezTo>
                  <a:cubicBezTo>
                    <a:pt x="278" y="898"/>
                    <a:pt x="269" y="891"/>
                    <a:pt x="261" y="889"/>
                  </a:cubicBezTo>
                  <a:cubicBezTo>
                    <a:pt x="255" y="887"/>
                    <a:pt x="253" y="884"/>
                    <a:pt x="251" y="882"/>
                  </a:cubicBezTo>
                  <a:cubicBezTo>
                    <a:pt x="251" y="881"/>
                    <a:pt x="250" y="880"/>
                    <a:pt x="250" y="880"/>
                  </a:cubicBezTo>
                  <a:cubicBezTo>
                    <a:pt x="248" y="880"/>
                    <a:pt x="248" y="879"/>
                    <a:pt x="248" y="878"/>
                  </a:cubicBezTo>
                  <a:cubicBezTo>
                    <a:pt x="248" y="877"/>
                    <a:pt x="250" y="875"/>
                    <a:pt x="254" y="875"/>
                  </a:cubicBezTo>
                  <a:cubicBezTo>
                    <a:pt x="257" y="875"/>
                    <a:pt x="259" y="875"/>
                    <a:pt x="260" y="874"/>
                  </a:cubicBezTo>
                  <a:cubicBezTo>
                    <a:pt x="261" y="873"/>
                    <a:pt x="261" y="871"/>
                    <a:pt x="261" y="870"/>
                  </a:cubicBezTo>
                  <a:cubicBezTo>
                    <a:pt x="261" y="866"/>
                    <a:pt x="264" y="865"/>
                    <a:pt x="267" y="863"/>
                  </a:cubicBezTo>
                  <a:cubicBezTo>
                    <a:pt x="268" y="863"/>
                    <a:pt x="270" y="862"/>
                    <a:pt x="270" y="861"/>
                  </a:cubicBezTo>
                  <a:cubicBezTo>
                    <a:pt x="270" y="860"/>
                    <a:pt x="268" y="859"/>
                    <a:pt x="266" y="857"/>
                  </a:cubicBezTo>
                  <a:cubicBezTo>
                    <a:pt x="265" y="856"/>
                    <a:pt x="263" y="855"/>
                    <a:pt x="264" y="854"/>
                  </a:cubicBezTo>
                  <a:cubicBezTo>
                    <a:pt x="264" y="853"/>
                    <a:pt x="264" y="853"/>
                    <a:pt x="264" y="853"/>
                  </a:cubicBezTo>
                  <a:cubicBezTo>
                    <a:pt x="268" y="851"/>
                    <a:pt x="281" y="846"/>
                    <a:pt x="282" y="843"/>
                  </a:cubicBezTo>
                  <a:cubicBezTo>
                    <a:pt x="282" y="843"/>
                    <a:pt x="282" y="843"/>
                    <a:pt x="282" y="843"/>
                  </a:cubicBezTo>
                  <a:cubicBezTo>
                    <a:pt x="282" y="843"/>
                    <a:pt x="282" y="842"/>
                    <a:pt x="279" y="842"/>
                  </a:cubicBezTo>
                  <a:cubicBezTo>
                    <a:pt x="276" y="842"/>
                    <a:pt x="272" y="843"/>
                    <a:pt x="268" y="843"/>
                  </a:cubicBezTo>
                  <a:cubicBezTo>
                    <a:pt x="267" y="843"/>
                    <a:pt x="267" y="843"/>
                    <a:pt x="267" y="843"/>
                  </a:cubicBezTo>
                  <a:cubicBezTo>
                    <a:pt x="267" y="843"/>
                    <a:pt x="267" y="843"/>
                    <a:pt x="267" y="843"/>
                  </a:cubicBezTo>
                  <a:cubicBezTo>
                    <a:pt x="267" y="840"/>
                    <a:pt x="266" y="837"/>
                    <a:pt x="267" y="836"/>
                  </a:cubicBezTo>
                  <a:cubicBezTo>
                    <a:pt x="268" y="836"/>
                    <a:pt x="268" y="836"/>
                    <a:pt x="268" y="836"/>
                  </a:cubicBezTo>
                  <a:cubicBezTo>
                    <a:pt x="269" y="835"/>
                    <a:pt x="271" y="834"/>
                    <a:pt x="273" y="832"/>
                  </a:cubicBezTo>
                  <a:cubicBezTo>
                    <a:pt x="276" y="829"/>
                    <a:pt x="278" y="828"/>
                    <a:pt x="279" y="828"/>
                  </a:cubicBezTo>
                  <a:cubicBezTo>
                    <a:pt x="280" y="828"/>
                    <a:pt x="282" y="828"/>
                    <a:pt x="283" y="828"/>
                  </a:cubicBezTo>
                  <a:cubicBezTo>
                    <a:pt x="285" y="828"/>
                    <a:pt x="288" y="829"/>
                    <a:pt x="289" y="829"/>
                  </a:cubicBezTo>
                  <a:cubicBezTo>
                    <a:pt x="291" y="829"/>
                    <a:pt x="291" y="829"/>
                    <a:pt x="291" y="829"/>
                  </a:cubicBezTo>
                  <a:cubicBezTo>
                    <a:pt x="291" y="828"/>
                    <a:pt x="291" y="826"/>
                    <a:pt x="292" y="825"/>
                  </a:cubicBezTo>
                  <a:cubicBezTo>
                    <a:pt x="293" y="823"/>
                    <a:pt x="294" y="821"/>
                    <a:pt x="294" y="820"/>
                  </a:cubicBezTo>
                  <a:cubicBezTo>
                    <a:pt x="293" y="820"/>
                    <a:pt x="293" y="819"/>
                    <a:pt x="292" y="818"/>
                  </a:cubicBezTo>
                  <a:cubicBezTo>
                    <a:pt x="291" y="817"/>
                    <a:pt x="290" y="815"/>
                    <a:pt x="290" y="814"/>
                  </a:cubicBezTo>
                  <a:cubicBezTo>
                    <a:pt x="291" y="813"/>
                    <a:pt x="292" y="813"/>
                    <a:pt x="293" y="812"/>
                  </a:cubicBezTo>
                  <a:cubicBezTo>
                    <a:pt x="294" y="812"/>
                    <a:pt x="295" y="812"/>
                    <a:pt x="295" y="811"/>
                  </a:cubicBezTo>
                  <a:cubicBezTo>
                    <a:pt x="295" y="810"/>
                    <a:pt x="294" y="809"/>
                    <a:pt x="294" y="809"/>
                  </a:cubicBezTo>
                  <a:cubicBezTo>
                    <a:pt x="293" y="808"/>
                    <a:pt x="292" y="807"/>
                    <a:pt x="292" y="807"/>
                  </a:cubicBezTo>
                  <a:cubicBezTo>
                    <a:pt x="292" y="806"/>
                    <a:pt x="293" y="805"/>
                    <a:pt x="294" y="804"/>
                  </a:cubicBezTo>
                  <a:cubicBezTo>
                    <a:pt x="295" y="803"/>
                    <a:pt x="296" y="802"/>
                    <a:pt x="296" y="801"/>
                  </a:cubicBezTo>
                  <a:cubicBezTo>
                    <a:pt x="296" y="799"/>
                    <a:pt x="294" y="798"/>
                    <a:pt x="292" y="798"/>
                  </a:cubicBezTo>
                  <a:cubicBezTo>
                    <a:pt x="291" y="797"/>
                    <a:pt x="289" y="797"/>
                    <a:pt x="288" y="796"/>
                  </a:cubicBezTo>
                  <a:cubicBezTo>
                    <a:pt x="286" y="795"/>
                    <a:pt x="284" y="794"/>
                    <a:pt x="282" y="794"/>
                  </a:cubicBezTo>
                  <a:cubicBezTo>
                    <a:pt x="280" y="794"/>
                    <a:pt x="278" y="794"/>
                    <a:pt x="276" y="793"/>
                  </a:cubicBezTo>
                  <a:cubicBezTo>
                    <a:pt x="274" y="792"/>
                    <a:pt x="270" y="791"/>
                    <a:pt x="268" y="791"/>
                  </a:cubicBezTo>
                  <a:cubicBezTo>
                    <a:pt x="265" y="791"/>
                    <a:pt x="263" y="791"/>
                    <a:pt x="263" y="790"/>
                  </a:cubicBezTo>
                  <a:cubicBezTo>
                    <a:pt x="263" y="790"/>
                    <a:pt x="262" y="788"/>
                    <a:pt x="261" y="787"/>
                  </a:cubicBezTo>
                  <a:cubicBezTo>
                    <a:pt x="259" y="785"/>
                    <a:pt x="258" y="784"/>
                    <a:pt x="257" y="783"/>
                  </a:cubicBezTo>
                  <a:cubicBezTo>
                    <a:pt x="257" y="782"/>
                    <a:pt x="256" y="782"/>
                    <a:pt x="255" y="782"/>
                  </a:cubicBezTo>
                  <a:cubicBezTo>
                    <a:pt x="254" y="782"/>
                    <a:pt x="251" y="782"/>
                    <a:pt x="250" y="784"/>
                  </a:cubicBezTo>
                  <a:cubicBezTo>
                    <a:pt x="248" y="785"/>
                    <a:pt x="246" y="785"/>
                    <a:pt x="245" y="785"/>
                  </a:cubicBezTo>
                  <a:cubicBezTo>
                    <a:pt x="244" y="785"/>
                    <a:pt x="243" y="785"/>
                    <a:pt x="242" y="784"/>
                  </a:cubicBezTo>
                  <a:cubicBezTo>
                    <a:pt x="241" y="784"/>
                    <a:pt x="240" y="783"/>
                    <a:pt x="240" y="783"/>
                  </a:cubicBezTo>
                  <a:cubicBezTo>
                    <a:pt x="238" y="782"/>
                    <a:pt x="237" y="780"/>
                    <a:pt x="235" y="781"/>
                  </a:cubicBezTo>
                  <a:cubicBezTo>
                    <a:pt x="234" y="781"/>
                    <a:pt x="234" y="781"/>
                    <a:pt x="233" y="781"/>
                  </a:cubicBezTo>
                  <a:cubicBezTo>
                    <a:pt x="231" y="781"/>
                    <a:pt x="230" y="781"/>
                    <a:pt x="229" y="780"/>
                  </a:cubicBezTo>
                  <a:cubicBezTo>
                    <a:pt x="229" y="780"/>
                    <a:pt x="229" y="779"/>
                    <a:pt x="229" y="777"/>
                  </a:cubicBezTo>
                  <a:cubicBezTo>
                    <a:pt x="230" y="775"/>
                    <a:pt x="225" y="768"/>
                    <a:pt x="223" y="767"/>
                  </a:cubicBezTo>
                  <a:cubicBezTo>
                    <a:pt x="222" y="766"/>
                    <a:pt x="221" y="766"/>
                    <a:pt x="219" y="766"/>
                  </a:cubicBezTo>
                  <a:cubicBezTo>
                    <a:pt x="217" y="766"/>
                    <a:pt x="213" y="766"/>
                    <a:pt x="212" y="764"/>
                  </a:cubicBezTo>
                  <a:cubicBezTo>
                    <a:pt x="211" y="763"/>
                    <a:pt x="211" y="762"/>
                    <a:pt x="210" y="761"/>
                  </a:cubicBezTo>
                  <a:cubicBezTo>
                    <a:pt x="209" y="759"/>
                    <a:pt x="208" y="757"/>
                    <a:pt x="209" y="755"/>
                  </a:cubicBezTo>
                  <a:cubicBezTo>
                    <a:pt x="210" y="753"/>
                    <a:pt x="208" y="747"/>
                    <a:pt x="207" y="745"/>
                  </a:cubicBezTo>
                  <a:cubicBezTo>
                    <a:pt x="206" y="744"/>
                    <a:pt x="204" y="743"/>
                    <a:pt x="200" y="743"/>
                  </a:cubicBezTo>
                  <a:cubicBezTo>
                    <a:pt x="198" y="743"/>
                    <a:pt x="196" y="743"/>
                    <a:pt x="195" y="744"/>
                  </a:cubicBezTo>
                  <a:cubicBezTo>
                    <a:pt x="195" y="744"/>
                    <a:pt x="194" y="744"/>
                    <a:pt x="193" y="744"/>
                  </a:cubicBezTo>
                  <a:cubicBezTo>
                    <a:pt x="193" y="744"/>
                    <a:pt x="192" y="744"/>
                    <a:pt x="191" y="744"/>
                  </a:cubicBezTo>
                  <a:cubicBezTo>
                    <a:pt x="190" y="744"/>
                    <a:pt x="189" y="744"/>
                    <a:pt x="188" y="744"/>
                  </a:cubicBezTo>
                  <a:cubicBezTo>
                    <a:pt x="187" y="744"/>
                    <a:pt x="186" y="744"/>
                    <a:pt x="186" y="744"/>
                  </a:cubicBezTo>
                  <a:cubicBezTo>
                    <a:pt x="185" y="745"/>
                    <a:pt x="185" y="745"/>
                    <a:pt x="184" y="746"/>
                  </a:cubicBezTo>
                  <a:cubicBezTo>
                    <a:pt x="183" y="747"/>
                    <a:pt x="181" y="748"/>
                    <a:pt x="179" y="748"/>
                  </a:cubicBezTo>
                  <a:cubicBezTo>
                    <a:pt x="175" y="748"/>
                    <a:pt x="174" y="747"/>
                    <a:pt x="172" y="740"/>
                  </a:cubicBezTo>
                  <a:cubicBezTo>
                    <a:pt x="172" y="737"/>
                    <a:pt x="171" y="735"/>
                    <a:pt x="171" y="734"/>
                  </a:cubicBezTo>
                  <a:cubicBezTo>
                    <a:pt x="169" y="730"/>
                    <a:pt x="169" y="727"/>
                    <a:pt x="170" y="726"/>
                  </a:cubicBezTo>
                  <a:cubicBezTo>
                    <a:pt x="170" y="725"/>
                    <a:pt x="171" y="725"/>
                    <a:pt x="172" y="725"/>
                  </a:cubicBezTo>
                  <a:cubicBezTo>
                    <a:pt x="173" y="725"/>
                    <a:pt x="174" y="725"/>
                    <a:pt x="176" y="726"/>
                  </a:cubicBezTo>
                  <a:cubicBezTo>
                    <a:pt x="178" y="727"/>
                    <a:pt x="179" y="728"/>
                    <a:pt x="181" y="727"/>
                  </a:cubicBezTo>
                  <a:cubicBezTo>
                    <a:pt x="187" y="724"/>
                    <a:pt x="188" y="722"/>
                    <a:pt x="188" y="721"/>
                  </a:cubicBezTo>
                  <a:cubicBezTo>
                    <a:pt x="187" y="718"/>
                    <a:pt x="182" y="714"/>
                    <a:pt x="180" y="714"/>
                  </a:cubicBezTo>
                  <a:cubicBezTo>
                    <a:pt x="179" y="714"/>
                    <a:pt x="178" y="712"/>
                    <a:pt x="176" y="711"/>
                  </a:cubicBezTo>
                  <a:cubicBezTo>
                    <a:pt x="175" y="709"/>
                    <a:pt x="174" y="707"/>
                    <a:pt x="172" y="706"/>
                  </a:cubicBezTo>
                  <a:cubicBezTo>
                    <a:pt x="169" y="705"/>
                    <a:pt x="168" y="703"/>
                    <a:pt x="167" y="701"/>
                  </a:cubicBezTo>
                  <a:cubicBezTo>
                    <a:pt x="167" y="699"/>
                    <a:pt x="166" y="698"/>
                    <a:pt x="165" y="697"/>
                  </a:cubicBezTo>
                  <a:cubicBezTo>
                    <a:pt x="162" y="695"/>
                    <a:pt x="162" y="692"/>
                    <a:pt x="163" y="689"/>
                  </a:cubicBezTo>
                  <a:cubicBezTo>
                    <a:pt x="163" y="688"/>
                    <a:pt x="163" y="687"/>
                    <a:pt x="163" y="686"/>
                  </a:cubicBezTo>
                  <a:cubicBezTo>
                    <a:pt x="163" y="685"/>
                    <a:pt x="163" y="684"/>
                    <a:pt x="163" y="682"/>
                  </a:cubicBezTo>
                  <a:cubicBezTo>
                    <a:pt x="163" y="680"/>
                    <a:pt x="163" y="677"/>
                    <a:pt x="162" y="676"/>
                  </a:cubicBezTo>
                  <a:cubicBezTo>
                    <a:pt x="161" y="676"/>
                    <a:pt x="161" y="676"/>
                    <a:pt x="161" y="676"/>
                  </a:cubicBezTo>
                  <a:cubicBezTo>
                    <a:pt x="159" y="675"/>
                    <a:pt x="154" y="672"/>
                    <a:pt x="150" y="672"/>
                  </a:cubicBezTo>
                  <a:cubicBezTo>
                    <a:pt x="150" y="672"/>
                    <a:pt x="149" y="672"/>
                    <a:pt x="149" y="673"/>
                  </a:cubicBezTo>
                  <a:cubicBezTo>
                    <a:pt x="148" y="673"/>
                    <a:pt x="148" y="673"/>
                    <a:pt x="148" y="673"/>
                  </a:cubicBezTo>
                  <a:cubicBezTo>
                    <a:pt x="146" y="674"/>
                    <a:pt x="145" y="674"/>
                    <a:pt x="143" y="674"/>
                  </a:cubicBezTo>
                  <a:cubicBezTo>
                    <a:pt x="142" y="674"/>
                    <a:pt x="141" y="674"/>
                    <a:pt x="140" y="672"/>
                  </a:cubicBezTo>
                  <a:cubicBezTo>
                    <a:pt x="139" y="669"/>
                    <a:pt x="136" y="668"/>
                    <a:pt x="133" y="669"/>
                  </a:cubicBezTo>
                  <a:cubicBezTo>
                    <a:pt x="133" y="669"/>
                    <a:pt x="132" y="669"/>
                    <a:pt x="131" y="669"/>
                  </a:cubicBezTo>
                  <a:cubicBezTo>
                    <a:pt x="129" y="669"/>
                    <a:pt x="127" y="668"/>
                    <a:pt x="125" y="667"/>
                  </a:cubicBezTo>
                  <a:cubicBezTo>
                    <a:pt x="124" y="666"/>
                    <a:pt x="124" y="664"/>
                    <a:pt x="123" y="662"/>
                  </a:cubicBezTo>
                  <a:cubicBezTo>
                    <a:pt x="123" y="660"/>
                    <a:pt x="122" y="658"/>
                    <a:pt x="121" y="657"/>
                  </a:cubicBezTo>
                  <a:cubicBezTo>
                    <a:pt x="119" y="654"/>
                    <a:pt x="116" y="650"/>
                    <a:pt x="117" y="648"/>
                  </a:cubicBezTo>
                  <a:cubicBezTo>
                    <a:pt x="118" y="646"/>
                    <a:pt x="118" y="643"/>
                    <a:pt x="115" y="640"/>
                  </a:cubicBezTo>
                  <a:cubicBezTo>
                    <a:pt x="113" y="638"/>
                    <a:pt x="112" y="636"/>
                    <a:pt x="112" y="634"/>
                  </a:cubicBezTo>
                  <a:cubicBezTo>
                    <a:pt x="112" y="633"/>
                    <a:pt x="113" y="632"/>
                    <a:pt x="113" y="632"/>
                  </a:cubicBezTo>
                  <a:cubicBezTo>
                    <a:pt x="114" y="631"/>
                    <a:pt x="115" y="631"/>
                    <a:pt x="116" y="631"/>
                  </a:cubicBezTo>
                  <a:cubicBezTo>
                    <a:pt x="117" y="630"/>
                    <a:pt x="117" y="630"/>
                    <a:pt x="118" y="629"/>
                  </a:cubicBezTo>
                  <a:cubicBezTo>
                    <a:pt x="118" y="629"/>
                    <a:pt x="118" y="628"/>
                    <a:pt x="117" y="628"/>
                  </a:cubicBezTo>
                  <a:cubicBezTo>
                    <a:pt x="117" y="627"/>
                    <a:pt x="117" y="627"/>
                    <a:pt x="117" y="627"/>
                  </a:cubicBezTo>
                  <a:cubicBezTo>
                    <a:pt x="115" y="624"/>
                    <a:pt x="114" y="623"/>
                    <a:pt x="114" y="620"/>
                  </a:cubicBezTo>
                  <a:cubicBezTo>
                    <a:pt x="114" y="618"/>
                    <a:pt x="113" y="617"/>
                    <a:pt x="113" y="616"/>
                  </a:cubicBezTo>
                  <a:cubicBezTo>
                    <a:pt x="113" y="614"/>
                    <a:pt x="113" y="613"/>
                    <a:pt x="113" y="611"/>
                  </a:cubicBezTo>
                  <a:cubicBezTo>
                    <a:pt x="113" y="610"/>
                    <a:pt x="114" y="609"/>
                    <a:pt x="115" y="608"/>
                  </a:cubicBezTo>
                  <a:cubicBezTo>
                    <a:pt x="116" y="607"/>
                    <a:pt x="117" y="606"/>
                    <a:pt x="118" y="604"/>
                  </a:cubicBezTo>
                  <a:cubicBezTo>
                    <a:pt x="118" y="602"/>
                    <a:pt x="119" y="601"/>
                    <a:pt x="120" y="600"/>
                  </a:cubicBezTo>
                  <a:cubicBezTo>
                    <a:pt x="122" y="599"/>
                    <a:pt x="123" y="598"/>
                    <a:pt x="121" y="594"/>
                  </a:cubicBezTo>
                  <a:cubicBezTo>
                    <a:pt x="120" y="594"/>
                    <a:pt x="120" y="594"/>
                    <a:pt x="120" y="594"/>
                  </a:cubicBezTo>
                  <a:cubicBezTo>
                    <a:pt x="121" y="594"/>
                    <a:pt x="121" y="594"/>
                    <a:pt x="121" y="594"/>
                  </a:cubicBezTo>
                  <a:cubicBezTo>
                    <a:pt x="121" y="593"/>
                    <a:pt x="122" y="593"/>
                    <a:pt x="122" y="592"/>
                  </a:cubicBezTo>
                  <a:cubicBezTo>
                    <a:pt x="123" y="591"/>
                    <a:pt x="124" y="589"/>
                    <a:pt x="128" y="588"/>
                  </a:cubicBezTo>
                  <a:cubicBezTo>
                    <a:pt x="131" y="587"/>
                    <a:pt x="133" y="586"/>
                    <a:pt x="135" y="585"/>
                  </a:cubicBezTo>
                  <a:cubicBezTo>
                    <a:pt x="137" y="584"/>
                    <a:pt x="138" y="583"/>
                    <a:pt x="141" y="583"/>
                  </a:cubicBezTo>
                  <a:cubicBezTo>
                    <a:pt x="142" y="583"/>
                    <a:pt x="142" y="583"/>
                    <a:pt x="142" y="583"/>
                  </a:cubicBezTo>
                  <a:cubicBezTo>
                    <a:pt x="144" y="584"/>
                    <a:pt x="146" y="584"/>
                    <a:pt x="147" y="584"/>
                  </a:cubicBezTo>
                  <a:cubicBezTo>
                    <a:pt x="149" y="584"/>
                    <a:pt x="149" y="583"/>
                    <a:pt x="149" y="583"/>
                  </a:cubicBezTo>
                  <a:cubicBezTo>
                    <a:pt x="149" y="583"/>
                    <a:pt x="149" y="583"/>
                    <a:pt x="149" y="582"/>
                  </a:cubicBezTo>
                  <a:cubicBezTo>
                    <a:pt x="148" y="581"/>
                    <a:pt x="146" y="581"/>
                    <a:pt x="143" y="581"/>
                  </a:cubicBezTo>
                  <a:cubicBezTo>
                    <a:pt x="141" y="581"/>
                    <a:pt x="138" y="581"/>
                    <a:pt x="136" y="580"/>
                  </a:cubicBezTo>
                  <a:cubicBezTo>
                    <a:pt x="135" y="578"/>
                    <a:pt x="134" y="576"/>
                    <a:pt x="132" y="575"/>
                  </a:cubicBezTo>
                  <a:cubicBezTo>
                    <a:pt x="131" y="572"/>
                    <a:pt x="130" y="570"/>
                    <a:pt x="128" y="570"/>
                  </a:cubicBezTo>
                  <a:cubicBezTo>
                    <a:pt x="128" y="570"/>
                    <a:pt x="128" y="570"/>
                    <a:pt x="127" y="570"/>
                  </a:cubicBezTo>
                  <a:cubicBezTo>
                    <a:pt x="126" y="571"/>
                    <a:pt x="124" y="572"/>
                    <a:pt x="121" y="572"/>
                  </a:cubicBezTo>
                  <a:cubicBezTo>
                    <a:pt x="120" y="573"/>
                    <a:pt x="120" y="573"/>
                    <a:pt x="120" y="573"/>
                  </a:cubicBezTo>
                  <a:cubicBezTo>
                    <a:pt x="121" y="572"/>
                    <a:pt x="121" y="572"/>
                    <a:pt x="121" y="572"/>
                  </a:cubicBezTo>
                  <a:cubicBezTo>
                    <a:pt x="123" y="568"/>
                    <a:pt x="126" y="565"/>
                    <a:pt x="128" y="563"/>
                  </a:cubicBezTo>
                  <a:cubicBezTo>
                    <a:pt x="130" y="560"/>
                    <a:pt x="133" y="558"/>
                    <a:pt x="137" y="556"/>
                  </a:cubicBezTo>
                  <a:cubicBezTo>
                    <a:pt x="142" y="553"/>
                    <a:pt x="148" y="549"/>
                    <a:pt x="150" y="545"/>
                  </a:cubicBezTo>
                  <a:cubicBezTo>
                    <a:pt x="152" y="541"/>
                    <a:pt x="157" y="537"/>
                    <a:pt x="161" y="534"/>
                  </a:cubicBezTo>
                  <a:cubicBezTo>
                    <a:pt x="166" y="531"/>
                    <a:pt x="170" y="527"/>
                    <a:pt x="171" y="524"/>
                  </a:cubicBezTo>
                  <a:cubicBezTo>
                    <a:pt x="173" y="521"/>
                    <a:pt x="173" y="519"/>
                    <a:pt x="168" y="513"/>
                  </a:cubicBezTo>
                  <a:cubicBezTo>
                    <a:pt x="165" y="510"/>
                    <a:pt x="161" y="507"/>
                    <a:pt x="157" y="505"/>
                  </a:cubicBezTo>
                  <a:cubicBezTo>
                    <a:pt x="153" y="502"/>
                    <a:pt x="149" y="501"/>
                    <a:pt x="149" y="499"/>
                  </a:cubicBezTo>
                  <a:cubicBezTo>
                    <a:pt x="149" y="497"/>
                    <a:pt x="151" y="495"/>
                    <a:pt x="154" y="494"/>
                  </a:cubicBezTo>
                  <a:cubicBezTo>
                    <a:pt x="156" y="493"/>
                    <a:pt x="158" y="492"/>
                    <a:pt x="158" y="490"/>
                  </a:cubicBezTo>
                  <a:cubicBezTo>
                    <a:pt x="158" y="488"/>
                    <a:pt x="156" y="487"/>
                    <a:pt x="154" y="486"/>
                  </a:cubicBezTo>
                  <a:cubicBezTo>
                    <a:pt x="153" y="485"/>
                    <a:pt x="151" y="484"/>
                    <a:pt x="150" y="483"/>
                  </a:cubicBezTo>
                  <a:cubicBezTo>
                    <a:pt x="149" y="480"/>
                    <a:pt x="150" y="478"/>
                    <a:pt x="152" y="477"/>
                  </a:cubicBezTo>
                  <a:cubicBezTo>
                    <a:pt x="152" y="476"/>
                    <a:pt x="153" y="476"/>
                    <a:pt x="153" y="475"/>
                  </a:cubicBezTo>
                  <a:cubicBezTo>
                    <a:pt x="152" y="475"/>
                    <a:pt x="151" y="474"/>
                    <a:pt x="149" y="474"/>
                  </a:cubicBezTo>
                  <a:cubicBezTo>
                    <a:pt x="148" y="473"/>
                    <a:pt x="145" y="472"/>
                    <a:pt x="145" y="471"/>
                  </a:cubicBezTo>
                  <a:cubicBezTo>
                    <a:pt x="145" y="469"/>
                    <a:pt x="146" y="469"/>
                    <a:pt x="147" y="468"/>
                  </a:cubicBezTo>
                  <a:cubicBezTo>
                    <a:pt x="148" y="468"/>
                    <a:pt x="149" y="467"/>
                    <a:pt x="149" y="466"/>
                  </a:cubicBezTo>
                  <a:cubicBezTo>
                    <a:pt x="148" y="466"/>
                    <a:pt x="148" y="465"/>
                    <a:pt x="148" y="464"/>
                  </a:cubicBezTo>
                  <a:cubicBezTo>
                    <a:pt x="146" y="462"/>
                    <a:pt x="144" y="458"/>
                    <a:pt x="147" y="455"/>
                  </a:cubicBezTo>
                  <a:cubicBezTo>
                    <a:pt x="148" y="453"/>
                    <a:pt x="149" y="453"/>
                    <a:pt x="151" y="452"/>
                  </a:cubicBezTo>
                  <a:cubicBezTo>
                    <a:pt x="152" y="452"/>
                    <a:pt x="153" y="452"/>
                    <a:pt x="153" y="451"/>
                  </a:cubicBezTo>
                  <a:cubicBezTo>
                    <a:pt x="153" y="451"/>
                    <a:pt x="153" y="449"/>
                    <a:pt x="151" y="447"/>
                  </a:cubicBezTo>
                  <a:cubicBezTo>
                    <a:pt x="147" y="439"/>
                    <a:pt x="141" y="429"/>
                    <a:pt x="138" y="426"/>
                  </a:cubicBezTo>
                  <a:cubicBezTo>
                    <a:pt x="138" y="425"/>
                    <a:pt x="138" y="425"/>
                    <a:pt x="138" y="425"/>
                  </a:cubicBezTo>
                  <a:cubicBezTo>
                    <a:pt x="137" y="424"/>
                    <a:pt x="137" y="423"/>
                    <a:pt x="137" y="422"/>
                  </a:cubicBezTo>
                  <a:cubicBezTo>
                    <a:pt x="138" y="420"/>
                    <a:pt x="140" y="417"/>
                    <a:pt x="142" y="415"/>
                  </a:cubicBezTo>
                  <a:cubicBezTo>
                    <a:pt x="145" y="414"/>
                    <a:pt x="151" y="407"/>
                    <a:pt x="151" y="405"/>
                  </a:cubicBezTo>
                  <a:cubicBezTo>
                    <a:pt x="151" y="403"/>
                    <a:pt x="143" y="396"/>
                    <a:pt x="141" y="395"/>
                  </a:cubicBezTo>
                  <a:cubicBezTo>
                    <a:pt x="140" y="394"/>
                    <a:pt x="139" y="394"/>
                    <a:pt x="138" y="394"/>
                  </a:cubicBezTo>
                  <a:cubicBezTo>
                    <a:pt x="136" y="393"/>
                    <a:pt x="133" y="393"/>
                    <a:pt x="131" y="389"/>
                  </a:cubicBezTo>
                  <a:cubicBezTo>
                    <a:pt x="131" y="388"/>
                    <a:pt x="130" y="387"/>
                    <a:pt x="130" y="387"/>
                  </a:cubicBezTo>
                  <a:cubicBezTo>
                    <a:pt x="129" y="384"/>
                    <a:pt x="128" y="383"/>
                    <a:pt x="129" y="381"/>
                  </a:cubicBezTo>
                  <a:cubicBezTo>
                    <a:pt x="131" y="378"/>
                    <a:pt x="131" y="376"/>
                    <a:pt x="131" y="373"/>
                  </a:cubicBezTo>
                  <a:cubicBezTo>
                    <a:pt x="131" y="372"/>
                    <a:pt x="133" y="371"/>
                    <a:pt x="134" y="371"/>
                  </a:cubicBezTo>
                  <a:cubicBezTo>
                    <a:pt x="135" y="371"/>
                    <a:pt x="137" y="371"/>
                    <a:pt x="137" y="369"/>
                  </a:cubicBezTo>
                  <a:cubicBezTo>
                    <a:pt x="138" y="365"/>
                    <a:pt x="143" y="360"/>
                    <a:pt x="147" y="360"/>
                  </a:cubicBezTo>
                  <a:cubicBezTo>
                    <a:pt x="149" y="360"/>
                    <a:pt x="151" y="358"/>
                    <a:pt x="153" y="357"/>
                  </a:cubicBezTo>
                  <a:cubicBezTo>
                    <a:pt x="155" y="356"/>
                    <a:pt x="157" y="354"/>
                    <a:pt x="159" y="354"/>
                  </a:cubicBezTo>
                  <a:cubicBezTo>
                    <a:pt x="159" y="354"/>
                    <a:pt x="159" y="354"/>
                    <a:pt x="160" y="354"/>
                  </a:cubicBezTo>
                  <a:cubicBezTo>
                    <a:pt x="164" y="355"/>
                    <a:pt x="166" y="354"/>
                    <a:pt x="166" y="350"/>
                  </a:cubicBezTo>
                  <a:cubicBezTo>
                    <a:pt x="167" y="349"/>
                    <a:pt x="167" y="349"/>
                    <a:pt x="167" y="349"/>
                  </a:cubicBezTo>
                  <a:cubicBezTo>
                    <a:pt x="167" y="349"/>
                    <a:pt x="167" y="349"/>
                    <a:pt x="167" y="349"/>
                  </a:cubicBezTo>
                  <a:cubicBezTo>
                    <a:pt x="168" y="349"/>
                    <a:pt x="168" y="350"/>
                    <a:pt x="168" y="350"/>
                  </a:cubicBezTo>
                  <a:cubicBezTo>
                    <a:pt x="170" y="351"/>
                    <a:pt x="172" y="352"/>
                    <a:pt x="173" y="352"/>
                  </a:cubicBezTo>
                  <a:cubicBezTo>
                    <a:pt x="174" y="352"/>
                    <a:pt x="176" y="352"/>
                    <a:pt x="176" y="351"/>
                  </a:cubicBezTo>
                  <a:cubicBezTo>
                    <a:pt x="177" y="348"/>
                    <a:pt x="179" y="346"/>
                    <a:pt x="182" y="346"/>
                  </a:cubicBezTo>
                  <a:cubicBezTo>
                    <a:pt x="183" y="346"/>
                    <a:pt x="185" y="347"/>
                    <a:pt x="187" y="348"/>
                  </a:cubicBezTo>
                  <a:cubicBezTo>
                    <a:pt x="190" y="350"/>
                    <a:pt x="192" y="350"/>
                    <a:pt x="194" y="350"/>
                  </a:cubicBezTo>
                  <a:cubicBezTo>
                    <a:pt x="196" y="351"/>
                    <a:pt x="197" y="351"/>
                    <a:pt x="197" y="353"/>
                  </a:cubicBezTo>
                  <a:cubicBezTo>
                    <a:pt x="197" y="354"/>
                    <a:pt x="197" y="354"/>
                    <a:pt x="197" y="354"/>
                  </a:cubicBezTo>
                  <a:cubicBezTo>
                    <a:pt x="196" y="355"/>
                    <a:pt x="194" y="355"/>
                    <a:pt x="191" y="355"/>
                  </a:cubicBezTo>
                  <a:cubicBezTo>
                    <a:pt x="189" y="356"/>
                    <a:pt x="187" y="356"/>
                    <a:pt x="186" y="356"/>
                  </a:cubicBezTo>
                  <a:cubicBezTo>
                    <a:pt x="186" y="357"/>
                    <a:pt x="186" y="358"/>
                    <a:pt x="186" y="358"/>
                  </a:cubicBezTo>
                  <a:cubicBezTo>
                    <a:pt x="187" y="359"/>
                    <a:pt x="189" y="361"/>
                    <a:pt x="191" y="361"/>
                  </a:cubicBezTo>
                  <a:cubicBezTo>
                    <a:pt x="192" y="361"/>
                    <a:pt x="193" y="361"/>
                    <a:pt x="194" y="360"/>
                  </a:cubicBezTo>
                  <a:cubicBezTo>
                    <a:pt x="195" y="360"/>
                    <a:pt x="196" y="360"/>
                    <a:pt x="197" y="360"/>
                  </a:cubicBezTo>
                  <a:cubicBezTo>
                    <a:pt x="199" y="360"/>
                    <a:pt x="200" y="361"/>
                    <a:pt x="202" y="361"/>
                  </a:cubicBezTo>
                  <a:cubicBezTo>
                    <a:pt x="204" y="362"/>
                    <a:pt x="206" y="362"/>
                    <a:pt x="207" y="361"/>
                  </a:cubicBezTo>
                  <a:cubicBezTo>
                    <a:pt x="209" y="360"/>
                    <a:pt x="211" y="359"/>
                    <a:pt x="213" y="359"/>
                  </a:cubicBezTo>
                  <a:cubicBezTo>
                    <a:pt x="215" y="359"/>
                    <a:pt x="217" y="360"/>
                    <a:pt x="218" y="362"/>
                  </a:cubicBezTo>
                  <a:cubicBezTo>
                    <a:pt x="219" y="363"/>
                    <a:pt x="220" y="364"/>
                    <a:pt x="221" y="364"/>
                  </a:cubicBezTo>
                  <a:cubicBezTo>
                    <a:pt x="222" y="364"/>
                    <a:pt x="224" y="363"/>
                    <a:pt x="225" y="362"/>
                  </a:cubicBezTo>
                  <a:cubicBezTo>
                    <a:pt x="226" y="362"/>
                    <a:pt x="226" y="362"/>
                    <a:pt x="227" y="362"/>
                  </a:cubicBezTo>
                  <a:cubicBezTo>
                    <a:pt x="232" y="362"/>
                    <a:pt x="248" y="368"/>
                    <a:pt x="260" y="376"/>
                  </a:cubicBezTo>
                  <a:cubicBezTo>
                    <a:pt x="262" y="377"/>
                    <a:pt x="262" y="377"/>
                    <a:pt x="262" y="377"/>
                  </a:cubicBezTo>
                  <a:cubicBezTo>
                    <a:pt x="273" y="384"/>
                    <a:pt x="276" y="387"/>
                    <a:pt x="281" y="386"/>
                  </a:cubicBezTo>
                  <a:cubicBezTo>
                    <a:pt x="283" y="386"/>
                    <a:pt x="285" y="388"/>
                    <a:pt x="286" y="389"/>
                  </a:cubicBezTo>
                  <a:cubicBezTo>
                    <a:pt x="288" y="391"/>
                    <a:pt x="290" y="393"/>
                    <a:pt x="293" y="393"/>
                  </a:cubicBezTo>
                  <a:cubicBezTo>
                    <a:pt x="299" y="393"/>
                    <a:pt x="304" y="398"/>
                    <a:pt x="305" y="401"/>
                  </a:cubicBezTo>
                  <a:cubicBezTo>
                    <a:pt x="306" y="402"/>
                    <a:pt x="307" y="402"/>
                    <a:pt x="309" y="403"/>
                  </a:cubicBezTo>
                  <a:cubicBezTo>
                    <a:pt x="311" y="404"/>
                    <a:pt x="314" y="405"/>
                    <a:pt x="314" y="407"/>
                  </a:cubicBezTo>
                  <a:cubicBezTo>
                    <a:pt x="314" y="408"/>
                    <a:pt x="314" y="410"/>
                    <a:pt x="315" y="412"/>
                  </a:cubicBezTo>
                  <a:cubicBezTo>
                    <a:pt x="316" y="416"/>
                    <a:pt x="318" y="421"/>
                    <a:pt x="315" y="425"/>
                  </a:cubicBezTo>
                  <a:cubicBezTo>
                    <a:pt x="310" y="430"/>
                    <a:pt x="291" y="444"/>
                    <a:pt x="276" y="444"/>
                  </a:cubicBezTo>
                  <a:cubicBezTo>
                    <a:pt x="275" y="444"/>
                    <a:pt x="273" y="444"/>
                    <a:pt x="272" y="443"/>
                  </a:cubicBezTo>
                  <a:cubicBezTo>
                    <a:pt x="259" y="442"/>
                    <a:pt x="252" y="440"/>
                    <a:pt x="244" y="439"/>
                  </a:cubicBezTo>
                  <a:cubicBezTo>
                    <a:pt x="242" y="439"/>
                    <a:pt x="240" y="438"/>
                    <a:pt x="238" y="438"/>
                  </a:cubicBezTo>
                  <a:cubicBezTo>
                    <a:pt x="233" y="437"/>
                    <a:pt x="229" y="435"/>
                    <a:pt x="225" y="434"/>
                  </a:cubicBezTo>
                  <a:cubicBezTo>
                    <a:pt x="222" y="432"/>
                    <a:pt x="218" y="431"/>
                    <a:pt x="213" y="430"/>
                  </a:cubicBezTo>
                  <a:cubicBezTo>
                    <a:pt x="204" y="429"/>
                    <a:pt x="197" y="426"/>
                    <a:pt x="192" y="421"/>
                  </a:cubicBezTo>
                  <a:cubicBezTo>
                    <a:pt x="189" y="417"/>
                    <a:pt x="183" y="416"/>
                    <a:pt x="181" y="417"/>
                  </a:cubicBezTo>
                  <a:cubicBezTo>
                    <a:pt x="182" y="417"/>
                    <a:pt x="182" y="417"/>
                    <a:pt x="182" y="417"/>
                  </a:cubicBezTo>
                  <a:cubicBezTo>
                    <a:pt x="184" y="418"/>
                    <a:pt x="186" y="419"/>
                    <a:pt x="187" y="421"/>
                  </a:cubicBezTo>
                  <a:cubicBezTo>
                    <a:pt x="187" y="424"/>
                    <a:pt x="196" y="432"/>
                    <a:pt x="201" y="433"/>
                  </a:cubicBezTo>
                  <a:cubicBezTo>
                    <a:pt x="203" y="433"/>
                    <a:pt x="204" y="435"/>
                    <a:pt x="205" y="436"/>
                  </a:cubicBezTo>
                  <a:cubicBezTo>
                    <a:pt x="206" y="438"/>
                    <a:pt x="207" y="439"/>
                    <a:pt x="209" y="439"/>
                  </a:cubicBezTo>
                  <a:cubicBezTo>
                    <a:pt x="213" y="439"/>
                    <a:pt x="217" y="441"/>
                    <a:pt x="219" y="444"/>
                  </a:cubicBezTo>
                  <a:cubicBezTo>
                    <a:pt x="220" y="445"/>
                    <a:pt x="221" y="446"/>
                    <a:pt x="221" y="448"/>
                  </a:cubicBezTo>
                  <a:cubicBezTo>
                    <a:pt x="221" y="449"/>
                    <a:pt x="221" y="450"/>
                    <a:pt x="221" y="451"/>
                  </a:cubicBezTo>
                  <a:cubicBezTo>
                    <a:pt x="222" y="453"/>
                    <a:pt x="222" y="456"/>
                    <a:pt x="220" y="457"/>
                  </a:cubicBezTo>
                  <a:cubicBezTo>
                    <a:pt x="218" y="459"/>
                    <a:pt x="218" y="461"/>
                    <a:pt x="219" y="463"/>
                  </a:cubicBezTo>
                  <a:cubicBezTo>
                    <a:pt x="219" y="465"/>
                    <a:pt x="220" y="466"/>
                    <a:pt x="220" y="466"/>
                  </a:cubicBezTo>
                  <a:cubicBezTo>
                    <a:pt x="219" y="467"/>
                    <a:pt x="220" y="468"/>
                    <a:pt x="221" y="469"/>
                  </a:cubicBezTo>
                  <a:cubicBezTo>
                    <a:pt x="222" y="471"/>
                    <a:pt x="223" y="474"/>
                    <a:pt x="223" y="477"/>
                  </a:cubicBezTo>
                  <a:cubicBezTo>
                    <a:pt x="223" y="480"/>
                    <a:pt x="223" y="482"/>
                    <a:pt x="224" y="484"/>
                  </a:cubicBezTo>
                  <a:cubicBezTo>
                    <a:pt x="225" y="485"/>
                    <a:pt x="227" y="485"/>
                    <a:pt x="230" y="485"/>
                  </a:cubicBezTo>
                  <a:cubicBezTo>
                    <a:pt x="231" y="485"/>
                    <a:pt x="231" y="485"/>
                    <a:pt x="232" y="485"/>
                  </a:cubicBezTo>
                  <a:cubicBezTo>
                    <a:pt x="238" y="485"/>
                    <a:pt x="244" y="489"/>
                    <a:pt x="244" y="493"/>
                  </a:cubicBezTo>
                  <a:cubicBezTo>
                    <a:pt x="244" y="494"/>
                    <a:pt x="246" y="494"/>
                    <a:pt x="249" y="494"/>
                  </a:cubicBezTo>
                  <a:cubicBezTo>
                    <a:pt x="251" y="494"/>
                    <a:pt x="254" y="495"/>
                    <a:pt x="255" y="496"/>
                  </a:cubicBezTo>
                  <a:cubicBezTo>
                    <a:pt x="256" y="497"/>
                    <a:pt x="257" y="497"/>
                    <a:pt x="258" y="497"/>
                  </a:cubicBezTo>
                  <a:cubicBezTo>
                    <a:pt x="261" y="497"/>
                    <a:pt x="265" y="496"/>
                    <a:pt x="265" y="494"/>
                  </a:cubicBezTo>
                  <a:cubicBezTo>
                    <a:pt x="266" y="492"/>
                    <a:pt x="267" y="489"/>
                    <a:pt x="266" y="487"/>
                  </a:cubicBezTo>
                  <a:cubicBezTo>
                    <a:pt x="266" y="487"/>
                    <a:pt x="265" y="486"/>
                    <a:pt x="264" y="486"/>
                  </a:cubicBezTo>
                  <a:cubicBezTo>
                    <a:pt x="261" y="486"/>
                    <a:pt x="252" y="486"/>
                    <a:pt x="250" y="481"/>
                  </a:cubicBezTo>
                  <a:cubicBezTo>
                    <a:pt x="249" y="479"/>
                    <a:pt x="248" y="478"/>
                    <a:pt x="247" y="477"/>
                  </a:cubicBezTo>
                  <a:cubicBezTo>
                    <a:pt x="246" y="475"/>
                    <a:pt x="244" y="474"/>
                    <a:pt x="245" y="472"/>
                  </a:cubicBezTo>
                  <a:cubicBezTo>
                    <a:pt x="246" y="472"/>
                    <a:pt x="246" y="472"/>
                    <a:pt x="246" y="472"/>
                  </a:cubicBezTo>
                  <a:cubicBezTo>
                    <a:pt x="247" y="469"/>
                    <a:pt x="250" y="464"/>
                    <a:pt x="254" y="464"/>
                  </a:cubicBezTo>
                  <a:cubicBezTo>
                    <a:pt x="255" y="464"/>
                    <a:pt x="255" y="464"/>
                    <a:pt x="255" y="464"/>
                  </a:cubicBezTo>
                  <a:cubicBezTo>
                    <a:pt x="257" y="464"/>
                    <a:pt x="261" y="467"/>
                    <a:pt x="264" y="469"/>
                  </a:cubicBezTo>
                  <a:cubicBezTo>
                    <a:pt x="267" y="471"/>
                    <a:pt x="270" y="474"/>
                    <a:pt x="271" y="474"/>
                  </a:cubicBezTo>
                  <a:cubicBezTo>
                    <a:pt x="271" y="474"/>
                    <a:pt x="271" y="474"/>
                    <a:pt x="271" y="474"/>
                  </a:cubicBezTo>
                  <a:cubicBezTo>
                    <a:pt x="274" y="473"/>
                    <a:pt x="284" y="474"/>
                    <a:pt x="287" y="477"/>
                  </a:cubicBezTo>
                  <a:cubicBezTo>
                    <a:pt x="288" y="479"/>
                    <a:pt x="293" y="480"/>
                    <a:pt x="298" y="480"/>
                  </a:cubicBezTo>
                  <a:cubicBezTo>
                    <a:pt x="302" y="480"/>
                    <a:pt x="303" y="479"/>
                    <a:pt x="303" y="479"/>
                  </a:cubicBezTo>
                  <a:cubicBezTo>
                    <a:pt x="304" y="477"/>
                    <a:pt x="303" y="473"/>
                    <a:pt x="297" y="468"/>
                  </a:cubicBezTo>
                  <a:cubicBezTo>
                    <a:pt x="294" y="464"/>
                    <a:pt x="293" y="461"/>
                    <a:pt x="293" y="459"/>
                  </a:cubicBezTo>
                  <a:cubicBezTo>
                    <a:pt x="294" y="457"/>
                    <a:pt x="295" y="455"/>
                    <a:pt x="297" y="454"/>
                  </a:cubicBezTo>
                  <a:cubicBezTo>
                    <a:pt x="298" y="453"/>
                    <a:pt x="299" y="452"/>
                    <a:pt x="301" y="450"/>
                  </a:cubicBezTo>
                  <a:cubicBezTo>
                    <a:pt x="305" y="447"/>
                    <a:pt x="308" y="444"/>
                    <a:pt x="311" y="444"/>
                  </a:cubicBezTo>
                  <a:cubicBezTo>
                    <a:pt x="312" y="444"/>
                    <a:pt x="321" y="443"/>
                    <a:pt x="323" y="439"/>
                  </a:cubicBezTo>
                  <a:cubicBezTo>
                    <a:pt x="325" y="436"/>
                    <a:pt x="327" y="434"/>
                    <a:pt x="330" y="434"/>
                  </a:cubicBezTo>
                  <a:cubicBezTo>
                    <a:pt x="331" y="434"/>
                    <a:pt x="332" y="434"/>
                    <a:pt x="333" y="434"/>
                  </a:cubicBezTo>
                  <a:cubicBezTo>
                    <a:pt x="335" y="434"/>
                    <a:pt x="337" y="434"/>
                    <a:pt x="340" y="434"/>
                  </a:cubicBezTo>
                  <a:cubicBezTo>
                    <a:pt x="344" y="434"/>
                    <a:pt x="348" y="435"/>
                    <a:pt x="348" y="437"/>
                  </a:cubicBezTo>
                  <a:cubicBezTo>
                    <a:pt x="349" y="440"/>
                    <a:pt x="350" y="442"/>
                    <a:pt x="351" y="442"/>
                  </a:cubicBezTo>
                  <a:cubicBezTo>
                    <a:pt x="351" y="442"/>
                    <a:pt x="351" y="441"/>
                    <a:pt x="352" y="441"/>
                  </a:cubicBezTo>
                  <a:cubicBezTo>
                    <a:pt x="352" y="441"/>
                    <a:pt x="352" y="441"/>
                    <a:pt x="353" y="441"/>
                  </a:cubicBezTo>
                  <a:cubicBezTo>
                    <a:pt x="354" y="441"/>
                    <a:pt x="354" y="441"/>
                    <a:pt x="355" y="442"/>
                  </a:cubicBezTo>
                  <a:cubicBezTo>
                    <a:pt x="356" y="442"/>
                    <a:pt x="357" y="443"/>
                    <a:pt x="357" y="443"/>
                  </a:cubicBezTo>
                  <a:cubicBezTo>
                    <a:pt x="357" y="443"/>
                    <a:pt x="358" y="443"/>
                    <a:pt x="358" y="442"/>
                  </a:cubicBezTo>
                  <a:cubicBezTo>
                    <a:pt x="358" y="440"/>
                    <a:pt x="359" y="438"/>
                    <a:pt x="360" y="437"/>
                  </a:cubicBezTo>
                  <a:cubicBezTo>
                    <a:pt x="361" y="435"/>
                    <a:pt x="362" y="433"/>
                    <a:pt x="362" y="431"/>
                  </a:cubicBezTo>
                  <a:cubicBezTo>
                    <a:pt x="362" y="429"/>
                    <a:pt x="362" y="429"/>
                    <a:pt x="362" y="429"/>
                  </a:cubicBezTo>
                  <a:cubicBezTo>
                    <a:pt x="362" y="426"/>
                    <a:pt x="362" y="421"/>
                    <a:pt x="360" y="419"/>
                  </a:cubicBezTo>
                  <a:cubicBezTo>
                    <a:pt x="360" y="418"/>
                    <a:pt x="359" y="418"/>
                    <a:pt x="358" y="418"/>
                  </a:cubicBezTo>
                  <a:cubicBezTo>
                    <a:pt x="357" y="418"/>
                    <a:pt x="357" y="418"/>
                    <a:pt x="357" y="418"/>
                  </a:cubicBezTo>
                  <a:cubicBezTo>
                    <a:pt x="354" y="418"/>
                    <a:pt x="351" y="418"/>
                    <a:pt x="350" y="417"/>
                  </a:cubicBezTo>
                  <a:cubicBezTo>
                    <a:pt x="350" y="416"/>
                    <a:pt x="350" y="415"/>
                    <a:pt x="352" y="412"/>
                  </a:cubicBezTo>
                  <a:cubicBezTo>
                    <a:pt x="356" y="406"/>
                    <a:pt x="359" y="399"/>
                    <a:pt x="358" y="396"/>
                  </a:cubicBezTo>
                  <a:cubicBezTo>
                    <a:pt x="357" y="395"/>
                    <a:pt x="357" y="394"/>
                    <a:pt x="358" y="393"/>
                  </a:cubicBezTo>
                  <a:cubicBezTo>
                    <a:pt x="358" y="390"/>
                    <a:pt x="358" y="388"/>
                    <a:pt x="354" y="387"/>
                  </a:cubicBezTo>
                  <a:cubicBezTo>
                    <a:pt x="350" y="386"/>
                    <a:pt x="348" y="383"/>
                    <a:pt x="348" y="381"/>
                  </a:cubicBezTo>
                  <a:cubicBezTo>
                    <a:pt x="348" y="380"/>
                    <a:pt x="350" y="379"/>
                    <a:pt x="352" y="380"/>
                  </a:cubicBezTo>
                  <a:cubicBezTo>
                    <a:pt x="355" y="382"/>
                    <a:pt x="359" y="383"/>
                    <a:pt x="363" y="383"/>
                  </a:cubicBezTo>
                  <a:cubicBezTo>
                    <a:pt x="365" y="383"/>
                    <a:pt x="367" y="383"/>
                    <a:pt x="369" y="382"/>
                  </a:cubicBezTo>
                  <a:cubicBezTo>
                    <a:pt x="371" y="382"/>
                    <a:pt x="373" y="381"/>
                    <a:pt x="375" y="381"/>
                  </a:cubicBezTo>
                  <a:cubicBezTo>
                    <a:pt x="381" y="381"/>
                    <a:pt x="388" y="383"/>
                    <a:pt x="388" y="388"/>
                  </a:cubicBezTo>
                  <a:cubicBezTo>
                    <a:pt x="389" y="390"/>
                    <a:pt x="391" y="393"/>
                    <a:pt x="394" y="396"/>
                  </a:cubicBezTo>
                  <a:cubicBezTo>
                    <a:pt x="396" y="398"/>
                    <a:pt x="398" y="401"/>
                    <a:pt x="397" y="402"/>
                  </a:cubicBezTo>
                  <a:cubicBezTo>
                    <a:pt x="397" y="403"/>
                    <a:pt x="396" y="403"/>
                    <a:pt x="395" y="403"/>
                  </a:cubicBezTo>
                  <a:cubicBezTo>
                    <a:pt x="394" y="403"/>
                    <a:pt x="393" y="403"/>
                    <a:pt x="392" y="402"/>
                  </a:cubicBezTo>
                  <a:cubicBezTo>
                    <a:pt x="391" y="402"/>
                    <a:pt x="389" y="402"/>
                    <a:pt x="388" y="402"/>
                  </a:cubicBezTo>
                  <a:cubicBezTo>
                    <a:pt x="387" y="402"/>
                    <a:pt x="385" y="402"/>
                    <a:pt x="384" y="403"/>
                  </a:cubicBezTo>
                  <a:cubicBezTo>
                    <a:pt x="381" y="405"/>
                    <a:pt x="379" y="405"/>
                    <a:pt x="377" y="405"/>
                  </a:cubicBezTo>
                  <a:cubicBezTo>
                    <a:pt x="375" y="405"/>
                    <a:pt x="375" y="405"/>
                    <a:pt x="374" y="406"/>
                  </a:cubicBezTo>
                  <a:cubicBezTo>
                    <a:pt x="372" y="410"/>
                    <a:pt x="372" y="413"/>
                    <a:pt x="372" y="414"/>
                  </a:cubicBezTo>
                  <a:cubicBezTo>
                    <a:pt x="373" y="414"/>
                    <a:pt x="373" y="415"/>
                    <a:pt x="374" y="415"/>
                  </a:cubicBezTo>
                  <a:cubicBezTo>
                    <a:pt x="376" y="415"/>
                    <a:pt x="378" y="418"/>
                    <a:pt x="379" y="420"/>
                  </a:cubicBezTo>
                  <a:cubicBezTo>
                    <a:pt x="381" y="423"/>
                    <a:pt x="383" y="426"/>
                    <a:pt x="386" y="426"/>
                  </a:cubicBezTo>
                  <a:cubicBezTo>
                    <a:pt x="386" y="426"/>
                    <a:pt x="386" y="426"/>
                    <a:pt x="386" y="426"/>
                  </a:cubicBezTo>
                  <a:cubicBezTo>
                    <a:pt x="387" y="426"/>
                    <a:pt x="388" y="426"/>
                    <a:pt x="390" y="426"/>
                  </a:cubicBezTo>
                  <a:cubicBezTo>
                    <a:pt x="391" y="426"/>
                    <a:pt x="393" y="426"/>
                    <a:pt x="394" y="426"/>
                  </a:cubicBezTo>
                  <a:cubicBezTo>
                    <a:pt x="398" y="426"/>
                    <a:pt x="409" y="426"/>
                    <a:pt x="410" y="423"/>
                  </a:cubicBezTo>
                  <a:cubicBezTo>
                    <a:pt x="411" y="421"/>
                    <a:pt x="411" y="419"/>
                    <a:pt x="411" y="417"/>
                  </a:cubicBezTo>
                  <a:cubicBezTo>
                    <a:pt x="410" y="413"/>
                    <a:pt x="410" y="409"/>
                    <a:pt x="413" y="407"/>
                  </a:cubicBezTo>
                  <a:cubicBezTo>
                    <a:pt x="415" y="407"/>
                    <a:pt x="418" y="406"/>
                    <a:pt x="421" y="406"/>
                  </a:cubicBezTo>
                  <a:cubicBezTo>
                    <a:pt x="425" y="405"/>
                    <a:pt x="429" y="404"/>
                    <a:pt x="429" y="403"/>
                  </a:cubicBezTo>
                  <a:cubicBezTo>
                    <a:pt x="429" y="401"/>
                    <a:pt x="431" y="400"/>
                    <a:pt x="434" y="399"/>
                  </a:cubicBezTo>
                  <a:cubicBezTo>
                    <a:pt x="437" y="398"/>
                    <a:pt x="441" y="397"/>
                    <a:pt x="443" y="394"/>
                  </a:cubicBezTo>
                  <a:cubicBezTo>
                    <a:pt x="448" y="389"/>
                    <a:pt x="469" y="384"/>
                    <a:pt x="475" y="384"/>
                  </a:cubicBezTo>
                  <a:cubicBezTo>
                    <a:pt x="476" y="384"/>
                    <a:pt x="477" y="384"/>
                    <a:pt x="477" y="384"/>
                  </a:cubicBezTo>
                  <a:cubicBezTo>
                    <a:pt x="479" y="385"/>
                    <a:pt x="480" y="386"/>
                    <a:pt x="480" y="387"/>
                  </a:cubicBezTo>
                  <a:cubicBezTo>
                    <a:pt x="481" y="388"/>
                    <a:pt x="482" y="389"/>
                    <a:pt x="483" y="388"/>
                  </a:cubicBezTo>
                  <a:cubicBezTo>
                    <a:pt x="484" y="387"/>
                    <a:pt x="484" y="386"/>
                    <a:pt x="484" y="385"/>
                  </a:cubicBezTo>
                  <a:cubicBezTo>
                    <a:pt x="484" y="383"/>
                    <a:pt x="484" y="381"/>
                    <a:pt x="486" y="380"/>
                  </a:cubicBezTo>
                  <a:cubicBezTo>
                    <a:pt x="488" y="378"/>
                    <a:pt x="501" y="373"/>
                    <a:pt x="505" y="373"/>
                  </a:cubicBezTo>
                  <a:cubicBezTo>
                    <a:pt x="506" y="373"/>
                    <a:pt x="506" y="374"/>
                    <a:pt x="506" y="374"/>
                  </a:cubicBezTo>
                  <a:cubicBezTo>
                    <a:pt x="507" y="375"/>
                    <a:pt x="506" y="377"/>
                    <a:pt x="505" y="378"/>
                  </a:cubicBezTo>
                  <a:cubicBezTo>
                    <a:pt x="503" y="380"/>
                    <a:pt x="502" y="382"/>
                    <a:pt x="503" y="384"/>
                  </a:cubicBezTo>
                  <a:cubicBezTo>
                    <a:pt x="504" y="385"/>
                    <a:pt x="505" y="387"/>
                    <a:pt x="504" y="388"/>
                  </a:cubicBezTo>
                  <a:cubicBezTo>
                    <a:pt x="504" y="389"/>
                    <a:pt x="502" y="389"/>
                    <a:pt x="499" y="389"/>
                  </a:cubicBezTo>
                  <a:cubicBezTo>
                    <a:pt x="499" y="389"/>
                    <a:pt x="499" y="389"/>
                    <a:pt x="498" y="389"/>
                  </a:cubicBezTo>
                  <a:cubicBezTo>
                    <a:pt x="496" y="389"/>
                    <a:pt x="494" y="390"/>
                    <a:pt x="494" y="390"/>
                  </a:cubicBezTo>
                  <a:cubicBezTo>
                    <a:pt x="494" y="391"/>
                    <a:pt x="494" y="391"/>
                    <a:pt x="496" y="392"/>
                  </a:cubicBezTo>
                  <a:cubicBezTo>
                    <a:pt x="498" y="393"/>
                    <a:pt x="502" y="393"/>
                    <a:pt x="504" y="393"/>
                  </a:cubicBezTo>
                  <a:cubicBezTo>
                    <a:pt x="506" y="393"/>
                    <a:pt x="507" y="393"/>
                    <a:pt x="508" y="393"/>
                  </a:cubicBezTo>
                  <a:cubicBezTo>
                    <a:pt x="510" y="393"/>
                    <a:pt x="511" y="393"/>
                    <a:pt x="512" y="393"/>
                  </a:cubicBezTo>
                  <a:cubicBezTo>
                    <a:pt x="513" y="393"/>
                    <a:pt x="515" y="393"/>
                    <a:pt x="515" y="393"/>
                  </a:cubicBezTo>
                  <a:cubicBezTo>
                    <a:pt x="517" y="394"/>
                    <a:pt x="517" y="393"/>
                    <a:pt x="518" y="391"/>
                  </a:cubicBezTo>
                  <a:cubicBezTo>
                    <a:pt x="520" y="389"/>
                    <a:pt x="522" y="385"/>
                    <a:pt x="529" y="384"/>
                  </a:cubicBezTo>
                  <a:cubicBezTo>
                    <a:pt x="531" y="383"/>
                    <a:pt x="533" y="383"/>
                    <a:pt x="536" y="383"/>
                  </a:cubicBezTo>
                  <a:cubicBezTo>
                    <a:pt x="539" y="383"/>
                    <a:pt x="542" y="383"/>
                    <a:pt x="545" y="383"/>
                  </a:cubicBezTo>
                  <a:cubicBezTo>
                    <a:pt x="549" y="384"/>
                    <a:pt x="552" y="384"/>
                    <a:pt x="553" y="384"/>
                  </a:cubicBezTo>
                  <a:cubicBezTo>
                    <a:pt x="554" y="383"/>
                    <a:pt x="557" y="382"/>
                    <a:pt x="560" y="380"/>
                  </a:cubicBezTo>
                  <a:cubicBezTo>
                    <a:pt x="565" y="376"/>
                    <a:pt x="572" y="372"/>
                    <a:pt x="575" y="372"/>
                  </a:cubicBezTo>
                  <a:cubicBezTo>
                    <a:pt x="576" y="372"/>
                    <a:pt x="576" y="372"/>
                    <a:pt x="576" y="372"/>
                  </a:cubicBezTo>
                  <a:cubicBezTo>
                    <a:pt x="582" y="375"/>
                    <a:pt x="585" y="376"/>
                    <a:pt x="585" y="378"/>
                  </a:cubicBezTo>
                  <a:cubicBezTo>
                    <a:pt x="585" y="379"/>
                    <a:pt x="585" y="379"/>
                    <a:pt x="585" y="380"/>
                  </a:cubicBezTo>
                  <a:cubicBezTo>
                    <a:pt x="583" y="381"/>
                    <a:pt x="581" y="384"/>
                    <a:pt x="582" y="385"/>
                  </a:cubicBezTo>
                  <a:cubicBezTo>
                    <a:pt x="582" y="386"/>
                    <a:pt x="583" y="387"/>
                    <a:pt x="585" y="388"/>
                  </a:cubicBezTo>
                  <a:cubicBezTo>
                    <a:pt x="588" y="389"/>
                    <a:pt x="591" y="389"/>
                    <a:pt x="592" y="388"/>
                  </a:cubicBezTo>
                  <a:cubicBezTo>
                    <a:pt x="592" y="387"/>
                    <a:pt x="592" y="386"/>
                    <a:pt x="592" y="385"/>
                  </a:cubicBezTo>
                  <a:cubicBezTo>
                    <a:pt x="591" y="384"/>
                    <a:pt x="591" y="383"/>
                    <a:pt x="591" y="382"/>
                  </a:cubicBezTo>
                  <a:cubicBezTo>
                    <a:pt x="592" y="381"/>
                    <a:pt x="596" y="380"/>
                    <a:pt x="602" y="380"/>
                  </a:cubicBezTo>
                  <a:cubicBezTo>
                    <a:pt x="604" y="380"/>
                    <a:pt x="606" y="379"/>
                    <a:pt x="607" y="377"/>
                  </a:cubicBezTo>
                  <a:cubicBezTo>
                    <a:pt x="608" y="375"/>
                    <a:pt x="607" y="374"/>
                    <a:pt x="606" y="373"/>
                  </a:cubicBezTo>
                  <a:cubicBezTo>
                    <a:pt x="603" y="370"/>
                    <a:pt x="599" y="365"/>
                    <a:pt x="599" y="360"/>
                  </a:cubicBezTo>
                  <a:cubicBezTo>
                    <a:pt x="599" y="358"/>
                    <a:pt x="599" y="357"/>
                    <a:pt x="598" y="356"/>
                  </a:cubicBezTo>
                  <a:cubicBezTo>
                    <a:pt x="597" y="354"/>
                    <a:pt x="594" y="354"/>
                    <a:pt x="590" y="354"/>
                  </a:cubicBezTo>
                  <a:cubicBezTo>
                    <a:pt x="586" y="354"/>
                    <a:pt x="585" y="353"/>
                    <a:pt x="584" y="352"/>
                  </a:cubicBezTo>
                  <a:cubicBezTo>
                    <a:pt x="584" y="351"/>
                    <a:pt x="583" y="350"/>
                    <a:pt x="580" y="350"/>
                  </a:cubicBezTo>
                  <a:cubicBezTo>
                    <a:pt x="575" y="349"/>
                    <a:pt x="573" y="346"/>
                    <a:pt x="573" y="343"/>
                  </a:cubicBezTo>
                  <a:cubicBezTo>
                    <a:pt x="572" y="340"/>
                    <a:pt x="573" y="338"/>
                    <a:pt x="575" y="337"/>
                  </a:cubicBezTo>
                  <a:cubicBezTo>
                    <a:pt x="576" y="336"/>
                    <a:pt x="577" y="336"/>
                    <a:pt x="578" y="336"/>
                  </a:cubicBezTo>
                  <a:cubicBezTo>
                    <a:pt x="581" y="336"/>
                    <a:pt x="584" y="338"/>
                    <a:pt x="587" y="339"/>
                  </a:cubicBezTo>
                  <a:cubicBezTo>
                    <a:pt x="589" y="340"/>
                    <a:pt x="591" y="342"/>
                    <a:pt x="593" y="343"/>
                  </a:cubicBezTo>
                  <a:cubicBezTo>
                    <a:pt x="598" y="344"/>
                    <a:pt x="599" y="347"/>
                    <a:pt x="600" y="348"/>
                  </a:cubicBezTo>
                  <a:cubicBezTo>
                    <a:pt x="601" y="350"/>
                    <a:pt x="602" y="351"/>
                    <a:pt x="604" y="350"/>
                  </a:cubicBezTo>
                  <a:cubicBezTo>
                    <a:pt x="606" y="350"/>
                    <a:pt x="609" y="351"/>
                    <a:pt x="612" y="351"/>
                  </a:cubicBezTo>
                  <a:cubicBezTo>
                    <a:pt x="617" y="352"/>
                    <a:pt x="623" y="353"/>
                    <a:pt x="630" y="353"/>
                  </a:cubicBezTo>
                  <a:cubicBezTo>
                    <a:pt x="644" y="353"/>
                    <a:pt x="650" y="355"/>
                    <a:pt x="658" y="360"/>
                  </a:cubicBezTo>
                  <a:cubicBezTo>
                    <a:pt x="662" y="363"/>
                    <a:pt x="665" y="364"/>
                    <a:pt x="669" y="365"/>
                  </a:cubicBezTo>
                  <a:cubicBezTo>
                    <a:pt x="671" y="366"/>
                    <a:pt x="674" y="366"/>
                    <a:pt x="677" y="368"/>
                  </a:cubicBezTo>
                  <a:cubicBezTo>
                    <a:pt x="680" y="369"/>
                    <a:pt x="684" y="371"/>
                    <a:pt x="689" y="373"/>
                  </a:cubicBezTo>
                  <a:cubicBezTo>
                    <a:pt x="694" y="375"/>
                    <a:pt x="699" y="377"/>
                    <a:pt x="700" y="378"/>
                  </a:cubicBezTo>
                  <a:cubicBezTo>
                    <a:pt x="702" y="379"/>
                    <a:pt x="703" y="381"/>
                    <a:pt x="705" y="382"/>
                  </a:cubicBezTo>
                  <a:cubicBezTo>
                    <a:pt x="709" y="386"/>
                    <a:pt x="716" y="392"/>
                    <a:pt x="718" y="392"/>
                  </a:cubicBezTo>
                  <a:cubicBezTo>
                    <a:pt x="719" y="392"/>
                    <a:pt x="723" y="387"/>
                    <a:pt x="726" y="382"/>
                  </a:cubicBezTo>
                  <a:cubicBezTo>
                    <a:pt x="726" y="380"/>
                    <a:pt x="727" y="379"/>
                    <a:pt x="726" y="378"/>
                  </a:cubicBezTo>
                  <a:cubicBezTo>
                    <a:pt x="726" y="377"/>
                    <a:pt x="725" y="377"/>
                    <a:pt x="724" y="377"/>
                  </a:cubicBezTo>
                  <a:cubicBezTo>
                    <a:pt x="722" y="377"/>
                    <a:pt x="720" y="377"/>
                    <a:pt x="718" y="374"/>
                  </a:cubicBezTo>
                  <a:cubicBezTo>
                    <a:pt x="716" y="372"/>
                    <a:pt x="715" y="370"/>
                    <a:pt x="715" y="368"/>
                  </a:cubicBezTo>
                  <a:cubicBezTo>
                    <a:pt x="714" y="365"/>
                    <a:pt x="714" y="363"/>
                    <a:pt x="711" y="362"/>
                  </a:cubicBezTo>
                  <a:cubicBezTo>
                    <a:pt x="710" y="361"/>
                    <a:pt x="706" y="360"/>
                    <a:pt x="703" y="359"/>
                  </a:cubicBezTo>
                  <a:cubicBezTo>
                    <a:pt x="699" y="358"/>
                    <a:pt x="695" y="357"/>
                    <a:pt x="694" y="356"/>
                  </a:cubicBezTo>
                  <a:cubicBezTo>
                    <a:pt x="694" y="355"/>
                    <a:pt x="693" y="354"/>
                    <a:pt x="693" y="353"/>
                  </a:cubicBezTo>
                  <a:cubicBezTo>
                    <a:pt x="694" y="350"/>
                    <a:pt x="697" y="347"/>
                    <a:pt x="699" y="345"/>
                  </a:cubicBezTo>
                  <a:cubicBezTo>
                    <a:pt x="701" y="344"/>
                    <a:pt x="701" y="342"/>
                    <a:pt x="700" y="341"/>
                  </a:cubicBezTo>
                  <a:cubicBezTo>
                    <a:pt x="700" y="340"/>
                    <a:pt x="699" y="339"/>
                    <a:pt x="700" y="338"/>
                  </a:cubicBezTo>
                  <a:cubicBezTo>
                    <a:pt x="701" y="337"/>
                    <a:pt x="703" y="332"/>
                    <a:pt x="702" y="329"/>
                  </a:cubicBezTo>
                  <a:cubicBezTo>
                    <a:pt x="702" y="328"/>
                    <a:pt x="702" y="328"/>
                    <a:pt x="702" y="327"/>
                  </a:cubicBezTo>
                  <a:cubicBezTo>
                    <a:pt x="701" y="327"/>
                    <a:pt x="700" y="327"/>
                    <a:pt x="699" y="327"/>
                  </a:cubicBezTo>
                  <a:cubicBezTo>
                    <a:pt x="698" y="327"/>
                    <a:pt x="698" y="327"/>
                    <a:pt x="697" y="327"/>
                  </a:cubicBezTo>
                  <a:cubicBezTo>
                    <a:pt x="696" y="327"/>
                    <a:pt x="695" y="327"/>
                    <a:pt x="693" y="325"/>
                  </a:cubicBezTo>
                  <a:cubicBezTo>
                    <a:pt x="693" y="324"/>
                    <a:pt x="692" y="322"/>
                    <a:pt x="693" y="320"/>
                  </a:cubicBezTo>
                  <a:cubicBezTo>
                    <a:pt x="694" y="316"/>
                    <a:pt x="697" y="313"/>
                    <a:pt x="700" y="312"/>
                  </a:cubicBezTo>
                  <a:cubicBezTo>
                    <a:pt x="700" y="311"/>
                    <a:pt x="701" y="311"/>
                    <a:pt x="702" y="311"/>
                  </a:cubicBezTo>
                  <a:cubicBezTo>
                    <a:pt x="708" y="309"/>
                    <a:pt x="716" y="305"/>
                    <a:pt x="719" y="297"/>
                  </a:cubicBezTo>
                  <a:cubicBezTo>
                    <a:pt x="721" y="290"/>
                    <a:pt x="724" y="284"/>
                    <a:pt x="726" y="280"/>
                  </a:cubicBezTo>
                  <a:cubicBezTo>
                    <a:pt x="727" y="279"/>
                    <a:pt x="728" y="278"/>
                    <a:pt x="729" y="277"/>
                  </a:cubicBezTo>
                  <a:cubicBezTo>
                    <a:pt x="729" y="276"/>
                    <a:pt x="729" y="275"/>
                    <a:pt x="729" y="275"/>
                  </a:cubicBezTo>
                  <a:cubicBezTo>
                    <a:pt x="731" y="271"/>
                    <a:pt x="733" y="268"/>
                    <a:pt x="736" y="268"/>
                  </a:cubicBezTo>
                  <a:cubicBezTo>
                    <a:pt x="737" y="268"/>
                    <a:pt x="737" y="268"/>
                    <a:pt x="737" y="268"/>
                  </a:cubicBezTo>
                  <a:cubicBezTo>
                    <a:pt x="741" y="269"/>
                    <a:pt x="754" y="269"/>
                    <a:pt x="761" y="269"/>
                  </a:cubicBezTo>
                  <a:cubicBezTo>
                    <a:pt x="763" y="269"/>
                    <a:pt x="764" y="269"/>
                    <a:pt x="765" y="269"/>
                  </a:cubicBezTo>
                  <a:cubicBezTo>
                    <a:pt x="770" y="269"/>
                    <a:pt x="783" y="272"/>
                    <a:pt x="783" y="276"/>
                  </a:cubicBezTo>
                  <a:cubicBezTo>
                    <a:pt x="784" y="279"/>
                    <a:pt x="783" y="296"/>
                    <a:pt x="777" y="301"/>
                  </a:cubicBezTo>
                  <a:cubicBezTo>
                    <a:pt x="772" y="305"/>
                    <a:pt x="770" y="308"/>
                    <a:pt x="770" y="309"/>
                  </a:cubicBezTo>
                  <a:cubicBezTo>
                    <a:pt x="771" y="310"/>
                    <a:pt x="771" y="311"/>
                    <a:pt x="772" y="311"/>
                  </a:cubicBezTo>
                  <a:cubicBezTo>
                    <a:pt x="776" y="313"/>
                    <a:pt x="786" y="321"/>
                    <a:pt x="784" y="328"/>
                  </a:cubicBezTo>
                  <a:cubicBezTo>
                    <a:pt x="784" y="331"/>
                    <a:pt x="783" y="334"/>
                    <a:pt x="782" y="336"/>
                  </a:cubicBezTo>
                  <a:cubicBezTo>
                    <a:pt x="781" y="339"/>
                    <a:pt x="780" y="341"/>
                    <a:pt x="781" y="343"/>
                  </a:cubicBezTo>
                  <a:cubicBezTo>
                    <a:pt x="781" y="344"/>
                    <a:pt x="781" y="344"/>
                    <a:pt x="781" y="345"/>
                  </a:cubicBezTo>
                  <a:cubicBezTo>
                    <a:pt x="781" y="349"/>
                    <a:pt x="782" y="354"/>
                    <a:pt x="781" y="357"/>
                  </a:cubicBezTo>
                  <a:cubicBezTo>
                    <a:pt x="780" y="359"/>
                    <a:pt x="781" y="362"/>
                    <a:pt x="781" y="365"/>
                  </a:cubicBezTo>
                  <a:cubicBezTo>
                    <a:pt x="781" y="368"/>
                    <a:pt x="782" y="370"/>
                    <a:pt x="781" y="372"/>
                  </a:cubicBezTo>
                  <a:cubicBezTo>
                    <a:pt x="781" y="375"/>
                    <a:pt x="789" y="381"/>
                    <a:pt x="792" y="383"/>
                  </a:cubicBezTo>
                  <a:cubicBezTo>
                    <a:pt x="792" y="384"/>
                    <a:pt x="792" y="384"/>
                    <a:pt x="792" y="384"/>
                  </a:cubicBezTo>
                  <a:cubicBezTo>
                    <a:pt x="794" y="385"/>
                    <a:pt x="795" y="387"/>
                    <a:pt x="794" y="388"/>
                  </a:cubicBezTo>
                  <a:cubicBezTo>
                    <a:pt x="794" y="389"/>
                    <a:pt x="793" y="390"/>
                    <a:pt x="792" y="390"/>
                  </a:cubicBezTo>
                  <a:cubicBezTo>
                    <a:pt x="791" y="391"/>
                    <a:pt x="789" y="393"/>
                    <a:pt x="788" y="395"/>
                  </a:cubicBezTo>
                  <a:cubicBezTo>
                    <a:pt x="788" y="397"/>
                    <a:pt x="788" y="398"/>
                    <a:pt x="788" y="399"/>
                  </a:cubicBezTo>
                  <a:cubicBezTo>
                    <a:pt x="789" y="401"/>
                    <a:pt x="789" y="403"/>
                    <a:pt x="788" y="405"/>
                  </a:cubicBezTo>
                  <a:cubicBezTo>
                    <a:pt x="788" y="406"/>
                    <a:pt x="787" y="407"/>
                    <a:pt x="785" y="407"/>
                  </a:cubicBezTo>
                  <a:cubicBezTo>
                    <a:pt x="784" y="407"/>
                    <a:pt x="783" y="408"/>
                    <a:pt x="782" y="409"/>
                  </a:cubicBezTo>
                  <a:cubicBezTo>
                    <a:pt x="781" y="410"/>
                    <a:pt x="780" y="412"/>
                    <a:pt x="778" y="412"/>
                  </a:cubicBezTo>
                  <a:cubicBezTo>
                    <a:pt x="777" y="412"/>
                    <a:pt x="777" y="412"/>
                    <a:pt x="777" y="413"/>
                  </a:cubicBezTo>
                  <a:cubicBezTo>
                    <a:pt x="776" y="414"/>
                    <a:pt x="776" y="416"/>
                    <a:pt x="775" y="416"/>
                  </a:cubicBezTo>
                  <a:cubicBezTo>
                    <a:pt x="773" y="417"/>
                    <a:pt x="773" y="418"/>
                    <a:pt x="773" y="420"/>
                  </a:cubicBezTo>
                  <a:cubicBezTo>
                    <a:pt x="772" y="421"/>
                    <a:pt x="772" y="423"/>
                    <a:pt x="770" y="424"/>
                  </a:cubicBezTo>
                  <a:cubicBezTo>
                    <a:pt x="770" y="424"/>
                    <a:pt x="769" y="424"/>
                    <a:pt x="769" y="425"/>
                  </a:cubicBezTo>
                  <a:cubicBezTo>
                    <a:pt x="767" y="425"/>
                    <a:pt x="764" y="427"/>
                    <a:pt x="764" y="428"/>
                  </a:cubicBezTo>
                  <a:cubicBezTo>
                    <a:pt x="764" y="428"/>
                    <a:pt x="764" y="428"/>
                    <a:pt x="764" y="429"/>
                  </a:cubicBezTo>
                  <a:cubicBezTo>
                    <a:pt x="764" y="430"/>
                    <a:pt x="765" y="431"/>
                    <a:pt x="764" y="432"/>
                  </a:cubicBezTo>
                  <a:cubicBezTo>
                    <a:pt x="764" y="433"/>
                    <a:pt x="763" y="433"/>
                    <a:pt x="760" y="433"/>
                  </a:cubicBezTo>
                  <a:cubicBezTo>
                    <a:pt x="758" y="433"/>
                    <a:pt x="758" y="433"/>
                    <a:pt x="757" y="434"/>
                  </a:cubicBezTo>
                  <a:cubicBezTo>
                    <a:pt x="757" y="435"/>
                    <a:pt x="756" y="436"/>
                    <a:pt x="752" y="436"/>
                  </a:cubicBezTo>
                  <a:cubicBezTo>
                    <a:pt x="749" y="436"/>
                    <a:pt x="748" y="434"/>
                    <a:pt x="747" y="433"/>
                  </a:cubicBezTo>
                  <a:cubicBezTo>
                    <a:pt x="747" y="432"/>
                    <a:pt x="746" y="432"/>
                    <a:pt x="746" y="432"/>
                  </a:cubicBezTo>
                  <a:cubicBezTo>
                    <a:pt x="745" y="432"/>
                    <a:pt x="745" y="432"/>
                    <a:pt x="744" y="432"/>
                  </a:cubicBezTo>
                  <a:cubicBezTo>
                    <a:pt x="741" y="434"/>
                    <a:pt x="739" y="435"/>
                    <a:pt x="738" y="435"/>
                  </a:cubicBezTo>
                  <a:cubicBezTo>
                    <a:pt x="736" y="435"/>
                    <a:pt x="735" y="434"/>
                    <a:pt x="735" y="433"/>
                  </a:cubicBezTo>
                  <a:cubicBezTo>
                    <a:pt x="735" y="431"/>
                    <a:pt x="732" y="429"/>
                    <a:pt x="731" y="429"/>
                  </a:cubicBezTo>
                  <a:cubicBezTo>
                    <a:pt x="729" y="429"/>
                    <a:pt x="729" y="430"/>
                    <a:pt x="728" y="431"/>
                  </a:cubicBezTo>
                  <a:cubicBezTo>
                    <a:pt x="728" y="432"/>
                    <a:pt x="728" y="434"/>
                    <a:pt x="729" y="435"/>
                  </a:cubicBezTo>
                  <a:cubicBezTo>
                    <a:pt x="730" y="437"/>
                    <a:pt x="732" y="437"/>
                    <a:pt x="735" y="436"/>
                  </a:cubicBezTo>
                  <a:cubicBezTo>
                    <a:pt x="736" y="436"/>
                    <a:pt x="736" y="436"/>
                    <a:pt x="737" y="436"/>
                  </a:cubicBezTo>
                  <a:cubicBezTo>
                    <a:pt x="739" y="436"/>
                    <a:pt x="740" y="437"/>
                    <a:pt x="741" y="438"/>
                  </a:cubicBezTo>
                  <a:cubicBezTo>
                    <a:pt x="742" y="439"/>
                    <a:pt x="744" y="440"/>
                    <a:pt x="747" y="440"/>
                  </a:cubicBezTo>
                  <a:cubicBezTo>
                    <a:pt x="749" y="440"/>
                    <a:pt x="752" y="440"/>
                    <a:pt x="754" y="439"/>
                  </a:cubicBezTo>
                  <a:cubicBezTo>
                    <a:pt x="756" y="438"/>
                    <a:pt x="758" y="438"/>
                    <a:pt x="760" y="438"/>
                  </a:cubicBezTo>
                  <a:cubicBezTo>
                    <a:pt x="761" y="438"/>
                    <a:pt x="763" y="438"/>
                    <a:pt x="764" y="439"/>
                  </a:cubicBezTo>
                  <a:cubicBezTo>
                    <a:pt x="766" y="440"/>
                    <a:pt x="770" y="442"/>
                    <a:pt x="773" y="442"/>
                  </a:cubicBezTo>
                  <a:cubicBezTo>
                    <a:pt x="774" y="442"/>
                    <a:pt x="775" y="442"/>
                    <a:pt x="775" y="441"/>
                  </a:cubicBezTo>
                  <a:cubicBezTo>
                    <a:pt x="776" y="441"/>
                    <a:pt x="776" y="440"/>
                    <a:pt x="776" y="439"/>
                  </a:cubicBezTo>
                  <a:cubicBezTo>
                    <a:pt x="776" y="434"/>
                    <a:pt x="781" y="432"/>
                    <a:pt x="787" y="429"/>
                  </a:cubicBezTo>
                  <a:cubicBezTo>
                    <a:pt x="788" y="428"/>
                    <a:pt x="789" y="428"/>
                    <a:pt x="790" y="427"/>
                  </a:cubicBezTo>
                  <a:cubicBezTo>
                    <a:pt x="790" y="427"/>
                    <a:pt x="791" y="426"/>
                    <a:pt x="792" y="426"/>
                  </a:cubicBezTo>
                  <a:cubicBezTo>
                    <a:pt x="797" y="423"/>
                    <a:pt x="801" y="422"/>
                    <a:pt x="800" y="418"/>
                  </a:cubicBezTo>
                  <a:cubicBezTo>
                    <a:pt x="800" y="416"/>
                    <a:pt x="803" y="413"/>
                    <a:pt x="806" y="411"/>
                  </a:cubicBezTo>
                  <a:cubicBezTo>
                    <a:pt x="810" y="407"/>
                    <a:pt x="814" y="404"/>
                    <a:pt x="812" y="401"/>
                  </a:cubicBezTo>
                  <a:cubicBezTo>
                    <a:pt x="812" y="401"/>
                    <a:pt x="812" y="401"/>
                    <a:pt x="812" y="401"/>
                  </a:cubicBezTo>
                  <a:cubicBezTo>
                    <a:pt x="810" y="395"/>
                    <a:pt x="805" y="384"/>
                    <a:pt x="809" y="380"/>
                  </a:cubicBezTo>
                  <a:cubicBezTo>
                    <a:pt x="813" y="377"/>
                    <a:pt x="822" y="376"/>
                    <a:pt x="828" y="375"/>
                  </a:cubicBezTo>
                  <a:cubicBezTo>
                    <a:pt x="830" y="375"/>
                    <a:pt x="831" y="374"/>
                    <a:pt x="832" y="374"/>
                  </a:cubicBezTo>
                  <a:cubicBezTo>
                    <a:pt x="835" y="373"/>
                    <a:pt x="838" y="376"/>
                    <a:pt x="842" y="380"/>
                  </a:cubicBezTo>
                  <a:cubicBezTo>
                    <a:pt x="842" y="381"/>
                    <a:pt x="844" y="382"/>
                    <a:pt x="845" y="383"/>
                  </a:cubicBezTo>
                  <a:cubicBezTo>
                    <a:pt x="847" y="385"/>
                    <a:pt x="850" y="387"/>
                    <a:pt x="849" y="390"/>
                  </a:cubicBezTo>
                  <a:cubicBezTo>
                    <a:pt x="849" y="392"/>
                    <a:pt x="848" y="394"/>
                    <a:pt x="847" y="396"/>
                  </a:cubicBezTo>
                  <a:cubicBezTo>
                    <a:pt x="846" y="398"/>
                    <a:pt x="845" y="400"/>
                    <a:pt x="845" y="400"/>
                  </a:cubicBezTo>
                  <a:cubicBezTo>
                    <a:pt x="846" y="401"/>
                    <a:pt x="846" y="402"/>
                    <a:pt x="847" y="403"/>
                  </a:cubicBezTo>
                  <a:cubicBezTo>
                    <a:pt x="848" y="405"/>
                    <a:pt x="849" y="408"/>
                    <a:pt x="852" y="409"/>
                  </a:cubicBezTo>
                  <a:cubicBezTo>
                    <a:pt x="855" y="410"/>
                    <a:pt x="861" y="411"/>
                    <a:pt x="865" y="411"/>
                  </a:cubicBezTo>
                  <a:cubicBezTo>
                    <a:pt x="867" y="411"/>
                    <a:pt x="868" y="411"/>
                    <a:pt x="868" y="411"/>
                  </a:cubicBezTo>
                  <a:cubicBezTo>
                    <a:pt x="867" y="411"/>
                    <a:pt x="865" y="410"/>
                    <a:pt x="863" y="409"/>
                  </a:cubicBezTo>
                  <a:cubicBezTo>
                    <a:pt x="858" y="407"/>
                    <a:pt x="851" y="404"/>
                    <a:pt x="851" y="400"/>
                  </a:cubicBezTo>
                  <a:cubicBezTo>
                    <a:pt x="851" y="396"/>
                    <a:pt x="853" y="395"/>
                    <a:pt x="856" y="393"/>
                  </a:cubicBezTo>
                  <a:cubicBezTo>
                    <a:pt x="858" y="392"/>
                    <a:pt x="859" y="391"/>
                    <a:pt x="858" y="389"/>
                  </a:cubicBezTo>
                  <a:cubicBezTo>
                    <a:pt x="856" y="387"/>
                    <a:pt x="856" y="386"/>
                    <a:pt x="856" y="384"/>
                  </a:cubicBezTo>
                  <a:cubicBezTo>
                    <a:pt x="856" y="382"/>
                    <a:pt x="855" y="380"/>
                    <a:pt x="852" y="378"/>
                  </a:cubicBezTo>
                  <a:cubicBezTo>
                    <a:pt x="852" y="378"/>
                    <a:pt x="851" y="377"/>
                    <a:pt x="850" y="377"/>
                  </a:cubicBezTo>
                  <a:cubicBezTo>
                    <a:pt x="844" y="374"/>
                    <a:pt x="834" y="369"/>
                    <a:pt x="827" y="369"/>
                  </a:cubicBezTo>
                  <a:cubicBezTo>
                    <a:pt x="826" y="369"/>
                    <a:pt x="825" y="369"/>
                    <a:pt x="825" y="369"/>
                  </a:cubicBezTo>
                  <a:cubicBezTo>
                    <a:pt x="822" y="369"/>
                    <a:pt x="819" y="370"/>
                    <a:pt x="816" y="371"/>
                  </a:cubicBezTo>
                  <a:cubicBezTo>
                    <a:pt x="813" y="372"/>
                    <a:pt x="810" y="373"/>
                    <a:pt x="807" y="372"/>
                  </a:cubicBezTo>
                  <a:cubicBezTo>
                    <a:pt x="807" y="372"/>
                    <a:pt x="806" y="372"/>
                    <a:pt x="805" y="372"/>
                  </a:cubicBezTo>
                  <a:cubicBezTo>
                    <a:pt x="804" y="372"/>
                    <a:pt x="804" y="372"/>
                    <a:pt x="803" y="372"/>
                  </a:cubicBezTo>
                  <a:cubicBezTo>
                    <a:pt x="802" y="372"/>
                    <a:pt x="801" y="372"/>
                    <a:pt x="800" y="372"/>
                  </a:cubicBezTo>
                  <a:cubicBezTo>
                    <a:pt x="799" y="372"/>
                    <a:pt x="797" y="372"/>
                    <a:pt x="796" y="370"/>
                  </a:cubicBezTo>
                  <a:cubicBezTo>
                    <a:pt x="795" y="368"/>
                    <a:pt x="795" y="366"/>
                    <a:pt x="795" y="364"/>
                  </a:cubicBezTo>
                  <a:cubicBezTo>
                    <a:pt x="796" y="362"/>
                    <a:pt x="796" y="359"/>
                    <a:pt x="795" y="356"/>
                  </a:cubicBezTo>
                  <a:cubicBezTo>
                    <a:pt x="794" y="351"/>
                    <a:pt x="798" y="345"/>
                    <a:pt x="800" y="340"/>
                  </a:cubicBezTo>
                  <a:cubicBezTo>
                    <a:pt x="803" y="336"/>
                    <a:pt x="805" y="333"/>
                    <a:pt x="804" y="331"/>
                  </a:cubicBezTo>
                  <a:cubicBezTo>
                    <a:pt x="802" y="327"/>
                    <a:pt x="790" y="314"/>
                    <a:pt x="788" y="311"/>
                  </a:cubicBezTo>
                  <a:cubicBezTo>
                    <a:pt x="787" y="311"/>
                    <a:pt x="787" y="310"/>
                    <a:pt x="787" y="310"/>
                  </a:cubicBezTo>
                  <a:cubicBezTo>
                    <a:pt x="787" y="308"/>
                    <a:pt x="788" y="307"/>
                    <a:pt x="790" y="306"/>
                  </a:cubicBezTo>
                  <a:cubicBezTo>
                    <a:pt x="791" y="305"/>
                    <a:pt x="793" y="303"/>
                    <a:pt x="793" y="302"/>
                  </a:cubicBezTo>
                  <a:cubicBezTo>
                    <a:pt x="793" y="300"/>
                    <a:pt x="796" y="299"/>
                    <a:pt x="800" y="298"/>
                  </a:cubicBezTo>
                  <a:cubicBezTo>
                    <a:pt x="804" y="296"/>
                    <a:pt x="809" y="295"/>
                    <a:pt x="811" y="293"/>
                  </a:cubicBezTo>
                  <a:cubicBezTo>
                    <a:pt x="815" y="287"/>
                    <a:pt x="815" y="279"/>
                    <a:pt x="814" y="278"/>
                  </a:cubicBezTo>
                  <a:cubicBezTo>
                    <a:pt x="813" y="277"/>
                    <a:pt x="813" y="274"/>
                    <a:pt x="814" y="273"/>
                  </a:cubicBezTo>
                  <a:cubicBezTo>
                    <a:pt x="814" y="272"/>
                    <a:pt x="815" y="271"/>
                    <a:pt x="817" y="271"/>
                  </a:cubicBezTo>
                  <a:cubicBezTo>
                    <a:pt x="817" y="271"/>
                    <a:pt x="818" y="271"/>
                    <a:pt x="819" y="271"/>
                  </a:cubicBezTo>
                  <a:cubicBezTo>
                    <a:pt x="822" y="272"/>
                    <a:pt x="824" y="275"/>
                    <a:pt x="826" y="279"/>
                  </a:cubicBezTo>
                  <a:cubicBezTo>
                    <a:pt x="827" y="283"/>
                    <a:pt x="827" y="287"/>
                    <a:pt x="825" y="290"/>
                  </a:cubicBezTo>
                  <a:cubicBezTo>
                    <a:pt x="821" y="297"/>
                    <a:pt x="819" y="302"/>
                    <a:pt x="822" y="304"/>
                  </a:cubicBezTo>
                  <a:cubicBezTo>
                    <a:pt x="823" y="305"/>
                    <a:pt x="823" y="307"/>
                    <a:pt x="822" y="309"/>
                  </a:cubicBezTo>
                  <a:cubicBezTo>
                    <a:pt x="822" y="310"/>
                    <a:pt x="821" y="312"/>
                    <a:pt x="823" y="313"/>
                  </a:cubicBezTo>
                  <a:cubicBezTo>
                    <a:pt x="824" y="315"/>
                    <a:pt x="827" y="315"/>
                    <a:pt x="829" y="315"/>
                  </a:cubicBezTo>
                  <a:cubicBezTo>
                    <a:pt x="830" y="315"/>
                    <a:pt x="832" y="315"/>
                    <a:pt x="834" y="314"/>
                  </a:cubicBezTo>
                  <a:cubicBezTo>
                    <a:pt x="836" y="314"/>
                    <a:pt x="838" y="314"/>
                    <a:pt x="840" y="314"/>
                  </a:cubicBezTo>
                  <a:cubicBezTo>
                    <a:pt x="843" y="314"/>
                    <a:pt x="846" y="315"/>
                    <a:pt x="847" y="315"/>
                  </a:cubicBezTo>
                  <a:cubicBezTo>
                    <a:pt x="849" y="316"/>
                    <a:pt x="851" y="318"/>
                    <a:pt x="853" y="319"/>
                  </a:cubicBezTo>
                  <a:cubicBezTo>
                    <a:pt x="857" y="321"/>
                    <a:pt x="861" y="324"/>
                    <a:pt x="864" y="324"/>
                  </a:cubicBezTo>
                  <a:cubicBezTo>
                    <a:pt x="864" y="324"/>
                    <a:pt x="864" y="324"/>
                    <a:pt x="864" y="324"/>
                  </a:cubicBezTo>
                  <a:cubicBezTo>
                    <a:pt x="866" y="324"/>
                    <a:pt x="868" y="323"/>
                    <a:pt x="868" y="322"/>
                  </a:cubicBezTo>
                  <a:cubicBezTo>
                    <a:pt x="868" y="322"/>
                    <a:pt x="868" y="321"/>
                    <a:pt x="866" y="321"/>
                  </a:cubicBezTo>
                  <a:cubicBezTo>
                    <a:pt x="864" y="320"/>
                    <a:pt x="863" y="319"/>
                    <a:pt x="862" y="318"/>
                  </a:cubicBezTo>
                  <a:cubicBezTo>
                    <a:pt x="861" y="316"/>
                    <a:pt x="860" y="314"/>
                    <a:pt x="853" y="313"/>
                  </a:cubicBezTo>
                  <a:cubicBezTo>
                    <a:pt x="843" y="312"/>
                    <a:pt x="835" y="305"/>
                    <a:pt x="833" y="301"/>
                  </a:cubicBezTo>
                  <a:cubicBezTo>
                    <a:pt x="833" y="300"/>
                    <a:pt x="833" y="298"/>
                    <a:pt x="833" y="298"/>
                  </a:cubicBezTo>
                  <a:cubicBezTo>
                    <a:pt x="835" y="295"/>
                    <a:pt x="839" y="292"/>
                    <a:pt x="843" y="292"/>
                  </a:cubicBezTo>
                  <a:cubicBezTo>
                    <a:pt x="845" y="292"/>
                    <a:pt x="847" y="293"/>
                    <a:pt x="849" y="294"/>
                  </a:cubicBezTo>
                  <a:cubicBezTo>
                    <a:pt x="851" y="295"/>
                    <a:pt x="854" y="296"/>
                    <a:pt x="857" y="296"/>
                  </a:cubicBezTo>
                  <a:cubicBezTo>
                    <a:pt x="860" y="296"/>
                    <a:pt x="862" y="295"/>
                    <a:pt x="863" y="294"/>
                  </a:cubicBezTo>
                  <a:cubicBezTo>
                    <a:pt x="863" y="294"/>
                    <a:pt x="862" y="293"/>
                    <a:pt x="861" y="293"/>
                  </a:cubicBezTo>
                  <a:cubicBezTo>
                    <a:pt x="859" y="292"/>
                    <a:pt x="857" y="291"/>
                    <a:pt x="855" y="291"/>
                  </a:cubicBezTo>
                  <a:cubicBezTo>
                    <a:pt x="853" y="290"/>
                    <a:pt x="852" y="290"/>
                    <a:pt x="852" y="289"/>
                  </a:cubicBezTo>
                  <a:cubicBezTo>
                    <a:pt x="852" y="289"/>
                    <a:pt x="852" y="288"/>
                    <a:pt x="853" y="287"/>
                  </a:cubicBezTo>
                  <a:cubicBezTo>
                    <a:pt x="854" y="287"/>
                    <a:pt x="854" y="286"/>
                    <a:pt x="854" y="286"/>
                  </a:cubicBezTo>
                  <a:cubicBezTo>
                    <a:pt x="854" y="286"/>
                    <a:pt x="853" y="286"/>
                    <a:pt x="851" y="286"/>
                  </a:cubicBezTo>
                  <a:cubicBezTo>
                    <a:pt x="850" y="286"/>
                    <a:pt x="850" y="286"/>
                    <a:pt x="849" y="286"/>
                  </a:cubicBezTo>
                  <a:cubicBezTo>
                    <a:pt x="849" y="286"/>
                    <a:pt x="848" y="286"/>
                    <a:pt x="847" y="286"/>
                  </a:cubicBezTo>
                  <a:cubicBezTo>
                    <a:pt x="845" y="286"/>
                    <a:pt x="845" y="285"/>
                    <a:pt x="845" y="284"/>
                  </a:cubicBezTo>
                  <a:cubicBezTo>
                    <a:pt x="845" y="282"/>
                    <a:pt x="850" y="278"/>
                    <a:pt x="856" y="278"/>
                  </a:cubicBezTo>
                  <a:cubicBezTo>
                    <a:pt x="857" y="278"/>
                    <a:pt x="857" y="278"/>
                    <a:pt x="857" y="278"/>
                  </a:cubicBezTo>
                  <a:cubicBezTo>
                    <a:pt x="861" y="278"/>
                    <a:pt x="862" y="280"/>
                    <a:pt x="863" y="281"/>
                  </a:cubicBezTo>
                  <a:cubicBezTo>
                    <a:pt x="864" y="282"/>
                    <a:pt x="864" y="283"/>
                    <a:pt x="867" y="283"/>
                  </a:cubicBezTo>
                  <a:cubicBezTo>
                    <a:pt x="873" y="283"/>
                    <a:pt x="892" y="285"/>
                    <a:pt x="901" y="292"/>
                  </a:cubicBezTo>
                  <a:cubicBezTo>
                    <a:pt x="906" y="296"/>
                    <a:pt x="915" y="302"/>
                    <a:pt x="921" y="302"/>
                  </a:cubicBezTo>
                  <a:cubicBezTo>
                    <a:pt x="922" y="302"/>
                    <a:pt x="924" y="301"/>
                    <a:pt x="925" y="300"/>
                  </a:cubicBezTo>
                  <a:cubicBezTo>
                    <a:pt x="926" y="298"/>
                    <a:pt x="926" y="296"/>
                    <a:pt x="925" y="293"/>
                  </a:cubicBezTo>
                  <a:cubicBezTo>
                    <a:pt x="924" y="290"/>
                    <a:pt x="920" y="287"/>
                    <a:pt x="917" y="286"/>
                  </a:cubicBezTo>
                  <a:cubicBezTo>
                    <a:pt x="910" y="286"/>
                    <a:pt x="896" y="279"/>
                    <a:pt x="896" y="275"/>
                  </a:cubicBezTo>
                  <a:cubicBezTo>
                    <a:pt x="896" y="274"/>
                    <a:pt x="897" y="273"/>
                    <a:pt x="897" y="272"/>
                  </a:cubicBezTo>
                  <a:cubicBezTo>
                    <a:pt x="899" y="270"/>
                    <a:pt x="899" y="269"/>
                    <a:pt x="896" y="265"/>
                  </a:cubicBezTo>
                  <a:cubicBezTo>
                    <a:pt x="894" y="264"/>
                    <a:pt x="894" y="261"/>
                    <a:pt x="894" y="258"/>
                  </a:cubicBezTo>
                  <a:cubicBezTo>
                    <a:pt x="895" y="255"/>
                    <a:pt x="898" y="251"/>
                    <a:pt x="901" y="250"/>
                  </a:cubicBezTo>
                  <a:cubicBezTo>
                    <a:pt x="907" y="248"/>
                    <a:pt x="928" y="247"/>
                    <a:pt x="939" y="247"/>
                  </a:cubicBezTo>
                  <a:cubicBezTo>
                    <a:pt x="939" y="247"/>
                    <a:pt x="939" y="247"/>
                    <a:pt x="939" y="247"/>
                  </a:cubicBezTo>
                  <a:cubicBezTo>
                    <a:pt x="943" y="247"/>
                    <a:pt x="947" y="246"/>
                    <a:pt x="950" y="246"/>
                  </a:cubicBezTo>
                  <a:cubicBezTo>
                    <a:pt x="953" y="245"/>
                    <a:pt x="955" y="245"/>
                    <a:pt x="957" y="245"/>
                  </a:cubicBezTo>
                  <a:cubicBezTo>
                    <a:pt x="959" y="245"/>
                    <a:pt x="960" y="245"/>
                    <a:pt x="961" y="246"/>
                  </a:cubicBezTo>
                  <a:cubicBezTo>
                    <a:pt x="962" y="247"/>
                    <a:pt x="963" y="247"/>
                    <a:pt x="963" y="247"/>
                  </a:cubicBezTo>
                  <a:cubicBezTo>
                    <a:pt x="964" y="247"/>
                    <a:pt x="966" y="246"/>
                    <a:pt x="967" y="244"/>
                  </a:cubicBezTo>
                  <a:cubicBezTo>
                    <a:pt x="967" y="244"/>
                    <a:pt x="967" y="244"/>
                    <a:pt x="967" y="244"/>
                  </a:cubicBezTo>
                  <a:cubicBezTo>
                    <a:pt x="969" y="242"/>
                    <a:pt x="973" y="242"/>
                    <a:pt x="974" y="242"/>
                  </a:cubicBezTo>
                  <a:cubicBezTo>
                    <a:pt x="977" y="242"/>
                    <a:pt x="982" y="243"/>
                    <a:pt x="982" y="245"/>
                  </a:cubicBezTo>
                  <a:cubicBezTo>
                    <a:pt x="982" y="245"/>
                    <a:pt x="982" y="245"/>
                    <a:pt x="982" y="245"/>
                  </a:cubicBezTo>
                  <a:cubicBezTo>
                    <a:pt x="983" y="246"/>
                    <a:pt x="984" y="246"/>
                    <a:pt x="985" y="245"/>
                  </a:cubicBezTo>
                  <a:cubicBezTo>
                    <a:pt x="985" y="245"/>
                    <a:pt x="985" y="244"/>
                    <a:pt x="985" y="243"/>
                  </a:cubicBezTo>
                  <a:cubicBezTo>
                    <a:pt x="985" y="242"/>
                    <a:pt x="986" y="241"/>
                    <a:pt x="986" y="240"/>
                  </a:cubicBezTo>
                  <a:cubicBezTo>
                    <a:pt x="987" y="239"/>
                    <a:pt x="988" y="239"/>
                    <a:pt x="987" y="238"/>
                  </a:cubicBezTo>
                  <a:cubicBezTo>
                    <a:pt x="987" y="237"/>
                    <a:pt x="986" y="237"/>
                    <a:pt x="986" y="237"/>
                  </a:cubicBezTo>
                  <a:cubicBezTo>
                    <a:pt x="984" y="235"/>
                    <a:pt x="984" y="234"/>
                    <a:pt x="984" y="233"/>
                  </a:cubicBezTo>
                  <a:cubicBezTo>
                    <a:pt x="984" y="232"/>
                    <a:pt x="983" y="232"/>
                    <a:pt x="982" y="232"/>
                  </a:cubicBezTo>
                  <a:cubicBezTo>
                    <a:pt x="978" y="231"/>
                    <a:pt x="976" y="231"/>
                    <a:pt x="975" y="229"/>
                  </a:cubicBezTo>
                  <a:cubicBezTo>
                    <a:pt x="975" y="229"/>
                    <a:pt x="975" y="228"/>
                    <a:pt x="976" y="227"/>
                  </a:cubicBezTo>
                  <a:cubicBezTo>
                    <a:pt x="976" y="227"/>
                    <a:pt x="977" y="226"/>
                    <a:pt x="978" y="226"/>
                  </a:cubicBezTo>
                  <a:cubicBezTo>
                    <a:pt x="980" y="226"/>
                    <a:pt x="981" y="227"/>
                    <a:pt x="983" y="227"/>
                  </a:cubicBezTo>
                  <a:cubicBezTo>
                    <a:pt x="984" y="227"/>
                    <a:pt x="985" y="227"/>
                    <a:pt x="986" y="227"/>
                  </a:cubicBezTo>
                  <a:cubicBezTo>
                    <a:pt x="986" y="227"/>
                    <a:pt x="986" y="227"/>
                    <a:pt x="987" y="227"/>
                  </a:cubicBezTo>
                  <a:cubicBezTo>
                    <a:pt x="987" y="227"/>
                    <a:pt x="987" y="227"/>
                    <a:pt x="987" y="227"/>
                  </a:cubicBezTo>
                  <a:cubicBezTo>
                    <a:pt x="986" y="225"/>
                    <a:pt x="985" y="222"/>
                    <a:pt x="981" y="222"/>
                  </a:cubicBezTo>
                  <a:cubicBezTo>
                    <a:pt x="981" y="222"/>
                    <a:pt x="981" y="222"/>
                    <a:pt x="981" y="222"/>
                  </a:cubicBezTo>
                  <a:cubicBezTo>
                    <a:pt x="978" y="223"/>
                    <a:pt x="973" y="221"/>
                    <a:pt x="972" y="219"/>
                  </a:cubicBezTo>
                  <a:cubicBezTo>
                    <a:pt x="972" y="218"/>
                    <a:pt x="972" y="218"/>
                    <a:pt x="972" y="217"/>
                  </a:cubicBezTo>
                  <a:cubicBezTo>
                    <a:pt x="973" y="217"/>
                    <a:pt x="973" y="216"/>
                    <a:pt x="974" y="216"/>
                  </a:cubicBezTo>
                  <a:cubicBezTo>
                    <a:pt x="976" y="216"/>
                    <a:pt x="977" y="217"/>
                    <a:pt x="979" y="217"/>
                  </a:cubicBezTo>
                  <a:cubicBezTo>
                    <a:pt x="981" y="218"/>
                    <a:pt x="982" y="218"/>
                    <a:pt x="983" y="218"/>
                  </a:cubicBezTo>
                  <a:cubicBezTo>
                    <a:pt x="984" y="218"/>
                    <a:pt x="984" y="218"/>
                    <a:pt x="985" y="218"/>
                  </a:cubicBezTo>
                  <a:cubicBezTo>
                    <a:pt x="985" y="217"/>
                    <a:pt x="986" y="216"/>
                    <a:pt x="985" y="215"/>
                  </a:cubicBezTo>
                  <a:cubicBezTo>
                    <a:pt x="985" y="214"/>
                    <a:pt x="983" y="213"/>
                    <a:pt x="981" y="213"/>
                  </a:cubicBezTo>
                  <a:cubicBezTo>
                    <a:pt x="980" y="213"/>
                    <a:pt x="980" y="213"/>
                    <a:pt x="980" y="213"/>
                  </a:cubicBezTo>
                  <a:cubicBezTo>
                    <a:pt x="980" y="213"/>
                    <a:pt x="980" y="213"/>
                    <a:pt x="980" y="213"/>
                  </a:cubicBezTo>
                  <a:cubicBezTo>
                    <a:pt x="980" y="211"/>
                    <a:pt x="984" y="209"/>
                    <a:pt x="986" y="209"/>
                  </a:cubicBezTo>
                  <a:cubicBezTo>
                    <a:pt x="987" y="209"/>
                    <a:pt x="987" y="209"/>
                    <a:pt x="987" y="209"/>
                  </a:cubicBezTo>
                  <a:cubicBezTo>
                    <a:pt x="987" y="209"/>
                    <a:pt x="987" y="209"/>
                    <a:pt x="987" y="209"/>
                  </a:cubicBezTo>
                  <a:cubicBezTo>
                    <a:pt x="989" y="209"/>
                    <a:pt x="990" y="208"/>
                    <a:pt x="990" y="207"/>
                  </a:cubicBezTo>
                  <a:cubicBezTo>
                    <a:pt x="990" y="206"/>
                    <a:pt x="989" y="206"/>
                    <a:pt x="989" y="206"/>
                  </a:cubicBezTo>
                  <a:cubicBezTo>
                    <a:pt x="987" y="206"/>
                    <a:pt x="987" y="205"/>
                    <a:pt x="987" y="205"/>
                  </a:cubicBezTo>
                  <a:cubicBezTo>
                    <a:pt x="987" y="204"/>
                    <a:pt x="990" y="202"/>
                    <a:pt x="992" y="202"/>
                  </a:cubicBezTo>
                  <a:cubicBezTo>
                    <a:pt x="993" y="202"/>
                    <a:pt x="994" y="203"/>
                    <a:pt x="995" y="204"/>
                  </a:cubicBezTo>
                  <a:cubicBezTo>
                    <a:pt x="996" y="205"/>
                    <a:pt x="997" y="205"/>
                    <a:pt x="999" y="205"/>
                  </a:cubicBezTo>
                  <a:cubicBezTo>
                    <a:pt x="1002" y="205"/>
                    <a:pt x="1004" y="204"/>
                    <a:pt x="1005" y="202"/>
                  </a:cubicBezTo>
                  <a:cubicBezTo>
                    <a:pt x="1008" y="198"/>
                    <a:pt x="1011" y="198"/>
                    <a:pt x="1017" y="197"/>
                  </a:cubicBezTo>
                  <a:cubicBezTo>
                    <a:pt x="1018" y="197"/>
                    <a:pt x="1019" y="196"/>
                    <a:pt x="1019" y="196"/>
                  </a:cubicBezTo>
                  <a:cubicBezTo>
                    <a:pt x="1023" y="196"/>
                    <a:pt x="1024" y="194"/>
                    <a:pt x="1025" y="193"/>
                  </a:cubicBezTo>
                  <a:cubicBezTo>
                    <a:pt x="1026" y="192"/>
                    <a:pt x="1028" y="190"/>
                    <a:pt x="1033" y="190"/>
                  </a:cubicBezTo>
                  <a:cubicBezTo>
                    <a:pt x="1035" y="190"/>
                    <a:pt x="1035" y="190"/>
                    <a:pt x="1035" y="190"/>
                  </a:cubicBezTo>
                  <a:cubicBezTo>
                    <a:pt x="1043" y="190"/>
                    <a:pt x="1050" y="189"/>
                    <a:pt x="1051" y="188"/>
                  </a:cubicBezTo>
                  <a:cubicBezTo>
                    <a:pt x="1051" y="186"/>
                    <a:pt x="1056" y="186"/>
                    <a:pt x="1066" y="185"/>
                  </a:cubicBezTo>
                  <a:cubicBezTo>
                    <a:pt x="1069" y="185"/>
                    <a:pt x="1074" y="184"/>
                    <a:pt x="1075" y="184"/>
                  </a:cubicBezTo>
                  <a:cubicBezTo>
                    <a:pt x="1074" y="184"/>
                    <a:pt x="1073" y="183"/>
                    <a:pt x="1072" y="183"/>
                  </a:cubicBezTo>
                  <a:cubicBezTo>
                    <a:pt x="1069" y="182"/>
                    <a:pt x="1067" y="181"/>
                    <a:pt x="1066" y="180"/>
                  </a:cubicBezTo>
                  <a:cubicBezTo>
                    <a:pt x="1066" y="179"/>
                    <a:pt x="1066" y="178"/>
                    <a:pt x="1066" y="178"/>
                  </a:cubicBezTo>
                  <a:cubicBezTo>
                    <a:pt x="1067" y="176"/>
                    <a:pt x="1069" y="176"/>
                    <a:pt x="1070" y="176"/>
                  </a:cubicBezTo>
                  <a:cubicBezTo>
                    <a:pt x="1071" y="176"/>
                    <a:pt x="1072" y="176"/>
                    <a:pt x="1073" y="176"/>
                  </a:cubicBezTo>
                  <a:cubicBezTo>
                    <a:pt x="1075" y="177"/>
                    <a:pt x="1076" y="177"/>
                    <a:pt x="1077" y="177"/>
                  </a:cubicBezTo>
                  <a:cubicBezTo>
                    <a:pt x="1079" y="177"/>
                    <a:pt x="1080" y="177"/>
                    <a:pt x="1080" y="176"/>
                  </a:cubicBezTo>
                  <a:cubicBezTo>
                    <a:pt x="1084" y="175"/>
                    <a:pt x="1087" y="173"/>
                    <a:pt x="1089" y="172"/>
                  </a:cubicBezTo>
                  <a:cubicBezTo>
                    <a:pt x="1090" y="172"/>
                    <a:pt x="1090" y="172"/>
                    <a:pt x="1090" y="172"/>
                  </a:cubicBezTo>
                  <a:cubicBezTo>
                    <a:pt x="1090" y="171"/>
                    <a:pt x="1090" y="171"/>
                    <a:pt x="1091" y="171"/>
                  </a:cubicBezTo>
                  <a:cubicBezTo>
                    <a:pt x="1092" y="171"/>
                    <a:pt x="1093" y="172"/>
                    <a:pt x="1095" y="173"/>
                  </a:cubicBezTo>
                  <a:cubicBezTo>
                    <a:pt x="1096" y="174"/>
                    <a:pt x="1097" y="174"/>
                    <a:pt x="1098" y="174"/>
                  </a:cubicBezTo>
                  <a:cubicBezTo>
                    <a:pt x="1099" y="174"/>
                    <a:pt x="1099" y="174"/>
                    <a:pt x="1099" y="173"/>
                  </a:cubicBezTo>
                  <a:cubicBezTo>
                    <a:pt x="1100" y="170"/>
                    <a:pt x="1106" y="168"/>
                    <a:pt x="1110" y="168"/>
                  </a:cubicBezTo>
                  <a:cubicBezTo>
                    <a:pt x="1111" y="168"/>
                    <a:pt x="1113" y="169"/>
                    <a:pt x="1114" y="169"/>
                  </a:cubicBezTo>
                  <a:cubicBezTo>
                    <a:pt x="1114" y="170"/>
                    <a:pt x="1114" y="170"/>
                    <a:pt x="1114" y="171"/>
                  </a:cubicBezTo>
                  <a:cubicBezTo>
                    <a:pt x="1114" y="172"/>
                    <a:pt x="1113" y="174"/>
                    <a:pt x="1111" y="175"/>
                  </a:cubicBezTo>
                  <a:cubicBezTo>
                    <a:pt x="1111" y="176"/>
                    <a:pt x="1109" y="177"/>
                    <a:pt x="1109" y="177"/>
                  </a:cubicBezTo>
                  <a:cubicBezTo>
                    <a:pt x="1109" y="177"/>
                    <a:pt x="1109" y="177"/>
                    <a:pt x="1110" y="178"/>
                  </a:cubicBezTo>
                  <a:cubicBezTo>
                    <a:pt x="1111" y="178"/>
                    <a:pt x="1113" y="178"/>
                    <a:pt x="1115" y="177"/>
                  </a:cubicBezTo>
                  <a:cubicBezTo>
                    <a:pt x="1117" y="177"/>
                    <a:pt x="1118" y="177"/>
                    <a:pt x="1119" y="177"/>
                  </a:cubicBezTo>
                  <a:cubicBezTo>
                    <a:pt x="1120" y="177"/>
                    <a:pt x="1121" y="178"/>
                    <a:pt x="1123" y="178"/>
                  </a:cubicBezTo>
                  <a:cubicBezTo>
                    <a:pt x="1125" y="178"/>
                    <a:pt x="1127" y="177"/>
                    <a:pt x="1128" y="175"/>
                  </a:cubicBezTo>
                  <a:cubicBezTo>
                    <a:pt x="1129" y="172"/>
                    <a:pt x="1133" y="171"/>
                    <a:pt x="1137" y="171"/>
                  </a:cubicBezTo>
                  <a:cubicBezTo>
                    <a:pt x="1138" y="171"/>
                    <a:pt x="1140" y="172"/>
                    <a:pt x="1141" y="172"/>
                  </a:cubicBezTo>
                  <a:cubicBezTo>
                    <a:pt x="1144" y="174"/>
                    <a:pt x="1148" y="175"/>
                    <a:pt x="1150" y="175"/>
                  </a:cubicBezTo>
                  <a:cubicBezTo>
                    <a:pt x="1151" y="175"/>
                    <a:pt x="1151" y="175"/>
                    <a:pt x="1152" y="175"/>
                  </a:cubicBezTo>
                  <a:cubicBezTo>
                    <a:pt x="1152" y="174"/>
                    <a:pt x="1149" y="173"/>
                    <a:pt x="1148" y="173"/>
                  </a:cubicBezTo>
                  <a:cubicBezTo>
                    <a:pt x="1145" y="171"/>
                    <a:pt x="1142" y="170"/>
                    <a:pt x="1142" y="168"/>
                  </a:cubicBezTo>
                  <a:cubicBezTo>
                    <a:pt x="1142" y="167"/>
                    <a:pt x="1142" y="167"/>
                    <a:pt x="1143" y="166"/>
                  </a:cubicBezTo>
                  <a:cubicBezTo>
                    <a:pt x="1145" y="164"/>
                    <a:pt x="1155" y="164"/>
                    <a:pt x="1158" y="164"/>
                  </a:cubicBezTo>
                  <a:cubicBezTo>
                    <a:pt x="1161" y="164"/>
                    <a:pt x="1163" y="164"/>
                    <a:pt x="1165" y="164"/>
                  </a:cubicBezTo>
                  <a:cubicBezTo>
                    <a:pt x="1168" y="165"/>
                    <a:pt x="1171" y="164"/>
                    <a:pt x="1172" y="163"/>
                  </a:cubicBezTo>
                  <a:cubicBezTo>
                    <a:pt x="1172" y="163"/>
                    <a:pt x="1172" y="163"/>
                    <a:pt x="1172" y="162"/>
                  </a:cubicBezTo>
                  <a:cubicBezTo>
                    <a:pt x="1172" y="161"/>
                    <a:pt x="1172" y="160"/>
                    <a:pt x="1172" y="159"/>
                  </a:cubicBezTo>
                  <a:cubicBezTo>
                    <a:pt x="1172" y="158"/>
                    <a:pt x="1173" y="157"/>
                    <a:pt x="1170" y="156"/>
                  </a:cubicBezTo>
                  <a:cubicBezTo>
                    <a:pt x="1169" y="156"/>
                    <a:pt x="1168" y="155"/>
                    <a:pt x="1168" y="155"/>
                  </a:cubicBezTo>
                  <a:cubicBezTo>
                    <a:pt x="1168" y="152"/>
                    <a:pt x="1176" y="144"/>
                    <a:pt x="1180" y="143"/>
                  </a:cubicBezTo>
                  <a:cubicBezTo>
                    <a:pt x="1182" y="142"/>
                    <a:pt x="1183" y="140"/>
                    <a:pt x="1184" y="138"/>
                  </a:cubicBezTo>
                  <a:cubicBezTo>
                    <a:pt x="1187" y="135"/>
                    <a:pt x="1190" y="132"/>
                    <a:pt x="1196" y="130"/>
                  </a:cubicBezTo>
                  <a:cubicBezTo>
                    <a:pt x="1200" y="130"/>
                    <a:pt x="1204" y="129"/>
                    <a:pt x="1206" y="128"/>
                  </a:cubicBezTo>
                  <a:cubicBezTo>
                    <a:pt x="1210" y="127"/>
                    <a:pt x="1213" y="126"/>
                    <a:pt x="1215" y="126"/>
                  </a:cubicBezTo>
                  <a:cubicBezTo>
                    <a:pt x="1219" y="127"/>
                    <a:pt x="1224" y="128"/>
                    <a:pt x="1228" y="129"/>
                  </a:cubicBezTo>
                  <a:cubicBezTo>
                    <a:pt x="1229" y="130"/>
                    <a:pt x="1230" y="130"/>
                    <a:pt x="1231" y="130"/>
                  </a:cubicBezTo>
                  <a:cubicBezTo>
                    <a:pt x="1233" y="131"/>
                    <a:pt x="1234" y="131"/>
                    <a:pt x="1236" y="131"/>
                  </a:cubicBezTo>
                  <a:cubicBezTo>
                    <a:pt x="1239" y="131"/>
                    <a:pt x="1242" y="131"/>
                    <a:pt x="1243" y="133"/>
                  </a:cubicBezTo>
                  <a:cubicBezTo>
                    <a:pt x="1244" y="135"/>
                    <a:pt x="1245" y="137"/>
                    <a:pt x="1245" y="138"/>
                  </a:cubicBezTo>
                  <a:cubicBezTo>
                    <a:pt x="1245" y="139"/>
                    <a:pt x="1243" y="139"/>
                    <a:pt x="1241" y="140"/>
                  </a:cubicBezTo>
                  <a:cubicBezTo>
                    <a:pt x="1239" y="140"/>
                    <a:pt x="1237" y="141"/>
                    <a:pt x="1235" y="142"/>
                  </a:cubicBezTo>
                  <a:cubicBezTo>
                    <a:pt x="1232" y="144"/>
                    <a:pt x="1230" y="145"/>
                    <a:pt x="1228" y="145"/>
                  </a:cubicBezTo>
                  <a:cubicBezTo>
                    <a:pt x="1226" y="145"/>
                    <a:pt x="1224" y="145"/>
                    <a:pt x="1223" y="146"/>
                  </a:cubicBezTo>
                  <a:cubicBezTo>
                    <a:pt x="1223" y="146"/>
                    <a:pt x="1223" y="146"/>
                    <a:pt x="1223" y="146"/>
                  </a:cubicBezTo>
                  <a:cubicBezTo>
                    <a:pt x="1224" y="146"/>
                    <a:pt x="1224" y="146"/>
                    <a:pt x="1225" y="146"/>
                  </a:cubicBezTo>
                  <a:cubicBezTo>
                    <a:pt x="1225" y="146"/>
                    <a:pt x="1239" y="146"/>
                    <a:pt x="1241" y="149"/>
                  </a:cubicBezTo>
                  <a:cubicBezTo>
                    <a:pt x="1241" y="149"/>
                    <a:pt x="1242" y="149"/>
                    <a:pt x="1249" y="149"/>
                  </a:cubicBezTo>
                  <a:cubicBezTo>
                    <a:pt x="1250" y="149"/>
                    <a:pt x="1252" y="149"/>
                    <a:pt x="1253" y="149"/>
                  </a:cubicBezTo>
                  <a:cubicBezTo>
                    <a:pt x="1255" y="149"/>
                    <a:pt x="1256" y="149"/>
                    <a:pt x="1258" y="149"/>
                  </a:cubicBezTo>
                  <a:cubicBezTo>
                    <a:pt x="1263" y="149"/>
                    <a:pt x="1265" y="149"/>
                    <a:pt x="1265" y="150"/>
                  </a:cubicBezTo>
                  <a:cubicBezTo>
                    <a:pt x="1265" y="151"/>
                    <a:pt x="1263" y="153"/>
                    <a:pt x="1260" y="157"/>
                  </a:cubicBezTo>
                  <a:cubicBezTo>
                    <a:pt x="1257" y="159"/>
                    <a:pt x="1254" y="163"/>
                    <a:pt x="1254" y="164"/>
                  </a:cubicBezTo>
                  <a:cubicBezTo>
                    <a:pt x="1255" y="164"/>
                    <a:pt x="1259" y="164"/>
                    <a:pt x="1264" y="164"/>
                  </a:cubicBezTo>
                  <a:cubicBezTo>
                    <a:pt x="1268" y="164"/>
                    <a:pt x="1271" y="164"/>
                    <a:pt x="1271" y="162"/>
                  </a:cubicBezTo>
                  <a:cubicBezTo>
                    <a:pt x="1272" y="159"/>
                    <a:pt x="1276" y="156"/>
                    <a:pt x="1280" y="156"/>
                  </a:cubicBezTo>
                  <a:cubicBezTo>
                    <a:pt x="1280" y="156"/>
                    <a:pt x="1281" y="156"/>
                    <a:pt x="1282" y="156"/>
                  </a:cubicBezTo>
                  <a:cubicBezTo>
                    <a:pt x="1283" y="157"/>
                    <a:pt x="1287" y="157"/>
                    <a:pt x="1291" y="157"/>
                  </a:cubicBezTo>
                  <a:cubicBezTo>
                    <a:pt x="1296" y="157"/>
                    <a:pt x="1298" y="157"/>
                    <a:pt x="1299" y="156"/>
                  </a:cubicBezTo>
                  <a:cubicBezTo>
                    <a:pt x="1299" y="156"/>
                    <a:pt x="1300" y="156"/>
                    <a:pt x="1301" y="156"/>
                  </a:cubicBezTo>
                  <a:cubicBezTo>
                    <a:pt x="1302" y="156"/>
                    <a:pt x="1303" y="156"/>
                    <a:pt x="1305" y="157"/>
                  </a:cubicBezTo>
                  <a:cubicBezTo>
                    <a:pt x="1306" y="157"/>
                    <a:pt x="1307" y="157"/>
                    <a:pt x="1308" y="157"/>
                  </a:cubicBezTo>
                  <a:cubicBezTo>
                    <a:pt x="1308" y="157"/>
                    <a:pt x="1308" y="157"/>
                    <a:pt x="1308" y="157"/>
                  </a:cubicBezTo>
                  <a:cubicBezTo>
                    <a:pt x="1308" y="156"/>
                    <a:pt x="1310" y="156"/>
                    <a:pt x="1310" y="156"/>
                  </a:cubicBezTo>
                  <a:cubicBezTo>
                    <a:pt x="1314" y="156"/>
                    <a:pt x="1325" y="159"/>
                    <a:pt x="1330" y="162"/>
                  </a:cubicBezTo>
                  <a:cubicBezTo>
                    <a:pt x="1331" y="163"/>
                    <a:pt x="1332" y="163"/>
                    <a:pt x="1333" y="163"/>
                  </a:cubicBezTo>
                  <a:cubicBezTo>
                    <a:pt x="1335" y="163"/>
                    <a:pt x="1336" y="162"/>
                    <a:pt x="1337" y="162"/>
                  </a:cubicBezTo>
                  <a:cubicBezTo>
                    <a:pt x="1339" y="161"/>
                    <a:pt x="1340" y="161"/>
                    <a:pt x="1341" y="161"/>
                  </a:cubicBezTo>
                  <a:cubicBezTo>
                    <a:pt x="1341" y="161"/>
                    <a:pt x="1342" y="161"/>
                    <a:pt x="1342" y="162"/>
                  </a:cubicBezTo>
                  <a:cubicBezTo>
                    <a:pt x="1346" y="165"/>
                    <a:pt x="1346" y="172"/>
                    <a:pt x="1346" y="174"/>
                  </a:cubicBezTo>
                  <a:cubicBezTo>
                    <a:pt x="1346" y="174"/>
                    <a:pt x="1346" y="174"/>
                    <a:pt x="1346" y="175"/>
                  </a:cubicBezTo>
                  <a:cubicBezTo>
                    <a:pt x="1346" y="175"/>
                    <a:pt x="1346" y="175"/>
                    <a:pt x="1346" y="175"/>
                  </a:cubicBezTo>
                  <a:cubicBezTo>
                    <a:pt x="1347" y="175"/>
                    <a:pt x="1347" y="174"/>
                    <a:pt x="1348" y="174"/>
                  </a:cubicBezTo>
                  <a:cubicBezTo>
                    <a:pt x="1349" y="174"/>
                    <a:pt x="1350" y="174"/>
                    <a:pt x="1352" y="174"/>
                  </a:cubicBezTo>
                  <a:cubicBezTo>
                    <a:pt x="1353" y="174"/>
                    <a:pt x="1354" y="174"/>
                    <a:pt x="1355" y="175"/>
                  </a:cubicBezTo>
                  <a:cubicBezTo>
                    <a:pt x="1357" y="177"/>
                    <a:pt x="1356" y="180"/>
                    <a:pt x="1355" y="181"/>
                  </a:cubicBezTo>
                  <a:cubicBezTo>
                    <a:pt x="1355" y="182"/>
                    <a:pt x="1355" y="182"/>
                    <a:pt x="1355" y="182"/>
                  </a:cubicBezTo>
                  <a:cubicBezTo>
                    <a:pt x="1355" y="182"/>
                    <a:pt x="1355" y="182"/>
                    <a:pt x="1356" y="182"/>
                  </a:cubicBezTo>
                  <a:cubicBezTo>
                    <a:pt x="1356" y="182"/>
                    <a:pt x="1356" y="182"/>
                    <a:pt x="1357" y="182"/>
                  </a:cubicBezTo>
                  <a:cubicBezTo>
                    <a:pt x="1359" y="182"/>
                    <a:pt x="1361" y="184"/>
                    <a:pt x="1362" y="186"/>
                  </a:cubicBezTo>
                  <a:cubicBezTo>
                    <a:pt x="1362" y="188"/>
                    <a:pt x="1361" y="189"/>
                    <a:pt x="1360" y="190"/>
                  </a:cubicBezTo>
                  <a:cubicBezTo>
                    <a:pt x="1358" y="190"/>
                    <a:pt x="1356" y="191"/>
                    <a:pt x="1355" y="191"/>
                  </a:cubicBezTo>
                  <a:cubicBezTo>
                    <a:pt x="1354" y="191"/>
                    <a:pt x="1353" y="191"/>
                    <a:pt x="1353" y="191"/>
                  </a:cubicBezTo>
                  <a:cubicBezTo>
                    <a:pt x="1353" y="191"/>
                    <a:pt x="1353" y="191"/>
                    <a:pt x="1353" y="192"/>
                  </a:cubicBezTo>
                  <a:cubicBezTo>
                    <a:pt x="1353" y="193"/>
                    <a:pt x="1354" y="193"/>
                    <a:pt x="1356" y="194"/>
                  </a:cubicBezTo>
                  <a:cubicBezTo>
                    <a:pt x="1357" y="194"/>
                    <a:pt x="1359" y="195"/>
                    <a:pt x="1359" y="197"/>
                  </a:cubicBezTo>
                  <a:cubicBezTo>
                    <a:pt x="1359" y="200"/>
                    <a:pt x="1357" y="204"/>
                    <a:pt x="1352" y="206"/>
                  </a:cubicBezTo>
                  <a:cubicBezTo>
                    <a:pt x="1345" y="209"/>
                    <a:pt x="1336" y="213"/>
                    <a:pt x="1334" y="213"/>
                  </a:cubicBezTo>
                  <a:cubicBezTo>
                    <a:pt x="1334" y="213"/>
                    <a:pt x="1333" y="214"/>
                    <a:pt x="1332" y="216"/>
                  </a:cubicBezTo>
                  <a:cubicBezTo>
                    <a:pt x="1331" y="218"/>
                    <a:pt x="1330" y="221"/>
                    <a:pt x="1328" y="221"/>
                  </a:cubicBezTo>
                  <a:cubicBezTo>
                    <a:pt x="1327" y="221"/>
                    <a:pt x="1327" y="221"/>
                    <a:pt x="1327" y="221"/>
                  </a:cubicBezTo>
                  <a:cubicBezTo>
                    <a:pt x="1323" y="221"/>
                    <a:pt x="1305" y="227"/>
                    <a:pt x="1303" y="230"/>
                  </a:cubicBezTo>
                  <a:cubicBezTo>
                    <a:pt x="1301" y="234"/>
                    <a:pt x="1294" y="237"/>
                    <a:pt x="1289" y="239"/>
                  </a:cubicBezTo>
                  <a:cubicBezTo>
                    <a:pt x="1289" y="240"/>
                    <a:pt x="1288" y="240"/>
                    <a:pt x="1288" y="240"/>
                  </a:cubicBezTo>
                  <a:cubicBezTo>
                    <a:pt x="1286" y="241"/>
                    <a:pt x="1286" y="242"/>
                    <a:pt x="1285" y="243"/>
                  </a:cubicBezTo>
                  <a:cubicBezTo>
                    <a:pt x="1283" y="245"/>
                    <a:pt x="1281" y="247"/>
                    <a:pt x="1276" y="248"/>
                  </a:cubicBezTo>
                  <a:cubicBezTo>
                    <a:pt x="1274" y="248"/>
                    <a:pt x="1273" y="248"/>
                    <a:pt x="1271" y="248"/>
                  </a:cubicBezTo>
                  <a:cubicBezTo>
                    <a:pt x="1266" y="249"/>
                    <a:pt x="1263" y="249"/>
                    <a:pt x="1260" y="253"/>
                  </a:cubicBezTo>
                  <a:cubicBezTo>
                    <a:pt x="1259" y="255"/>
                    <a:pt x="1257" y="255"/>
                    <a:pt x="1254" y="256"/>
                  </a:cubicBezTo>
                  <a:cubicBezTo>
                    <a:pt x="1252" y="256"/>
                    <a:pt x="1249" y="257"/>
                    <a:pt x="1247" y="260"/>
                  </a:cubicBezTo>
                  <a:cubicBezTo>
                    <a:pt x="1243" y="264"/>
                    <a:pt x="1240" y="270"/>
                    <a:pt x="1240" y="271"/>
                  </a:cubicBezTo>
                  <a:cubicBezTo>
                    <a:pt x="1240" y="271"/>
                    <a:pt x="1241" y="270"/>
                    <a:pt x="1242" y="269"/>
                  </a:cubicBezTo>
                  <a:cubicBezTo>
                    <a:pt x="1249" y="264"/>
                    <a:pt x="1252" y="263"/>
                    <a:pt x="1263" y="262"/>
                  </a:cubicBezTo>
                  <a:cubicBezTo>
                    <a:pt x="1267" y="262"/>
                    <a:pt x="1267" y="262"/>
                    <a:pt x="1267" y="262"/>
                  </a:cubicBezTo>
                  <a:cubicBezTo>
                    <a:pt x="1273" y="261"/>
                    <a:pt x="1288" y="257"/>
                    <a:pt x="1288" y="254"/>
                  </a:cubicBezTo>
                  <a:cubicBezTo>
                    <a:pt x="1288" y="253"/>
                    <a:pt x="1292" y="252"/>
                    <a:pt x="1297" y="252"/>
                  </a:cubicBezTo>
                  <a:cubicBezTo>
                    <a:pt x="1301" y="251"/>
                    <a:pt x="1305" y="251"/>
                    <a:pt x="1306" y="250"/>
                  </a:cubicBezTo>
                  <a:cubicBezTo>
                    <a:pt x="1306" y="249"/>
                    <a:pt x="1306" y="249"/>
                    <a:pt x="1306" y="249"/>
                  </a:cubicBezTo>
                  <a:cubicBezTo>
                    <a:pt x="1306" y="249"/>
                    <a:pt x="1305" y="249"/>
                    <a:pt x="1304" y="249"/>
                  </a:cubicBezTo>
                  <a:cubicBezTo>
                    <a:pt x="1301" y="249"/>
                    <a:pt x="1299" y="249"/>
                    <a:pt x="1297" y="247"/>
                  </a:cubicBezTo>
                  <a:cubicBezTo>
                    <a:pt x="1297" y="247"/>
                    <a:pt x="1297" y="246"/>
                    <a:pt x="1297" y="245"/>
                  </a:cubicBezTo>
                  <a:cubicBezTo>
                    <a:pt x="1299" y="241"/>
                    <a:pt x="1305" y="237"/>
                    <a:pt x="1311" y="237"/>
                  </a:cubicBezTo>
                  <a:cubicBezTo>
                    <a:pt x="1312" y="237"/>
                    <a:pt x="1313" y="237"/>
                    <a:pt x="1314" y="237"/>
                  </a:cubicBezTo>
                  <a:cubicBezTo>
                    <a:pt x="1321" y="239"/>
                    <a:pt x="1326" y="241"/>
                    <a:pt x="1331" y="246"/>
                  </a:cubicBezTo>
                  <a:cubicBezTo>
                    <a:pt x="1332" y="246"/>
                    <a:pt x="1335" y="247"/>
                    <a:pt x="1337" y="247"/>
                  </a:cubicBezTo>
                  <a:cubicBezTo>
                    <a:pt x="1341" y="247"/>
                    <a:pt x="1344" y="246"/>
                    <a:pt x="1345" y="245"/>
                  </a:cubicBezTo>
                  <a:cubicBezTo>
                    <a:pt x="1346" y="245"/>
                    <a:pt x="1346" y="244"/>
                    <a:pt x="1345" y="244"/>
                  </a:cubicBezTo>
                  <a:cubicBezTo>
                    <a:pt x="1345" y="243"/>
                    <a:pt x="1345" y="242"/>
                    <a:pt x="1346" y="242"/>
                  </a:cubicBezTo>
                  <a:cubicBezTo>
                    <a:pt x="1346" y="241"/>
                    <a:pt x="1347" y="241"/>
                    <a:pt x="1348" y="241"/>
                  </a:cubicBezTo>
                  <a:cubicBezTo>
                    <a:pt x="1351" y="241"/>
                    <a:pt x="1353" y="243"/>
                    <a:pt x="1354" y="245"/>
                  </a:cubicBezTo>
                  <a:cubicBezTo>
                    <a:pt x="1354" y="247"/>
                    <a:pt x="1354" y="249"/>
                    <a:pt x="1354" y="252"/>
                  </a:cubicBezTo>
                  <a:cubicBezTo>
                    <a:pt x="1353" y="255"/>
                    <a:pt x="1353" y="258"/>
                    <a:pt x="1354" y="259"/>
                  </a:cubicBezTo>
                  <a:cubicBezTo>
                    <a:pt x="1354" y="259"/>
                    <a:pt x="1355" y="259"/>
                    <a:pt x="1356" y="259"/>
                  </a:cubicBezTo>
                  <a:cubicBezTo>
                    <a:pt x="1357" y="259"/>
                    <a:pt x="1357" y="259"/>
                    <a:pt x="1357" y="259"/>
                  </a:cubicBezTo>
                  <a:cubicBezTo>
                    <a:pt x="1357" y="258"/>
                    <a:pt x="1357" y="257"/>
                    <a:pt x="1357" y="256"/>
                  </a:cubicBezTo>
                  <a:cubicBezTo>
                    <a:pt x="1356" y="254"/>
                    <a:pt x="1355" y="252"/>
                    <a:pt x="1357" y="252"/>
                  </a:cubicBezTo>
                  <a:cubicBezTo>
                    <a:pt x="1360" y="250"/>
                    <a:pt x="1378" y="248"/>
                    <a:pt x="1389" y="247"/>
                  </a:cubicBezTo>
                  <a:cubicBezTo>
                    <a:pt x="1391" y="247"/>
                    <a:pt x="1393" y="247"/>
                    <a:pt x="1394" y="247"/>
                  </a:cubicBezTo>
                  <a:cubicBezTo>
                    <a:pt x="1395" y="247"/>
                    <a:pt x="1396" y="247"/>
                    <a:pt x="1397" y="247"/>
                  </a:cubicBezTo>
                  <a:cubicBezTo>
                    <a:pt x="1401" y="247"/>
                    <a:pt x="1405" y="248"/>
                    <a:pt x="1408" y="249"/>
                  </a:cubicBezTo>
                  <a:cubicBezTo>
                    <a:pt x="1412" y="250"/>
                    <a:pt x="1416" y="251"/>
                    <a:pt x="1421" y="251"/>
                  </a:cubicBezTo>
                  <a:cubicBezTo>
                    <a:pt x="1422" y="251"/>
                    <a:pt x="1424" y="251"/>
                    <a:pt x="1425" y="251"/>
                  </a:cubicBezTo>
                  <a:cubicBezTo>
                    <a:pt x="1430" y="251"/>
                    <a:pt x="1435" y="251"/>
                    <a:pt x="1435" y="253"/>
                  </a:cubicBezTo>
                  <a:cubicBezTo>
                    <a:pt x="1435" y="253"/>
                    <a:pt x="1435" y="254"/>
                    <a:pt x="1434" y="254"/>
                  </a:cubicBezTo>
                  <a:cubicBezTo>
                    <a:pt x="1434" y="255"/>
                    <a:pt x="1433" y="255"/>
                    <a:pt x="1433" y="255"/>
                  </a:cubicBezTo>
                  <a:cubicBezTo>
                    <a:pt x="1430" y="256"/>
                    <a:pt x="1427" y="257"/>
                    <a:pt x="1429" y="261"/>
                  </a:cubicBezTo>
                  <a:cubicBezTo>
                    <a:pt x="1429" y="263"/>
                    <a:pt x="1436" y="265"/>
                    <a:pt x="1442" y="265"/>
                  </a:cubicBezTo>
                  <a:cubicBezTo>
                    <a:pt x="1446" y="265"/>
                    <a:pt x="1448" y="264"/>
                    <a:pt x="1448" y="264"/>
                  </a:cubicBezTo>
                  <a:cubicBezTo>
                    <a:pt x="1448" y="262"/>
                    <a:pt x="1449" y="261"/>
                    <a:pt x="1451" y="261"/>
                  </a:cubicBezTo>
                  <a:cubicBezTo>
                    <a:pt x="1452" y="261"/>
                    <a:pt x="1454" y="262"/>
                    <a:pt x="1455" y="264"/>
                  </a:cubicBezTo>
                  <a:cubicBezTo>
                    <a:pt x="1456" y="266"/>
                    <a:pt x="1458" y="266"/>
                    <a:pt x="1462" y="266"/>
                  </a:cubicBezTo>
                  <a:cubicBezTo>
                    <a:pt x="1465" y="266"/>
                    <a:pt x="1469" y="266"/>
                    <a:pt x="1474" y="268"/>
                  </a:cubicBezTo>
                  <a:cubicBezTo>
                    <a:pt x="1477" y="268"/>
                    <a:pt x="1478" y="269"/>
                    <a:pt x="1480" y="269"/>
                  </a:cubicBezTo>
                  <a:cubicBezTo>
                    <a:pt x="1483" y="269"/>
                    <a:pt x="1485" y="268"/>
                    <a:pt x="1486" y="267"/>
                  </a:cubicBezTo>
                  <a:cubicBezTo>
                    <a:pt x="1488" y="266"/>
                    <a:pt x="1489" y="266"/>
                    <a:pt x="1490" y="266"/>
                  </a:cubicBezTo>
                  <a:cubicBezTo>
                    <a:pt x="1491" y="266"/>
                    <a:pt x="1491" y="266"/>
                    <a:pt x="1492" y="266"/>
                  </a:cubicBezTo>
                  <a:cubicBezTo>
                    <a:pt x="1493" y="266"/>
                    <a:pt x="1494" y="267"/>
                    <a:pt x="1495" y="267"/>
                  </a:cubicBezTo>
                  <a:cubicBezTo>
                    <a:pt x="1496" y="268"/>
                    <a:pt x="1498" y="268"/>
                    <a:pt x="1499" y="268"/>
                  </a:cubicBezTo>
                  <a:cubicBezTo>
                    <a:pt x="1499" y="268"/>
                    <a:pt x="1500" y="268"/>
                    <a:pt x="1500" y="266"/>
                  </a:cubicBezTo>
                  <a:cubicBezTo>
                    <a:pt x="1500" y="264"/>
                    <a:pt x="1501" y="263"/>
                    <a:pt x="1501" y="262"/>
                  </a:cubicBezTo>
                  <a:cubicBezTo>
                    <a:pt x="1502" y="260"/>
                    <a:pt x="1502" y="259"/>
                    <a:pt x="1500" y="255"/>
                  </a:cubicBezTo>
                  <a:cubicBezTo>
                    <a:pt x="1499" y="253"/>
                    <a:pt x="1499" y="251"/>
                    <a:pt x="1501" y="249"/>
                  </a:cubicBezTo>
                  <a:cubicBezTo>
                    <a:pt x="1502" y="247"/>
                    <a:pt x="1505" y="246"/>
                    <a:pt x="1508" y="247"/>
                  </a:cubicBezTo>
                  <a:cubicBezTo>
                    <a:pt x="1509" y="247"/>
                    <a:pt x="1509" y="247"/>
                    <a:pt x="1509" y="247"/>
                  </a:cubicBezTo>
                  <a:cubicBezTo>
                    <a:pt x="1511" y="247"/>
                    <a:pt x="1511" y="245"/>
                    <a:pt x="1512" y="244"/>
                  </a:cubicBezTo>
                  <a:cubicBezTo>
                    <a:pt x="1513" y="242"/>
                    <a:pt x="1513" y="240"/>
                    <a:pt x="1515" y="240"/>
                  </a:cubicBezTo>
                  <a:cubicBezTo>
                    <a:pt x="1517" y="240"/>
                    <a:pt x="1517" y="241"/>
                    <a:pt x="1518" y="243"/>
                  </a:cubicBezTo>
                  <a:cubicBezTo>
                    <a:pt x="1520" y="245"/>
                    <a:pt x="1522" y="248"/>
                    <a:pt x="1528" y="250"/>
                  </a:cubicBezTo>
                  <a:cubicBezTo>
                    <a:pt x="1532" y="251"/>
                    <a:pt x="1535" y="251"/>
                    <a:pt x="1538" y="251"/>
                  </a:cubicBezTo>
                  <a:cubicBezTo>
                    <a:pt x="1542" y="252"/>
                    <a:pt x="1544" y="252"/>
                    <a:pt x="1545" y="253"/>
                  </a:cubicBezTo>
                  <a:cubicBezTo>
                    <a:pt x="1545" y="254"/>
                    <a:pt x="1545" y="254"/>
                    <a:pt x="1545" y="255"/>
                  </a:cubicBezTo>
                  <a:cubicBezTo>
                    <a:pt x="1545" y="255"/>
                    <a:pt x="1545" y="255"/>
                    <a:pt x="1545" y="256"/>
                  </a:cubicBezTo>
                  <a:cubicBezTo>
                    <a:pt x="1545" y="256"/>
                    <a:pt x="1547" y="257"/>
                    <a:pt x="1548" y="257"/>
                  </a:cubicBezTo>
                  <a:cubicBezTo>
                    <a:pt x="1549" y="256"/>
                    <a:pt x="1549" y="256"/>
                    <a:pt x="1549" y="256"/>
                  </a:cubicBezTo>
                  <a:cubicBezTo>
                    <a:pt x="1549" y="256"/>
                    <a:pt x="1549" y="256"/>
                    <a:pt x="1549" y="255"/>
                  </a:cubicBezTo>
                  <a:cubicBezTo>
                    <a:pt x="1549" y="255"/>
                    <a:pt x="1549" y="254"/>
                    <a:pt x="1550" y="254"/>
                  </a:cubicBezTo>
                  <a:cubicBezTo>
                    <a:pt x="1551" y="252"/>
                    <a:pt x="1556" y="252"/>
                    <a:pt x="1558" y="252"/>
                  </a:cubicBezTo>
                  <a:cubicBezTo>
                    <a:pt x="1558" y="252"/>
                    <a:pt x="1569" y="252"/>
                    <a:pt x="1570" y="255"/>
                  </a:cubicBezTo>
                  <a:cubicBezTo>
                    <a:pt x="1570" y="257"/>
                    <a:pt x="1574" y="261"/>
                    <a:pt x="1579" y="261"/>
                  </a:cubicBezTo>
                  <a:cubicBezTo>
                    <a:pt x="1582" y="262"/>
                    <a:pt x="1584" y="263"/>
                    <a:pt x="1584" y="265"/>
                  </a:cubicBezTo>
                  <a:cubicBezTo>
                    <a:pt x="1584" y="266"/>
                    <a:pt x="1583" y="267"/>
                    <a:pt x="1582" y="267"/>
                  </a:cubicBezTo>
                  <a:cubicBezTo>
                    <a:pt x="1582" y="268"/>
                    <a:pt x="1582" y="268"/>
                    <a:pt x="1582" y="268"/>
                  </a:cubicBezTo>
                  <a:cubicBezTo>
                    <a:pt x="1581" y="268"/>
                    <a:pt x="1583" y="270"/>
                    <a:pt x="1584" y="272"/>
                  </a:cubicBezTo>
                  <a:cubicBezTo>
                    <a:pt x="1585" y="274"/>
                    <a:pt x="1586" y="276"/>
                    <a:pt x="1586" y="277"/>
                  </a:cubicBezTo>
                  <a:cubicBezTo>
                    <a:pt x="1586" y="277"/>
                    <a:pt x="1586" y="277"/>
                    <a:pt x="1585" y="277"/>
                  </a:cubicBezTo>
                  <a:cubicBezTo>
                    <a:pt x="1584" y="278"/>
                    <a:pt x="1582" y="279"/>
                    <a:pt x="1583" y="281"/>
                  </a:cubicBezTo>
                  <a:cubicBezTo>
                    <a:pt x="1583" y="282"/>
                    <a:pt x="1584" y="282"/>
                    <a:pt x="1586" y="282"/>
                  </a:cubicBezTo>
                  <a:cubicBezTo>
                    <a:pt x="1588" y="282"/>
                    <a:pt x="1590" y="284"/>
                    <a:pt x="1591" y="287"/>
                  </a:cubicBezTo>
                  <a:cubicBezTo>
                    <a:pt x="1591" y="289"/>
                    <a:pt x="1590" y="292"/>
                    <a:pt x="1589" y="293"/>
                  </a:cubicBezTo>
                  <a:cubicBezTo>
                    <a:pt x="1587" y="294"/>
                    <a:pt x="1585" y="294"/>
                    <a:pt x="1584" y="294"/>
                  </a:cubicBezTo>
                  <a:cubicBezTo>
                    <a:pt x="1581" y="294"/>
                    <a:pt x="1579" y="294"/>
                    <a:pt x="1577" y="292"/>
                  </a:cubicBezTo>
                  <a:cubicBezTo>
                    <a:pt x="1576" y="291"/>
                    <a:pt x="1574" y="290"/>
                    <a:pt x="1573" y="290"/>
                  </a:cubicBezTo>
                  <a:cubicBezTo>
                    <a:pt x="1572" y="290"/>
                    <a:pt x="1572" y="290"/>
                    <a:pt x="1572" y="291"/>
                  </a:cubicBezTo>
                  <a:cubicBezTo>
                    <a:pt x="1572" y="291"/>
                    <a:pt x="1572" y="291"/>
                    <a:pt x="1572" y="291"/>
                  </a:cubicBezTo>
                  <a:cubicBezTo>
                    <a:pt x="1575" y="293"/>
                    <a:pt x="1585" y="301"/>
                    <a:pt x="1586" y="306"/>
                  </a:cubicBezTo>
                  <a:cubicBezTo>
                    <a:pt x="1587" y="310"/>
                    <a:pt x="1602" y="325"/>
                    <a:pt x="1607" y="325"/>
                  </a:cubicBezTo>
                  <a:cubicBezTo>
                    <a:pt x="1607" y="325"/>
                    <a:pt x="1607" y="325"/>
                    <a:pt x="1607" y="325"/>
                  </a:cubicBezTo>
                  <a:cubicBezTo>
                    <a:pt x="1610" y="325"/>
                    <a:pt x="1611" y="326"/>
                    <a:pt x="1612" y="327"/>
                  </a:cubicBezTo>
                  <a:cubicBezTo>
                    <a:pt x="1613" y="328"/>
                    <a:pt x="1614" y="329"/>
                    <a:pt x="1616" y="328"/>
                  </a:cubicBezTo>
                  <a:cubicBezTo>
                    <a:pt x="1618" y="327"/>
                    <a:pt x="1619" y="325"/>
                    <a:pt x="1620" y="323"/>
                  </a:cubicBezTo>
                  <a:cubicBezTo>
                    <a:pt x="1622" y="320"/>
                    <a:pt x="1623" y="317"/>
                    <a:pt x="1625" y="317"/>
                  </a:cubicBezTo>
                  <a:cubicBezTo>
                    <a:pt x="1627" y="317"/>
                    <a:pt x="1628" y="313"/>
                    <a:pt x="1629" y="310"/>
                  </a:cubicBezTo>
                  <a:cubicBezTo>
                    <a:pt x="1630" y="307"/>
                    <a:pt x="1631" y="304"/>
                    <a:pt x="1633" y="302"/>
                  </a:cubicBezTo>
                  <a:cubicBezTo>
                    <a:pt x="1635" y="300"/>
                    <a:pt x="1636" y="299"/>
                    <a:pt x="1637" y="299"/>
                  </a:cubicBezTo>
                  <a:cubicBezTo>
                    <a:pt x="1639" y="299"/>
                    <a:pt x="1640" y="300"/>
                    <a:pt x="1642" y="303"/>
                  </a:cubicBezTo>
                  <a:cubicBezTo>
                    <a:pt x="1645" y="307"/>
                    <a:pt x="1655" y="312"/>
                    <a:pt x="1663" y="311"/>
                  </a:cubicBezTo>
                  <a:cubicBezTo>
                    <a:pt x="1667" y="311"/>
                    <a:pt x="1670" y="309"/>
                    <a:pt x="1673" y="308"/>
                  </a:cubicBezTo>
                  <a:cubicBezTo>
                    <a:pt x="1675" y="307"/>
                    <a:pt x="1677" y="305"/>
                    <a:pt x="1680" y="305"/>
                  </a:cubicBezTo>
                  <a:cubicBezTo>
                    <a:pt x="1683" y="305"/>
                    <a:pt x="1687" y="306"/>
                    <a:pt x="1691" y="307"/>
                  </a:cubicBezTo>
                  <a:cubicBezTo>
                    <a:pt x="1695" y="308"/>
                    <a:pt x="1698" y="309"/>
                    <a:pt x="1701" y="309"/>
                  </a:cubicBezTo>
                  <a:cubicBezTo>
                    <a:pt x="1702" y="309"/>
                    <a:pt x="1702" y="309"/>
                    <a:pt x="1702" y="309"/>
                  </a:cubicBezTo>
                  <a:cubicBezTo>
                    <a:pt x="1703" y="309"/>
                    <a:pt x="1703" y="309"/>
                    <a:pt x="1703" y="309"/>
                  </a:cubicBezTo>
                  <a:cubicBezTo>
                    <a:pt x="1705" y="309"/>
                    <a:pt x="1706" y="311"/>
                    <a:pt x="1707" y="312"/>
                  </a:cubicBezTo>
                  <a:cubicBezTo>
                    <a:pt x="1708" y="314"/>
                    <a:pt x="1709" y="316"/>
                    <a:pt x="1713" y="316"/>
                  </a:cubicBezTo>
                  <a:cubicBezTo>
                    <a:pt x="1714" y="316"/>
                    <a:pt x="1714" y="316"/>
                    <a:pt x="1714" y="316"/>
                  </a:cubicBezTo>
                  <a:cubicBezTo>
                    <a:pt x="1718" y="316"/>
                    <a:pt x="1719" y="315"/>
                    <a:pt x="1719" y="314"/>
                  </a:cubicBezTo>
                  <a:cubicBezTo>
                    <a:pt x="1719" y="313"/>
                    <a:pt x="1717" y="312"/>
                    <a:pt x="1714" y="311"/>
                  </a:cubicBezTo>
                  <a:cubicBezTo>
                    <a:pt x="1712" y="311"/>
                    <a:pt x="1710" y="310"/>
                    <a:pt x="1711" y="309"/>
                  </a:cubicBezTo>
                  <a:cubicBezTo>
                    <a:pt x="1711" y="308"/>
                    <a:pt x="1714" y="307"/>
                    <a:pt x="1717" y="307"/>
                  </a:cubicBezTo>
                  <a:cubicBezTo>
                    <a:pt x="1718" y="307"/>
                    <a:pt x="1718" y="307"/>
                    <a:pt x="1718" y="307"/>
                  </a:cubicBezTo>
                  <a:cubicBezTo>
                    <a:pt x="1720" y="307"/>
                    <a:pt x="1722" y="307"/>
                    <a:pt x="1724" y="306"/>
                  </a:cubicBezTo>
                  <a:cubicBezTo>
                    <a:pt x="1726" y="306"/>
                    <a:pt x="1727" y="306"/>
                    <a:pt x="1728" y="306"/>
                  </a:cubicBezTo>
                  <a:cubicBezTo>
                    <a:pt x="1730" y="306"/>
                    <a:pt x="1731" y="307"/>
                    <a:pt x="1732" y="308"/>
                  </a:cubicBezTo>
                  <a:cubicBezTo>
                    <a:pt x="1734" y="309"/>
                    <a:pt x="1736" y="310"/>
                    <a:pt x="1738" y="310"/>
                  </a:cubicBezTo>
                  <a:cubicBezTo>
                    <a:pt x="1740" y="310"/>
                    <a:pt x="1742" y="310"/>
                    <a:pt x="1743" y="309"/>
                  </a:cubicBezTo>
                  <a:cubicBezTo>
                    <a:pt x="1743" y="309"/>
                    <a:pt x="1743" y="309"/>
                    <a:pt x="1743" y="308"/>
                  </a:cubicBezTo>
                  <a:cubicBezTo>
                    <a:pt x="1743" y="308"/>
                    <a:pt x="1743" y="308"/>
                    <a:pt x="1743" y="307"/>
                  </a:cubicBezTo>
                  <a:cubicBezTo>
                    <a:pt x="1743" y="304"/>
                    <a:pt x="1743" y="301"/>
                    <a:pt x="1739" y="299"/>
                  </a:cubicBezTo>
                  <a:cubicBezTo>
                    <a:pt x="1738" y="298"/>
                    <a:pt x="1738" y="298"/>
                    <a:pt x="1738" y="297"/>
                  </a:cubicBezTo>
                  <a:cubicBezTo>
                    <a:pt x="1737" y="296"/>
                    <a:pt x="1739" y="295"/>
                    <a:pt x="1741" y="294"/>
                  </a:cubicBezTo>
                  <a:cubicBezTo>
                    <a:pt x="1742" y="293"/>
                    <a:pt x="1743" y="292"/>
                    <a:pt x="1743" y="291"/>
                  </a:cubicBezTo>
                  <a:cubicBezTo>
                    <a:pt x="1743" y="291"/>
                    <a:pt x="1743" y="291"/>
                    <a:pt x="1743" y="291"/>
                  </a:cubicBezTo>
                  <a:cubicBezTo>
                    <a:pt x="1742" y="291"/>
                    <a:pt x="1740" y="291"/>
                    <a:pt x="1739" y="292"/>
                  </a:cubicBezTo>
                  <a:cubicBezTo>
                    <a:pt x="1738" y="292"/>
                    <a:pt x="1736" y="293"/>
                    <a:pt x="1735" y="293"/>
                  </a:cubicBezTo>
                  <a:cubicBezTo>
                    <a:pt x="1734" y="293"/>
                    <a:pt x="1732" y="292"/>
                    <a:pt x="1731" y="291"/>
                  </a:cubicBezTo>
                  <a:cubicBezTo>
                    <a:pt x="1730" y="289"/>
                    <a:pt x="1730" y="288"/>
                    <a:pt x="1731" y="286"/>
                  </a:cubicBezTo>
                  <a:cubicBezTo>
                    <a:pt x="1732" y="283"/>
                    <a:pt x="1738" y="281"/>
                    <a:pt x="1743" y="281"/>
                  </a:cubicBezTo>
                  <a:cubicBezTo>
                    <a:pt x="1744" y="281"/>
                    <a:pt x="1744" y="281"/>
                    <a:pt x="1745" y="281"/>
                  </a:cubicBezTo>
                  <a:cubicBezTo>
                    <a:pt x="1746" y="281"/>
                    <a:pt x="1747" y="281"/>
                    <a:pt x="1749" y="281"/>
                  </a:cubicBezTo>
                  <a:cubicBezTo>
                    <a:pt x="1753" y="281"/>
                    <a:pt x="1757" y="280"/>
                    <a:pt x="1758" y="279"/>
                  </a:cubicBezTo>
                  <a:cubicBezTo>
                    <a:pt x="1758" y="279"/>
                    <a:pt x="1758" y="278"/>
                    <a:pt x="1757" y="277"/>
                  </a:cubicBezTo>
                  <a:cubicBezTo>
                    <a:pt x="1756" y="275"/>
                    <a:pt x="1755" y="273"/>
                    <a:pt x="1756" y="272"/>
                  </a:cubicBezTo>
                  <a:cubicBezTo>
                    <a:pt x="1756" y="271"/>
                    <a:pt x="1758" y="270"/>
                    <a:pt x="1761" y="270"/>
                  </a:cubicBezTo>
                  <a:cubicBezTo>
                    <a:pt x="1763" y="270"/>
                    <a:pt x="1766" y="271"/>
                    <a:pt x="1768" y="272"/>
                  </a:cubicBezTo>
                  <a:cubicBezTo>
                    <a:pt x="1771" y="273"/>
                    <a:pt x="1775" y="274"/>
                    <a:pt x="1780" y="274"/>
                  </a:cubicBezTo>
                  <a:cubicBezTo>
                    <a:pt x="1781" y="274"/>
                    <a:pt x="1782" y="274"/>
                    <a:pt x="1783" y="274"/>
                  </a:cubicBezTo>
                  <a:cubicBezTo>
                    <a:pt x="1784" y="274"/>
                    <a:pt x="1785" y="274"/>
                    <a:pt x="1786" y="274"/>
                  </a:cubicBezTo>
                  <a:cubicBezTo>
                    <a:pt x="1795" y="274"/>
                    <a:pt x="1808" y="277"/>
                    <a:pt x="1817" y="278"/>
                  </a:cubicBezTo>
                  <a:cubicBezTo>
                    <a:pt x="1820" y="279"/>
                    <a:pt x="1822" y="279"/>
                    <a:pt x="1824" y="280"/>
                  </a:cubicBezTo>
                  <a:cubicBezTo>
                    <a:pt x="1825" y="280"/>
                    <a:pt x="1826" y="280"/>
                    <a:pt x="1828" y="280"/>
                  </a:cubicBezTo>
                  <a:cubicBezTo>
                    <a:pt x="1833" y="281"/>
                    <a:pt x="1837" y="282"/>
                    <a:pt x="1838" y="283"/>
                  </a:cubicBezTo>
                  <a:cubicBezTo>
                    <a:pt x="1838" y="284"/>
                    <a:pt x="1838" y="284"/>
                    <a:pt x="1838" y="285"/>
                  </a:cubicBezTo>
                  <a:cubicBezTo>
                    <a:pt x="1838" y="286"/>
                    <a:pt x="1836" y="286"/>
                    <a:pt x="1833" y="286"/>
                  </a:cubicBezTo>
                  <a:cubicBezTo>
                    <a:pt x="1830" y="286"/>
                    <a:pt x="1826" y="286"/>
                    <a:pt x="1823" y="285"/>
                  </a:cubicBezTo>
                  <a:cubicBezTo>
                    <a:pt x="1822" y="285"/>
                    <a:pt x="1820" y="284"/>
                    <a:pt x="1819" y="284"/>
                  </a:cubicBezTo>
                  <a:cubicBezTo>
                    <a:pt x="1817" y="284"/>
                    <a:pt x="1815" y="285"/>
                    <a:pt x="1815" y="286"/>
                  </a:cubicBezTo>
                  <a:cubicBezTo>
                    <a:pt x="1814" y="287"/>
                    <a:pt x="1815" y="287"/>
                    <a:pt x="1815" y="288"/>
                  </a:cubicBezTo>
                  <a:cubicBezTo>
                    <a:pt x="1816" y="289"/>
                    <a:pt x="1820" y="290"/>
                    <a:pt x="1823" y="290"/>
                  </a:cubicBezTo>
                  <a:cubicBezTo>
                    <a:pt x="1827" y="290"/>
                    <a:pt x="1831" y="291"/>
                    <a:pt x="1831" y="293"/>
                  </a:cubicBezTo>
                  <a:cubicBezTo>
                    <a:pt x="1831" y="296"/>
                    <a:pt x="1828" y="297"/>
                    <a:pt x="1826" y="297"/>
                  </a:cubicBezTo>
                  <a:cubicBezTo>
                    <a:pt x="1823" y="298"/>
                    <a:pt x="1820" y="299"/>
                    <a:pt x="1820" y="301"/>
                  </a:cubicBezTo>
                  <a:cubicBezTo>
                    <a:pt x="1820" y="301"/>
                    <a:pt x="1820" y="302"/>
                    <a:pt x="1821" y="303"/>
                  </a:cubicBezTo>
                  <a:cubicBezTo>
                    <a:pt x="1822" y="304"/>
                    <a:pt x="1823" y="305"/>
                    <a:pt x="1826" y="305"/>
                  </a:cubicBezTo>
                  <a:cubicBezTo>
                    <a:pt x="1828" y="305"/>
                    <a:pt x="1831" y="305"/>
                    <a:pt x="1835" y="301"/>
                  </a:cubicBezTo>
                  <a:cubicBezTo>
                    <a:pt x="1839" y="297"/>
                    <a:pt x="1840" y="293"/>
                    <a:pt x="1841" y="291"/>
                  </a:cubicBezTo>
                  <a:cubicBezTo>
                    <a:pt x="1841" y="289"/>
                    <a:pt x="1842" y="288"/>
                    <a:pt x="1843" y="287"/>
                  </a:cubicBezTo>
                  <a:cubicBezTo>
                    <a:pt x="1844" y="287"/>
                    <a:pt x="1847" y="287"/>
                    <a:pt x="1849" y="287"/>
                  </a:cubicBezTo>
                  <a:cubicBezTo>
                    <a:pt x="1858" y="287"/>
                    <a:pt x="1887" y="289"/>
                    <a:pt x="1891" y="295"/>
                  </a:cubicBezTo>
                  <a:cubicBezTo>
                    <a:pt x="1892" y="297"/>
                    <a:pt x="1892" y="298"/>
                    <a:pt x="1892" y="299"/>
                  </a:cubicBezTo>
                  <a:cubicBezTo>
                    <a:pt x="1891" y="301"/>
                    <a:pt x="1887" y="301"/>
                    <a:pt x="1884" y="301"/>
                  </a:cubicBezTo>
                  <a:cubicBezTo>
                    <a:pt x="1883" y="301"/>
                    <a:pt x="1882" y="301"/>
                    <a:pt x="1881" y="301"/>
                  </a:cubicBezTo>
                  <a:cubicBezTo>
                    <a:pt x="1880" y="301"/>
                    <a:pt x="1879" y="301"/>
                    <a:pt x="1879" y="301"/>
                  </a:cubicBezTo>
                  <a:cubicBezTo>
                    <a:pt x="1877" y="301"/>
                    <a:pt x="1876" y="302"/>
                    <a:pt x="1876" y="302"/>
                  </a:cubicBezTo>
                  <a:cubicBezTo>
                    <a:pt x="1876" y="303"/>
                    <a:pt x="1876" y="303"/>
                    <a:pt x="1876" y="304"/>
                  </a:cubicBezTo>
                  <a:cubicBezTo>
                    <a:pt x="1876" y="304"/>
                    <a:pt x="1877" y="305"/>
                    <a:pt x="1879" y="305"/>
                  </a:cubicBezTo>
                  <a:cubicBezTo>
                    <a:pt x="1880" y="305"/>
                    <a:pt x="1880" y="305"/>
                    <a:pt x="1880" y="305"/>
                  </a:cubicBezTo>
                  <a:cubicBezTo>
                    <a:pt x="1881" y="305"/>
                    <a:pt x="1881" y="305"/>
                    <a:pt x="1882" y="305"/>
                  </a:cubicBezTo>
                  <a:cubicBezTo>
                    <a:pt x="1888" y="305"/>
                    <a:pt x="1899" y="309"/>
                    <a:pt x="1899" y="312"/>
                  </a:cubicBezTo>
                  <a:cubicBezTo>
                    <a:pt x="1899" y="312"/>
                    <a:pt x="1899" y="313"/>
                    <a:pt x="1900" y="314"/>
                  </a:cubicBezTo>
                  <a:cubicBezTo>
                    <a:pt x="1901" y="314"/>
                    <a:pt x="1901" y="315"/>
                    <a:pt x="1902" y="315"/>
                  </a:cubicBezTo>
                  <a:cubicBezTo>
                    <a:pt x="1903" y="315"/>
                    <a:pt x="1903" y="314"/>
                    <a:pt x="1904" y="314"/>
                  </a:cubicBezTo>
                  <a:cubicBezTo>
                    <a:pt x="1904" y="313"/>
                    <a:pt x="1905" y="312"/>
                    <a:pt x="1907" y="312"/>
                  </a:cubicBezTo>
                  <a:cubicBezTo>
                    <a:pt x="1912" y="312"/>
                    <a:pt x="1921" y="316"/>
                    <a:pt x="1923" y="319"/>
                  </a:cubicBezTo>
                  <a:cubicBezTo>
                    <a:pt x="1924" y="321"/>
                    <a:pt x="1923" y="323"/>
                    <a:pt x="1923" y="324"/>
                  </a:cubicBezTo>
                  <a:cubicBezTo>
                    <a:pt x="1923" y="324"/>
                    <a:pt x="1922" y="325"/>
                    <a:pt x="1923" y="325"/>
                  </a:cubicBezTo>
                  <a:cubicBezTo>
                    <a:pt x="1923" y="326"/>
                    <a:pt x="1924" y="326"/>
                    <a:pt x="1926" y="326"/>
                  </a:cubicBezTo>
                  <a:cubicBezTo>
                    <a:pt x="1927" y="326"/>
                    <a:pt x="1929" y="326"/>
                    <a:pt x="1930" y="326"/>
                  </a:cubicBezTo>
                  <a:cubicBezTo>
                    <a:pt x="1933" y="326"/>
                    <a:pt x="1933" y="326"/>
                    <a:pt x="1933" y="326"/>
                  </a:cubicBezTo>
                  <a:cubicBezTo>
                    <a:pt x="1934" y="326"/>
                    <a:pt x="1936" y="326"/>
                    <a:pt x="1937" y="326"/>
                  </a:cubicBezTo>
                  <a:cubicBezTo>
                    <a:pt x="1945" y="326"/>
                    <a:pt x="1955" y="326"/>
                    <a:pt x="1960" y="324"/>
                  </a:cubicBezTo>
                  <a:cubicBezTo>
                    <a:pt x="1965" y="322"/>
                    <a:pt x="1979" y="321"/>
                    <a:pt x="1992" y="321"/>
                  </a:cubicBezTo>
                  <a:cubicBezTo>
                    <a:pt x="1999" y="321"/>
                    <a:pt x="2009" y="321"/>
                    <a:pt x="2015" y="324"/>
                  </a:cubicBezTo>
                  <a:cubicBezTo>
                    <a:pt x="2027" y="328"/>
                    <a:pt x="2040" y="337"/>
                    <a:pt x="2040" y="343"/>
                  </a:cubicBezTo>
                  <a:cubicBezTo>
                    <a:pt x="2041" y="344"/>
                    <a:pt x="2040" y="345"/>
                    <a:pt x="2039" y="345"/>
                  </a:cubicBezTo>
                  <a:cubicBezTo>
                    <a:pt x="2037" y="347"/>
                    <a:pt x="2037" y="349"/>
                    <a:pt x="2037" y="350"/>
                  </a:cubicBezTo>
                  <a:cubicBezTo>
                    <a:pt x="2038" y="352"/>
                    <a:pt x="2038" y="353"/>
                    <a:pt x="2037" y="355"/>
                  </a:cubicBezTo>
                  <a:cubicBezTo>
                    <a:pt x="2036" y="355"/>
                    <a:pt x="2036" y="356"/>
                    <a:pt x="2036" y="356"/>
                  </a:cubicBezTo>
                  <a:cubicBezTo>
                    <a:pt x="2036" y="357"/>
                    <a:pt x="2041" y="357"/>
                    <a:pt x="2044" y="357"/>
                  </a:cubicBezTo>
                  <a:cubicBezTo>
                    <a:pt x="2051" y="357"/>
                    <a:pt x="2056" y="359"/>
                    <a:pt x="2056" y="361"/>
                  </a:cubicBezTo>
                  <a:cubicBezTo>
                    <a:pt x="2056" y="364"/>
                    <a:pt x="2058" y="374"/>
                    <a:pt x="2059" y="375"/>
                  </a:cubicBezTo>
                  <a:cubicBezTo>
                    <a:pt x="2059" y="375"/>
                    <a:pt x="2059" y="372"/>
                    <a:pt x="2059" y="371"/>
                  </a:cubicBezTo>
                  <a:cubicBezTo>
                    <a:pt x="2059" y="367"/>
                    <a:pt x="2059" y="363"/>
                    <a:pt x="2062" y="361"/>
                  </a:cubicBezTo>
                  <a:cubicBezTo>
                    <a:pt x="2065" y="359"/>
                    <a:pt x="2085" y="358"/>
                    <a:pt x="2096" y="358"/>
                  </a:cubicBezTo>
                  <a:cubicBezTo>
                    <a:pt x="2105" y="358"/>
                    <a:pt x="2106" y="358"/>
                    <a:pt x="2106" y="359"/>
                  </a:cubicBezTo>
                  <a:cubicBezTo>
                    <a:pt x="2108" y="361"/>
                    <a:pt x="2124" y="364"/>
                    <a:pt x="2134" y="364"/>
                  </a:cubicBezTo>
                  <a:cubicBezTo>
                    <a:pt x="2138" y="364"/>
                    <a:pt x="2141" y="364"/>
                    <a:pt x="2142" y="363"/>
                  </a:cubicBezTo>
                  <a:cubicBezTo>
                    <a:pt x="2145" y="361"/>
                    <a:pt x="2147" y="359"/>
                    <a:pt x="2149" y="356"/>
                  </a:cubicBezTo>
                  <a:cubicBezTo>
                    <a:pt x="2153" y="353"/>
                    <a:pt x="2155" y="349"/>
                    <a:pt x="2160" y="349"/>
                  </a:cubicBezTo>
                  <a:cubicBezTo>
                    <a:pt x="2165" y="349"/>
                    <a:pt x="2174" y="351"/>
                    <a:pt x="2177" y="354"/>
                  </a:cubicBezTo>
                  <a:cubicBezTo>
                    <a:pt x="2178" y="355"/>
                    <a:pt x="2178" y="356"/>
                    <a:pt x="2178" y="357"/>
                  </a:cubicBezTo>
                  <a:cubicBezTo>
                    <a:pt x="2178" y="361"/>
                    <a:pt x="2175" y="363"/>
                    <a:pt x="2171" y="363"/>
                  </a:cubicBezTo>
                  <a:cubicBezTo>
                    <a:pt x="2170" y="363"/>
                    <a:pt x="2168" y="363"/>
                    <a:pt x="2167" y="362"/>
                  </a:cubicBezTo>
                  <a:cubicBezTo>
                    <a:pt x="2165" y="360"/>
                    <a:pt x="2164" y="360"/>
                    <a:pt x="2162" y="360"/>
                  </a:cubicBezTo>
                  <a:cubicBezTo>
                    <a:pt x="2161" y="360"/>
                    <a:pt x="2161" y="360"/>
                    <a:pt x="2161" y="360"/>
                  </a:cubicBezTo>
                  <a:cubicBezTo>
                    <a:pt x="2160" y="361"/>
                    <a:pt x="2160" y="363"/>
                    <a:pt x="2161" y="365"/>
                  </a:cubicBezTo>
                  <a:cubicBezTo>
                    <a:pt x="2162" y="368"/>
                    <a:pt x="2165" y="369"/>
                    <a:pt x="2168" y="370"/>
                  </a:cubicBezTo>
                  <a:cubicBezTo>
                    <a:pt x="2171" y="371"/>
                    <a:pt x="2173" y="372"/>
                    <a:pt x="2175" y="374"/>
                  </a:cubicBezTo>
                  <a:cubicBezTo>
                    <a:pt x="2177" y="378"/>
                    <a:pt x="2184" y="382"/>
                    <a:pt x="2190" y="382"/>
                  </a:cubicBezTo>
                  <a:cubicBezTo>
                    <a:pt x="2192" y="382"/>
                    <a:pt x="2193" y="382"/>
                    <a:pt x="2194" y="381"/>
                  </a:cubicBezTo>
                  <a:cubicBezTo>
                    <a:pt x="2198" y="380"/>
                    <a:pt x="2201" y="377"/>
                    <a:pt x="2201" y="375"/>
                  </a:cubicBezTo>
                  <a:cubicBezTo>
                    <a:pt x="2202" y="373"/>
                    <a:pt x="2200" y="370"/>
                    <a:pt x="2198" y="368"/>
                  </a:cubicBezTo>
                  <a:cubicBezTo>
                    <a:pt x="2192" y="363"/>
                    <a:pt x="2189" y="359"/>
                    <a:pt x="2189" y="357"/>
                  </a:cubicBezTo>
                  <a:cubicBezTo>
                    <a:pt x="2189" y="357"/>
                    <a:pt x="2190" y="356"/>
                    <a:pt x="2191" y="356"/>
                  </a:cubicBezTo>
                  <a:cubicBezTo>
                    <a:pt x="2192" y="355"/>
                    <a:pt x="2192" y="354"/>
                    <a:pt x="2193" y="352"/>
                  </a:cubicBezTo>
                  <a:cubicBezTo>
                    <a:pt x="2193" y="350"/>
                    <a:pt x="2194" y="348"/>
                    <a:pt x="2195" y="347"/>
                  </a:cubicBezTo>
                  <a:cubicBezTo>
                    <a:pt x="2196" y="346"/>
                    <a:pt x="2197" y="346"/>
                    <a:pt x="2199" y="346"/>
                  </a:cubicBezTo>
                  <a:cubicBezTo>
                    <a:pt x="2207" y="346"/>
                    <a:pt x="2229" y="354"/>
                    <a:pt x="2229" y="354"/>
                  </a:cubicBezTo>
                  <a:cubicBezTo>
                    <a:pt x="2230" y="354"/>
                    <a:pt x="2231" y="355"/>
                    <a:pt x="2231" y="355"/>
                  </a:cubicBezTo>
                  <a:cubicBezTo>
                    <a:pt x="2233" y="355"/>
                    <a:pt x="2234" y="354"/>
                    <a:pt x="2235" y="353"/>
                  </a:cubicBezTo>
                  <a:cubicBezTo>
                    <a:pt x="2236" y="353"/>
                    <a:pt x="2238" y="352"/>
                    <a:pt x="2241" y="352"/>
                  </a:cubicBezTo>
                  <a:cubicBezTo>
                    <a:pt x="2241" y="352"/>
                    <a:pt x="2242" y="352"/>
                    <a:pt x="2243" y="352"/>
                  </a:cubicBezTo>
                  <a:cubicBezTo>
                    <a:pt x="2248" y="353"/>
                    <a:pt x="2261" y="354"/>
                    <a:pt x="2270" y="354"/>
                  </a:cubicBezTo>
                  <a:cubicBezTo>
                    <a:pt x="2273" y="354"/>
                    <a:pt x="2275" y="353"/>
                    <a:pt x="2277" y="353"/>
                  </a:cubicBezTo>
                  <a:cubicBezTo>
                    <a:pt x="2279" y="353"/>
                    <a:pt x="2280" y="354"/>
                    <a:pt x="2281" y="355"/>
                  </a:cubicBezTo>
                  <a:cubicBezTo>
                    <a:pt x="2283" y="357"/>
                    <a:pt x="2284" y="358"/>
                    <a:pt x="2290" y="359"/>
                  </a:cubicBezTo>
                  <a:cubicBezTo>
                    <a:pt x="2300" y="359"/>
                    <a:pt x="2325" y="370"/>
                    <a:pt x="2331" y="376"/>
                  </a:cubicBezTo>
                  <a:cubicBezTo>
                    <a:pt x="2334" y="379"/>
                    <a:pt x="2339" y="380"/>
                    <a:pt x="2344" y="382"/>
                  </a:cubicBezTo>
                  <a:cubicBezTo>
                    <a:pt x="2349" y="383"/>
                    <a:pt x="2353" y="384"/>
                    <a:pt x="2354" y="386"/>
                  </a:cubicBezTo>
                  <a:cubicBezTo>
                    <a:pt x="2356" y="389"/>
                    <a:pt x="2363" y="392"/>
                    <a:pt x="2369" y="395"/>
                  </a:cubicBezTo>
                  <a:cubicBezTo>
                    <a:pt x="2371" y="395"/>
                    <a:pt x="2374" y="396"/>
                    <a:pt x="2375" y="397"/>
                  </a:cubicBezTo>
                  <a:cubicBezTo>
                    <a:pt x="2380" y="399"/>
                    <a:pt x="2403" y="409"/>
                    <a:pt x="2404" y="414"/>
                  </a:cubicBezTo>
                  <a:cubicBezTo>
                    <a:pt x="2404" y="416"/>
                    <a:pt x="2405" y="416"/>
                    <a:pt x="2407" y="417"/>
                  </a:cubicBezTo>
                  <a:cubicBezTo>
                    <a:pt x="2408" y="418"/>
                    <a:pt x="2410" y="419"/>
                    <a:pt x="2410" y="422"/>
                  </a:cubicBezTo>
                  <a:cubicBezTo>
                    <a:pt x="2408" y="430"/>
                    <a:pt x="2408" y="435"/>
                    <a:pt x="2410" y="436"/>
                  </a:cubicBezTo>
                  <a:cubicBezTo>
                    <a:pt x="2416" y="441"/>
                    <a:pt x="2418" y="441"/>
                    <a:pt x="2418" y="441"/>
                  </a:cubicBezTo>
                  <a:cubicBezTo>
                    <a:pt x="2419" y="441"/>
                    <a:pt x="2419" y="441"/>
                    <a:pt x="2419" y="441"/>
                  </a:cubicBezTo>
                  <a:cubicBezTo>
                    <a:pt x="2419" y="441"/>
                    <a:pt x="2419" y="441"/>
                    <a:pt x="2418" y="441"/>
                  </a:cubicBezTo>
                  <a:cubicBezTo>
                    <a:pt x="2418" y="439"/>
                    <a:pt x="2419" y="437"/>
                    <a:pt x="2420" y="436"/>
                  </a:cubicBezTo>
                  <a:cubicBezTo>
                    <a:pt x="2421" y="434"/>
                    <a:pt x="2422" y="433"/>
                    <a:pt x="2421" y="432"/>
                  </a:cubicBezTo>
                  <a:cubicBezTo>
                    <a:pt x="2420" y="430"/>
                    <a:pt x="2418" y="429"/>
                    <a:pt x="2417" y="429"/>
                  </a:cubicBezTo>
                  <a:cubicBezTo>
                    <a:pt x="2415" y="428"/>
                    <a:pt x="2414" y="427"/>
                    <a:pt x="2414" y="425"/>
                  </a:cubicBezTo>
                  <a:cubicBezTo>
                    <a:pt x="2414" y="422"/>
                    <a:pt x="2420" y="422"/>
                    <a:pt x="2423" y="422"/>
                  </a:cubicBezTo>
                  <a:cubicBezTo>
                    <a:pt x="2426" y="422"/>
                    <a:pt x="2433" y="423"/>
                    <a:pt x="2434" y="425"/>
                  </a:cubicBezTo>
                  <a:cubicBezTo>
                    <a:pt x="2435" y="427"/>
                    <a:pt x="2438" y="429"/>
                    <a:pt x="2439" y="429"/>
                  </a:cubicBezTo>
                  <a:cubicBezTo>
                    <a:pt x="2439" y="429"/>
                    <a:pt x="2440" y="429"/>
                    <a:pt x="2440" y="428"/>
                  </a:cubicBezTo>
                  <a:cubicBezTo>
                    <a:pt x="2440" y="427"/>
                    <a:pt x="2441" y="427"/>
                    <a:pt x="2443" y="427"/>
                  </a:cubicBezTo>
                  <a:cubicBezTo>
                    <a:pt x="2449" y="427"/>
                    <a:pt x="2458" y="429"/>
                    <a:pt x="2460" y="433"/>
                  </a:cubicBezTo>
                  <a:cubicBezTo>
                    <a:pt x="2464" y="438"/>
                    <a:pt x="2477" y="446"/>
                    <a:pt x="2482" y="448"/>
                  </a:cubicBezTo>
                  <a:cubicBezTo>
                    <a:pt x="2485" y="449"/>
                    <a:pt x="2485" y="450"/>
                    <a:pt x="2485" y="451"/>
                  </a:cubicBezTo>
                  <a:cubicBezTo>
                    <a:pt x="2484" y="452"/>
                    <a:pt x="2483" y="453"/>
                    <a:pt x="2480" y="453"/>
                  </a:cubicBezTo>
                  <a:cubicBezTo>
                    <a:pt x="2480" y="453"/>
                    <a:pt x="2480" y="453"/>
                    <a:pt x="2480" y="453"/>
                  </a:cubicBezTo>
                  <a:cubicBezTo>
                    <a:pt x="2480" y="453"/>
                    <a:pt x="2480" y="453"/>
                    <a:pt x="2480" y="453"/>
                  </a:cubicBezTo>
                  <a:cubicBezTo>
                    <a:pt x="2480" y="453"/>
                    <a:pt x="2480" y="453"/>
                    <a:pt x="2480" y="453"/>
                  </a:cubicBezTo>
                  <a:cubicBezTo>
                    <a:pt x="2476" y="453"/>
                    <a:pt x="2473" y="458"/>
                    <a:pt x="2473" y="460"/>
                  </a:cubicBezTo>
                  <a:cubicBezTo>
                    <a:pt x="2473" y="461"/>
                    <a:pt x="2472" y="462"/>
                    <a:pt x="2470" y="462"/>
                  </a:cubicBezTo>
                  <a:cubicBezTo>
                    <a:pt x="2468" y="462"/>
                    <a:pt x="2466" y="461"/>
                    <a:pt x="2464" y="460"/>
                  </a:cubicBezTo>
                  <a:cubicBezTo>
                    <a:pt x="2463" y="459"/>
                    <a:pt x="2463" y="459"/>
                    <a:pt x="2462" y="459"/>
                  </a:cubicBezTo>
                  <a:cubicBezTo>
                    <a:pt x="2461" y="459"/>
                    <a:pt x="2460" y="459"/>
                    <a:pt x="2460" y="460"/>
                  </a:cubicBezTo>
                  <a:cubicBezTo>
                    <a:pt x="2460" y="460"/>
                    <a:pt x="2460" y="460"/>
                    <a:pt x="2461" y="460"/>
                  </a:cubicBezTo>
                  <a:cubicBezTo>
                    <a:pt x="2464" y="461"/>
                    <a:pt x="2467" y="463"/>
                    <a:pt x="2467" y="464"/>
                  </a:cubicBezTo>
                  <a:cubicBezTo>
                    <a:pt x="2467" y="464"/>
                    <a:pt x="2466" y="465"/>
                    <a:pt x="2465" y="465"/>
                  </a:cubicBezTo>
                  <a:cubicBezTo>
                    <a:pt x="2463" y="465"/>
                    <a:pt x="2463" y="465"/>
                    <a:pt x="2463" y="465"/>
                  </a:cubicBezTo>
                  <a:cubicBezTo>
                    <a:pt x="2460" y="465"/>
                    <a:pt x="2453" y="465"/>
                    <a:pt x="2448" y="462"/>
                  </a:cubicBezTo>
                  <a:cubicBezTo>
                    <a:pt x="2446" y="461"/>
                    <a:pt x="2445" y="460"/>
                    <a:pt x="2445" y="460"/>
                  </a:cubicBezTo>
                  <a:cubicBezTo>
                    <a:pt x="2444" y="460"/>
                    <a:pt x="2443" y="461"/>
                    <a:pt x="2443" y="461"/>
                  </a:cubicBezTo>
                  <a:cubicBezTo>
                    <a:pt x="2443" y="462"/>
                    <a:pt x="2443" y="462"/>
                    <a:pt x="2444" y="463"/>
                  </a:cubicBezTo>
                  <a:cubicBezTo>
                    <a:pt x="2446" y="463"/>
                    <a:pt x="2447" y="471"/>
                    <a:pt x="2447" y="474"/>
                  </a:cubicBezTo>
                  <a:cubicBezTo>
                    <a:pt x="2447" y="476"/>
                    <a:pt x="2447" y="478"/>
                    <a:pt x="2446" y="478"/>
                  </a:cubicBezTo>
                  <a:cubicBezTo>
                    <a:pt x="2445" y="478"/>
                    <a:pt x="2446" y="479"/>
                    <a:pt x="2446" y="481"/>
                  </a:cubicBezTo>
                  <a:cubicBezTo>
                    <a:pt x="2446" y="482"/>
                    <a:pt x="2446" y="483"/>
                    <a:pt x="2446" y="484"/>
                  </a:cubicBezTo>
                  <a:cubicBezTo>
                    <a:pt x="2445" y="485"/>
                    <a:pt x="2445" y="485"/>
                    <a:pt x="2444" y="485"/>
                  </a:cubicBezTo>
                  <a:cubicBezTo>
                    <a:pt x="2443" y="485"/>
                    <a:pt x="2441" y="484"/>
                    <a:pt x="2440" y="483"/>
                  </a:cubicBezTo>
                  <a:cubicBezTo>
                    <a:pt x="2440" y="483"/>
                    <a:pt x="2439" y="482"/>
                    <a:pt x="2438" y="482"/>
                  </a:cubicBezTo>
                  <a:cubicBezTo>
                    <a:pt x="2438" y="483"/>
                    <a:pt x="2438" y="483"/>
                    <a:pt x="2438" y="483"/>
                  </a:cubicBezTo>
                  <a:cubicBezTo>
                    <a:pt x="2438" y="483"/>
                    <a:pt x="2438" y="483"/>
                    <a:pt x="2438" y="483"/>
                  </a:cubicBezTo>
                  <a:cubicBezTo>
                    <a:pt x="2438" y="484"/>
                    <a:pt x="2439" y="485"/>
                    <a:pt x="2441" y="486"/>
                  </a:cubicBezTo>
                  <a:cubicBezTo>
                    <a:pt x="2443" y="487"/>
                    <a:pt x="2445" y="488"/>
                    <a:pt x="2445" y="489"/>
                  </a:cubicBezTo>
                  <a:cubicBezTo>
                    <a:pt x="2445" y="490"/>
                    <a:pt x="2445" y="491"/>
                    <a:pt x="2444" y="491"/>
                  </a:cubicBezTo>
                  <a:cubicBezTo>
                    <a:pt x="2443" y="492"/>
                    <a:pt x="2442" y="493"/>
                    <a:pt x="2441" y="493"/>
                  </a:cubicBezTo>
                  <a:cubicBezTo>
                    <a:pt x="2440" y="493"/>
                    <a:pt x="2440" y="492"/>
                    <a:pt x="2439" y="492"/>
                  </a:cubicBezTo>
                  <a:cubicBezTo>
                    <a:pt x="2438" y="492"/>
                    <a:pt x="2438" y="492"/>
                    <a:pt x="2438" y="492"/>
                  </a:cubicBezTo>
                  <a:cubicBezTo>
                    <a:pt x="2437" y="492"/>
                    <a:pt x="2437" y="492"/>
                    <a:pt x="2436" y="493"/>
                  </a:cubicBezTo>
                  <a:cubicBezTo>
                    <a:pt x="2435" y="493"/>
                    <a:pt x="2435" y="494"/>
                    <a:pt x="2434" y="494"/>
                  </a:cubicBezTo>
                  <a:cubicBezTo>
                    <a:pt x="2433" y="494"/>
                    <a:pt x="2432" y="493"/>
                    <a:pt x="2431" y="493"/>
                  </a:cubicBezTo>
                  <a:cubicBezTo>
                    <a:pt x="2430" y="492"/>
                    <a:pt x="2428" y="492"/>
                    <a:pt x="2427" y="492"/>
                  </a:cubicBezTo>
                  <a:cubicBezTo>
                    <a:pt x="2423" y="493"/>
                    <a:pt x="2420" y="491"/>
                    <a:pt x="2419" y="488"/>
                  </a:cubicBezTo>
                  <a:cubicBezTo>
                    <a:pt x="2418" y="486"/>
                    <a:pt x="2416" y="486"/>
                    <a:pt x="2413" y="485"/>
                  </a:cubicBezTo>
                  <a:cubicBezTo>
                    <a:pt x="2411" y="485"/>
                    <a:pt x="2408" y="484"/>
                    <a:pt x="2405" y="483"/>
                  </a:cubicBezTo>
                  <a:cubicBezTo>
                    <a:pt x="2397" y="479"/>
                    <a:pt x="2395" y="474"/>
                    <a:pt x="2394" y="470"/>
                  </a:cubicBezTo>
                  <a:cubicBezTo>
                    <a:pt x="2393" y="467"/>
                    <a:pt x="2382" y="462"/>
                    <a:pt x="2375" y="462"/>
                  </a:cubicBezTo>
                  <a:cubicBezTo>
                    <a:pt x="2374" y="462"/>
                    <a:pt x="2373" y="462"/>
                    <a:pt x="2372" y="463"/>
                  </a:cubicBezTo>
                  <a:cubicBezTo>
                    <a:pt x="2370" y="464"/>
                    <a:pt x="2367" y="465"/>
                    <a:pt x="2364" y="465"/>
                  </a:cubicBezTo>
                  <a:cubicBezTo>
                    <a:pt x="2360" y="465"/>
                    <a:pt x="2357" y="464"/>
                    <a:pt x="2356" y="462"/>
                  </a:cubicBezTo>
                  <a:cubicBezTo>
                    <a:pt x="2356" y="461"/>
                    <a:pt x="2355" y="460"/>
                    <a:pt x="2354" y="459"/>
                  </a:cubicBezTo>
                  <a:cubicBezTo>
                    <a:pt x="2352" y="457"/>
                    <a:pt x="2349" y="455"/>
                    <a:pt x="2351" y="452"/>
                  </a:cubicBezTo>
                  <a:cubicBezTo>
                    <a:pt x="2351" y="451"/>
                    <a:pt x="2352" y="450"/>
                    <a:pt x="2353" y="449"/>
                  </a:cubicBezTo>
                  <a:cubicBezTo>
                    <a:pt x="2354" y="447"/>
                    <a:pt x="2355" y="445"/>
                    <a:pt x="2355" y="444"/>
                  </a:cubicBezTo>
                  <a:cubicBezTo>
                    <a:pt x="2355" y="444"/>
                    <a:pt x="2354" y="444"/>
                    <a:pt x="2354" y="445"/>
                  </a:cubicBezTo>
                  <a:cubicBezTo>
                    <a:pt x="2352" y="446"/>
                    <a:pt x="2351" y="446"/>
                    <a:pt x="2350" y="446"/>
                  </a:cubicBezTo>
                  <a:cubicBezTo>
                    <a:pt x="2349" y="446"/>
                    <a:pt x="2348" y="446"/>
                    <a:pt x="2348" y="446"/>
                  </a:cubicBezTo>
                  <a:cubicBezTo>
                    <a:pt x="2347" y="445"/>
                    <a:pt x="2346" y="445"/>
                    <a:pt x="2346" y="445"/>
                  </a:cubicBezTo>
                  <a:cubicBezTo>
                    <a:pt x="2345" y="445"/>
                    <a:pt x="2345" y="446"/>
                    <a:pt x="2344" y="447"/>
                  </a:cubicBezTo>
                  <a:cubicBezTo>
                    <a:pt x="2343" y="448"/>
                    <a:pt x="2343" y="450"/>
                    <a:pt x="2340" y="450"/>
                  </a:cubicBezTo>
                  <a:cubicBezTo>
                    <a:pt x="2339" y="450"/>
                    <a:pt x="2338" y="451"/>
                    <a:pt x="2337" y="452"/>
                  </a:cubicBezTo>
                  <a:cubicBezTo>
                    <a:pt x="2337" y="453"/>
                    <a:pt x="2338" y="455"/>
                    <a:pt x="2339" y="456"/>
                  </a:cubicBezTo>
                  <a:cubicBezTo>
                    <a:pt x="2342" y="457"/>
                    <a:pt x="2344" y="460"/>
                    <a:pt x="2344" y="462"/>
                  </a:cubicBezTo>
                  <a:cubicBezTo>
                    <a:pt x="2344" y="463"/>
                    <a:pt x="2344" y="465"/>
                    <a:pt x="2342" y="466"/>
                  </a:cubicBezTo>
                  <a:cubicBezTo>
                    <a:pt x="2340" y="467"/>
                    <a:pt x="2339" y="468"/>
                    <a:pt x="2339" y="469"/>
                  </a:cubicBezTo>
                  <a:cubicBezTo>
                    <a:pt x="2339" y="470"/>
                    <a:pt x="2339" y="471"/>
                    <a:pt x="2338" y="473"/>
                  </a:cubicBezTo>
                  <a:cubicBezTo>
                    <a:pt x="2336" y="476"/>
                    <a:pt x="2329" y="479"/>
                    <a:pt x="2323" y="481"/>
                  </a:cubicBezTo>
                  <a:cubicBezTo>
                    <a:pt x="2321" y="482"/>
                    <a:pt x="2320" y="482"/>
                    <a:pt x="2318" y="483"/>
                  </a:cubicBezTo>
                  <a:cubicBezTo>
                    <a:pt x="2316" y="484"/>
                    <a:pt x="2311" y="485"/>
                    <a:pt x="2307" y="485"/>
                  </a:cubicBezTo>
                  <a:cubicBezTo>
                    <a:pt x="2306" y="485"/>
                    <a:pt x="2303" y="485"/>
                    <a:pt x="2301" y="484"/>
                  </a:cubicBezTo>
                  <a:cubicBezTo>
                    <a:pt x="2300" y="483"/>
                    <a:pt x="2300" y="482"/>
                    <a:pt x="2299" y="481"/>
                  </a:cubicBezTo>
                  <a:cubicBezTo>
                    <a:pt x="2298" y="480"/>
                    <a:pt x="2298" y="478"/>
                    <a:pt x="2294" y="477"/>
                  </a:cubicBezTo>
                  <a:cubicBezTo>
                    <a:pt x="2292" y="476"/>
                    <a:pt x="2290" y="476"/>
                    <a:pt x="2288" y="476"/>
                  </a:cubicBezTo>
                  <a:cubicBezTo>
                    <a:pt x="2285" y="476"/>
                    <a:pt x="2281" y="477"/>
                    <a:pt x="2280" y="479"/>
                  </a:cubicBezTo>
                  <a:cubicBezTo>
                    <a:pt x="2280" y="480"/>
                    <a:pt x="2280" y="480"/>
                    <a:pt x="2280" y="480"/>
                  </a:cubicBezTo>
                  <a:cubicBezTo>
                    <a:pt x="2281" y="483"/>
                    <a:pt x="2284" y="484"/>
                    <a:pt x="2287" y="484"/>
                  </a:cubicBezTo>
                  <a:cubicBezTo>
                    <a:pt x="2289" y="484"/>
                    <a:pt x="2290" y="484"/>
                    <a:pt x="2292" y="483"/>
                  </a:cubicBezTo>
                  <a:cubicBezTo>
                    <a:pt x="2293" y="482"/>
                    <a:pt x="2293" y="482"/>
                    <a:pt x="2294" y="482"/>
                  </a:cubicBezTo>
                  <a:cubicBezTo>
                    <a:pt x="2297" y="482"/>
                    <a:pt x="2297" y="486"/>
                    <a:pt x="2297" y="488"/>
                  </a:cubicBezTo>
                  <a:cubicBezTo>
                    <a:pt x="2297" y="489"/>
                    <a:pt x="2298" y="491"/>
                    <a:pt x="2299" y="492"/>
                  </a:cubicBezTo>
                  <a:cubicBezTo>
                    <a:pt x="2301" y="494"/>
                    <a:pt x="2303" y="494"/>
                    <a:pt x="2305" y="493"/>
                  </a:cubicBezTo>
                  <a:cubicBezTo>
                    <a:pt x="2305" y="493"/>
                    <a:pt x="2305" y="493"/>
                    <a:pt x="2306" y="493"/>
                  </a:cubicBezTo>
                  <a:cubicBezTo>
                    <a:pt x="2308" y="493"/>
                    <a:pt x="2310" y="496"/>
                    <a:pt x="2311" y="497"/>
                  </a:cubicBezTo>
                  <a:cubicBezTo>
                    <a:pt x="2314" y="500"/>
                    <a:pt x="2316" y="505"/>
                    <a:pt x="2315" y="508"/>
                  </a:cubicBezTo>
                  <a:cubicBezTo>
                    <a:pt x="2315" y="510"/>
                    <a:pt x="2317" y="512"/>
                    <a:pt x="2319" y="515"/>
                  </a:cubicBezTo>
                  <a:cubicBezTo>
                    <a:pt x="2322" y="517"/>
                    <a:pt x="2324" y="519"/>
                    <a:pt x="2324" y="521"/>
                  </a:cubicBezTo>
                  <a:cubicBezTo>
                    <a:pt x="2324" y="522"/>
                    <a:pt x="2324" y="524"/>
                    <a:pt x="2325" y="525"/>
                  </a:cubicBezTo>
                  <a:cubicBezTo>
                    <a:pt x="2326" y="527"/>
                    <a:pt x="2328" y="529"/>
                    <a:pt x="2324" y="533"/>
                  </a:cubicBezTo>
                  <a:cubicBezTo>
                    <a:pt x="2322" y="536"/>
                    <a:pt x="2319" y="537"/>
                    <a:pt x="2317" y="537"/>
                  </a:cubicBezTo>
                  <a:cubicBezTo>
                    <a:pt x="2315" y="537"/>
                    <a:pt x="2314" y="536"/>
                    <a:pt x="2312" y="536"/>
                  </a:cubicBezTo>
                  <a:cubicBezTo>
                    <a:pt x="2310" y="535"/>
                    <a:pt x="2309" y="535"/>
                    <a:pt x="2308" y="535"/>
                  </a:cubicBezTo>
                  <a:cubicBezTo>
                    <a:pt x="2305" y="534"/>
                    <a:pt x="2303" y="534"/>
                    <a:pt x="2301" y="534"/>
                  </a:cubicBezTo>
                  <a:cubicBezTo>
                    <a:pt x="2297" y="533"/>
                    <a:pt x="2295" y="533"/>
                    <a:pt x="2294" y="531"/>
                  </a:cubicBezTo>
                  <a:cubicBezTo>
                    <a:pt x="2294" y="530"/>
                    <a:pt x="2293" y="530"/>
                    <a:pt x="2292" y="530"/>
                  </a:cubicBezTo>
                  <a:cubicBezTo>
                    <a:pt x="2291" y="530"/>
                    <a:pt x="2290" y="530"/>
                    <a:pt x="2290" y="531"/>
                  </a:cubicBezTo>
                  <a:cubicBezTo>
                    <a:pt x="2289" y="531"/>
                    <a:pt x="2289" y="532"/>
                    <a:pt x="2290" y="532"/>
                  </a:cubicBezTo>
                  <a:cubicBezTo>
                    <a:pt x="2290" y="532"/>
                    <a:pt x="2290" y="533"/>
                    <a:pt x="2289" y="533"/>
                  </a:cubicBezTo>
                  <a:cubicBezTo>
                    <a:pt x="2287" y="537"/>
                    <a:pt x="2271" y="545"/>
                    <a:pt x="2259" y="548"/>
                  </a:cubicBezTo>
                  <a:cubicBezTo>
                    <a:pt x="2245" y="551"/>
                    <a:pt x="2236" y="555"/>
                    <a:pt x="2235" y="558"/>
                  </a:cubicBezTo>
                  <a:cubicBezTo>
                    <a:pt x="2234" y="560"/>
                    <a:pt x="2233" y="560"/>
                    <a:pt x="2231" y="561"/>
                  </a:cubicBezTo>
                  <a:cubicBezTo>
                    <a:pt x="2230" y="561"/>
                    <a:pt x="2228" y="562"/>
                    <a:pt x="2226" y="564"/>
                  </a:cubicBezTo>
                  <a:cubicBezTo>
                    <a:pt x="2224" y="566"/>
                    <a:pt x="2224" y="567"/>
                    <a:pt x="2223" y="567"/>
                  </a:cubicBezTo>
                  <a:cubicBezTo>
                    <a:pt x="2222" y="567"/>
                    <a:pt x="2221" y="568"/>
                    <a:pt x="2218" y="570"/>
                  </a:cubicBezTo>
                  <a:cubicBezTo>
                    <a:pt x="2211" y="575"/>
                    <a:pt x="2202" y="580"/>
                    <a:pt x="2196" y="582"/>
                  </a:cubicBezTo>
                  <a:cubicBezTo>
                    <a:pt x="2194" y="582"/>
                    <a:pt x="2194" y="584"/>
                    <a:pt x="2194" y="586"/>
                  </a:cubicBezTo>
                  <a:cubicBezTo>
                    <a:pt x="2193" y="588"/>
                    <a:pt x="2193" y="590"/>
                    <a:pt x="2190" y="590"/>
                  </a:cubicBezTo>
                  <a:cubicBezTo>
                    <a:pt x="2190" y="590"/>
                    <a:pt x="2190" y="590"/>
                    <a:pt x="2190" y="590"/>
                  </a:cubicBezTo>
                  <a:cubicBezTo>
                    <a:pt x="2188" y="590"/>
                    <a:pt x="2187" y="589"/>
                    <a:pt x="2185" y="587"/>
                  </a:cubicBezTo>
                  <a:cubicBezTo>
                    <a:pt x="2184" y="585"/>
                    <a:pt x="2182" y="583"/>
                    <a:pt x="2179" y="581"/>
                  </a:cubicBezTo>
                  <a:cubicBezTo>
                    <a:pt x="2176" y="580"/>
                    <a:pt x="2171" y="579"/>
                    <a:pt x="2165" y="579"/>
                  </a:cubicBezTo>
                  <a:cubicBezTo>
                    <a:pt x="2156" y="579"/>
                    <a:pt x="2148" y="581"/>
                    <a:pt x="2143" y="584"/>
                  </a:cubicBezTo>
                  <a:cubicBezTo>
                    <a:pt x="2140" y="586"/>
                    <a:pt x="2137" y="589"/>
                    <a:pt x="2135" y="590"/>
                  </a:cubicBezTo>
                  <a:cubicBezTo>
                    <a:pt x="2133" y="592"/>
                    <a:pt x="2132" y="593"/>
                    <a:pt x="2131" y="593"/>
                  </a:cubicBezTo>
                  <a:cubicBezTo>
                    <a:pt x="2130" y="593"/>
                    <a:pt x="2129" y="592"/>
                    <a:pt x="2129" y="591"/>
                  </a:cubicBezTo>
                  <a:cubicBezTo>
                    <a:pt x="2128" y="590"/>
                    <a:pt x="2129" y="587"/>
                    <a:pt x="2129" y="585"/>
                  </a:cubicBezTo>
                  <a:cubicBezTo>
                    <a:pt x="2129" y="583"/>
                    <a:pt x="2129" y="581"/>
                    <a:pt x="2128" y="580"/>
                  </a:cubicBezTo>
                  <a:cubicBezTo>
                    <a:pt x="2128" y="579"/>
                    <a:pt x="2127" y="579"/>
                    <a:pt x="2126" y="579"/>
                  </a:cubicBezTo>
                  <a:cubicBezTo>
                    <a:pt x="2123" y="579"/>
                    <a:pt x="2119" y="584"/>
                    <a:pt x="2116" y="588"/>
                  </a:cubicBezTo>
                  <a:cubicBezTo>
                    <a:pt x="2115" y="590"/>
                    <a:pt x="2113" y="592"/>
                    <a:pt x="2112" y="593"/>
                  </a:cubicBezTo>
                  <a:cubicBezTo>
                    <a:pt x="2111" y="594"/>
                    <a:pt x="2111" y="594"/>
                    <a:pt x="2110" y="594"/>
                  </a:cubicBezTo>
                  <a:cubicBezTo>
                    <a:pt x="2109" y="594"/>
                    <a:pt x="2109" y="593"/>
                    <a:pt x="2108" y="592"/>
                  </a:cubicBezTo>
                  <a:cubicBezTo>
                    <a:pt x="2108" y="591"/>
                    <a:pt x="2107" y="590"/>
                    <a:pt x="2106" y="590"/>
                  </a:cubicBezTo>
                  <a:cubicBezTo>
                    <a:pt x="2105" y="591"/>
                    <a:pt x="2103" y="590"/>
                    <a:pt x="2102" y="590"/>
                  </a:cubicBezTo>
                  <a:cubicBezTo>
                    <a:pt x="2100" y="590"/>
                    <a:pt x="2099" y="590"/>
                    <a:pt x="2097" y="590"/>
                  </a:cubicBezTo>
                  <a:cubicBezTo>
                    <a:pt x="2095" y="590"/>
                    <a:pt x="2094" y="590"/>
                    <a:pt x="2094" y="591"/>
                  </a:cubicBezTo>
                  <a:cubicBezTo>
                    <a:pt x="2093" y="592"/>
                    <a:pt x="2092" y="593"/>
                    <a:pt x="2091" y="594"/>
                  </a:cubicBezTo>
                  <a:cubicBezTo>
                    <a:pt x="2088" y="598"/>
                    <a:pt x="2084" y="604"/>
                    <a:pt x="2083" y="609"/>
                  </a:cubicBezTo>
                  <a:cubicBezTo>
                    <a:pt x="2082" y="612"/>
                    <a:pt x="2080" y="614"/>
                    <a:pt x="2078" y="616"/>
                  </a:cubicBezTo>
                  <a:cubicBezTo>
                    <a:pt x="2076" y="617"/>
                    <a:pt x="2073" y="619"/>
                    <a:pt x="2071" y="622"/>
                  </a:cubicBezTo>
                  <a:cubicBezTo>
                    <a:pt x="2067" y="627"/>
                    <a:pt x="2068" y="631"/>
                    <a:pt x="2069" y="634"/>
                  </a:cubicBezTo>
                  <a:cubicBezTo>
                    <a:pt x="2070" y="635"/>
                    <a:pt x="2071" y="636"/>
                    <a:pt x="2072" y="636"/>
                  </a:cubicBezTo>
                  <a:cubicBezTo>
                    <a:pt x="2073" y="636"/>
                    <a:pt x="2074" y="636"/>
                    <a:pt x="2075" y="636"/>
                  </a:cubicBezTo>
                  <a:cubicBezTo>
                    <a:pt x="2076" y="635"/>
                    <a:pt x="2077" y="635"/>
                    <a:pt x="2078" y="635"/>
                  </a:cubicBezTo>
                  <a:cubicBezTo>
                    <a:pt x="2079" y="635"/>
                    <a:pt x="2080" y="635"/>
                    <a:pt x="2081" y="636"/>
                  </a:cubicBezTo>
                  <a:cubicBezTo>
                    <a:pt x="2084" y="636"/>
                    <a:pt x="2086" y="637"/>
                    <a:pt x="2086" y="639"/>
                  </a:cubicBezTo>
                  <a:cubicBezTo>
                    <a:pt x="2087" y="640"/>
                    <a:pt x="2085" y="642"/>
                    <a:pt x="2082" y="644"/>
                  </a:cubicBezTo>
                  <a:cubicBezTo>
                    <a:pt x="2077" y="648"/>
                    <a:pt x="2076" y="655"/>
                    <a:pt x="2077" y="658"/>
                  </a:cubicBezTo>
                  <a:cubicBezTo>
                    <a:pt x="2078" y="659"/>
                    <a:pt x="2078" y="660"/>
                    <a:pt x="2079" y="660"/>
                  </a:cubicBezTo>
                  <a:cubicBezTo>
                    <a:pt x="2079" y="660"/>
                    <a:pt x="2079" y="660"/>
                    <a:pt x="2079" y="660"/>
                  </a:cubicBezTo>
                  <a:cubicBezTo>
                    <a:pt x="2081" y="660"/>
                    <a:pt x="2086" y="663"/>
                    <a:pt x="2087" y="666"/>
                  </a:cubicBezTo>
                  <a:cubicBezTo>
                    <a:pt x="2088" y="667"/>
                    <a:pt x="2087" y="669"/>
                    <a:pt x="2086" y="670"/>
                  </a:cubicBezTo>
                  <a:cubicBezTo>
                    <a:pt x="2085" y="671"/>
                    <a:pt x="2083" y="672"/>
                    <a:pt x="2082" y="672"/>
                  </a:cubicBezTo>
                  <a:cubicBezTo>
                    <a:pt x="2081" y="672"/>
                    <a:pt x="2080" y="672"/>
                    <a:pt x="2079" y="671"/>
                  </a:cubicBezTo>
                  <a:cubicBezTo>
                    <a:pt x="2078" y="671"/>
                    <a:pt x="2076" y="671"/>
                    <a:pt x="2075" y="671"/>
                  </a:cubicBezTo>
                  <a:cubicBezTo>
                    <a:pt x="2071" y="672"/>
                    <a:pt x="2066" y="679"/>
                    <a:pt x="2065" y="684"/>
                  </a:cubicBezTo>
                  <a:cubicBezTo>
                    <a:pt x="2064" y="686"/>
                    <a:pt x="2064" y="687"/>
                    <a:pt x="2064" y="688"/>
                  </a:cubicBezTo>
                  <a:cubicBezTo>
                    <a:pt x="2065" y="688"/>
                    <a:pt x="2065" y="688"/>
                    <a:pt x="2065" y="689"/>
                  </a:cubicBezTo>
                  <a:cubicBezTo>
                    <a:pt x="2068" y="692"/>
                    <a:pt x="2073" y="698"/>
                    <a:pt x="2067" y="703"/>
                  </a:cubicBezTo>
                  <a:cubicBezTo>
                    <a:pt x="2065" y="705"/>
                    <a:pt x="2063" y="705"/>
                    <a:pt x="2060" y="705"/>
                  </a:cubicBezTo>
                  <a:cubicBezTo>
                    <a:pt x="2059" y="705"/>
                    <a:pt x="2058" y="705"/>
                    <a:pt x="2057" y="705"/>
                  </a:cubicBezTo>
                  <a:cubicBezTo>
                    <a:pt x="2056" y="705"/>
                    <a:pt x="2055" y="705"/>
                    <a:pt x="2054" y="705"/>
                  </a:cubicBezTo>
                  <a:cubicBezTo>
                    <a:pt x="2052" y="705"/>
                    <a:pt x="2051" y="705"/>
                    <a:pt x="2050" y="706"/>
                  </a:cubicBezTo>
                  <a:cubicBezTo>
                    <a:pt x="2049" y="707"/>
                    <a:pt x="2048" y="707"/>
                    <a:pt x="2046" y="708"/>
                  </a:cubicBezTo>
                  <a:cubicBezTo>
                    <a:pt x="2042" y="711"/>
                    <a:pt x="2035" y="716"/>
                    <a:pt x="2036" y="719"/>
                  </a:cubicBezTo>
                  <a:cubicBezTo>
                    <a:pt x="2036" y="720"/>
                    <a:pt x="2036" y="721"/>
                    <a:pt x="2037" y="722"/>
                  </a:cubicBezTo>
                  <a:cubicBezTo>
                    <a:pt x="2038" y="726"/>
                    <a:pt x="2040" y="731"/>
                    <a:pt x="2037" y="732"/>
                  </a:cubicBezTo>
                  <a:cubicBezTo>
                    <a:pt x="2035" y="732"/>
                    <a:pt x="2034" y="732"/>
                    <a:pt x="2032" y="732"/>
                  </a:cubicBezTo>
                  <a:cubicBezTo>
                    <a:pt x="2030" y="732"/>
                    <a:pt x="2027" y="732"/>
                    <a:pt x="2026" y="734"/>
                  </a:cubicBezTo>
                  <a:cubicBezTo>
                    <a:pt x="2025" y="735"/>
                    <a:pt x="2023" y="736"/>
                    <a:pt x="2021" y="737"/>
                  </a:cubicBezTo>
                  <a:cubicBezTo>
                    <a:pt x="2019" y="738"/>
                    <a:pt x="2017" y="739"/>
                    <a:pt x="2016" y="740"/>
                  </a:cubicBezTo>
                  <a:cubicBezTo>
                    <a:pt x="2016" y="741"/>
                    <a:pt x="2016" y="743"/>
                    <a:pt x="2016" y="745"/>
                  </a:cubicBezTo>
                  <a:cubicBezTo>
                    <a:pt x="2016" y="749"/>
                    <a:pt x="2016" y="754"/>
                    <a:pt x="2013" y="755"/>
                  </a:cubicBezTo>
                  <a:cubicBezTo>
                    <a:pt x="2011" y="756"/>
                    <a:pt x="2011" y="757"/>
                    <a:pt x="2010" y="758"/>
                  </a:cubicBezTo>
                  <a:cubicBezTo>
                    <a:pt x="2009" y="760"/>
                    <a:pt x="2009" y="761"/>
                    <a:pt x="2006" y="764"/>
                  </a:cubicBezTo>
                  <a:cubicBezTo>
                    <a:pt x="2004" y="765"/>
                    <a:pt x="2002" y="767"/>
                    <a:pt x="2000" y="770"/>
                  </a:cubicBezTo>
                  <a:cubicBezTo>
                    <a:pt x="1995" y="774"/>
                    <a:pt x="1992" y="777"/>
                    <a:pt x="1991" y="777"/>
                  </a:cubicBezTo>
                  <a:cubicBezTo>
                    <a:pt x="1990" y="777"/>
                    <a:pt x="1990" y="777"/>
                    <a:pt x="1990" y="777"/>
                  </a:cubicBezTo>
                  <a:cubicBezTo>
                    <a:pt x="1989" y="776"/>
                    <a:pt x="1988" y="774"/>
                    <a:pt x="1988" y="772"/>
                  </a:cubicBezTo>
                  <a:cubicBezTo>
                    <a:pt x="1988" y="770"/>
                    <a:pt x="1987" y="768"/>
                    <a:pt x="1986" y="766"/>
                  </a:cubicBezTo>
                  <a:cubicBezTo>
                    <a:pt x="1984" y="764"/>
                    <a:pt x="1984" y="760"/>
                    <a:pt x="1984" y="755"/>
                  </a:cubicBezTo>
                  <a:cubicBezTo>
                    <a:pt x="1983" y="750"/>
                    <a:pt x="1983" y="744"/>
                    <a:pt x="1981" y="741"/>
                  </a:cubicBezTo>
                  <a:cubicBezTo>
                    <a:pt x="1977" y="735"/>
                    <a:pt x="1973" y="699"/>
                    <a:pt x="1973" y="687"/>
                  </a:cubicBezTo>
                  <a:cubicBezTo>
                    <a:pt x="1973" y="676"/>
                    <a:pt x="1978" y="663"/>
                    <a:pt x="1987" y="654"/>
                  </a:cubicBezTo>
                  <a:cubicBezTo>
                    <a:pt x="1992" y="648"/>
                    <a:pt x="1991" y="643"/>
                    <a:pt x="1991" y="640"/>
                  </a:cubicBezTo>
                  <a:cubicBezTo>
                    <a:pt x="1990" y="638"/>
                    <a:pt x="1990" y="636"/>
                    <a:pt x="1992" y="636"/>
                  </a:cubicBezTo>
                  <a:cubicBezTo>
                    <a:pt x="1993" y="636"/>
                    <a:pt x="1994" y="636"/>
                    <a:pt x="1995" y="636"/>
                  </a:cubicBezTo>
                  <a:cubicBezTo>
                    <a:pt x="1998" y="635"/>
                    <a:pt x="2005" y="635"/>
                    <a:pt x="2005" y="634"/>
                  </a:cubicBezTo>
                  <a:cubicBezTo>
                    <a:pt x="2005" y="632"/>
                    <a:pt x="2007" y="632"/>
                    <a:pt x="2010" y="631"/>
                  </a:cubicBezTo>
                  <a:cubicBezTo>
                    <a:pt x="2015" y="629"/>
                    <a:pt x="2023" y="626"/>
                    <a:pt x="2029" y="617"/>
                  </a:cubicBezTo>
                  <a:cubicBezTo>
                    <a:pt x="2034" y="609"/>
                    <a:pt x="2041" y="604"/>
                    <a:pt x="2047" y="600"/>
                  </a:cubicBezTo>
                  <a:cubicBezTo>
                    <a:pt x="2051" y="598"/>
                    <a:pt x="2054" y="595"/>
                    <a:pt x="2056" y="592"/>
                  </a:cubicBezTo>
                  <a:cubicBezTo>
                    <a:pt x="2058" y="589"/>
                    <a:pt x="2060" y="587"/>
                    <a:pt x="2063" y="585"/>
                  </a:cubicBezTo>
                  <a:cubicBezTo>
                    <a:pt x="2065" y="583"/>
                    <a:pt x="2067" y="582"/>
                    <a:pt x="2068" y="579"/>
                  </a:cubicBezTo>
                  <a:cubicBezTo>
                    <a:pt x="2068" y="575"/>
                    <a:pt x="2077" y="573"/>
                    <a:pt x="2083" y="571"/>
                  </a:cubicBezTo>
                  <a:cubicBezTo>
                    <a:pt x="2085" y="571"/>
                    <a:pt x="2086" y="571"/>
                    <a:pt x="2087" y="570"/>
                  </a:cubicBezTo>
                  <a:cubicBezTo>
                    <a:pt x="2091" y="569"/>
                    <a:pt x="2091" y="568"/>
                    <a:pt x="2091" y="565"/>
                  </a:cubicBezTo>
                  <a:cubicBezTo>
                    <a:pt x="2091" y="564"/>
                    <a:pt x="2091" y="564"/>
                    <a:pt x="2091" y="564"/>
                  </a:cubicBezTo>
                  <a:cubicBezTo>
                    <a:pt x="2091" y="563"/>
                    <a:pt x="2093" y="562"/>
                    <a:pt x="2094" y="561"/>
                  </a:cubicBezTo>
                  <a:cubicBezTo>
                    <a:pt x="2095" y="560"/>
                    <a:pt x="2096" y="560"/>
                    <a:pt x="2096" y="559"/>
                  </a:cubicBezTo>
                  <a:cubicBezTo>
                    <a:pt x="2096" y="559"/>
                    <a:pt x="2096" y="559"/>
                    <a:pt x="2096" y="558"/>
                  </a:cubicBezTo>
                  <a:cubicBezTo>
                    <a:pt x="2094" y="557"/>
                    <a:pt x="2095" y="555"/>
                    <a:pt x="2096" y="553"/>
                  </a:cubicBezTo>
                  <a:cubicBezTo>
                    <a:pt x="2097" y="551"/>
                    <a:pt x="2098" y="549"/>
                    <a:pt x="2098" y="545"/>
                  </a:cubicBezTo>
                  <a:cubicBezTo>
                    <a:pt x="2098" y="542"/>
                    <a:pt x="2099" y="539"/>
                    <a:pt x="2101" y="536"/>
                  </a:cubicBezTo>
                  <a:cubicBezTo>
                    <a:pt x="2103" y="534"/>
                    <a:pt x="2106" y="533"/>
                    <a:pt x="2109" y="534"/>
                  </a:cubicBezTo>
                  <a:cubicBezTo>
                    <a:pt x="2111" y="534"/>
                    <a:pt x="2112" y="534"/>
                    <a:pt x="2112" y="534"/>
                  </a:cubicBezTo>
                  <a:cubicBezTo>
                    <a:pt x="2113" y="534"/>
                    <a:pt x="2113" y="534"/>
                    <a:pt x="2113" y="534"/>
                  </a:cubicBezTo>
                  <a:cubicBezTo>
                    <a:pt x="2113" y="534"/>
                    <a:pt x="2112" y="533"/>
                    <a:pt x="2109" y="531"/>
                  </a:cubicBezTo>
                  <a:cubicBezTo>
                    <a:pt x="2108" y="531"/>
                    <a:pt x="2106" y="530"/>
                    <a:pt x="2103" y="530"/>
                  </a:cubicBezTo>
                  <a:cubicBezTo>
                    <a:pt x="2096" y="530"/>
                    <a:pt x="2085" y="533"/>
                    <a:pt x="2085" y="540"/>
                  </a:cubicBezTo>
                  <a:cubicBezTo>
                    <a:pt x="2085" y="543"/>
                    <a:pt x="2085" y="545"/>
                    <a:pt x="2085" y="547"/>
                  </a:cubicBezTo>
                  <a:cubicBezTo>
                    <a:pt x="2086" y="550"/>
                    <a:pt x="2086" y="552"/>
                    <a:pt x="2085" y="554"/>
                  </a:cubicBezTo>
                  <a:cubicBezTo>
                    <a:pt x="2084" y="554"/>
                    <a:pt x="2083" y="555"/>
                    <a:pt x="2081" y="554"/>
                  </a:cubicBezTo>
                  <a:cubicBezTo>
                    <a:pt x="2080" y="554"/>
                    <a:pt x="2080" y="554"/>
                    <a:pt x="2080" y="554"/>
                  </a:cubicBezTo>
                  <a:cubicBezTo>
                    <a:pt x="2073" y="554"/>
                    <a:pt x="2065" y="558"/>
                    <a:pt x="2058" y="566"/>
                  </a:cubicBezTo>
                  <a:cubicBezTo>
                    <a:pt x="2050" y="574"/>
                    <a:pt x="2044" y="574"/>
                    <a:pt x="2042" y="574"/>
                  </a:cubicBezTo>
                  <a:cubicBezTo>
                    <a:pt x="2041" y="574"/>
                    <a:pt x="2040" y="574"/>
                    <a:pt x="2039" y="573"/>
                  </a:cubicBezTo>
                  <a:cubicBezTo>
                    <a:pt x="2039" y="572"/>
                    <a:pt x="2040" y="571"/>
                    <a:pt x="2042" y="570"/>
                  </a:cubicBezTo>
                  <a:cubicBezTo>
                    <a:pt x="2043" y="570"/>
                    <a:pt x="2044" y="569"/>
                    <a:pt x="2044" y="568"/>
                  </a:cubicBezTo>
                  <a:cubicBezTo>
                    <a:pt x="2044" y="568"/>
                    <a:pt x="2044" y="568"/>
                    <a:pt x="2043" y="568"/>
                  </a:cubicBezTo>
                  <a:cubicBezTo>
                    <a:pt x="2042" y="567"/>
                    <a:pt x="2041" y="567"/>
                    <a:pt x="2040" y="567"/>
                  </a:cubicBezTo>
                  <a:cubicBezTo>
                    <a:pt x="2038" y="567"/>
                    <a:pt x="2036" y="566"/>
                    <a:pt x="2035" y="565"/>
                  </a:cubicBezTo>
                  <a:cubicBezTo>
                    <a:pt x="2035" y="564"/>
                    <a:pt x="2034" y="563"/>
                    <a:pt x="2035" y="561"/>
                  </a:cubicBezTo>
                  <a:cubicBezTo>
                    <a:pt x="2036" y="558"/>
                    <a:pt x="2038" y="556"/>
                    <a:pt x="2040" y="554"/>
                  </a:cubicBezTo>
                  <a:cubicBezTo>
                    <a:pt x="2042" y="552"/>
                    <a:pt x="2043" y="550"/>
                    <a:pt x="2043" y="549"/>
                  </a:cubicBezTo>
                  <a:cubicBezTo>
                    <a:pt x="2043" y="549"/>
                    <a:pt x="2043" y="549"/>
                    <a:pt x="2042" y="548"/>
                  </a:cubicBezTo>
                  <a:cubicBezTo>
                    <a:pt x="2041" y="547"/>
                    <a:pt x="2039" y="549"/>
                    <a:pt x="2037" y="550"/>
                  </a:cubicBezTo>
                  <a:cubicBezTo>
                    <a:pt x="2035" y="552"/>
                    <a:pt x="2034" y="553"/>
                    <a:pt x="2033" y="553"/>
                  </a:cubicBezTo>
                  <a:cubicBezTo>
                    <a:pt x="2032" y="553"/>
                    <a:pt x="2032" y="553"/>
                    <a:pt x="2032" y="552"/>
                  </a:cubicBezTo>
                  <a:cubicBezTo>
                    <a:pt x="2031" y="552"/>
                    <a:pt x="2030" y="551"/>
                    <a:pt x="2029" y="550"/>
                  </a:cubicBezTo>
                  <a:cubicBezTo>
                    <a:pt x="2029" y="548"/>
                    <a:pt x="2028" y="547"/>
                    <a:pt x="2026" y="547"/>
                  </a:cubicBezTo>
                  <a:cubicBezTo>
                    <a:pt x="2025" y="547"/>
                    <a:pt x="2024" y="548"/>
                    <a:pt x="2023" y="548"/>
                  </a:cubicBezTo>
                  <a:cubicBezTo>
                    <a:pt x="2019" y="550"/>
                    <a:pt x="2015" y="551"/>
                    <a:pt x="2009" y="551"/>
                  </a:cubicBezTo>
                  <a:cubicBezTo>
                    <a:pt x="2007" y="551"/>
                    <a:pt x="2005" y="551"/>
                    <a:pt x="2003" y="551"/>
                  </a:cubicBezTo>
                  <a:cubicBezTo>
                    <a:pt x="2001" y="551"/>
                    <a:pt x="2000" y="551"/>
                    <a:pt x="1999" y="551"/>
                  </a:cubicBezTo>
                  <a:cubicBezTo>
                    <a:pt x="1994" y="551"/>
                    <a:pt x="1991" y="560"/>
                    <a:pt x="1991" y="563"/>
                  </a:cubicBezTo>
                  <a:cubicBezTo>
                    <a:pt x="1991" y="565"/>
                    <a:pt x="1990" y="566"/>
                    <a:pt x="1988" y="566"/>
                  </a:cubicBezTo>
                  <a:cubicBezTo>
                    <a:pt x="1986" y="567"/>
                    <a:pt x="1983" y="567"/>
                    <a:pt x="1980" y="570"/>
                  </a:cubicBezTo>
                  <a:cubicBezTo>
                    <a:pt x="1978" y="572"/>
                    <a:pt x="1976" y="573"/>
                    <a:pt x="1974" y="575"/>
                  </a:cubicBezTo>
                  <a:cubicBezTo>
                    <a:pt x="1969" y="579"/>
                    <a:pt x="1963" y="583"/>
                    <a:pt x="1959" y="589"/>
                  </a:cubicBezTo>
                  <a:cubicBezTo>
                    <a:pt x="1956" y="594"/>
                    <a:pt x="1955" y="598"/>
                    <a:pt x="1956" y="599"/>
                  </a:cubicBezTo>
                  <a:cubicBezTo>
                    <a:pt x="1956" y="600"/>
                    <a:pt x="1958" y="600"/>
                    <a:pt x="1960" y="600"/>
                  </a:cubicBezTo>
                  <a:cubicBezTo>
                    <a:pt x="1965" y="600"/>
                    <a:pt x="1968" y="603"/>
                    <a:pt x="1968" y="604"/>
                  </a:cubicBezTo>
                  <a:cubicBezTo>
                    <a:pt x="1968" y="605"/>
                    <a:pt x="1968" y="605"/>
                    <a:pt x="1967" y="606"/>
                  </a:cubicBezTo>
                  <a:cubicBezTo>
                    <a:pt x="1966" y="606"/>
                    <a:pt x="1966" y="606"/>
                    <a:pt x="1966" y="606"/>
                  </a:cubicBezTo>
                  <a:cubicBezTo>
                    <a:pt x="1965" y="606"/>
                    <a:pt x="1965" y="606"/>
                    <a:pt x="1964" y="606"/>
                  </a:cubicBezTo>
                  <a:cubicBezTo>
                    <a:pt x="1960" y="606"/>
                    <a:pt x="1954" y="607"/>
                    <a:pt x="1951" y="609"/>
                  </a:cubicBezTo>
                  <a:cubicBezTo>
                    <a:pt x="1950" y="610"/>
                    <a:pt x="1949" y="610"/>
                    <a:pt x="1949" y="610"/>
                  </a:cubicBezTo>
                  <a:cubicBezTo>
                    <a:pt x="1948" y="610"/>
                    <a:pt x="1947" y="610"/>
                    <a:pt x="1946" y="610"/>
                  </a:cubicBezTo>
                  <a:cubicBezTo>
                    <a:pt x="1945" y="609"/>
                    <a:pt x="1944" y="609"/>
                    <a:pt x="1943" y="609"/>
                  </a:cubicBezTo>
                  <a:cubicBezTo>
                    <a:pt x="1942" y="609"/>
                    <a:pt x="1942" y="609"/>
                    <a:pt x="1940" y="610"/>
                  </a:cubicBezTo>
                  <a:cubicBezTo>
                    <a:pt x="1937" y="612"/>
                    <a:pt x="1934" y="613"/>
                    <a:pt x="1929" y="613"/>
                  </a:cubicBezTo>
                  <a:cubicBezTo>
                    <a:pt x="1928" y="613"/>
                    <a:pt x="1926" y="612"/>
                    <a:pt x="1925" y="612"/>
                  </a:cubicBezTo>
                  <a:cubicBezTo>
                    <a:pt x="1924" y="612"/>
                    <a:pt x="1922" y="613"/>
                    <a:pt x="1920" y="614"/>
                  </a:cubicBezTo>
                  <a:cubicBezTo>
                    <a:pt x="1918" y="614"/>
                    <a:pt x="1916" y="615"/>
                    <a:pt x="1913" y="615"/>
                  </a:cubicBezTo>
                  <a:cubicBezTo>
                    <a:pt x="1912" y="615"/>
                    <a:pt x="1911" y="615"/>
                    <a:pt x="1910" y="614"/>
                  </a:cubicBezTo>
                  <a:cubicBezTo>
                    <a:pt x="1908" y="613"/>
                    <a:pt x="1908" y="612"/>
                    <a:pt x="1908" y="611"/>
                  </a:cubicBezTo>
                  <a:cubicBezTo>
                    <a:pt x="1908" y="609"/>
                    <a:pt x="1911" y="608"/>
                    <a:pt x="1914" y="608"/>
                  </a:cubicBezTo>
                  <a:cubicBezTo>
                    <a:pt x="1914" y="608"/>
                    <a:pt x="1915" y="608"/>
                    <a:pt x="1915" y="609"/>
                  </a:cubicBezTo>
                  <a:cubicBezTo>
                    <a:pt x="1918" y="609"/>
                    <a:pt x="1920" y="607"/>
                    <a:pt x="1920" y="606"/>
                  </a:cubicBezTo>
                  <a:cubicBezTo>
                    <a:pt x="1920" y="606"/>
                    <a:pt x="1919" y="605"/>
                    <a:pt x="1918" y="605"/>
                  </a:cubicBezTo>
                  <a:cubicBezTo>
                    <a:pt x="1915" y="605"/>
                    <a:pt x="1914" y="603"/>
                    <a:pt x="1913" y="601"/>
                  </a:cubicBezTo>
                  <a:cubicBezTo>
                    <a:pt x="1912" y="600"/>
                    <a:pt x="1911" y="599"/>
                    <a:pt x="1910" y="599"/>
                  </a:cubicBezTo>
                  <a:cubicBezTo>
                    <a:pt x="1909" y="599"/>
                    <a:pt x="1909" y="599"/>
                    <a:pt x="1908" y="600"/>
                  </a:cubicBezTo>
                  <a:cubicBezTo>
                    <a:pt x="1906" y="601"/>
                    <a:pt x="1905" y="601"/>
                    <a:pt x="1903" y="601"/>
                  </a:cubicBezTo>
                  <a:cubicBezTo>
                    <a:pt x="1901" y="601"/>
                    <a:pt x="1899" y="600"/>
                    <a:pt x="1898" y="599"/>
                  </a:cubicBezTo>
                  <a:cubicBezTo>
                    <a:pt x="1897" y="598"/>
                    <a:pt x="1897" y="598"/>
                    <a:pt x="1896" y="598"/>
                  </a:cubicBezTo>
                  <a:cubicBezTo>
                    <a:pt x="1895" y="597"/>
                    <a:pt x="1891" y="596"/>
                    <a:pt x="1887" y="596"/>
                  </a:cubicBezTo>
                  <a:cubicBezTo>
                    <a:pt x="1882" y="596"/>
                    <a:pt x="1878" y="597"/>
                    <a:pt x="1877" y="600"/>
                  </a:cubicBezTo>
                  <a:cubicBezTo>
                    <a:pt x="1875" y="603"/>
                    <a:pt x="1873" y="605"/>
                    <a:pt x="1870" y="605"/>
                  </a:cubicBezTo>
                  <a:cubicBezTo>
                    <a:pt x="1868" y="605"/>
                    <a:pt x="1866" y="604"/>
                    <a:pt x="1864" y="603"/>
                  </a:cubicBezTo>
                  <a:cubicBezTo>
                    <a:pt x="1863" y="603"/>
                    <a:pt x="1863" y="603"/>
                    <a:pt x="1862" y="603"/>
                  </a:cubicBezTo>
                  <a:cubicBezTo>
                    <a:pt x="1861" y="603"/>
                    <a:pt x="1860" y="604"/>
                    <a:pt x="1858" y="604"/>
                  </a:cubicBezTo>
                  <a:cubicBezTo>
                    <a:pt x="1857" y="605"/>
                    <a:pt x="1855" y="606"/>
                    <a:pt x="1852" y="606"/>
                  </a:cubicBezTo>
                  <a:cubicBezTo>
                    <a:pt x="1851" y="606"/>
                    <a:pt x="1851" y="605"/>
                    <a:pt x="1850" y="605"/>
                  </a:cubicBezTo>
                  <a:cubicBezTo>
                    <a:pt x="1849" y="605"/>
                    <a:pt x="1848" y="605"/>
                    <a:pt x="1846" y="605"/>
                  </a:cubicBezTo>
                  <a:cubicBezTo>
                    <a:pt x="1844" y="605"/>
                    <a:pt x="1842" y="604"/>
                    <a:pt x="1840" y="604"/>
                  </a:cubicBezTo>
                  <a:cubicBezTo>
                    <a:pt x="1839" y="604"/>
                    <a:pt x="1838" y="605"/>
                    <a:pt x="1837" y="605"/>
                  </a:cubicBezTo>
                  <a:cubicBezTo>
                    <a:pt x="1836" y="606"/>
                    <a:pt x="1835" y="608"/>
                    <a:pt x="1833" y="608"/>
                  </a:cubicBezTo>
                  <a:cubicBezTo>
                    <a:pt x="1831" y="608"/>
                    <a:pt x="1830" y="607"/>
                    <a:pt x="1829" y="606"/>
                  </a:cubicBezTo>
                  <a:cubicBezTo>
                    <a:pt x="1826" y="603"/>
                    <a:pt x="1816" y="601"/>
                    <a:pt x="1806" y="601"/>
                  </a:cubicBezTo>
                  <a:cubicBezTo>
                    <a:pt x="1803" y="601"/>
                    <a:pt x="1800" y="601"/>
                    <a:pt x="1797" y="602"/>
                  </a:cubicBezTo>
                  <a:cubicBezTo>
                    <a:pt x="1787" y="604"/>
                    <a:pt x="1771" y="613"/>
                    <a:pt x="1771" y="616"/>
                  </a:cubicBezTo>
                  <a:cubicBezTo>
                    <a:pt x="1770" y="618"/>
                    <a:pt x="1767" y="620"/>
                    <a:pt x="1763" y="623"/>
                  </a:cubicBezTo>
                  <a:cubicBezTo>
                    <a:pt x="1759" y="625"/>
                    <a:pt x="1755" y="627"/>
                    <a:pt x="1754" y="629"/>
                  </a:cubicBezTo>
                  <a:cubicBezTo>
                    <a:pt x="1752" y="634"/>
                    <a:pt x="1747" y="639"/>
                    <a:pt x="1738" y="646"/>
                  </a:cubicBezTo>
                  <a:cubicBezTo>
                    <a:pt x="1734" y="649"/>
                    <a:pt x="1730" y="652"/>
                    <a:pt x="1727" y="654"/>
                  </a:cubicBezTo>
                  <a:cubicBezTo>
                    <a:pt x="1722" y="657"/>
                    <a:pt x="1718" y="660"/>
                    <a:pt x="1718" y="661"/>
                  </a:cubicBezTo>
                  <a:cubicBezTo>
                    <a:pt x="1717" y="662"/>
                    <a:pt x="1717" y="662"/>
                    <a:pt x="1717" y="662"/>
                  </a:cubicBezTo>
                  <a:cubicBezTo>
                    <a:pt x="1716" y="665"/>
                    <a:pt x="1715" y="669"/>
                    <a:pt x="1709" y="672"/>
                  </a:cubicBezTo>
                  <a:cubicBezTo>
                    <a:pt x="1708" y="673"/>
                    <a:pt x="1705" y="675"/>
                    <a:pt x="1703" y="676"/>
                  </a:cubicBezTo>
                  <a:cubicBezTo>
                    <a:pt x="1698" y="679"/>
                    <a:pt x="1693" y="682"/>
                    <a:pt x="1691" y="683"/>
                  </a:cubicBezTo>
                  <a:cubicBezTo>
                    <a:pt x="1689" y="684"/>
                    <a:pt x="1689" y="685"/>
                    <a:pt x="1688" y="686"/>
                  </a:cubicBezTo>
                  <a:cubicBezTo>
                    <a:pt x="1687" y="688"/>
                    <a:pt x="1685" y="690"/>
                    <a:pt x="1681" y="692"/>
                  </a:cubicBezTo>
                  <a:cubicBezTo>
                    <a:pt x="1677" y="694"/>
                    <a:pt x="1674" y="697"/>
                    <a:pt x="1675" y="699"/>
                  </a:cubicBezTo>
                  <a:cubicBezTo>
                    <a:pt x="1675" y="701"/>
                    <a:pt x="1677" y="702"/>
                    <a:pt x="1680" y="702"/>
                  </a:cubicBezTo>
                  <a:cubicBezTo>
                    <a:pt x="1681" y="702"/>
                    <a:pt x="1682" y="702"/>
                    <a:pt x="1683" y="702"/>
                  </a:cubicBezTo>
                  <a:cubicBezTo>
                    <a:pt x="1686" y="702"/>
                    <a:pt x="1689" y="702"/>
                    <a:pt x="1691" y="701"/>
                  </a:cubicBezTo>
                  <a:cubicBezTo>
                    <a:pt x="1693" y="701"/>
                    <a:pt x="1694" y="701"/>
                    <a:pt x="1695" y="701"/>
                  </a:cubicBezTo>
                  <a:cubicBezTo>
                    <a:pt x="1696" y="701"/>
                    <a:pt x="1697" y="701"/>
                    <a:pt x="1697" y="702"/>
                  </a:cubicBezTo>
                  <a:cubicBezTo>
                    <a:pt x="1697" y="703"/>
                    <a:pt x="1697" y="703"/>
                    <a:pt x="1697" y="703"/>
                  </a:cubicBezTo>
                  <a:cubicBezTo>
                    <a:pt x="1696" y="706"/>
                    <a:pt x="1695" y="714"/>
                    <a:pt x="1697" y="717"/>
                  </a:cubicBezTo>
                  <a:cubicBezTo>
                    <a:pt x="1698" y="717"/>
                    <a:pt x="1698" y="717"/>
                    <a:pt x="1698" y="717"/>
                  </a:cubicBezTo>
                  <a:cubicBezTo>
                    <a:pt x="1700" y="717"/>
                    <a:pt x="1701" y="715"/>
                    <a:pt x="1702" y="713"/>
                  </a:cubicBezTo>
                  <a:cubicBezTo>
                    <a:pt x="1703" y="711"/>
                    <a:pt x="1705" y="709"/>
                    <a:pt x="1707" y="707"/>
                  </a:cubicBezTo>
                  <a:cubicBezTo>
                    <a:pt x="1708" y="706"/>
                    <a:pt x="1709" y="706"/>
                    <a:pt x="1710" y="706"/>
                  </a:cubicBezTo>
                  <a:cubicBezTo>
                    <a:pt x="1710" y="706"/>
                    <a:pt x="1710" y="706"/>
                    <a:pt x="1710" y="706"/>
                  </a:cubicBezTo>
                  <a:cubicBezTo>
                    <a:pt x="1711" y="707"/>
                    <a:pt x="1710" y="708"/>
                    <a:pt x="1710" y="710"/>
                  </a:cubicBezTo>
                  <a:cubicBezTo>
                    <a:pt x="1709" y="711"/>
                    <a:pt x="1709" y="712"/>
                    <a:pt x="1708" y="713"/>
                  </a:cubicBezTo>
                  <a:cubicBezTo>
                    <a:pt x="1708" y="715"/>
                    <a:pt x="1709" y="716"/>
                    <a:pt x="1710" y="717"/>
                  </a:cubicBezTo>
                  <a:cubicBezTo>
                    <a:pt x="1711" y="718"/>
                    <a:pt x="1712" y="720"/>
                    <a:pt x="1709" y="722"/>
                  </a:cubicBezTo>
                  <a:cubicBezTo>
                    <a:pt x="1708" y="723"/>
                    <a:pt x="1708" y="724"/>
                    <a:pt x="1708" y="724"/>
                  </a:cubicBezTo>
                  <a:cubicBezTo>
                    <a:pt x="1708" y="724"/>
                    <a:pt x="1709" y="724"/>
                    <a:pt x="1710" y="724"/>
                  </a:cubicBezTo>
                  <a:cubicBezTo>
                    <a:pt x="1711" y="724"/>
                    <a:pt x="1715" y="723"/>
                    <a:pt x="1716" y="721"/>
                  </a:cubicBezTo>
                  <a:cubicBezTo>
                    <a:pt x="1717" y="720"/>
                    <a:pt x="1717" y="720"/>
                    <a:pt x="1717" y="720"/>
                  </a:cubicBezTo>
                  <a:cubicBezTo>
                    <a:pt x="1719" y="716"/>
                    <a:pt x="1721" y="714"/>
                    <a:pt x="1723" y="715"/>
                  </a:cubicBezTo>
                  <a:cubicBezTo>
                    <a:pt x="1724" y="715"/>
                    <a:pt x="1725" y="715"/>
                    <a:pt x="1725" y="715"/>
                  </a:cubicBezTo>
                  <a:cubicBezTo>
                    <a:pt x="1726" y="714"/>
                    <a:pt x="1726" y="712"/>
                    <a:pt x="1725" y="711"/>
                  </a:cubicBezTo>
                  <a:cubicBezTo>
                    <a:pt x="1725" y="710"/>
                    <a:pt x="1725" y="710"/>
                    <a:pt x="1725" y="710"/>
                  </a:cubicBezTo>
                  <a:cubicBezTo>
                    <a:pt x="1726" y="709"/>
                    <a:pt x="1726" y="709"/>
                    <a:pt x="1728" y="709"/>
                  </a:cubicBezTo>
                  <a:cubicBezTo>
                    <a:pt x="1729" y="709"/>
                    <a:pt x="1730" y="709"/>
                    <a:pt x="1732" y="709"/>
                  </a:cubicBezTo>
                  <a:cubicBezTo>
                    <a:pt x="1734" y="710"/>
                    <a:pt x="1736" y="710"/>
                    <a:pt x="1738" y="710"/>
                  </a:cubicBezTo>
                  <a:cubicBezTo>
                    <a:pt x="1739" y="710"/>
                    <a:pt x="1739" y="710"/>
                    <a:pt x="1739" y="710"/>
                  </a:cubicBezTo>
                  <a:cubicBezTo>
                    <a:pt x="1744" y="710"/>
                    <a:pt x="1750" y="715"/>
                    <a:pt x="1750" y="719"/>
                  </a:cubicBezTo>
                  <a:cubicBezTo>
                    <a:pt x="1750" y="722"/>
                    <a:pt x="1754" y="724"/>
                    <a:pt x="1757" y="725"/>
                  </a:cubicBezTo>
                  <a:cubicBezTo>
                    <a:pt x="1758" y="725"/>
                    <a:pt x="1758" y="726"/>
                    <a:pt x="1759" y="726"/>
                  </a:cubicBezTo>
                  <a:cubicBezTo>
                    <a:pt x="1761" y="727"/>
                    <a:pt x="1765" y="730"/>
                    <a:pt x="1765" y="732"/>
                  </a:cubicBezTo>
                  <a:cubicBezTo>
                    <a:pt x="1765" y="733"/>
                    <a:pt x="1765" y="733"/>
                    <a:pt x="1764" y="734"/>
                  </a:cubicBezTo>
                  <a:cubicBezTo>
                    <a:pt x="1762" y="735"/>
                    <a:pt x="1762" y="736"/>
                    <a:pt x="1763" y="737"/>
                  </a:cubicBezTo>
                  <a:cubicBezTo>
                    <a:pt x="1763" y="738"/>
                    <a:pt x="1763" y="740"/>
                    <a:pt x="1763" y="743"/>
                  </a:cubicBezTo>
                  <a:cubicBezTo>
                    <a:pt x="1763" y="745"/>
                    <a:pt x="1763" y="747"/>
                    <a:pt x="1763" y="748"/>
                  </a:cubicBezTo>
                  <a:cubicBezTo>
                    <a:pt x="1765" y="751"/>
                    <a:pt x="1765" y="755"/>
                    <a:pt x="1761" y="759"/>
                  </a:cubicBezTo>
                  <a:cubicBezTo>
                    <a:pt x="1758" y="761"/>
                    <a:pt x="1758" y="763"/>
                    <a:pt x="1757" y="765"/>
                  </a:cubicBezTo>
                  <a:cubicBezTo>
                    <a:pt x="1757" y="766"/>
                    <a:pt x="1757" y="768"/>
                    <a:pt x="1756" y="769"/>
                  </a:cubicBezTo>
                  <a:cubicBezTo>
                    <a:pt x="1755" y="770"/>
                    <a:pt x="1754" y="772"/>
                    <a:pt x="1754" y="774"/>
                  </a:cubicBezTo>
                  <a:cubicBezTo>
                    <a:pt x="1754" y="776"/>
                    <a:pt x="1754" y="777"/>
                    <a:pt x="1753" y="778"/>
                  </a:cubicBezTo>
                  <a:cubicBezTo>
                    <a:pt x="1752" y="779"/>
                    <a:pt x="1752" y="783"/>
                    <a:pt x="1752" y="788"/>
                  </a:cubicBezTo>
                  <a:cubicBezTo>
                    <a:pt x="1751" y="797"/>
                    <a:pt x="1750" y="810"/>
                    <a:pt x="1747" y="816"/>
                  </a:cubicBezTo>
                  <a:cubicBezTo>
                    <a:pt x="1743" y="823"/>
                    <a:pt x="1742" y="825"/>
                    <a:pt x="1740" y="828"/>
                  </a:cubicBezTo>
                  <a:cubicBezTo>
                    <a:pt x="1739" y="829"/>
                    <a:pt x="1738" y="830"/>
                    <a:pt x="1738" y="831"/>
                  </a:cubicBezTo>
                  <a:cubicBezTo>
                    <a:pt x="1737" y="833"/>
                    <a:pt x="1734" y="835"/>
                    <a:pt x="1732" y="839"/>
                  </a:cubicBezTo>
                  <a:cubicBezTo>
                    <a:pt x="1728" y="843"/>
                    <a:pt x="1724" y="848"/>
                    <a:pt x="1722" y="852"/>
                  </a:cubicBezTo>
                  <a:cubicBezTo>
                    <a:pt x="1718" y="861"/>
                    <a:pt x="1707" y="874"/>
                    <a:pt x="1701" y="880"/>
                  </a:cubicBezTo>
                  <a:cubicBezTo>
                    <a:pt x="1699" y="882"/>
                    <a:pt x="1697" y="885"/>
                    <a:pt x="1694" y="887"/>
                  </a:cubicBezTo>
                  <a:cubicBezTo>
                    <a:pt x="1687" y="894"/>
                    <a:pt x="1677" y="904"/>
                    <a:pt x="1677" y="906"/>
                  </a:cubicBezTo>
                  <a:cubicBezTo>
                    <a:pt x="1677" y="910"/>
                    <a:pt x="1649" y="928"/>
                    <a:pt x="1643" y="928"/>
                  </a:cubicBezTo>
                  <a:cubicBezTo>
                    <a:pt x="1643" y="928"/>
                    <a:pt x="1643" y="928"/>
                    <a:pt x="1643" y="928"/>
                  </a:cubicBezTo>
                  <a:cubicBezTo>
                    <a:pt x="1640" y="928"/>
                    <a:pt x="1637" y="925"/>
                    <a:pt x="1634" y="923"/>
                  </a:cubicBezTo>
                  <a:cubicBezTo>
                    <a:pt x="1631" y="920"/>
                    <a:pt x="1629" y="918"/>
                    <a:pt x="1626" y="918"/>
                  </a:cubicBezTo>
                  <a:cubicBezTo>
                    <a:pt x="1625" y="918"/>
                    <a:pt x="1620" y="921"/>
                    <a:pt x="1615" y="925"/>
                  </a:cubicBezTo>
                  <a:cubicBezTo>
                    <a:pt x="1614" y="925"/>
                    <a:pt x="1614" y="925"/>
                    <a:pt x="1614" y="925"/>
                  </a:cubicBezTo>
                  <a:cubicBezTo>
                    <a:pt x="1614" y="924"/>
                    <a:pt x="1614" y="924"/>
                    <a:pt x="1614" y="924"/>
                  </a:cubicBezTo>
                  <a:cubicBezTo>
                    <a:pt x="1614" y="922"/>
                    <a:pt x="1614" y="920"/>
                    <a:pt x="1614" y="918"/>
                  </a:cubicBezTo>
                  <a:cubicBezTo>
                    <a:pt x="1614" y="915"/>
                    <a:pt x="1613" y="912"/>
                    <a:pt x="1613" y="911"/>
                  </a:cubicBezTo>
                  <a:cubicBezTo>
                    <a:pt x="1612" y="908"/>
                    <a:pt x="1612" y="905"/>
                    <a:pt x="1612" y="902"/>
                  </a:cubicBezTo>
                  <a:cubicBezTo>
                    <a:pt x="1612" y="901"/>
                    <a:pt x="1612" y="900"/>
                    <a:pt x="1612" y="899"/>
                  </a:cubicBezTo>
                  <a:cubicBezTo>
                    <a:pt x="1611" y="896"/>
                    <a:pt x="1611" y="891"/>
                    <a:pt x="1612" y="889"/>
                  </a:cubicBezTo>
                  <a:cubicBezTo>
                    <a:pt x="1613" y="888"/>
                    <a:pt x="1614" y="888"/>
                    <a:pt x="1615" y="888"/>
                  </a:cubicBezTo>
                  <a:cubicBezTo>
                    <a:pt x="1616" y="888"/>
                    <a:pt x="1617" y="886"/>
                    <a:pt x="1619" y="885"/>
                  </a:cubicBezTo>
                  <a:cubicBezTo>
                    <a:pt x="1621" y="883"/>
                    <a:pt x="1623" y="881"/>
                    <a:pt x="1625" y="881"/>
                  </a:cubicBezTo>
                  <a:cubicBezTo>
                    <a:pt x="1625" y="881"/>
                    <a:pt x="1626" y="882"/>
                    <a:pt x="1627" y="882"/>
                  </a:cubicBezTo>
                  <a:cubicBezTo>
                    <a:pt x="1629" y="884"/>
                    <a:pt x="1632" y="885"/>
                    <a:pt x="1635" y="885"/>
                  </a:cubicBezTo>
                  <a:cubicBezTo>
                    <a:pt x="1636" y="885"/>
                    <a:pt x="1639" y="884"/>
                    <a:pt x="1639" y="883"/>
                  </a:cubicBezTo>
                  <a:cubicBezTo>
                    <a:pt x="1639" y="880"/>
                    <a:pt x="1641" y="879"/>
                    <a:pt x="1642" y="878"/>
                  </a:cubicBezTo>
                  <a:cubicBezTo>
                    <a:pt x="1644" y="877"/>
                    <a:pt x="1646" y="876"/>
                    <a:pt x="1646" y="873"/>
                  </a:cubicBezTo>
                  <a:cubicBezTo>
                    <a:pt x="1646" y="870"/>
                    <a:pt x="1648" y="868"/>
                    <a:pt x="1651" y="867"/>
                  </a:cubicBezTo>
                  <a:cubicBezTo>
                    <a:pt x="1652" y="865"/>
                    <a:pt x="1654" y="864"/>
                    <a:pt x="1655" y="862"/>
                  </a:cubicBezTo>
                  <a:cubicBezTo>
                    <a:pt x="1655" y="861"/>
                    <a:pt x="1655" y="860"/>
                    <a:pt x="1655" y="859"/>
                  </a:cubicBezTo>
                  <a:cubicBezTo>
                    <a:pt x="1657" y="854"/>
                    <a:pt x="1659" y="845"/>
                    <a:pt x="1663" y="843"/>
                  </a:cubicBezTo>
                  <a:cubicBezTo>
                    <a:pt x="1664" y="842"/>
                    <a:pt x="1664" y="841"/>
                    <a:pt x="1663" y="839"/>
                  </a:cubicBezTo>
                  <a:cubicBezTo>
                    <a:pt x="1663" y="837"/>
                    <a:pt x="1662" y="835"/>
                    <a:pt x="1662" y="831"/>
                  </a:cubicBezTo>
                  <a:cubicBezTo>
                    <a:pt x="1662" y="830"/>
                    <a:pt x="1662" y="829"/>
                    <a:pt x="1661" y="828"/>
                  </a:cubicBezTo>
                  <a:cubicBezTo>
                    <a:pt x="1660" y="827"/>
                    <a:pt x="1659" y="827"/>
                    <a:pt x="1658" y="827"/>
                  </a:cubicBezTo>
                  <a:cubicBezTo>
                    <a:pt x="1655" y="827"/>
                    <a:pt x="1652" y="828"/>
                    <a:pt x="1651" y="829"/>
                  </a:cubicBezTo>
                  <a:cubicBezTo>
                    <a:pt x="1650" y="830"/>
                    <a:pt x="1648" y="830"/>
                    <a:pt x="1646" y="830"/>
                  </a:cubicBezTo>
                  <a:cubicBezTo>
                    <a:pt x="1642" y="830"/>
                    <a:pt x="1638" y="831"/>
                    <a:pt x="1637" y="834"/>
                  </a:cubicBezTo>
                  <a:cubicBezTo>
                    <a:pt x="1635" y="837"/>
                    <a:pt x="1633" y="837"/>
                    <a:pt x="1631" y="837"/>
                  </a:cubicBezTo>
                  <a:cubicBezTo>
                    <a:pt x="1631" y="837"/>
                    <a:pt x="1630" y="837"/>
                    <a:pt x="1629" y="837"/>
                  </a:cubicBezTo>
                  <a:cubicBezTo>
                    <a:pt x="1627" y="837"/>
                    <a:pt x="1625" y="837"/>
                    <a:pt x="1624" y="837"/>
                  </a:cubicBezTo>
                  <a:cubicBezTo>
                    <a:pt x="1623" y="837"/>
                    <a:pt x="1622" y="837"/>
                    <a:pt x="1621" y="837"/>
                  </a:cubicBezTo>
                  <a:cubicBezTo>
                    <a:pt x="1617" y="837"/>
                    <a:pt x="1612" y="836"/>
                    <a:pt x="1610" y="834"/>
                  </a:cubicBezTo>
                  <a:cubicBezTo>
                    <a:pt x="1609" y="833"/>
                    <a:pt x="1609" y="832"/>
                    <a:pt x="1609" y="831"/>
                  </a:cubicBezTo>
                  <a:cubicBezTo>
                    <a:pt x="1609" y="829"/>
                    <a:pt x="1608" y="827"/>
                    <a:pt x="1608" y="825"/>
                  </a:cubicBezTo>
                  <a:cubicBezTo>
                    <a:pt x="1607" y="823"/>
                    <a:pt x="1606" y="821"/>
                    <a:pt x="1606" y="818"/>
                  </a:cubicBezTo>
                  <a:cubicBezTo>
                    <a:pt x="1606" y="816"/>
                    <a:pt x="1605" y="816"/>
                    <a:pt x="1602" y="815"/>
                  </a:cubicBezTo>
                  <a:cubicBezTo>
                    <a:pt x="1600" y="815"/>
                    <a:pt x="1598" y="814"/>
                    <a:pt x="1596" y="812"/>
                  </a:cubicBezTo>
                  <a:cubicBezTo>
                    <a:pt x="1592" y="808"/>
                    <a:pt x="1585" y="806"/>
                    <a:pt x="1582" y="806"/>
                  </a:cubicBezTo>
                  <a:cubicBezTo>
                    <a:pt x="1582" y="806"/>
                    <a:pt x="1582" y="806"/>
                    <a:pt x="1582" y="806"/>
                  </a:cubicBezTo>
                  <a:cubicBezTo>
                    <a:pt x="1581" y="806"/>
                    <a:pt x="1579" y="805"/>
                    <a:pt x="1577" y="804"/>
                  </a:cubicBezTo>
                  <a:cubicBezTo>
                    <a:pt x="1575" y="803"/>
                    <a:pt x="1571" y="801"/>
                    <a:pt x="1567" y="800"/>
                  </a:cubicBezTo>
                  <a:cubicBezTo>
                    <a:pt x="1564" y="800"/>
                    <a:pt x="1563" y="800"/>
                    <a:pt x="1561" y="798"/>
                  </a:cubicBezTo>
                  <a:cubicBezTo>
                    <a:pt x="1560" y="796"/>
                    <a:pt x="1561" y="794"/>
                    <a:pt x="1561" y="792"/>
                  </a:cubicBezTo>
                  <a:cubicBezTo>
                    <a:pt x="1562" y="790"/>
                    <a:pt x="1560" y="786"/>
                    <a:pt x="1558" y="783"/>
                  </a:cubicBezTo>
                  <a:cubicBezTo>
                    <a:pt x="1556" y="780"/>
                    <a:pt x="1554" y="777"/>
                    <a:pt x="1554" y="774"/>
                  </a:cubicBezTo>
                  <a:cubicBezTo>
                    <a:pt x="1553" y="772"/>
                    <a:pt x="1552" y="771"/>
                    <a:pt x="1551" y="770"/>
                  </a:cubicBezTo>
                  <a:cubicBezTo>
                    <a:pt x="1549" y="767"/>
                    <a:pt x="1547" y="764"/>
                    <a:pt x="1545" y="757"/>
                  </a:cubicBezTo>
                  <a:cubicBezTo>
                    <a:pt x="1544" y="751"/>
                    <a:pt x="1542" y="749"/>
                    <a:pt x="1540" y="748"/>
                  </a:cubicBezTo>
                  <a:cubicBezTo>
                    <a:pt x="1539" y="747"/>
                    <a:pt x="1538" y="746"/>
                    <a:pt x="1538" y="744"/>
                  </a:cubicBezTo>
                  <a:cubicBezTo>
                    <a:pt x="1539" y="740"/>
                    <a:pt x="1536" y="738"/>
                    <a:pt x="1533" y="736"/>
                  </a:cubicBezTo>
                  <a:cubicBezTo>
                    <a:pt x="1531" y="735"/>
                    <a:pt x="1530" y="734"/>
                    <a:pt x="1529" y="733"/>
                  </a:cubicBezTo>
                  <a:cubicBezTo>
                    <a:pt x="1528" y="732"/>
                    <a:pt x="1525" y="731"/>
                    <a:pt x="1522" y="731"/>
                  </a:cubicBezTo>
                  <a:cubicBezTo>
                    <a:pt x="1519" y="730"/>
                    <a:pt x="1515" y="730"/>
                    <a:pt x="1512" y="728"/>
                  </a:cubicBezTo>
                  <a:cubicBezTo>
                    <a:pt x="1508" y="726"/>
                    <a:pt x="1505" y="726"/>
                    <a:pt x="1502" y="726"/>
                  </a:cubicBezTo>
                  <a:cubicBezTo>
                    <a:pt x="1500" y="726"/>
                    <a:pt x="1498" y="726"/>
                    <a:pt x="1495" y="726"/>
                  </a:cubicBezTo>
                  <a:cubicBezTo>
                    <a:pt x="1494" y="725"/>
                    <a:pt x="1493" y="725"/>
                    <a:pt x="1491" y="725"/>
                  </a:cubicBezTo>
                  <a:cubicBezTo>
                    <a:pt x="1487" y="725"/>
                    <a:pt x="1481" y="726"/>
                    <a:pt x="1477" y="727"/>
                  </a:cubicBezTo>
                  <a:cubicBezTo>
                    <a:pt x="1476" y="727"/>
                    <a:pt x="1474" y="727"/>
                    <a:pt x="1474" y="727"/>
                  </a:cubicBezTo>
                  <a:cubicBezTo>
                    <a:pt x="1473" y="727"/>
                    <a:pt x="1473" y="727"/>
                    <a:pt x="1473" y="727"/>
                  </a:cubicBezTo>
                  <a:cubicBezTo>
                    <a:pt x="1472" y="727"/>
                    <a:pt x="1471" y="727"/>
                    <a:pt x="1469" y="727"/>
                  </a:cubicBezTo>
                  <a:cubicBezTo>
                    <a:pt x="1463" y="727"/>
                    <a:pt x="1459" y="729"/>
                    <a:pt x="1456" y="733"/>
                  </a:cubicBezTo>
                  <a:cubicBezTo>
                    <a:pt x="1453" y="737"/>
                    <a:pt x="1453" y="739"/>
                    <a:pt x="1453" y="739"/>
                  </a:cubicBezTo>
                  <a:cubicBezTo>
                    <a:pt x="1453" y="740"/>
                    <a:pt x="1455" y="740"/>
                    <a:pt x="1456" y="740"/>
                  </a:cubicBezTo>
                  <a:cubicBezTo>
                    <a:pt x="1457" y="740"/>
                    <a:pt x="1457" y="740"/>
                    <a:pt x="1457" y="740"/>
                  </a:cubicBezTo>
                  <a:cubicBezTo>
                    <a:pt x="1459" y="740"/>
                    <a:pt x="1461" y="746"/>
                    <a:pt x="1462" y="751"/>
                  </a:cubicBezTo>
                  <a:cubicBezTo>
                    <a:pt x="1462" y="754"/>
                    <a:pt x="1457" y="758"/>
                    <a:pt x="1455" y="759"/>
                  </a:cubicBezTo>
                  <a:cubicBezTo>
                    <a:pt x="1453" y="759"/>
                    <a:pt x="1447" y="769"/>
                    <a:pt x="1446" y="772"/>
                  </a:cubicBezTo>
                  <a:cubicBezTo>
                    <a:pt x="1446" y="774"/>
                    <a:pt x="1444" y="776"/>
                    <a:pt x="1443" y="778"/>
                  </a:cubicBezTo>
                  <a:cubicBezTo>
                    <a:pt x="1441" y="781"/>
                    <a:pt x="1439" y="785"/>
                    <a:pt x="1439" y="787"/>
                  </a:cubicBezTo>
                  <a:cubicBezTo>
                    <a:pt x="1439" y="788"/>
                    <a:pt x="1439" y="789"/>
                    <a:pt x="1439" y="790"/>
                  </a:cubicBezTo>
                  <a:cubicBezTo>
                    <a:pt x="1437" y="792"/>
                    <a:pt x="1434" y="794"/>
                    <a:pt x="1432" y="794"/>
                  </a:cubicBezTo>
                  <a:cubicBezTo>
                    <a:pt x="1431" y="794"/>
                    <a:pt x="1427" y="796"/>
                    <a:pt x="1424" y="798"/>
                  </a:cubicBezTo>
                  <a:cubicBezTo>
                    <a:pt x="1422" y="800"/>
                    <a:pt x="1420" y="801"/>
                    <a:pt x="1419" y="801"/>
                  </a:cubicBezTo>
                  <a:cubicBezTo>
                    <a:pt x="1418" y="801"/>
                    <a:pt x="1417" y="802"/>
                    <a:pt x="1416" y="802"/>
                  </a:cubicBezTo>
                  <a:cubicBezTo>
                    <a:pt x="1413" y="802"/>
                    <a:pt x="1405" y="800"/>
                    <a:pt x="1404" y="797"/>
                  </a:cubicBezTo>
                  <a:cubicBezTo>
                    <a:pt x="1403" y="795"/>
                    <a:pt x="1398" y="794"/>
                    <a:pt x="1394" y="794"/>
                  </a:cubicBezTo>
                  <a:cubicBezTo>
                    <a:pt x="1392" y="794"/>
                    <a:pt x="1391" y="794"/>
                    <a:pt x="1391" y="794"/>
                  </a:cubicBezTo>
                  <a:cubicBezTo>
                    <a:pt x="1387" y="795"/>
                    <a:pt x="1379" y="795"/>
                    <a:pt x="1378" y="791"/>
                  </a:cubicBezTo>
                  <a:cubicBezTo>
                    <a:pt x="1377" y="790"/>
                    <a:pt x="1373" y="789"/>
                    <a:pt x="1369" y="789"/>
                  </a:cubicBezTo>
                  <a:cubicBezTo>
                    <a:pt x="1365" y="789"/>
                    <a:pt x="1362" y="790"/>
                    <a:pt x="1360" y="790"/>
                  </a:cubicBezTo>
                  <a:cubicBezTo>
                    <a:pt x="1359" y="791"/>
                    <a:pt x="1357" y="792"/>
                    <a:pt x="1355" y="793"/>
                  </a:cubicBezTo>
                  <a:cubicBezTo>
                    <a:pt x="1352" y="795"/>
                    <a:pt x="1349" y="796"/>
                    <a:pt x="1349" y="798"/>
                  </a:cubicBezTo>
                  <a:cubicBezTo>
                    <a:pt x="1349" y="800"/>
                    <a:pt x="1346" y="800"/>
                    <a:pt x="1343" y="801"/>
                  </a:cubicBezTo>
                  <a:cubicBezTo>
                    <a:pt x="1340" y="801"/>
                    <a:pt x="1338" y="802"/>
                    <a:pt x="1337" y="803"/>
                  </a:cubicBezTo>
                  <a:cubicBezTo>
                    <a:pt x="1335" y="804"/>
                    <a:pt x="1331" y="804"/>
                    <a:pt x="1326" y="805"/>
                  </a:cubicBezTo>
                  <a:cubicBezTo>
                    <a:pt x="1323" y="806"/>
                    <a:pt x="1319" y="806"/>
                    <a:pt x="1318" y="807"/>
                  </a:cubicBezTo>
                  <a:cubicBezTo>
                    <a:pt x="1318" y="809"/>
                    <a:pt x="1310" y="809"/>
                    <a:pt x="1308" y="809"/>
                  </a:cubicBezTo>
                  <a:cubicBezTo>
                    <a:pt x="1306" y="809"/>
                    <a:pt x="1300" y="809"/>
                    <a:pt x="1298" y="807"/>
                  </a:cubicBezTo>
                  <a:cubicBezTo>
                    <a:pt x="1297" y="806"/>
                    <a:pt x="1294" y="806"/>
                    <a:pt x="1290" y="806"/>
                  </a:cubicBezTo>
                  <a:cubicBezTo>
                    <a:pt x="1286" y="806"/>
                    <a:pt x="1281" y="806"/>
                    <a:pt x="1280" y="804"/>
                  </a:cubicBezTo>
                  <a:cubicBezTo>
                    <a:pt x="1279" y="802"/>
                    <a:pt x="1277" y="801"/>
                    <a:pt x="1276" y="800"/>
                  </a:cubicBezTo>
                  <a:cubicBezTo>
                    <a:pt x="1274" y="798"/>
                    <a:pt x="1272" y="797"/>
                    <a:pt x="1272" y="795"/>
                  </a:cubicBezTo>
                  <a:cubicBezTo>
                    <a:pt x="1272" y="794"/>
                    <a:pt x="1269" y="793"/>
                    <a:pt x="1266" y="793"/>
                  </a:cubicBezTo>
                  <a:cubicBezTo>
                    <a:pt x="1263" y="792"/>
                    <a:pt x="1260" y="791"/>
                    <a:pt x="1260" y="790"/>
                  </a:cubicBezTo>
                  <a:cubicBezTo>
                    <a:pt x="1259" y="788"/>
                    <a:pt x="1254" y="787"/>
                    <a:pt x="1251" y="787"/>
                  </a:cubicBezTo>
                  <a:cubicBezTo>
                    <a:pt x="1250" y="787"/>
                    <a:pt x="1249" y="787"/>
                    <a:pt x="1249" y="787"/>
                  </a:cubicBezTo>
                  <a:cubicBezTo>
                    <a:pt x="1249" y="787"/>
                    <a:pt x="1249" y="787"/>
                    <a:pt x="1248" y="787"/>
                  </a:cubicBezTo>
                  <a:cubicBezTo>
                    <a:pt x="1247" y="787"/>
                    <a:pt x="1243" y="786"/>
                    <a:pt x="1240" y="785"/>
                  </a:cubicBezTo>
                  <a:cubicBezTo>
                    <a:pt x="1238" y="785"/>
                    <a:pt x="1236" y="784"/>
                    <a:pt x="1236" y="784"/>
                  </a:cubicBezTo>
                  <a:cubicBezTo>
                    <a:pt x="1234" y="784"/>
                    <a:pt x="1231" y="785"/>
                    <a:pt x="1228" y="785"/>
                  </a:cubicBezTo>
                  <a:cubicBezTo>
                    <a:pt x="1226" y="785"/>
                    <a:pt x="1223" y="786"/>
                    <a:pt x="1222" y="786"/>
                  </a:cubicBezTo>
                  <a:cubicBezTo>
                    <a:pt x="1221" y="786"/>
                    <a:pt x="1219" y="787"/>
                    <a:pt x="1217" y="788"/>
                  </a:cubicBezTo>
                  <a:cubicBezTo>
                    <a:pt x="1216" y="790"/>
                    <a:pt x="1214" y="791"/>
                    <a:pt x="1212" y="791"/>
                  </a:cubicBezTo>
                  <a:cubicBezTo>
                    <a:pt x="1211" y="791"/>
                    <a:pt x="1208" y="790"/>
                    <a:pt x="1205" y="789"/>
                  </a:cubicBezTo>
                  <a:cubicBezTo>
                    <a:pt x="1203" y="788"/>
                    <a:pt x="1201" y="787"/>
                    <a:pt x="1200" y="787"/>
                  </a:cubicBezTo>
                  <a:cubicBezTo>
                    <a:pt x="1199" y="787"/>
                    <a:pt x="1199" y="787"/>
                    <a:pt x="1199" y="787"/>
                  </a:cubicBezTo>
                  <a:cubicBezTo>
                    <a:pt x="1199" y="787"/>
                    <a:pt x="1199" y="787"/>
                    <a:pt x="1198" y="787"/>
                  </a:cubicBezTo>
                  <a:cubicBezTo>
                    <a:pt x="1196" y="787"/>
                    <a:pt x="1191" y="781"/>
                    <a:pt x="1190" y="780"/>
                  </a:cubicBezTo>
                  <a:cubicBezTo>
                    <a:pt x="1188" y="779"/>
                    <a:pt x="1188" y="776"/>
                    <a:pt x="1189" y="773"/>
                  </a:cubicBezTo>
                  <a:cubicBezTo>
                    <a:pt x="1189" y="771"/>
                    <a:pt x="1189" y="769"/>
                    <a:pt x="1188" y="768"/>
                  </a:cubicBezTo>
                  <a:cubicBezTo>
                    <a:pt x="1187" y="766"/>
                    <a:pt x="1183" y="766"/>
                    <a:pt x="1180" y="765"/>
                  </a:cubicBezTo>
                  <a:cubicBezTo>
                    <a:pt x="1178" y="765"/>
                    <a:pt x="1175" y="764"/>
                    <a:pt x="1174" y="763"/>
                  </a:cubicBezTo>
                  <a:cubicBezTo>
                    <a:pt x="1170" y="761"/>
                    <a:pt x="1166" y="759"/>
                    <a:pt x="1163" y="759"/>
                  </a:cubicBezTo>
                  <a:cubicBezTo>
                    <a:pt x="1160" y="759"/>
                    <a:pt x="1155" y="758"/>
                    <a:pt x="1154" y="757"/>
                  </a:cubicBezTo>
                  <a:cubicBezTo>
                    <a:pt x="1153" y="756"/>
                    <a:pt x="1147" y="754"/>
                    <a:pt x="1143" y="753"/>
                  </a:cubicBezTo>
                  <a:cubicBezTo>
                    <a:pt x="1142" y="752"/>
                    <a:pt x="1141" y="754"/>
                    <a:pt x="1140" y="755"/>
                  </a:cubicBezTo>
                  <a:cubicBezTo>
                    <a:pt x="1140" y="756"/>
                    <a:pt x="1139" y="757"/>
                    <a:pt x="1139" y="757"/>
                  </a:cubicBezTo>
                  <a:cubicBezTo>
                    <a:pt x="1138" y="758"/>
                    <a:pt x="1137" y="759"/>
                    <a:pt x="1136" y="759"/>
                  </a:cubicBezTo>
                  <a:cubicBezTo>
                    <a:pt x="1134" y="760"/>
                    <a:pt x="1132" y="761"/>
                    <a:pt x="1131" y="762"/>
                  </a:cubicBezTo>
                  <a:cubicBezTo>
                    <a:pt x="1131" y="764"/>
                    <a:pt x="1129" y="765"/>
                    <a:pt x="1128" y="766"/>
                  </a:cubicBezTo>
                  <a:cubicBezTo>
                    <a:pt x="1126" y="767"/>
                    <a:pt x="1125" y="768"/>
                    <a:pt x="1125" y="769"/>
                  </a:cubicBezTo>
                  <a:cubicBezTo>
                    <a:pt x="1126" y="774"/>
                    <a:pt x="1128" y="780"/>
                    <a:pt x="1130" y="781"/>
                  </a:cubicBezTo>
                  <a:cubicBezTo>
                    <a:pt x="1133" y="783"/>
                    <a:pt x="1131" y="789"/>
                    <a:pt x="1130" y="790"/>
                  </a:cubicBezTo>
                  <a:cubicBezTo>
                    <a:pt x="1129" y="791"/>
                    <a:pt x="1127" y="792"/>
                    <a:pt x="1125" y="793"/>
                  </a:cubicBezTo>
                  <a:cubicBezTo>
                    <a:pt x="1122" y="794"/>
                    <a:pt x="1119" y="795"/>
                    <a:pt x="1118" y="796"/>
                  </a:cubicBezTo>
                  <a:cubicBezTo>
                    <a:pt x="1117" y="797"/>
                    <a:pt x="1116" y="798"/>
                    <a:pt x="1115" y="798"/>
                  </a:cubicBezTo>
                  <a:cubicBezTo>
                    <a:pt x="1114" y="798"/>
                    <a:pt x="1111" y="796"/>
                    <a:pt x="1109" y="795"/>
                  </a:cubicBezTo>
                  <a:cubicBezTo>
                    <a:pt x="1108" y="794"/>
                    <a:pt x="1107" y="794"/>
                    <a:pt x="1107" y="794"/>
                  </a:cubicBezTo>
                  <a:cubicBezTo>
                    <a:pt x="1105" y="793"/>
                    <a:pt x="1104" y="792"/>
                    <a:pt x="1102" y="792"/>
                  </a:cubicBezTo>
                  <a:cubicBezTo>
                    <a:pt x="1100" y="792"/>
                    <a:pt x="1097" y="793"/>
                    <a:pt x="1096" y="794"/>
                  </a:cubicBezTo>
                  <a:cubicBezTo>
                    <a:pt x="1095" y="795"/>
                    <a:pt x="1095" y="795"/>
                    <a:pt x="1094" y="795"/>
                  </a:cubicBezTo>
                  <a:cubicBezTo>
                    <a:pt x="1092" y="795"/>
                    <a:pt x="1089" y="793"/>
                    <a:pt x="1087" y="792"/>
                  </a:cubicBezTo>
                  <a:cubicBezTo>
                    <a:pt x="1085" y="791"/>
                    <a:pt x="1084" y="790"/>
                    <a:pt x="1083" y="790"/>
                  </a:cubicBezTo>
                  <a:cubicBezTo>
                    <a:pt x="1082" y="789"/>
                    <a:pt x="1081" y="787"/>
                    <a:pt x="1081" y="785"/>
                  </a:cubicBezTo>
                  <a:cubicBezTo>
                    <a:pt x="1080" y="784"/>
                    <a:pt x="1079" y="782"/>
                    <a:pt x="1079" y="782"/>
                  </a:cubicBezTo>
                  <a:cubicBezTo>
                    <a:pt x="1078" y="782"/>
                    <a:pt x="1078" y="782"/>
                    <a:pt x="1078" y="782"/>
                  </a:cubicBezTo>
                  <a:cubicBezTo>
                    <a:pt x="1075" y="782"/>
                    <a:pt x="1061" y="779"/>
                    <a:pt x="1058" y="778"/>
                  </a:cubicBezTo>
                  <a:cubicBezTo>
                    <a:pt x="1057" y="778"/>
                    <a:pt x="1056" y="778"/>
                    <a:pt x="1055" y="778"/>
                  </a:cubicBezTo>
                  <a:cubicBezTo>
                    <a:pt x="1052" y="778"/>
                    <a:pt x="1049" y="778"/>
                    <a:pt x="1049" y="780"/>
                  </a:cubicBezTo>
                  <a:cubicBezTo>
                    <a:pt x="1048" y="781"/>
                    <a:pt x="1046" y="781"/>
                    <a:pt x="1044" y="782"/>
                  </a:cubicBezTo>
                  <a:cubicBezTo>
                    <a:pt x="1042" y="782"/>
                    <a:pt x="1039" y="783"/>
                    <a:pt x="1039" y="784"/>
                  </a:cubicBezTo>
                  <a:cubicBezTo>
                    <a:pt x="1038" y="785"/>
                    <a:pt x="1036" y="786"/>
                    <a:pt x="1034" y="787"/>
                  </a:cubicBezTo>
                  <a:cubicBezTo>
                    <a:pt x="1032" y="788"/>
                    <a:pt x="1030" y="789"/>
                    <a:pt x="1029" y="790"/>
                  </a:cubicBezTo>
                  <a:cubicBezTo>
                    <a:pt x="1028" y="792"/>
                    <a:pt x="1026" y="792"/>
                    <a:pt x="1024" y="793"/>
                  </a:cubicBezTo>
                  <a:cubicBezTo>
                    <a:pt x="1022" y="794"/>
                    <a:pt x="1019" y="795"/>
                    <a:pt x="1018" y="797"/>
                  </a:cubicBezTo>
                  <a:cubicBezTo>
                    <a:pt x="1016" y="801"/>
                    <a:pt x="1008" y="802"/>
                    <a:pt x="1004" y="803"/>
                  </a:cubicBezTo>
                  <a:cubicBezTo>
                    <a:pt x="996" y="804"/>
                    <a:pt x="995" y="806"/>
                    <a:pt x="995" y="807"/>
                  </a:cubicBezTo>
                  <a:cubicBezTo>
                    <a:pt x="995" y="807"/>
                    <a:pt x="994" y="808"/>
                    <a:pt x="993" y="808"/>
                  </a:cubicBezTo>
                  <a:cubicBezTo>
                    <a:pt x="992" y="808"/>
                    <a:pt x="990" y="808"/>
                    <a:pt x="989" y="807"/>
                  </a:cubicBezTo>
                  <a:cubicBezTo>
                    <a:pt x="988" y="807"/>
                    <a:pt x="987" y="807"/>
                    <a:pt x="986" y="807"/>
                  </a:cubicBezTo>
                  <a:cubicBezTo>
                    <a:pt x="983" y="807"/>
                    <a:pt x="979" y="802"/>
                    <a:pt x="979" y="799"/>
                  </a:cubicBezTo>
                  <a:cubicBezTo>
                    <a:pt x="979" y="797"/>
                    <a:pt x="978" y="797"/>
                    <a:pt x="978" y="797"/>
                  </a:cubicBezTo>
                  <a:cubicBezTo>
                    <a:pt x="977" y="797"/>
                    <a:pt x="975" y="798"/>
                    <a:pt x="974" y="799"/>
                  </a:cubicBezTo>
                  <a:cubicBezTo>
                    <a:pt x="972" y="800"/>
                    <a:pt x="965" y="801"/>
                    <a:pt x="963" y="801"/>
                  </a:cubicBezTo>
                  <a:cubicBezTo>
                    <a:pt x="960" y="801"/>
                    <a:pt x="955" y="797"/>
                    <a:pt x="955" y="794"/>
                  </a:cubicBezTo>
                  <a:cubicBezTo>
                    <a:pt x="955" y="791"/>
                    <a:pt x="954" y="789"/>
                    <a:pt x="952" y="789"/>
                  </a:cubicBezTo>
                  <a:cubicBezTo>
                    <a:pt x="950" y="789"/>
                    <a:pt x="945" y="788"/>
                    <a:pt x="943" y="782"/>
                  </a:cubicBezTo>
                  <a:cubicBezTo>
                    <a:pt x="941" y="777"/>
                    <a:pt x="938" y="776"/>
                    <a:pt x="936" y="775"/>
                  </a:cubicBezTo>
                  <a:cubicBezTo>
                    <a:pt x="935" y="775"/>
                    <a:pt x="934" y="775"/>
                    <a:pt x="933" y="774"/>
                  </a:cubicBezTo>
                  <a:cubicBezTo>
                    <a:pt x="933" y="774"/>
                    <a:pt x="933" y="774"/>
                    <a:pt x="932" y="774"/>
                  </a:cubicBezTo>
                  <a:cubicBezTo>
                    <a:pt x="930" y="774"/>
                    <a:pt x="926" y="776"/>
                    <a:pt x="923" y="777"/>
                  </a:cubicBezTo>
                  <a:cubicBezTo>
                    <a:pt x="921" y="778"/>
                    <a:pt x="920" y="778"/>
                    <a:pt x="919" y="778"/>
                  </a:cubicBezTo>
                  <a:cubicBezTo>
                    <a:pt x="919" y="779"/>
                    <a:pt x="918" y="779"/>
                    <a:pt x="917" y="779"/>
                  </a:cubicBezTo>
                  <a:cubicBezTo>
                    <a:pt x="914" y="779"/>
                    <a:pt x="912" y="778"/>
                    <a:pt x="909" y="777"/>
                  </a:cubicBezTo>
                  <a:cubicBezTo>
                    <a:pt x="907" y="777"/>
                    <a:pt x="906" y="776"/>
                    <a:pt x="905" y="776"/>
                  </a:cubicBezTo>
                  <a:cubicBezTo>
                    <a:pt x="903" y="776"/>
                    <a:pt x="901" y="774"/>
                    <a:pt x="899" y="772"/>
                  </a:cubicBezTo>
                  <a:cubicBezTo>
                    <a:pt x="897" y="770"/>
                    <a:pt x="896" y="768"/>
                    <a:pt x="894" y="768"/>
                  </a:cubicBezTo>
                  <a:cubicBezTo>
                    <a:pt x="892" y="769"/>
                    <a:pt x="891" y="771"/>
                    <a:pt x="889" y="773"/>
                  </a:cubicBezTo>
                  <a:cubicBezTo>
                    <a:pt x="888" y="775"/>
                    <a:pt x="887" y="777"/>
                    <a:pt x="885" y="777"/>
                  </a:cubicBezTo>
                  <a:cubicBezTo>
                    <a:pt x="883" y="777"/>
                    <a:pt x="881" y="773"/>
                    <a:pt x="877" y="765"/>
                  </a:cubicBezTo>
                  <a:cubicBezTo>
                    <a:pt x="875" y="760"/>
                    <a:pt x="872" y="755"/>
                    <a:pt x="870" y="751"/>
                  </a:cubicBezTo>
                  <a:cubicBezTo>
                    <a:pt x="869" y="750"/>
                    <a:pt x="868" y="749"/>
                    <a:pt x="867" y="747"/>
                  </a:cubicBezTo>
                  <a:cubicBezTo>
                    <a:pt x="861" y="738"/>
                    <a:pt x="852" y="723"/>
                    <a:pt x="843" y="720"/>
                  </a:cubicBezTo>
                  <a:cubicBezTo>
                    <a:pt x="839" y="718"/>
                    <a:pt x="837" y="716"/>
                    <a:pt x="836" y="714"/>
                  </a:cubicBezTo>
                  <a:cubicBezTo>
                    <a:pt x="836" y="712"/>
                    <a:pt x="837" y="710"/>
                    <a:pt x="839" y="708"/>
                  </a:cubicBezTo>
                  <a:cubicBezTo>
                    <a:pt x="839" y="707"/>
                    <a:pt x="839" y="707"/>
                    <a:pt x="839" y="707"/>
                  </a:cubicBezTo>
                  <a:cubicBezTo>
                    <a:pt x="839" y="707"/>
                    <a:pt x="838" y="706"/>
                    <a:pt x="836" y="706"/>
                  </a:cubicBezTo>
                  <a:cubicBezTo>
                    <a:pt x="833" y="706"/>
                    <a:pt x="831" y="707"/>
                    <a:pt x="830" y="708"/>
                  </a:cubicBezTo>
                  <a:cubicBezTo>
                    <a:pt x="829" y="708"/>
                    <a:pt x="827" y="709"/>
                    <a:pt x="826" y="710"/>
                  </a:cubicBezTo>
                  <a:cubicBezTo>
                    <a:pt x="823" y="712"/>
                    <a:pt x="820" y="714"/>
                    <a:pt x="816" y="715"/>
                  </a:cubicBezTo>
                  <a:cubicBezTo>
                    <a:pt x="815" y="716"/>
                    <a:pt x="813" y="717"/>
                    <a:pt x="811" y="718"/>
                  </a:cubicBezTo>
                  <a:cubicBezTo>
                    <a:pt x="808" y="720"/>
                    <a:pt x="805" y="722"/>
                    <a:pt x="802" y="722"/>
                  </a:cubicBezTo>
                  <a:cubicBezTo>
                    <a:pt x="801" y="722"/>
                    <a:pt x="801" y="722"/>
                    <a:pt x="800" y="722"/>
                  </a:cubicBezTo>
                  <a:cubicBezTo>
                    <a:pt x="800" y="721"/>
                    <a:pt x="800" y="721"/>
                    <a:pt x="799" y="721"/>
                  </a:cubicBezTo>
                  <a:cubicBezTo>
                    <a:pt x="798" y="721"/>
                    <a:pt x="796" y="722"/>
                    <a:pt x="795" y="723"/>
                  </a:cubicBezTo>
                  <a:cubicBezTo>
                    <a:pt x="794" y="724"/>
                    <a:pt x="793" y="725"/>
                    <a:pt x="792" y="725"/>
                  </a:cubicBezTo>
                  <a:cubicBezTo>
                    <a:pt x="791" y="725"/>
                    <a:pt x="790" y="725"/>
                    <a:pt x="789" y="724"/>
                  </a:cubicBezTo>
                  <a:cubicBezTo>
                    <a:pt x="788" y="723"/>
                    <a:pt x="788" y="723"/>
                    <a:pt x="788" y="722"/>
                  </a:cubicBezTo>
                  <a:cubicBezTo>
                    <a:pt x="788" y="720"/>
                    <a:pt x="790" y="719"/>
                    <a:pt x="791" y="718"/>
                  </a:cubicBezTo>
                  <a:cubicBezTo>
                    <a:pt x="793" y="717"/>
                    <a:pt x="794" y="715"/>
                    <a:pt x="794" y="714"/>
                  </a:cubicBezTo>
                  <a:cubicBezTo>
                    <a:pt x="794" y="714"/>
                    <a:pt x="794" y="714"/>
                    <a:pt x="793" y="714"/>
                  </a:cubicBezTo>
                  <a:cubicBezTo>
                    <a:pt x="793" y="714"/>
                    <a:pt x="792" y="714"/>
                    <a:pt x="791" y="714"/>
                  </a:cubicBezTo>
                  <a:cubicBezTo>
                    <a:pt x="790" y="714"/>
                    <a:pt x="789" y="714"/>
                    <a:pt x="788" y="714"/>
                  </a:cubicBezTo>
                  <a:cubicBezTo>
                    <a:pt x="787" y="714"/>
                    <a:pt x="787" y="714"/>
                    <a:pt x="787" y="714"/>
                  </a:cubicBezTo>
                  <a:cubicBezTo>
                    <a:pt x="786" y="713"/>
                    <a:pt x="783" y="711"/>
                    <a:pt x="782" y="711"/>
                  </a:cubicBezTo>
                  <a:cubicBezTo>
                    <a:pt x="781" y="711"/>
                    <a:pt x="781" y="712"/>
                    <a:pt x="781" y="712"/>
                  </a:cubicBezTo>
                  <a:cubicBezTo>
                    <a:pt x="781" y="714"/>
                    <a:pt x="780" y="715"/>
                    <a:pt x="779" y="715"/>
                  </a:cubicBezTo>
                  <a:cubicBezTo>
                    <a:pt x="777" y="715"/>
                    <a:pt x="775" y="713"/>
                    <a:pt x="775" y="711"/>
                  </a:cubicBezTo>
                  <a:cubicBezTo>
                    <a:pt x="775" y="710"/>
                    <a:pt x="774" y="707"/>
                    <a:pt x="772" y="707"/>
                  </a:cubicBezTo>
                  <a:cubicBezTo>
                    <a:pt x="771" y="708"/>
                    <a:pt x="771" y="708"/>
                    <a:pt x="771" y="708"/>
                  </a:cubicBezTo>
                  <a:cubicBezTo>
                    <a:pt x="769" y="710"/>
                    <a:pt x="764" y="712"/>
                    <a:pt x="761" y="712"/>
                  </a:cubicBezTo>
                  <a:cubicBezTo>
                    <a:pt x="760" y="712"/>
                    <a:pt x="758" y="712"/>
                    <a:pt x="757" y="711"/>
                  </a:cubicBezTo>
                  <a:cubicBezTo>
                    <a:pt x="755" y="709"/>
                    <a:pt x="756" y="708"/>
                    <a:pt x="757" y="707"/>
                  </a:cubicBezTo>
                  <a:cubicBezTo>
                    <a:pt x="758" y="706"/>
                    <a:pt x="758" y="705"/>
                    <a:pt x="758" y="704"/>
                  </a:cubicBezTo>
                  <a:cubicBezTo>
                    <a:pt x="758" y="703"/>
                    <a:pt x="758" y="701"/>
                    <a:pt x="757" y="700"/>
                  </a:cubicBezTo>
                  <a:cubicBezTo>
                    <a:pt x="756" y="698"/>
                    <a:pt x="755" y="696"/>
                    <a:pt x="756" y="694"/>
                  </a:cubicBezTo>
                  <a:cubicBezTo>
                    <a:pt x="756" y="693"/>
                    <a:pt x="755" y="692"/>
                    <a:pt x="755" y="691"/>
                  </a:cubicBezTo>
                  <a:cubicBezTo>
                    <a:pt x="754" y="689"/>
                    <a:pt x="751" y="688"/>
                    <a:pt x="748" y="688"/>
                  </a:cubicBezTo>
                  <a:cubicBezTo>
                    <a:pt x="747" y="688"/>
                    <a:pt x="747" y="688"/>
                    <a:pt x="747" y="688"/>
                  </a:cubicBezTo>
                  <a:cubicBezTo>
                    <a:pt x="746" y="689"/>
                    <a:pt x="745" y="689"/>
                    <a:pt x="744" y="689"/>
                  </a:cubicBezTo>
                  <a:cubicBezTo>
                    <a:pt x="741" y="689"/>
                    <a:pt x="738" y="688"/>
                    <a:pt x="735" y="687"/>
                  </a:cubicBezTo>
                  <a:cubicBezTo>
                    <a:pt x="735" y="686"/>
                    <a:pt x="734" y="686"/>
                    <a:pt x="732" y="686"/>
                  </a:cubicBezTo>
                  <a:cubicBezTo>
                    <a:pt x="727" y="686"/>
                    <a:pt x="718" y="689"/>
                    <a:pt x="718" y="691"/>
                  </a:cubicBezTo>
                  <a:cubicBezTo>
                    <a:pt x="718" y="693"/>
                    <a:pt x="711" y="695"/>
                    <a:pt x="702" y="697"/>
                  </a:cubicBezTo>
                  <a:cubicBezTo>
                    <a:pt x="700" y="697"/>
                    <a:pt x="697" y="698"/>
                    <a:pt x="696" y="698"/>
                  </a:cubicBezTo>
                  <a:cubicBezTo>
                    <a:pt x="693" y="699"/>
                    <a:pt x="679" y="702"/>
                    <a:pt x="676" y="702"/>
                  </a:cubicBezTo>
                  <a:cubicBezTo>
                    <a:pt x="674" y="702"/>
                    <a:pt x="672" y="703"/>
                    <a:pt x="670" y="704"/>
                  </a:cubicBezTo>
                  <a:cubicBezTo>
                    <a:pt x="667" y="705"/>
                    <a:pt x="664" y="706"/>
                    <a:pt x="661" y="706"/>
                  </a:cubicBezTo>
                  <a:cubicBezTo>
                    <a:pt x="656" y="706"/>
                    <a:pt x="644" y="707"/>
                    <a:pt x="639" y="711"/>
                  </a:cubicBezTo>
                  <a:cubicBezTo>
                    <a:pt x="637" y="713"/>
                    <a:pt x="634" y="713"/>
                    <a:pt x="631" y="713"/>
                  </a:cubicBezTo>
                  <a:cubicBezTo>
                    <a:pt x="630" y="713"/>
                    <a:pt x="629" y="713"/>
                    <a:pt x="627" y="713"/>
                  </a:cubicBezTo>
                  <a:cubicBezTo>
                    <a:pt x="626" y="713"/>
                    <a:pt x="625" y="713"/>
                    <a:pt x="624" y="713"/>
                  </a:cubicBezTo>
                  <a:cubicBezTo>
                    <a:pt x="623" y="713"/>
                    <a:pt x="622" y="713"/>
                    <a:pt x="622" y="713"/>
                  </a:cubicBezTo>
                  <a:cubicBezTo>
                    <a:pt x="621" y="713"/>
                    <a:pt x="619" y="713"/>
                    <a:pt x="618" y="713"/>
                  </a:cubicBezTo>
                  <a:cubicBezTo>
                    <a:pt x="617" y="713"/>
                    <a:pt x="615" y="713"/>
                    <a:pt x="614" y="713"/>
                  </a:cubicBezTo>
                  <a:cubicBezTo>
                    <a:pt x="613" y="713"/>
                    <a:pt x="612" y="713"/>
                    <a:pt x="612" y="713"/>
                  </a:cubicBezTo>
                  <a:cubicBezTo>
                    <a:pt x="611" y="713"/>
                    <a:pt x="610" y="713"/>
                    <a:pt x="609" y="714"/>
                  </a:cubicBezTo>
                  <a:cubicBezTo>
                    <a:pt x="608" y="715"/>
                    <a:pt x="608" y="722"/>
                    <a:pt x="610" y="725"/>
                  </a:cubicBezTo>
                  <a:cubicBezTo>
                    <a:pt x="611" y="727"/>
                    <a:pt x="615" y="728"/>
                    <a:pt x="618" y="729"/>
                  </a:cubicBezTo>
                  <a:cubicBezTo>
                    <a:pt x="621" y="730"/>
                    <a:pt x="623" y="731"/>
                    <a:pt x="623" y="732"/>
                  </a:cubicBezTo>
                  <a:cubicBezTo>
                    <a:pt x="623" y="732"/>
                    <a:pt x="623" y="732"/>
                    <a:pt x="623" y="733"/>
                  </a:cubicBezTo>
                  <a:cubicBezTo>
                    <a:pt x="622" y="734"/>
                    <a:pt x="619" y="734"/>
                    <a:pt x="612" y="734"/>
                  </a:cubicBezTo>
                  <a:cubicBezTo>
                    <a:pt x="611" y="735"/>
                    <a:pt x="609" y="735"/>
                    <a:pt x="607" y="735"/>
                  </a:cubicBezTo>
                  <a:cubicBezTo>
                    <a:pt x="606" y="735"/>
                    <a:pt x="605" y="736"/>
                    <a:pt x="605" y="736"/>
                  </a:cubicBezTo>
                  <a:cubicBezTo>
                    <a:pt x="603" y="739"/>
                    <a:pt x="604" y="742"/>
                    <a:pt x="605" y="745"/>
                  </a:cubicBezTo>
                  <a:cubicBezTo>
                    <a:pt x="605" y="745"/>
                    <a:pt x="605" y="746"/>
                    <a:pt x="605" y="747"/>
                  </a:cubicBezTo>
                  <a:cubicBezTo>
                    <a:pt x="603" y="750"/>
                    <a:pt x="597" y="753"/>
                    <a:pt x="596" y="753"/>
                  </a:cubicBezTo>
                  <a:cubicBezTo>
                    <a:pt x="595" y="753"/>
                    <a:pt x="594" y="754"/>
                    <a:pt x="595" y="755"/>
                  </a:cubicBezTo>
                  <a:cubicBezTo>
                    <a:pt x="595" y="757"/>
                    <a:pt x="597" y="760"/>
                    <a:pt x="599" y="760"/>
                  </a:cubicBezTo>
                  <a:cubicBezTo>
                    <a:pt x="602" y="760"/>
                    <a:pt x="604" y="761"/>
                    <a:pt x="605" y="761"/>
                  </a:cubicBezTo>
                  <a:cubicBezTo>
                    <a:pt x="607" y="762"/>
                    <a:pt x="608" y="763"/>
                    <a:pt x="610" y="763"/>
                  </a:cubicBezTo>
                  <a:cubicBezTo>
                    <a:pt x="614" y="763"/>
                    <a:pt x="614" y="770"/>
                    <a:pt x="614" y="774"/>
                  </a:cubicBezTo>
                  <a:cubicBezTo>
                    <a:pt x="614" y="778"/>
                    <a:pt x="611" y="779"/>
                    <a:pt x="605" y="779"/>
                  </a:cubicBezTo>
                  <a:cubicBezTo>
                    <a:pt x="601" y="779"/>
                    <a:pt x="599" y="778"/>
                    <a:pt x="597" y="777"/>
                  </a:cubicBezTo>
                  <a:cubicBezTo>
                    <a:pt x="596" y="776"/>
                    <a:pt x="595" y="775"/>
                    <a:pt x="594" y="775"/>
                  </a:cubicBezTo>
                  <a:cubicBezTo>
                    <a:pt x="592" y="775"/>
                    <a:pt x="592" y="776"/>
                    <a:pt x="591" y="778"/>
                  </a:cubicBezTo>
                  <a:cubicBezTo>
                    <a:pt x="591" y="780"/>
                    <a:pt x="590" y="781"/>
                    <a:pt x="589" y="782"/>
                  </a:cubicBezTo>
                  <a:cubicBezTo>
                    <a:pt x="588" y="782"/>
                    <a:pt x="588" y="782"/>
                    <a:pt x="588" y="782"/>
                  </a:cubicBezTo>
                  <a:cubicBezTo>
                    <a:pt x="587" y="782"/>
                    <a:pt x="586" y="781"/>
                    <a:pt x="585" y="780"/>
                  </a:cubicBezTo>
                  <a:cubicBezTo>
                    <a:pt x="584" y="779"/>
                    <a:pt x="583" y="777"/>
                    <a:pt x="581" y="777"/>
                  </a:cubicBezTo>
                  <a:cubicBezTo>
                    <a:pt x="579" y="777"/>
                    <a:pt x="573" y="777"/>
                    <a:pt x="571" y="773"/>
                  </a:cubicBezTo>
                  <a:cubicBezTo>
                    <a:pt x="571" y="771"/>
                    <a:pt x="568" y="770"/>
                    <a:pt x="565" y="770"/>
                  </a:cubicBezTo>
                  <a:cubicBezTo>
                    <a:pt x="562" y="770"/>
                    <a:pt x="559" y="771"/>
                    <a:pt x="558" y="772"/>
                  </a:cubicBezTo>
                  <a:cubicBezTo>
                    <a:pt x="556" y="774"/>
                    <a:pt x="555" y="775"/>
                    <a:pt x="554" y="775"/>
                  </a:cubicBezTo>
                  <a:cubicBezTo>
                    <a:pt x="552" y="775"/>
                    <a:pt x="551" y="774"/>
                    <a:pt x="550" y="772"/>
                  </a:cubicBezTo>
                  <a:cubicBezTo>
                    <a:pt x="549" y="772"/>
                    <a:pt x="549" y="772"/>
                    <a:pt x="549" y="772"/>
                  </a:cubicBezTo>
                  <a:cubicBezTo>
                    <a:pt x="548" y="771"/>
                    <a:pt x="547" y="771"/>
                    <a:pt x="546" y="771"/>
                  </a:cubicBezTo>
                  <a:cubicBezTo>
                    <a:pt x="542" y="771"/>
                    <a:pt x="536" y="774"/>
                    <a:pt x="535" y="776"/>
                  </a:cubicBezTo>
                  <a:cubicBezTo>
                    <a:pt x="535" y="778"/>
                    <a:pt x="532" y="779"/>
                    <a:pt x="528" y="779"/>
                  </a:cubicBezTo>
                  <a:cubicBezTo>
                    <a:pt x="526" y="779"/>
                    <a:pt x="523" y="779"/>
                    <a:pt x="521" y="777"/>
                  </a:cubicBezTo>
                  <a:cubicBezTo>
                    <a:pt x="519" y="776"/>
                    <a:pt x="516" y="775"/>
                    <a:pt x="515" y="775"/>
                  </a:cubicBezTo>
                  <a:cubicBezTo>
                    <a:pt x="514" y="775"/>
                    <a:pt x="514" y="775"/>
                    <a:pt x="514" y="777"/>
                  </a:cubicBezTo>
                  <a:cubicBezTo>
                    <a:pt x="514" y="779"/>
                    <a:pt x="513" y="780"/>
                    <a:pt x="512" y="780"/>
                  </a:cubicBezTo>
                  <a:cubicBezTo>
                    <a:pt x="511" y="780"/>
                    <a:pt x="509" y="777"/>
                    <a:pt x="509" y="775"/>
                  </a:cubicBezTo>
                  <a:cubicBezTo>
                    <a:pt x="509" y="773"/>
                    <a:pt x="502" y="769"/>
                    <a:pt x="498" y="766"/>
                  </a:cubicBezTo>
                  <a:cubicBezTo>
                    <a:pt x="497" y="765"/>
                    <a:pt x="497" y="765"/>
                    <a:pt x="497" y="765"/>
                  </a:cubicBezTo>
                  <a:cubicBezTo>
                    <a:pt x="495" y="764"/>
                    <a:pt x="491" y="763"/>
                    <a:pt x="488" y="763"/>
                  </a:cubicBezTo>
                  <a:cubicBezTo>
                    <a:pt x="483" y="762"/>
                    <a:pt x="480" y="761"/>
                    <a:pt x="480" y="760"/>
                  </a:cubicBezTo>
                  <a:cubicBezTo>
                    <a:pt x="479" y="759"/>
                    <a:pt x="477" y="757"/>
                    <a:pt x="475" y="757"/>
                  </a:cubicBezTo>
                  <a:cubicBezTo>
                    <a:pt x="473" y="757"/>
                    <a:pt x="471" y="758"/>
                    <a:pt x="470" y="760"/>
                  </a:cubicBezTo>
                  <a:cubicBezTo>
                    <a:pt x="470" y="762"/>
                    <a:pt x="468" y="762"/>
                    <a:pt x="467" y="762"/>
                  </a:cubicBezTo>
                  <a:cubicBezTo>
                    <a:pt x="466" y="762"/>
                    <a:pt x="465" y="762"/>
                    <a:pt x="463" y="761"/>
                  </a:cubicBezTo>
                  <a:cubicBezTo>
                    <a:pt x="462" y="760"/>
                    <a:pt x="462" y="760"/>
                    <a:pt x="462" y="760"/>
                  </a:cubicBezTo>
                  <a:cubicBezTo>
                    <a:pt x="461" y="760"/>
                    <a:pt x="461" y="760"/>
                    <a:pt x="461" y="760"/>
                  </a:cubicBezTo>
                  <a:cubicBezTo>
                    <a:pt x="458" y="760"/>
                    <a:pt x="454" y="762"/>
                    <a:pt x="452" y="763"/>
                  </a:cubicBezTo>
                  <a:cubicBezTo>
                    <a:pt x="451" y="763"/>
                    <a:pt x="451" y="763"/>
                    <a:pt x="451" y="763"/>
                  </a:cubicBezTo>
                  <a:cubicBezTo>
                    <a:pt x="451" y="764"/>
                    <a:pt x="450" y="764"/>
                    <a:pt x="449" y="765"/>
                  </a:cubicBezTo>
                  <a:cubicBezTo>
                    <a:pt x="445" y="767"/>
                    <a:pt x="439" y="770"/>
                    <a:pt x="436" y="770"/>
                  </a:cubicBezTo>
                  <a:cubicBezTo>
                    <a:pt x="434" y="770"/>
                    <a:pt x="433" y="771"/>
                    <a:pt x="433" y="773"/>
                  </a:cubicBezTo>
                  <a:cubicBezTo>
                    <a:pt x="432" y="775"/>
                    <a:pt x="431" y="777"/>
                    <a:pt x="428" y="777"/>
                  </a:cubicBezTo>
                  <a:cubicBezTo>
                    <a:pt x="426" y="778"/>
                    <a:pt x="425" y="779"/>
                    <a:pt x="424" y="780"/>
                  </a:cubicBezTo>
                  <a:cubicBezTo>
                    <a:pt x="424" y="781"/>
                    <a:pt x="424" y="783"/>
                    <a:pt x="424" y="784"/>
                  </a:cubicBezTo>
                  <a:cubicBezTo>
                    <a:pt x="424" y="785"/>
                    <a:pt x="424" y="785"/>
                    <a:pt x="424" y="785"/>
                  </a:cubicBezTo>
                  <a:cubicBezTo>
                    <a:pt x="425" y="785"/>
                    <a:pt x="425" y="786"/>
                    <a:pt x="425" y="786"/>
                  </a:cubicBezTo>
                  <a:cubicBezTo>
                    <a:pt x="426" y="788"/>
                    <a:pt x="427" y="790"/>
                    <a:pt x="426" y="792"/>
                  </a:cubicBezTo>
                  <a:cubicBezTo>
                    <a:pt x="425" y="793"/>
                    <a:pt x="424" y="794"/>
                    <a:pt x="423" y="794"/>
                  </a:cubicBezTo>
                  <a:cubicBezTo>
                    <a:pt x="422" y="794"/>
                    <a:pt x="422" y="795"/>
                    <a:pt x="421" y="795"/>
                  </a:cubicBezTo>
                  <a:cubicBezTo>
                    <a:pt x="419" y="795"/>
                    <a:pt x="417" y="792"/>
                    <a:pt x="415" y="789"/>
                  </a:cubicBezTo>
                  <a:cubicBezTo>
                    <a:pt x="414" y="787"/>
                    <a:pt x="412" y="786"/>
                    <a:pt x="411" y="784"/>
                  </a:cubicBezTo>
                  <a:cubicBezTo>
                    <a:pt x="410" y="784"/>
                    <a:pt x="409" y="783"/>
                    <a:pt x="408" y="783"/>
                  </a:cubicBezTo>
                  <a:cubicBezTo>
                    <a:pt x="405" y="783"/>
                    <a:pt x="403" y="786"/>
                    <a:pt x="403" y="789"/>
                  </a:cubicBezTo>
                  <a:cubicBezTo>
                    <a:pt x="403" y="792"/>
                    <a:pt x="401" y="793"/>
                    <a:pt x="399" y="795"/>
                  </a:cubicBezTo>
                  <a:cubicBezTo>
                    <a:pt x="398" y="796"/>
                    <a:pt x="396" y="797"/>
                    <a:pt x="395" y="799"/>
                  </a:cubicBezTo>
                  <a:cubicBezTo>
                    <a:pt x="394" y="801"/>
                    <a:pt x="395" y="802"/>
                    <a:pt x="398" y="803"/>
                  </a:cubicBezTo>
                  <a:cubicBezTo>
                    <a:pt x="399" y="804"/>
                    <a:pt x="400" y="804"/>
                    <a:pt x="400" y="805"/>
                  </a:cubicBezTo>
                  <a:cubicBezTo>
                    <a:pt x="400" y="807"/>
                    <a:pt x="397" y="809"/>
                    <a:pt x="395" y="810"/>
                  </a:cubicBezTo>
                  <a:cubicBezTo>
                    <a:pt x="394" y="811"/>
                    <a:pt x="392" y="813"/>
                    <a:pt x="392" y="816"/>
                  </a:cubicBezTo>
                  <a:cubicBezTo>
                    <a:pt x="391" y="817"/>
                    <a:pt x="391" y="818"/>
                    <a:pt x="392" y="819"/>
                  </a:cubicBezTo>
                  <a:cubicBezTo>
                    <a:pt x="392" y="819"/>
                    <a:pt x="393" y="820"/>
                    <a:pt x="395" y="820"/>
                  </a:cubicBezTo>
                  <a:cubicBezTo>
                    <a:pt x="397" y="821"/>
                    <a:pt x="400" y="821"/>
                    <a:pt x="400" y="825"/>
                  </a:cubicBezTo>
                  <a:cubicBezTo>
                    <a:pt x="400" y="828"/>
                    <a:pt x="399" y="831"/>
                    <a:pt x="400" y="832"/>
                  </a:cubicBezTo>
                  <a:cubicBezTo>
                    <a:pt x="400" y="832"/>
                    <a:pt x="401" y="832"/>
                    <a:pt x="402" y="832"/>
                  </a:cubicBezTo>
                  <a:cubicBezTo>
                    <a:pt x="404" y="831"/>
                    <a:pt x="405" y="831"/>
                    <a:pt x="408" y="831"/>
                  </a:cubicBezTo>
                  <a:cubicBezTo>
                    <a:pt x="409" y="831"/>
                    <a:pt x="410" y="831"/>
                    <a:pt x="410" y="831"/>
                  </a:cubicBezTo>
                  <a:cubicBezTo>
                    <a:pt x="411" y="831"/>
                    <a:pt x="412" y="831"/>
                    <a:pt x="412" y="831"/>
                  </a:cubicBezTo>
                  <a:cubicBezTo>
                    <a:pt x="414" y="831"/>
                    <a:pt x="416" y="833"/>
                    <a:pt x="418" y="836"/>
                  </a:cubicBezTo>
                  <a:cubicBezTo>
                    <a:pt x="419" y="838"/>
                    <a:pt x="420" y="840"/>
                    <a:pt x="422" y="842"/>
                  </a:cubicBezTo>
                  <a:cubicBezTo>
                    <a:pt x="425" y="845"/>
                    <a:pt x="427" y="848"/>
                    <a:pt x="426" y="850"/>
                  </a:cubicBezTo>
                  <a:cubicBezTo>
                    <a:pt x="426" y="851"/>
                    <a:pt x="425" y="851"/>
                    <a:pt x="423" y="852"/>
                  </a:cubicBezTo>
                  <a:cubicBezTo>
                    <a:pt x="422" y="852"/>
                    <a:pt x="421" y="853"/>
                    <a:pt x="421" y="853"/>
                  </a:cubicBezTo>
                  <a:cubicBezTo>
                    <a:pt x="421" y="854"/>
                    <a:pt x="423" y="855"/>
                    <a:pt x="427" y="857"/>
                  </a:cubicBezTo>
                  <a:cubicBezTo>
                    <a:pt x="428" y="858"/>
                    <a:pt x="430" y="859"/>
                    <a:pt x="432" y="860"/>
                  </a:cubicBezTo>
                  <a:cubicBezTo>
                    <a:pt x="432" y="860"/>
                    <a:pt x="432" y="860"/>
                    <a:pt x="432" y="860"/>
                  </a:cubicBezTo>
                  <a:cubicBezTo>
                    <a:pt x="432" y="861"/>
                    <a:pt x="432" y="861"/>
                    <a:pt x="432" y="861"/>
                  </a:cubicBezTo>
                  <a:cubicBezTo>
                    <a:pt x="429" y="863"/>
                    <a:pt x="425" y="864"/>
                    <a:pt x="422" y="866"/>
                  </a:cubicBezTo>
                  <a:cubicBezTo>
                    <a:pt x="416" y="869"/>
                    <a:pt x="409" y="872"/>
                    <a:pt x="406" y="876"/>
                  </a:cubicBezTo>
                  <a:cubicBezTo>
                    <a:pt x="404" y="878"/>
                    <a:pt x="403" y="880"/>
                    <a:pt x="401" y="882"/>
                  </a:cubicBezTo>
                  <a:cubicBezTo>
                    <a:pt x="398" y="885"/>
                    <a:pt x="395" y="888"/>
                    <a:pt x="395" y="891"/>
                  </a:cubicBezTo>
                  <a:cubicBezTo>
                    <a:pt x="395" y="893"/>
                    <a:pt x="396" y="895"/>
                    <a:pt x="399" y="897"/>
                  </a:cubicBezTo>
                  <a:cubicBezTo>
                    <a:pt x="406" y="903"/>
                    <a:pt x="405" y="908"/>
                    <a:pt x="405" y="913"/>
                  </a:cubicBezTo>
                  <a:cubicBezTo>
                    <a:pt x="405" y="914"/>
                    <a:pt x="404" y="916"/>
                    <a:pt x="404" y="917"/>
                  </a:cubicBezTo>
                  <a:cubicBezTo>
                    <a:pt x="404" y="921"/>
                    <a:pt x="415" y="934"/>
                    <a:pt x="421" y="942"/>
                  </a:cubicBezTo>
                  <a:cubicBezTo>
                    <a:pt x="421" y="942"/>
                    <a:pt x="421" y="942"/>
                    <a:pt x="421" y="942"/>
                  </a:cubicBezTo>
                  <a:cubicBezTo>
                    <a:pt x="421" y="943"/>
                    <a:pt x="421" y="943"/>
                    <a:pt x="421" y="943"/>
                  </a:cubicBezTo>
                  <a:cubicBezTo>
                    <a:pt x="420" y="946"/>
                    <a:pt x="417" y="947"/>
                    <a:pt x="415" y="947"/>
                  </a:cubicBezTo>
                  <a:cubicBezTo>
                    <a:pt x="413" y="948"/>
                    <a:pt x="412" y="948"/>
                    <a:pt x="412" y="949"/>
                  </a:cubicBezTo>
                  <a:cubicBezTo>
                    <a:pt x="411" y="950"/>
                    <a:pt x="410" y="951"/>
                    <a:pt x="409" y="951"/>
                  </a:cubicBezTo>
                  <a:close/>
                  <a:moveTo>
                    <a:pt x="405" y="949"/>
                  </a:moveTo>
                  <a:cubicBezTo>
                    <a:pt x="406" y="949"/>
                    <a:pt x="407" y="949"/>
                    <a:pt x="407" y="949"/>
                  </a:cubicBezTo>
                  <a:cubicBezTo>
                    <a:pt x="408" y="950"/>
                    <a:pt x="409" y="950"/>
                    <a:pt x="409" y="950"/>
                  </a:cubicBezTo>
                  <a:cubicBezTo>
                    <a:pt x="410" y="950"/>
                    <a:pt x="410" y="950"/>
                    <a:pt x="411" y="949"/>
                  </a:cubicBezTo>
                  <a:cubicBezTo>
                    <a:pt x="411" y="948"/>
                    <a:pt x="413" y="947"/>
                    <a:pt x="415" y="946"/>
                  </a:cubicBezTo>
                  <a:cubicBezTo>
                    <a:pt x="417" y="946"/>
                    <a:pt x="419" y="945"/>
                    <a:pt x="420" y="942"/>
                  </a:cubicBezTo>
                  <a:cubicBezTo>
                    <a:pt x="411" y="932"/>
                    <a:pt x="403" y="921"/>
                    <a:pt x="403" y="917"/>
                  </a:cubicBezTo>
                  <a:cubicBezTo>
                    <a:pt x="403" y="916"/>
                    <a:pt x="404" y="914"/>
                    <a:pt x="404" y="913"/>
                  </a:cubicBezTo>
                  <a:cubicBezTo>
                    <a:pt x="404" y="908"/>
                    <a:pt x="405" y="904"/>
                    <a:pt x="398" y="898"/>
                  </a:cubicBezTo>
                  <a:cubicBezTo>
                    <a:pt x="395" y="895"/>
                    <a:pt x="394" y="893"/>
                    <a:pt x="394" y="891"/>
                  </a:cubicBezTo>
                  <a:cubicBezTo>
                    <a:pt x="394" y="888"/>
                    <a:pt x="397" y="885"/>
                    <a:pt x="400" y="881"/>
                  </a:cubicBezTo>
                  <a:cubicBezTo>
                    <a:pt x="402" y="879"/>
                    <a:pt x="404" y="878"/>
                    <a:pt x="405" y="876"/>
                  </a:cubicBezTo>
                  <a:cubicBezTo>
                    <a:pt x="409" y="871"/>
                    <a:pt x="415" y="868"/>
                    <a:pt x="421" y="865"/>
                  </a:cubicBezTo>
                  <a:cubicBezTo>
                    <a:pt x="425" y="864"/>
                    <a:pt x="428" y="862"/>
                    <a:pt x="430" y="860"/>
                  </a:cubicBezTo>
                  <a:cubicBezTo>
                    <a:pt x="429" y="859"/>
                    <a:pt x="428" y="859"/>
                    <a:pt x="426" y="858"/>
                  </a:cubicBezTo>
                  <a:cubicBezTo>
                    <a:pt x="422" y="856"/>
                    <a:pt x="420" y="855"/>
                    <a:pt x="420" y="853"/>
                  </a:cubicBezTo>
                  <a:cubicBezTo>
                    <a:pt x="420" y="852"/>
                    <a:pt x="421" y="851"/>
                    <a:pt x="423" y="851"/>
                  </a:cubicBezTo>
                  <a:cubicBezTo>
                    <a:pt x="424" y="850"/>
                    <a:pt x="425" y="850"/>
                    <a:pt x="425" y="849"/>
                  </a:cubicBezTo>
                  <a:cubicBezTo>
                    <a:pt x="426" y="848"/>
                    <a:pt x="424" y="846"/>
                    <a:pt x="421" y="842"/>
                  </a:cubicBezTo>
                  <a:cubicBezTo>
                    <a:pt x="419" y="840"/>
                    <a:pt x="418" y="839"/>
                    <a:pt x="417" y="837"/>
                  </a:cubicBezTo>
                  <a:cubicBezTo>
                    <a:pt x="415" y="834"/>
                    <a:pt x="414" y="832"/>
                    <a:pt x="412" y="832"/>
                  </a:cubicBezTo>
                  <a:cubicBezTo>
                    <a:pt x="412" y="832"/>
                    <a:pt x="411" y="832"/>
                    <a:pt x="410" y="832"/>
                  </a:cubicBezTo>
                  <a:cubicBezTo>
                    <a:pt x="410" y="832"/>
                    <a:pt x="409" y="832"/>
                    <a:pt x="408" y="832"/>
                  </a:cubicBezTo>
                  <a:cubicBezTo>
                    <a:pt x="406" y="832"/>
                    <a:pt x="404" y="832"/>
                    <a:pt x="402" y="833"/>
                  </a:cubicBezTo>
                  <a:cubicBezTo>
                    <a:pt x="401" y="833"/>
                    <a:pt x="400" y="833"/>
                    <a:pt x="399" y="832"/>
                  </a:cubicBezTo>
                  <a:cubicBezTo>
                    <a:pt x="398" y="831"/>
                    <a:pt x="399" y="828"/>
                    <a:pt x="399" y="825"/>
                  </a:cubicBezTo>
                  <a:cubicBezTo>
                    <a:pt x="399" y="822"/>
                    <a:pt x="397" y="822"/>
                    <a:pt x="394" y="821"/>
                  </a:cubicBezTo>
                  <a:cubicBezTo>
                    <a:pt x="393" y="820"/>
                    <a:pt x="391" y="820"/>
                    <a:pt x="391" y="819"/>
                  </a:cubicBezTo>
                  <a:cubicBezTo>
                    <a:pt x="390" y="818"/>
                    <a:pt x="390" y="817"/>
                    <a:pt x="391" y="816"/>
                  </a:cubicBezTo>
                  <a:cubicBezTo>
                    <a:pt x="391" y="813"/>
                    <a:pt x="393" y="810"/>
                    <a:pt x="394" y="809"/>
                  </a:cubicBezTo>
                  <a:cubicBezTo>
                    <a:pt x="397" y="808"/>
                    <a:pt x="399" y="806"/>
                    <a:pt x="399" y="805"/>
                  </a:cubicBezTo>
                  <a:cubicBezTo>
                    <a:pt x="399" y="805"/>
                    <a:pt x="398" y="804"/>
                    <a:pt x="397" y="804"/>
                  </a:cubicBezTo>
                  <a:cubicBezTo>
                    <a:pt x="395" y="803"/>
                    <a:pt x="393" y="801"/>
                    <a:pt x="395" y="798"/>
                  </a:cubicBezTo>
                  <a:cubicBezTo>
                    <a:pt x="396" y="796"/>
                    <a:pt x="397" y="795"/>
                    <a:pt x="399" y="794"/>
                  </a:cubicBezTo>
                  <a:cubicBezTo>
                    <a:pt x="401" y="792"/>
                    <a:pt x="402" y="792"/>
                    <a:pt x="402" y="789"/>
                  </a:cubicBezTo>
                  <a:cubicBezTo>
                    <a:pt x="402" y="785"/>
                    <a:pt x="405" y="782"/>
                    <a:pt x="408" y="782"/>
                  </a:cubicBezTo>
                  <a:cubicBezTo>
                    <a:pt x="409" y="782"/>
                    <a:pt x="410" y="783"/>
                    <a:pt x="411" y="784"/>
                  </a:cubicBezTo>
                  <a:cubicBezTo>
                    <a:pt x="413" y="785"/>
                    <a:pt x="414" y="787"/>
                    <a:pt x="416" y="789"/>
                  </a:cubicBezTo>
                  <a:cubicBezTo>
                    <a:pt x="417" y="791"/>
                    <a:pt x="419" y="794"/>
                    <a:pt x="421" y="794"/>
                  </a:cubicBezTo>
                  <a:cubicBezTo>
                    <a:pt x="422" y="794"/>
                    <a:pt x="422" y="793"/>
                    <a:pt x="423" y="793"/>
                  </a:cubicBezTo>
                  <a:cubicBezTo>
                    <a:pt x="424" y="793"/>
                    <a:pt x="424" y="792"/>
                    <a:pt x="425" y="791"/>
                  </a:cubicBezTo>
                  <a:cubicBezTo>
                    <a:pt x="425" y="790"/>
                    <a:pt x="425" y="788"/>
                    <a:pt x="424" y="787"/>
                  </a:cubicBezTo>
                  <a:cubicBezTo>
                    <a:pt x="424" y="786"/>
                    <a:pt x="424" y="785"/>
                    <a:pt x="424" y="785"/>
                  </a:cubicBezTo>
                  <a:cubicBezTo>
                    <a:pt x="423" y="784"/>
                    <a:pt x="423" y="784"/>
                    <a:pt x="423" y="784"/>
                  </a:cubicBezTo>
                  <a:cubicBezTo>
                    <a:pt x="423" y="783"/>
                    <a:pt x="422" y="781"/>
                    <a:pt x="424" y="779"/>
                  </a:cubicBezTo>
                  <a:cubicBezTo>
                    <a:pt x="424" y="778"/>
                    <a:pt x="426" y="777"/>
                    <a:pt x="428" y="776"/>
                  </a:cubicBezTo>
                  <a:cubicBezTo>
                    <a:pt x="431" y="776"/>
                    <a:pt x="431" y="774"/>
                    <a:pt x="432" y="773"/>
                  </a:cubicBezTo>
                  <a:cubicBezTo>
                    <a:pt x="432" y="771"/>
                    <a:pt x="433" y="769"/>
                    <a:pt x="436" y="769"/>
                  </a:cubicBezTo>
                  <a:cubicBezTo>
                    <a:pt x="439" y="769"/>
                    <a:pt x="445" y="766"/>
                    <a:pt x="448" y="764"/>
                  </a:cubicBezTo>
                  <a:cubicBezTo>
                    <a:pt x="449" y="763"/>
                    <a:pt x="450" y="763"/>
                    <a:pt x="451" y="762"/>
                  </a:cubicBezTo>
                  <a:cubicBezTo>
                    <a:pt x="452" y="762"/>
                    <a:pt x="452" y="762"/>
                    <a:pt x="452" y="762"/>
                  </a:cubicBezTo>
                  <a:cubicBezTo>
                    <a:pt x="454" y="761"/>
                    <a:pt x="458" y="759"/>
                    <a:pt x="461" y="759"/>
                  </a:cubicBezTo>
                  <a:cubicBezTo>
                    <a:pt x="462" y="759"/>
                    <a:pt x="462" y="759"/>
                    <a:pt x="462" y="759"/>
                  </a:cubicBezTo>
                  <a:cubicBezTo>
                    <a:pt x="463" y="759"/>
                    <a:pt x="463" y="760"/>
                    <a:pt x="464" y="760"/>
                  </a:cubicBezTo>
                  <a:cubicBezTo>
                    <a:pt x="465" y="761"/>
                    <a:pt x="466" y="761"/>
                    <a:pt x="467" y="761"/>
                  </a:cubicBezTo>
                  <a:cubicBezTo>
                    <a:pt x="468" y="761"/>
                    <a:pt x="469" y="761"/>
                    <a:pt x="469" y="759"/>
                  </a:cubicBezTo>
                  <a:cubicBezTo>
                    <a:pt x="470" y="757"/>
                    <a:pt x="472" y="756"/>
                    <a:pt x="475" y="756"/>
                  </a:cubicBezTo>
                  <a:cubicBezTo>
                    <a:pt x="477" y="756"/>
                    <a:pt x="480" y="758"/>
                    <a:pt x="481" y="759"/>
                  </a:cubicBezTo>
                  <a:cubicBezTo>
                    <a:pt x="481" y="760"/>
                    <a:pt x="485" y="761"/>
                    <a:pt x="488" y="762"/>
                  </a:cubicBezTo>
                  <a:cubicBezTo>
                    <a:pt x="492" y="762"/>
                    <a:pt x="495" y="763"/>
                    <a:pt x="497" y="764"/>
                  </a:cubicBezTo>
                  <a:cubicBezTo>
                    <a:pt x="498" y="765"/>
                    <a:pt x="498" y="765"/>
                    <a:pt x="499" y="765"/>
                  </a:cubicBezTo>
                  <a:cubicBezTo>
                    <a:pt x="504" y="769"/>
                    <a:pt x="510" y="773"/>
                    <a:pt x="510" y="775"/>
                  </a:cubicBezTo>
                  <a:cubicBezTo>
                    <a:pt x="510" y="777"/>
                    <a:pt x="511" y="779"/>
                    <a:pt x="512" y="779"/>
                  </a:cubicBezTo>
                  <a:cubicBezTo>
                    <a:pt x="512" y="779"/>
                    <a:pt x="513" y="778"/>
                    <a:pt x="513" y="777"/>
                  </a:cubicBezTo>
                  <a:cubicBezTo>
                    <a:pt x="513" y="775"/>
                    <a:pt x="513" y="774"/>
                    <a:pt x="515" y="774"/>
                  </a:cubicBezTo>
                  <a:cubicBezTo>
                    <a:pt x="517" y="774"/>
                    <a:pt x="519" y="775"/>
                    <a:pt x="522" y="777"/>
                  </a:cubicBezTo>
                  <a:cubicBezTo>
                    <a:pt x="524" y="778"/>
                    <a:pt x="526" y="778"/>
                    <a:pt x="528" y="778"/>
                  </a:cubicBezTo>
                  <a:cubicBezTo>
                    <a:pt x="531" y="778"/>
                    <a:pt x="534" y="777"/>
                    <a:pt x="535" y="775"/>
                  </a:cubicBezTo>
                  <a:cubicBezTo>
                    <a:pt x="536" y="773"/>
                    <a:pt x="542" y="770"/>
                    <a:pt x="546" y="770"/>
                  </a:cubicBezTo>
                  <a:cubicBezTo>
                    <a:pt x="548" y="770"/>
                    <a:pt x="549" y="770"/>
                    <a:pt x="549" y="771"/>
                  </a:cubicBezTo>
                  <a:cubicBezTo>
                    <a:pt x="550" y="771"/>
                    <a:pt x="550" y="771"/>
                    <a:pt x="550" y="772"/>
                  </a:cubicBezTo>
                  <a:cubicBezTo>
                    <a:pt x="552" y="773"/>
                    <a:pt x="553" y="774"/>
                    <a:pt x="554" y="774"/>
                  </a:cubicBezTo>
                  <a:cubicBezTo>
                    <a:pt x="555" y="774"/>
                    <a:pt x="556" y="773"/>
                    <a:pt x="557" y="771"/>
                  </a:cubicBezTo>
                  <a:cubicBezTo>
                    <a:pt x="559" y="770"/>
                    <a:pt x="562" y="769"/>
                    <a:pt x="565" y="769"/>
                  </a:cubicBezTo>
                  <a:cubicBezTo>
                    <a:pt x="569" y="769"/>
                    <a:pt x="571" y="770"/>
                    <a:pt x="572" y="772"/>
                  </a:cubicBezTo>
                  <a:cubicBezTo>
                    <a:pt x="573" y="775"/>
                    <a:pt x="576" y="776"/>
                    <a:pt x="581" y="776"/>
                  </a:cubicBezTo>
                  <a:cubicBezTo>
                    <a:pt x="584" y="776"/>
                    <a:pt x="585" y="778"/>
                    <a:pt x="586" y="779"/>
                  </a:cubicBezTo>
                  <a:cubicBezTo>
                    <a:pt x="587" y="780"/>
                    <a:pt x="587" y="781"/>
                    <a:pt x="588" y="781"/>
                  </a:cubicBezTo>
                  <a:cubicBezTo>
                    <a:pt x="588" y="781"/>
                    <a:pt x="588" y="781"/>
                    <a:pt x="588" y="781"/>
                  </a:cubicBezTo>
                  <a:cubicBezTo>
                    <a:pt x="589" y="781"/>
                    <a:pt x="590" y="779"/>
                    <a:pt x="590" y="778"/>
                  </a:cubicBezTo>
                  <a:cubicBezTo>
                    <a:pt x="591" y="776"/>
                    <a:pt x="591" y="773"/>
                    <a:pt x="594" y="774"/>
                  </a:cubicBezTo>
                  <a:cubicBezTo>
                    <a:pt x="595" y="774"/>
                    <a:pt x="596" y="775"/>
                    <a:pt x="598" y="776"/>
                  </a:cubicBezTo>
                  <a:cubicBezTo>
                    <a:pt x="600" y="777"/>
                    <a:pt x="602" y="778"/>
                    <a:pt x="605" y="778"/>
                  </a:cubicBezTo>
                  <a:cubicBezTo>
                    <a:pt x="610" y="778"/>
                    <a:pt x="613" y="777"/>
                    <a:pt x="613" y="774"/>
                  </a:cubicBezTo>
                  <a:cubicBezTo>
                    <a:pt x="613" y="769"/>
                    <a:pt x="612" y="764"/>
                    <a:pt x="610" y="764"/>
                  </a:cubicBezTo>
                  <a:cubicBezTo>
                    <a:pt x="608" y="764"/>
                    <a:pt x="607" y="763"/>
                    <a:pt x="605" y="762"/>
                  </a:cubicBezTo>
                  <a:cubicBezTo>
                    <a:pt x="603" y="762"/>
                    <a:pt x="601" y="761"/>
                    <a:pt x="599" y="761"/>
                  </a:cubicBezTo>
                  <a:cubicBezTo>
                    <a:pt x="597" y="761"/>
                    <a:pt x="594" y="758"/>
                    <a:pt x="594" y="755"/>
                  </a:cubicBezTo>
                  <a:cubicBezTo>
                    <a:pt x="593" y="754"/>
                    <a:pt x="594" y="752"/>
                    <a:pt x="595" y="752"/>
                  </a:cubicBezTo>
                  <a:cubicBezTo>
                    <a:pt x="599" y="751"/>
                    <a:pt x="603" y="749"/>
                    <a:pt x="604" y="746"/>
                  </a:cubicBezTo>
                  <a:cubicBezTo>
                    <a:pt x="604" y="745"/>
                    <a:pt x="604" y="745"/>
                    <a:pt x="604" y="745"/>
                  </a:cubicBezTo>
                  <a:cubicBezTo>
                    <a:pt x="604" y="744"/>
                    <a:pt x="602" y="739"/>
                    <a:pt x="604" y="736"/>
                  </a:cubicBezTo>
                  <a:cubicBezTo>
                    <a:pt x="604" y="735"/>
                    <a:pt x="606" y="734"/>
                    <a:pt x="607" y="734"/>
                  </a:cubicBezTo>
                  <a:cubicBezTo>
                    <a:pt x="609" y="734"/>
                    <a:pt x="610" y="734"/>
                    <a:pt x="612" y="733"/>
                  </a:cubicBezTo>
                  <a:cubicBezTo>
                    <a:pt x="616" y="733"/>
                    <a:pt x="622" y="733"/>
                    <a:pt x="622" y="732"/>
                  </a:cubicBezTo>
                  <a:cubicBezTo>
                    <a:pt x="622" y="731"/>
                    <a:pt x="619" y="731"/>
                    <a:pt x="617" y="730"/>
                  </a:cubicBezTo>
                  <a:cubicBezTo>
                    <a:pt x="614" y="729"/>
                    <a:pt x="611" y="728"/>
                    <a:pt x="609" y="726"/>
                  </a:cubicBezTo>
                  <a:cubicBezTo>
                    <a:pt x="608" y="722"/>
                    <a:pt x="607" y="714"/>
                    <a:pt x="609" y="713"/>
                  </a:cubicBezTo>
                  <a:cubicBezTo>
                    <a:pt x="609" y="712"/>
                    <a:pt x="610" y="712"/>
                    <a:pt x="612" y="712"/>
                  </a:cubicBezTo>
                  <a:cubicBezTo>
                    <a:pt x="613" y="712"/>
                    <a:pt x="613" y="712"/>
                    <a:pt x="614" y="712"/>
                  </a:cubicBezTo>
                  <a:cubicBezTo>
                    <a:pt x="616" y="712"/>
                    <a:pt x="617" y="712"/>
                    <a:pt x="618" y="712"/>
                  </a:cubicBezTo>
                  <a:cubicBezTo>
                    <a:pt x="619" y="712"/>
                    <a:pt x="620" y="712"/>
                    <a:pt x="621" y="712"/>
                  </a:cubicBezTo>
                  <a:cubicBezTo>
                    <a:pt x="622" y="712"/>
                    <a:pt x="623" y="712"/>
                    <a:pt x="624" y="712"/>
                  </a:cubicBezTo>
                  <a:cubicBezTo>
                    <a:pt x="625" y="712"/>
                    <a:pt x="626" y="712"/>
                    <a:pt x="627" y="712"/>
                  </a:cubicBezTo>
                  <a:cubicBezTo>
                    <a:pt x="629" y="712"/>
                    <a:pt x="630" y="712"/>
                    <a:pt x="631" y="712"/>
                  </a:cubicBezTo>
                  <a:cubicBezTo>
                    <a:pt x="635" y="712"/>
                    <a:pt x="637" y="711"/>
                    <a:pt x="639" y="710"/>
                  </a:cubicBezTo>
                  <a:cubicBezTo>
                    <a:pt x="644" y="706"/>
                    <a:pt x="656" y="705"/>
                    <a:pt x="661" y="705"/>
                  </a:cubicBezTo>
                  <a:cubicBezTo>
                    <a:pt x="664" y="705"/>
                    <a:pt x="667" y="704"/>
                    <a:pt x="670" y="703"/>
                  </a:cubicBezTo>
                  <a:cubicBezTo>
                    <a:pt x="672" y="702"/>
                    <a:pt x="674" y="701"/>
                    <a:pt x="676" y="701"/>
                  </a:cubicBezTo>
                  <a:cubicBezTo>
                    <a:pt x="678" y="701"/>
                    <a:pt x="693" y="699"/>
                    <a:pt x="696" y="697"/>
                  </a:cubicBezTo>
                  <a:cubicBezTo>
                    <a:pt x="697" y="697"/>
                    <a:pt x="699" y="696"/>
                    <a:pt x="702" y="696"/>
                  </a:cubicBezTo>
                  <a:cubicBezTo>
                    <a:pt x="707" y="694"/>
                    <a:pt x="717" y="692"/>
                    <a:pt x="717" y="690"/>
                  </a:cubicBezTo>
                  <a:cubicBezTo>
                    <a:pt x="718" y="687"/>
                    <a:pt x="727" y="685"/>
                    <a:pt x="732" y="685"/>
                  </a:cubicBezTo>
                  <a:cubicBezTo>
                    <a:pt x="734" y="685"/>
                    <a:pt x="735" y="686"/>
                    <a:pt x="736" y="686"/>
                  </a:cubicBezTo>
                  <a:cubicBezTo>
                    <a:pt x="738" y="687"/>
                    <a:pt x="741" y="688"/>
                    <a:pt x="744" y="688"/>
                  </a:cubicBezTo>
                  <a:cubicBezTo>
                    <a:pt x="745" y="688"/>
                    <a:pt x="746" y="688"/>
                    <a:pt x="747" y="687"/>
                  </a:cubicBezTo>
                  <a:cubicBezTo>
                    <a:pt x="748" y="687"/>
                    <a:pt x="748" y="687"/>
                    <a:pt x="748" y="687"/>
                  </a:cubicBezTo>
                  <a:cubicBezTo>
                    <a:pt x="751" y="687"/>
                    <a:pt x="754" y="689"/>
                    <a:pt x="756" y="691"/>
                  </a:cubicBezTo>
                  <a:cubicBezTo>
                    <a:pt x="757" y="692"/>
                    <a:pt x="757" y="693"/>
                    <a:pt x="757" y="694"/>
                  </a:cubicBezTo>
                  <a:cubicBezTo>
                    <a:pt x="756" y="696"/>
                    <a:pt x="757" y="698"/>
                    <a:pt x="758" y="699"/>
                  </a:cubicBezTo>
                  <a:cubicBezTo>
                    <a:pt x="759" y="701"/>
                    <a:pt x="760" y="703"/>
                    <a:pt x="759" y="704"/>
                  </a:cubicBezTo>
                  <a:cubicBezTo>
                    <a:pt x="759" y="705"/>
                    <a:pt x="758" y="706"/>
                    <a:pt x="758" y="707"/>
                  </a:cubicBezTo>
                  <a:cubicBezTo>
                    <a:pt x="757" y="708"/>
                    <a:pt x="757" y="709"/>
                    <a:pt x="758" y="710"/>
                  </a:cubicBezTo>
                  <a:cubicBezTo>
                    <a:pt x="758" y="710"/>
                    <a:pt x="759" y="711"/>
                    <a:pt x="761" y="711"/>
                  </a:cubicBezTo>
                  <a:cubicBezTo>
                    <a:pt x="764" y="711"/>
                    <a:pt x="768" y="709"/>
                    <a:pt x="770" y="708"/>
                  </a:cubicBezTo>
                  <a:cubicBezTo>
                    <a:pt x="771" y="707"/>
                    <a:pt x="772" y="706"/>
                    <a:pt x="772" y="706"/>
                  </a:cubicBezTo>
                  <a:cubicBezTo>
                    <a:pt x="775" y="706"/>
                    <a:pt x="776" y="709"/>
                    <a:pt x="776" y="711"/>
                  </a:cubicBezTo>
                  <a:cubicBezTo>
                    <a:pt x="776" y="713"/>
                    <a:pt x="778" y="714"/>
                    <a:pt x="779" y="714"/>
                  </a:cubicBezTo>
                  <a:cubicBezTo>
                    <a:pt x="779" y="714"/>
                    <a:pt x="780" y="713"/>
                    <a:pt x="780" y="712"/>
                  </a:cubicBezTo>
                  <a:cubicBezTo>
                    <a:pt x="780" y="711"/>
                    <a:pt x="780" y="710"/>
                    <a:pt x="782" y="710"/>
                  </a:cubicBezTo>
                  <a:cubicBezTo>
                    <a:pt x="784" y="710"/>
                    <a:pt x="786" y="712"/>
                    <a:pt x="787" y="713"/>
                  </a:cubicBezTo>
                  <a:cubicBezTo>
                    <a:pt x="788" y="714"/>
                    <a:pt x="789" y="713"/>
                    <a:pt x="791" y="713"/>
                  </a:cubicBezTo>
                  <a:cubicBezTo>
                    <a:pt x="792" y="713"/>
                    <a:pt x="793" y="713"/>
                    <a:pt x="793" y="713"/>
                  </a:cubicBezTo>
                  <a:cubicBezTo>
                    <a:pt x="795" y="713"/>
                    <a:pt x="795" y="714"/>
                    <a:pt x="795" y="714"/>
                  </a:cubicBezTo>
                  <a:cubicBezTo>
                    <a:pt x="795" y="716"/>
                    <a:pt x="794" y="717"/>
                    <a:pt x="792" y="719"/>
                  </a:cubicBezTo>
                  <a:cubicBezTo>
                    <a:pt x="791" y="720"/>
                    <a:pt x="789" y="721"/>
                    <a:pt x="789" y="722"/>
                  </a:cubicBezTo>
                  <a:cubicBezTo>
                    <a:pt x="789" y="722"/>
                    <a:pt x="789" y="723"/>
                    <a:pt x="790" y="723"/>
                  </a:cubicBezTo>
                  <a:cubicBezTo>
                    <a:pt x="790" y="724"/>
                    <a:pt x="791" y="724"/>
                    <a:pt x="792" y="724"/>
                  </a:cubicBezTo>
                  <a:cubicBezTo>
                    <a:pt x="793" y="724"/>
                    <a:pt x="794" y="723"/>
                    <a:pt x="795" y="723"/>
                  </a:cubicBezTo>
                  <a:cubicBezTo>
                    <a:pt x="796" y="722"/>
                    <a:pt x="797" y="720"/>
                    <a:pt x="799" y="720"/>
                  </a:cubicBezTo>
                  <a:cubicBezTo>
                    <a:pt x="800" y="720"/>
                    <a:pt x="800" y="721"/>
                    <a:pt x="801" y="721"/>
                  </a:cubicBezTo>
                  <a:cubicBezTo>
                    <a:pt x="802" y="721"/>
                    <a:pt x="802" y="721"/>
                    <a:pt x="802" y="721"/>
                  </a:cubicBezTo>
                  <a:cubicBezTo>
                    <a:pt x="804" y="721"/>
                    <a:pt x="807" y="719"/>
                    <a:pt x="810" y="717"/>
                  </a:cubicBezTo>
                  <a:cubicBezTo>
                    <a:pt x="812" y="716"/>
                    <a:pt x="814" y="715"/>
                    <a:pt x="816" y="714"/>
                  </a:cubicBezTo>
                  <a:cubicBezTo>
                    <a:pt x="819" y="714"/>
                    <a:pt x="823" y="711"/>
                    <a:pt x="826" y="709"/>
                  </a:cubicBezTo>
                  <a:cubicBezTo>
                    <a:pt x="827" y="708"/>
                    <a:pt x="828" y="708"/>
                    <a:pt x="829" y="707"/>
                  </a:cubicBezTo>
                  <a:cubicBezTo>
                    <a:pt x="831" y="706"/>
                    <a:pt x="833" y="705"/>
                    <a:pt x="836" y="705"/>
                  </a:cubicBezTo>
                  <a:cubicBezTo>
                    <a:pt x="837" y="705"/>
                    <a:pt x="840" y="706"/>
                    <a:pt x="840" y="707"/>
                  </a:cubicBezTo>
                  <a:cubicBezTo>
                    <a:pt x="840" y="707"/>
                    <a:pt x="840" y="708"/>
                    <a:pt x="840" y="709"/>
                  </a:cubicBezTo>
                  <a:cubicBezTo>
                    <a:pt x="838" y="710"/>
                    <a:pt x="837" y="712"/>
                    <a:pt x="837" y="714"/>
                  </a:cubicBezTo>
                  <a:cubicBezTo>
                    <a:pt x="838" y="716"/>
                    <a:pt x="840" y="717"/>
                    <a:pt x="844" y="719"/>
                  </a:cubicBezTo>
                  <a:cubicBezTo>
                    <a:pt x="852" y="722"/>
                    <a:pt x="862" y="737"/>
                    <a:pt x="868" y="747"/>
                  </a:cubicBezTo>
                  <a:cubicBezTo>
                    <a:pt x="869" y="748"/>
                    <a:pt x="870" y="749"/>
                    <a:pt x="871" y="751"/>
                  </a:cubicBezTo>
                  <a:cubicBezTo>
                    <a:pt x="873" y="754"/>
                    <a:pt x="876" y="760"/>
                    <a:pt x="878" y="764"/>
                  </a:cubicBezTo>
                  <a:cubicBezTo>
                    <a:pt x="881" y="770"/>
                    <a:pt x="884" y="776"/>
                    <a:pt x="885" y="776"/>
                  </a:cubicBezTo>
                  <a:cubicBezTo>
                    <a:pt x="887" y="776"/>
                    <a:pt x="888" y="775"/>
                    <a:pt x="889" y="773"/>
                  </a:cubicBezTo>
                  <a:cubicBezTo>
                    <a:pt x="890" y="770"/>
                    <a:pt x="891" y="768"/>
                    <a:pt x="894" y="767"/>
                  </a:cubicBezTo>
                  <a:cubicBezTo>
                    <a:pt x="894" y="767"/>
                    <a:pt x="894" y="767"/>
                    <a:pt x="894" y="767"/>
                  </a:cubicBezTo>
                  <a:cubicBezTo>
                    <a:pt x="897" y="767"/>
                    <a:pt x="898" y="769"/>
                    <a:pt x="900" y="771"/>
                  </a:cubicBezTo>
                  <a:cubicBezTo>
                    <a:pt x="902" y="773"/>
                    <a:pt x="903" y="775"/>
                    <a:pt x="905" y="775"/>
                  </a:cubicBezTo>
                  <a:cubicBezTo>
                    <a:pt x="906" y="775"/>
                    <a:pt x="908" y="776"/>
                    <a:pt x="909" y="776"/>
                  </a:cubicBezTo>
                  <a:cubicBezTo>
                    <a:pt x="912" y="777"/>
                    <a:pt x="915" y="778"/>
                    <a:pt x="917" y="778"/>
                  </a:cubicBezTo>
                  <a:cubicBezTo>
                    <a:pt x="918" y="778"/>
                    <a:pt x="918" y="778"/>
                    <a:pt x="919" y="777"/>
                  </a:cubicBezTo>
                  <a:cubicBezTo>
                    <a:pt x="920" y="777"/>
                    <a:pt x="921" y="777"/>
                    <a:pt x="922" y="776"/>
                  </a:cubicBezTo>
                  <a:cubicBezTo>
                    <a:pt x="925" y="775"/>
                    <a:pt x="929" y="773"/>
                    <a:pt x="932" y="773"/>
                  </a:cubicBezTo>
                  <a:cubicBezTo>
                    <a:pt x="933" y="773"/>
                    <a:pt x="933" y="773"/>
                    <a:pt x="934" y="773"/>
                  </a:cubicBezTo>
                  <a:cubicBezTo>
                    <a:pt x="935" y="774"/>
                    <a:pt x="935" y="774"/>
                    <a:pt x="936" y="774"/>
                  </a:cubicBezTo>
                  <a:cubicBezTo>
                    <a:pt x="939" y="775"/>
                    <a:pt x="941" y="776"/>
                    <a:pt x="944" y="781"/>
                  </a:cubicBezTo>
                  <a:cubicBezTo>
                    <a:pt x="946" y="787"/>
                    <a:pt x="950" y="788"/>
                    <a:pt x="952" y="788"/>
                  </a:cubicBezTo>
                  <a:cubicBezTo>
                    <a:pt x="954" y="788"/>
                    <a:pt x="956" y="789"/>
                    <a:pt x="956" y="794"/>
                  </a:cubicBezTo>
                  <a:cubicBezTo>
                    <a:pt x="956" y="797"/>
                    <a:pt x="960" y="800"/>
                    <a:pt x="963" y="800"/>
                  </a:cubicBezTo>
                  <a:cubicBezTo>
                    <a:pt x="965" y="800"/>
                    <a:pt x="972" y="799"/>
                    <a:pt x="974" y="798"/>
                  </a:cubicBezTo>
                  <a:cubicBezTo>
                    <a:pt x="975" y="797"/>
                    <a:pt x="976" y="796"/>
                    <a:pt x="978" y="796"/>
                  </a:cubicBezTo>
                  <a:cubicBezTo>
                    <a:pt x="978" y="796"/>
                    <a:pt x="980" y="797"/>
                    <a:pt x="980" y="799"/>
                  </a:cubicBezTo>
                  <a:cubicBezTo>
                    <a:pt x="980" y="801"/>
                    <a:pt x="984" y="806"/>
                    <a:pt x="986" y="806"/>
                  </a:cubicBezTo>
                  <a:cubicBezTo>
                    <a:pt x="987" y="806"/>
                    <a:pt x="988" y="806"/>
                    <a:pt x="989" y="806"/>
                  </a:cubicBezTo>
                  <a:cubicBezTo>
                    <a:pt x="991" y="807"/>
                    <a:pt x="992" y="807"/>
                    <a:pt x="993" y="807"/>
                  </a:cubicBezTo>
                  <a:cubicBezTo>
                    <a:pt x="994" y="807"/>
                    <a:pt x="994" y="807"/>
                    <a:pt x="994" y="806"/>
                  </a:cubicBezTo>
                  <a:cubicBezTo>
                    <a:pt x="994" y="806"/>
                    <a:pt x="994" y="804"/>
                    <a:pt x="1004" y="802"/>
                  </a:cubicBezTo>
                  <a:cubicBezTo>
                    <a:pt x="1007" y="802"/>
                    <a:pt x="1016" y="800"/>
                    <a:pt x="1017" y="796"/>
                  </a:cubicBezTo>
                  <a:cubicBezTo>
                    <a:pt x="1018" y="794"/>
                    <a:pt x="1021" y="793"/>
                    <a:pt x="1024" y="792"/>
                  </a:cubicBezTo>
                  <a:cubicBezTo>
                    <a:pt x="1026" y="791"/>
                    <a:pt x="1028" y="791"/>
                    <a:pt x="1028" y="790"/>
                  </a:cubicBezTo>
                  <a:cubicBezTo>
                    <a:pt x="1029" y="788"/>
                    <a:pt x="1031" y="788"/>
                    <a:pt x="1033" y="787"/>
                  </a:cubicBezTo>
                  <a:cubicBezTo>
                    <a:pt x="1035" y="786"/>
                    <a:pt x="1037" y="785"/>
                    <a:pt x="1038" y="783"/>
                  </a:cubicBezTo>
                  <a:cubicBezTo>
                    <a:pt x="1039" y="782"/>
                    <a:pt x="1041" y="781"/>
                    <a:pt x="1043" y="781"/>
                  </a:cubicBezTo>
                  <a:cubicBezTo>
                    <a:pt x="1045" y="780"/>
                    <a:pt x="1047" y="780"/>
                    <a:pt x="1048" y="779"/>
                  </a:cubicBezTo>
                  <a:cubicBezTo>
                    <a:pt x="1048" y="777"/>
                    <a:pt x="1052" y="777"/>
                    <a:pt x="1055" y="777"/>
                  </a:cubicBezTo>
                  <a:cubicBezTo>
                    <a:pt x="1056" y="777"/>
                    <a:pt x="1058" y="777"/>
                    <a:pt x="1059" y="777"/>
                  </a:cubicBezTo>
                  <a:cubicBezTo>
                    <a:pt x="1061" y="778"/>
                    <a:pt x="1075" y="781"/>
                    <a:pt x="1078" y="781"/>
                  </a:cubicBezTo>
                  <a:cubicBezTo>
                    <a:pt x="1078" y="781"/>
                    <a:pt x="1078" y="781"/>
                    <a:pt x="1079" y="781"/>
                  </a:cubicBezTo>
                  <a:cubicBezTo>
                    <a:pt x="1080" y="780"/>
                    <a:pt x="1081" y="782"/>
                    <a:pt x="1082" y="785"/>
                  </a:cubicBezTo>
                  <a:cubicBezTo>
                    <a:pt x="1082" y="786"/>
                    <a:pt x="1083" y="789"/>
                    <a:pt x="1083" y="789"/>
                  </a:cubicBezTo>
                  <a:cubicBezTo>
                    <a:pt x="1084" y="789"/>
                    <a:pt x="1086" y="790"/>
                    <a:pt x="1087" y="791"/>
                  </a:cubicBezTo>
                  <a:cubicBezTo>
                    <a:pt x="1090" y="792"/>
                    <a:pt x="1093" y="794"/>
                    <a:pt x="1094" y="794"/>
                  </a:cubicBezTo>
                  <a:cubicBezTo>
                    <a:pt x="1095" y="794"/>
                    <a:pt x="1095" y="794"/>
                    <a:pt x="1095" y="794"/>
                  </a:cubicBezTo>
                  <a:cubicBezTo>
                    <a:pt x="1096" y="793"/>
                    <a:pt x="1099" y="791"/>
                    <a:pt x="1102" y="791"/>
                  </a:cubicBezTo>
                  <a:cubicBezTo>
                    <a:pt x="1104" y="791"/>
                    <a:pt x="1106" y="792"/>
                    <a:pt x="1107" y="793"/>
                  </a:cubicBezTo>
                  <a:cubicBezTo>
                    <a:pt x="1108" y="793"/>
                    <a:pt x="1109" y="793"/>
                    <a:pt x="1109" y="794"/>
                  </a:cubicBezTo>
                  <a:cubicBezTo>
                    <a:pt x="1112" y="795"/>
                    <a:pt x="1114" y="797"/>
                    <a:pt x="1115" y="797"/>
                  </a:cubicBezTo>
                  <a:cubicBezTo>
                    <a:pt x="1116" y="797"/>
                    <a:pt x="1117" y="796"/>
                    <a:pt x="1117" y="796"/>
                  </a:cubicBezTo>
                  <a:cubicBezTo>
                    <a:pt x="1118" y="794"/>
                    <a:pt x="1122" y="793"/>
                    <a:pt x="1125" y="792"/>
                  </a:cubicBezTo>
                  <a:cubicBezTo>
                    <a:pt x="1127" y="791"/>
                    <a:pt x="1129" y="790"/>
                    <a:pt x="1129" y="790"/>
                  </a:cubicBezTo>
                  <a:cubicBezTo>
                    <a:pt x="1130" y="788"/>
                    <a:pt x="1131" y="783"/>
                    <a:pt x="1130" y="782"/>
                  </a:cubicBezTo>
                  <a:cubicBezTo>
                    <a:pt x="1127" y="780"/>
                    <a:pt x="1124" y="771"/>
                    <a:pt x="1124" y="770"/>
                  </a:cubicBezTo>
                  <a:cubicBezTo>
                    <a:pt x="1124" y="767"/>
                    <a:pt x="1126" y="766"/>
                    <a:pt x="1127" y="765"/>
                  </a:cubicBezTo>
                  <a:cubicBezTo>
                    <a:pt x="1129" y="764"/>
                    <a:pt x="1130" y="763"/>
                    <a:pt x="1130" y="762"/>
                  </a:cubicBezTo>
                  <a:cubicBezTo>
                    <a:pt x="1131" y="760"/>
                    <a:pt x="1133" y="759"/>
                    <a:pt x="1135" y="758"/>
                  </a:cubicBezTo>
                  <a:cubicBezTo>
                    <a:pt x="1136" y="758"/>
                    <a:pt x="1138" y="757"/>
                    <a:pt x="1138" y="757"/>
                  </a:cubicBezTo>
                  <a:cubicBezTo>
                    <a:pt x="1139" y="756"/>
                    <a:pt x="1139" y="755"/>
                    <a:pt x="1139" y="755"/>
                  </a:cubicBezTo>
                  <a:cubicBezTo>
                    <a:pt x="1140" y="753"/>
                    <a:pt x="1141" y="752"/>
                    <a:pt x="1143" y="752"/>
                  </a:cubicBezTo>
                  <a:cubicBezTo>
                    <a:pt x="1143" y="752"/>
                    <a:pt x="1143" y="752"/>
                    <a:pt x="1144" y="752"/>
                  </a:cubicBezTo>
                  <a:cubicBezTo>
                    <a:pt x="1144" y="752"/>
                    <a:pt x="1153" y="754"/>
                    <a:pt x="1155" y="756"/>
                  </a:cubicBezTo>
                  <a:cubicBezTo>
                    <a:pt x="1156" y="757"/>
                    <a:pt x="1160" y="758"/>
                    <a:pt x="1163" y="758"/>
                  </a:cubicBezTo>
                  <a:cubicBezTo>
                    <a:pt x="1166" y="758"/>
                    <a:pt x="1171" y="761"/>
                    <a:pt x="1174" y="763"/>
                  </a:cubicBezTo>
                  <a:cubicBezTo>
                    <a:pt x="1176" y="763"/>
                    <a:pt x="1178" y="764"/>
                    <a:pt x="1180" y="764"/>
                  </a:cubicBezTo>
                  <a:cubicBezTo>
                    <a:pt x="1184" y="765"/>
                    <a:pt x="1188" y="765"/>
                    <a:pt x="1189" y="767"/>
                  </a:cubicBezTo>
                  <a:cubicBezTo>
                    <a:pt x="1190" y="768"/>
                    <a:pt x="1190" y="771"/>
                    <a:pt x="1190" y="773"/>
                  </a:cubicBezTo>
                  <a:cubicBezTo>
                    <a:pt x="1189" y="776"/>
                    <a:pt x="1189" y="778"/>
                    <a:pt x="1190" y="779"/>
                  </a:cubicBezTo>
                  <a:cubicBezTo>
                    <a:pt x="1193" y="783"/>
                    <a:pt x="1197" y="786"/>
                    <a:pt x="1198" y="786"/>
                  </a:cubicBezTo>
                  <a:cubicBezTo>
                    <a:pt x="1199" y="786"/>
                    <a:pt x="1199" y="786"/>
                    <a:pt x="1199" y="786"/>
                  </a:cubicBezTo>
                  <a:cubicBezTo>
                    <a:pt x="1199" y="786"/>
                    <a:pt x="1199" y="786"/>
                    <a:pt x="1200" y="786"/>
                  </a:cubicBezTo>
                  <a:cubicBezTo>
                    <a:pt x="1201" y="786"/>
                    <a:pt x="1203" y="787"/>
                    <a:pt x="1206" y="788"/>
                  </a:cubicBezTo>
                  <a:cubicBezTo>
                    <a:pt x="1208" y="789"/>
                    <a:pt x="1211" y="790"/>
                    <a:pt x="1212" y="790"/>
                  </a:cubicBezTo>
                  <a:cubicBezTo>
                    <a:pt x="1213" y="790"/>
                    <a:pt x="1215" y="789"/>
                    <a:pt x="1217" y="787"/>
                  </a:cubicBezTo>
                  <a:cubicBezTo>
                    <a:pt x="1219" y="786"/>
                    <a:pt x="1221" y="785"/>
                    <a:pt x="1222" y="785"/>
                  </a:cubicBezTo>
                  <a:cubicBezTo>
                    <a:pt x="1223" y="785"/>
                    <a:pt x="1225" y="784"/>
                    <a:pt x="1228" y="784"/>
                  </a:cubicBezTo>
                  <a:cubicBezTo>
                    <a:pt x="1231" y="783"/>
                    <a:pt x="1234" y="783"/>
                    <a:pt x="1236" y="783"/>
                  </a:cubicBezTo>
                  <a:cubicBezTo>
                    <a:pt x="1237" y="783"/>
                    <a:pt x="1238" y="784"/>
                    <a:pt x="1240" y="784"/>
                  </a:cubicBezTo>
                  <a:cubicBezTo>
                    <a:pt x="1243" y="785"/>
                    <a:pt x="1247" y="786"/>
                    <a:pt x="1248" y="786"/>
                  </a:cubicBezTo>
                  <a:cubicBezTo>
                    <a:pt x="1249" y="786"/>
                    <a:pt x="1249" y="786"/>
                    <a:pt x="1249" y="786"/>
                  </a:cubicBezTo>
                  <a:cubicBezTo>
                    <a:pt x="1249" y="786"/>
                    <a:pt x="1250" y="786"/>
                    <a:pt x="1251" y="786"/>
                  </a:cubicBezTo>
                  <a:cubicBezTo>
                    <a:pt x="1253" y="786"/>
                    <a:pt x="1259" y="787"/>
                    <a:pt x="1261" y="789"/>
                  </a:cubicBezTo>
                  <a:cubicBezTo>
                    <a:pt x="1261" y="790"/>
                    <a:pt x="1264" y="791"/>
                    <a:pt x="1266" y="792"/>
                  </a:cubicBezTo>
                  <a:cubicBezTo>
                    <a:pt x="1270" y="792"/>
                    <a:pt x="1273" y="793"/>
                    <a:pt x="1273" y="795"/>
                  </a:cubicBezTo>
                  <a:cubicBezTo>
                    <a:pt x="1273" y="797"/>
                    <a:pt x="1274" y="798"/>
                    <a:pt x="1276" y="799"/>
                  </a:cubicBezTo>
                  <a:cubicBezTo>
                    <a:pt x="1278" y="800"/>
                    <a:pt x="1280" y="802"/>
                    <a:pt x="1280" y="803"/>
                  </a:cubicBezTo>
                  <a:cubicBezTo>
                    <a:pt x="1281" y="805"/>
                    <a:pt x="1286" y="805"/>
                    <a:pt x="1290" y="805"/>
                  </a:cubicBezTo>
                  <a:cubicBezTo>
                    <a:pt x="1294" y="805"/>
                    <a:pt x="1298" y="805"/>
                    <a:pt x="1299" y="806"/>
                  </a:cubicBezTo>
                  <a:cubicBezTo>
                    <a:pt x="1300" y="807"/>
                    <a:pt x="1304" y="808"/>
                    <a:pt x="1308" y="808"/>
                  </a:cubicBezTo>
                  <a:cubicBezTo>
                    <a:pt x="1314" y="808"/>
                    <a:pt x="1317" y="807"/>
                    <a:pt x="1317" y="807"/>
                  </a:cubicBezTo>
                  <a:cubicBezTo>
                    <a:pt x="1318" y="806"/>
                    <a:pt x="1320" y="805"/>
                    <a:pt x="1326" y="804"/>
                  </a:cubicBezTo>
                  <a:cubicBezTo>
                    <a:pt x="1330" y="804"/>
                    <a:pt x="1335" y="803"/>
                    <a:pt x="1336" y="802"/>
                  </a:cubicBezTo>
                  <a:cubicBezTo>
                    <a:pt x="1338" y="801"/>
                    <a:pt x="1340" y="800"/>
                    <a:pt x="1342" y="800"/>
                  </a:cubicBezTo>
                  <a:cubicBezTo>
                    <a:pt x="1345" y="800"/>
                    <a:pt x="1348" y="799"/>
                    <a:pt x="1348" y="798"/>
                  </a:cubicBezTo>
                  <a:cubicBezTo>
                    <a:pt x="1348" y="796"/>
                    <a:pt x="1351" y="794"/>
                    <a:pt x="1355" y="792"/>
                  </a:cubicBezTo>
                  <a:cubicBezTo>
                    <a:pt x="1357" y="791"/>
                    <a:pt x="1358" y="791"/>
                    <a:pt x="1360" y="790"/>
                  </a:cubicBezTo>
                  <a:cubicBezTo>
                    <a:pt x="1361" y="789"/>
                    <a:pt x="1364" y="788"/>
                    <a:pt x="1369" y="788"/>
                  </a:cubicBezTo>
                  <a:cubicBezTo>
                    <a:pt x="1373" y="788"/>
                    <a:pt x="1378" y="789"/>
                    <a:pt x="1379" y="791"/>
                  </a:cubicBezTo>
                  <a:cubicBezTo>
                    <a:pt x="1379" y="793"/>
                    <a:pt x="1383" y="794"/>
                    <a:pt x="1386" y="794"/>
                  </a:cubicBezTo>
                  <a:cubicBezTo>
                    <a:pt x="1388" y="794"/>
                    <a:pt x="1389" y="793"/>
                    <a:pt x="1390" y="793"/>
                  </a:cubicBezTo>
                  <a:cubicBezTo>
                    <a:pt x="1391" y="793"/>
                    <a:pt x="1392" y="793"/>
                    <a:pt x="1394" y="793"/>
                  </a:cubicBezTo>
                  <a:cubicBezTo>
                    <a:pt x="1398" y="793"/>
                    <a:pt x="1404" y="794"/>
                    <a:pt x="1405" y="797"/>
                  </a:cubicBezTo>
                  <a:cubicBezTo>
                    <a:pt x="1406" y="799"/>
                    <a:pt x="1413" y="801"/>
                    <a:pt x="1416" y="801"/>
                  </a:cubicBezTo>
                  <a:cubicBezTo>
                    <a:pt x="1418" y="801"/>
                    <a:pt x="1418" y="800"/>
                    <a:pt x="1418" y="800"/>
                  </a:cubicBezTo>
                  <a:cubicBezTo>
                    <a:pt x="1419" y="800"/>
                    <a:pt x="1421" y="799"/>
                    <a:pt x="1424" y="797"/>
                  </a:cubicBezTo>
                  <a:cubicBezTo>
                    <a:pt x="1427" y="795"/>
                    <a:pt x="1430" y="793"/>
                    <a:pt x="1432" y="793"/>
                  </a:cubicBezTo>
                  <a:cubicBezTo>
                    <a:pt x="1434" y="793"/>
                    <a:pt x="1437" y="791"/>
                    <a:pt x="1438" y="790"/>
                  </a:cubicBezTo>
                  <a:cubicBezTo>
                    <a:pt x="1438" y="789"/>
                    <a:pt x="1438" y="788"/>
                    <a:pt x="1438" y="787"/>
                  </a:cubicBezTo>
                  <a:cubicBezTo>
                    <a:pt x="1438" y="785"/>
                    <a:pt x="1440" y="781"/>
                    <a:pt x="1442" y="778"/>
                  </a:cubicBezTo>
                  <a:cubicBezTo>
                    <a:pt x="1443" y="775"/>
                    <a:pt x="1445" y="773"/>
                    <a:pt x="1445" y="772"/>
                  </a:cubicBezTo>
                  <a:cubicBezTo>
                    <a:pt x="1446" y="768"/>
                    <a:pt x="1452" y="759"/>
                    <a:pt x="1454" y="758"/>
                  </a:cubicBezTo>
                  <a:cubicBezTo>
                    <a:pt x="1457" y="757"/>
                    <a:pt x="1461" y="753"/>
                    <a:pt x="1461" y="751"/>
                  </a:cubicBezTo>
                  <a:cubicBezTo>
                    <a:pt x="1459" y="743"/>
                    <a:pt x="1458" y="741"/>
                    <a:pt x="1457" y="741"/>
                  </a:cubicBezTo>
                  <a:cubicBezTo>
                    <a:pt x="1456" y="741"/>
                    <a:pt x="1456" y="741"/>
                    <a:pt x="1456" y="741"/>
                  </a:cubicBezTo>
                  <a:cubicBezTo>
                    <a:pt x="1455" y="741"/>
                    <a:pt x="1453" y="741"/>
                    <a:pt x="1452" y="740"/>
                  </a:cubicBezTo>
                  <a:cubicBezTo>
                    <a:pt x="1452" y="738"/>
                    <a:pt x="1452" y="736"/>
                    <a:pt x="1455" y="733"/>
                  </a:cubicBezTo>
                  <a:cubicBezTo>
                    <a:pt x="1458" y="728"/>
                    <a:pt x="1463" y="726"/>
                    <a:pt x="1469" y="726"/>
                  </a:cubicBezTo>
                  <a:cubicBezTo>
                    <a:pt x="1471" y="726"/>
                    <a:pt x="1472" y="726"/>
                    <a:pt x="1473" y="726"/>
                  </a:cubicBezTo>
                  <a:cubicBezTo>
                    <a:pt x="1474" y="726"/>
                    <a:pt x="1474" y="726"/>
                    <a:pt x="1474" y="726"/>
                  </a:cubicBezTo>
                  <a:cubicBezTo>
                    <a:pt x="1474" y="726"/>
                    <a:pt x="1476" y="726"/>
                    <a:pt x="1477" y="726"/>
                  </a:cubicBezTo>
                  <a:cubicBezTo>
                    <a:pt x="1481" y="725"/>
                    <a:pt x="1486" y="724"/>
                    <a:pt x="1491" y="724"/>
                  </a:cubicBezTo>
                  <a:cubicBezTo>
                    <a:pt x="1493" y="724"/>
                    <a:pt x="1494" y="724"/>
                    <a:pt x="1496" y="725"/>
                  </a:cubicBezTo>
                  <a:cubicBezTo>
                    <a:pt x="1498" y="725"/>
                    <a:pt x="1500" y="725"/>
                    <a:pt x="1502" y="725"/>
                  </a:cubicBezTo>
                  <a:cubicBezTo>
                    <a:pt x="1503" y="725"/>
                    <a:pt x="1503" y="725"/>
                    <a:pt x="1503" y="725"/>
                  </a:cubicBezTo>
                  <a:cubicBezTo>
                    <a:pt x="1506" y="725"/>
                    <a:pt x="1509" y="725"/>
                    <a:pt x="1512" y="727"/>
                  </a:cubicBezTo>
                  <a:cubicBezTo>
                    <a:pt x="1515" y="729"/>
                    <a:pt x="1519" y="729"/>
                    <a:pt x="1522" y="730"/>
                  </a:cubicBezTo>
                  <a:cubicBezTo>
                    <a:pt x="1526" y="730"/>
                    <a:pt x="1529" y="731"/>
                    <a:pt x="1530" y="733"/>
                  </a:cubicBezTo>
                  <a:cubicBezTo>
                    <a:pt x="1531" y="734"/>
                    <a:pt x="1532" y="734"/>
                    <a:pt x="1533" y="736"/>
                  </a:cubicBezTo>
                  <a:cubicBezTo>
                    <a:pt x="1537" y="738"/>
                    <a:pt x="1540" y="740"/>
                    <a:pt x="1539" y="744"/>
                  </a:cubicBezTo>
                  <a:cubicBezTo>
                    <a:pt x="1539" y="746"/>
                    <a:pt x="1540" y="746"/>
                    <a:pt x="1541" y="747"/>
                  </a:cubicBezTo>
                  <a:cubicBezTo>
                    <a:pt x="1543" y="749"/>
                    <a:pt x="1545" y="750"/>
                    <a:pt x="1546" y="757"/>
                  </a:cubicBezTo>
                  <a:cubicBezTo>
                    <a:pt x="1548" y="764"/>
                    <a:pt x="1550" y="767"/>
                    <a:pt x="1552" y="769"/>
                  </a:cubicBezTo>
                  <a:cubicBezTo>
                    <a:pt x="1553" y="771"/>
                    <a:pt x="1554" y="772"/>
                    <a:pt x="1555" y="774"/>
                  </a:cubicBezTo>
                  <a:cubicBezTo>
                    <a:pt x="1555" y="776"/>
                    <a:pt x="1557" y="779"/>
                    <a:pt x="1559" y="782"/>
                  </a:cubicBezTo>
                  <a:cubicBezTo>
                    <a:pt x="1561" y="786"/>
                    <a:pt x="1563" y="790"/>
                    <a:pt x="1562" y="792"/>
                  </a:cubicBezTo>
                  <a:cubicBezTo>
                    <a:pt x="1562" y="794"/>
                    <a:pt x="1561" y="796"/>
                    <a:pt x="1562" y="797"/>
                  </a:cubicBezTo>
                  <a:cubicBezTo>
                    <a:pt x="1563" y="799"/>
                    <a:pt x="1565" y="799"/>
                    <a:pt x="1567" y="799"/>
                  </a:cubicBezTo>
                  <a:cubicBezTo>
                    <a:pt x="1572" y="800"/>
                    <a:pt x="1575" y="802"/>
                    <a:pt x="1578" y="803"/>
                  </a:cubicBezTo>
                  <a:cubicBezTo>
                    <a:pt x="1579" y="804"/>
                    <a:pt x="1581" y="805"/>
                    <a:pt x="1581" y="805"/>
                  </a:cubicBezTo>
                  <a:cubicBezTo>
                    <a:pt x="1582" y="805"/>
                    <a:pt x="1582" y="805"/>
                    <a:pt x="1582" y="805"/>
                  </a:cubicBezTo>
                  <a:cubicBezTo>
                    <a:pt x="1585" y="805"/>
                    <a:pt x="1593" y="807"/>
                    <a:pt x="1596" y="811"/>
                  </a:cubicBezTo>
                  <a:cubicBezTo>
                    <a:pt x="1598" y="813"/>
                    <a:pt x="1600" y="814"/>
                    <a:pt x="1602" y="814"/>
                  </a:cubicBezTo>
                  <a:cubicBezTo>
                    <a:pt x="1605" y="815"/>
                    <a:pt x="1607" y="815"/>
                    <a:pt x="1607" y="819"/>
                  </a:cubicBezTo>
                  <a:cubicBezTo>
                    <a:pt x="1607" y="821"/>
                    <a:pt x="1608" y="823"/>
                    <a:pt x="1608" y="825"/>
                  </a:cubicBezTo>
                  <a:cubicBezTo>
                    <a:pt x="1609" y="827"/>
                    <a:pt x="1610" y="829"/>
                    <a:pt x="1610" y="831"/>
                  </a:cubicBezTo>
                  <a:cubicBezTo>
                    <a:pt x="1610" y="832"/>
                    <a:pt x="1610" y="832"/>
                    <a:pt x="1611" y="833"/>
                  </a:cubicBezTo>
                  <a:cubicBezTo>
                    <a:pt x="1612" y="835"/>
                    <a:pt x="1617" y="836"/>
                    <a:pt x="1621" y="836"/>
                  </a:cubicBezTo>
                  <a:cubicBezTo>
                    <a:pt x="1622" y="836"/>
                    <a:pt x="1623" y="836"/>
                    <a:pt x="1624" y="836"/>
                  </a:cubicBezTo>
                  <a:cubicBezTo>
                    <a:pt x="1625" y="836"/>
                    <a:pt x="1627" y="836"/>
                    <a:pt x="1629" y="836"/>
                  </a:cubicBezTo>
                  <a:cubicBezTo>
                    <a:pt x="1632" y="836"/>
                    <a:pt x="1634" y="836"/>
                    <a:pt x="1636" y="833"/>
                  </a:cubicBezTo>
                  <a:cubicBezTo>
                    <a:pt x="1638" y="830"/>
                    <a:pt x="1642" y="829"/>
                    <a:pt x="1645" y="829"/>
                  </a:cubicBezTo>
                  <a:cubicBezTo>
                    <a:pt x="1647" y="829"/>
                    <a:pt x="1649" y="829"/>
                    <a:pt x="1650" y="828"/>
                  </a:cubicBezTo>
                  <a:cubicBezTo>
                    <a:pt x="1652" y="827"/>
                    <a:pt x="1655" y="826"/>
                    <a:pt x="1658" y="826"/>
                  </a:cubicBezTo>
                  <a:cubicBezTo>
                    <a:pt x="1659" y="826"/>
                    <a:pt x="1661" y="826"/>
                    <a:pt x="1662" y="827"/>
                  </a:cubicBezTo>
                  <a:cubicBezTo>
                    <a:pt x="1663" y="828"/>
                    <a:pt x="1663" y="830"/>
                    <a:pt x="1663" y="831"/>
                  </a:cubicBezTo>
                  <a:cubicBezTo>
                    <a:pt x="1663" y="835"/>
                    <a:pt x="1664" y="837"/>
                    <a:pt x="1664" y="839"/>
                  </a:cubicBezTo>
                  <a:cubicBezTo>
                    <a:pt x="1665" y="841"/>
                    <a:pt x="1666" y="842"/>
                    <a:pt x="1663" y="844"/>
                  </a:cubicBezTo>
                  <a:cubicBezTo>
                    <a:pt x="1660" y="846"/>
                    <a:pt x="1657" y="854"/>
                    <a:pt x="1656" y="860"/>
                  </a:cubicBezTo>
                  <a:cubicBezTo>
                    <a:pt x="1656" y="861"/>
                    <a:pt x="1656" y="861"/>
                    <a:pt x="1656" y="862"/>
                  </a:cubicBezTo>
                  <a:cubicBezTo>
                    <a:pt x="1655" y="864"/>
                    <a:pt x="1653" y="866"/>
                    <a:pt x="1651" y="868"/>
                  </a:cubicBezTo>
                  <a:cubicBezTo>
                    <a:pt x="1649" y="869"/>
                    <a:pt x="1647" y="871"/>
                    <a:pt x="1647" y="873"/>
                  </a:cubicBezTo>
                  <a:cubicBezTo>
                    <a:pt x="1646" y="876"/>
                    <a:pt x="1644" y="878"/>
                    <a:pt x="1643" y="879"/>
                  </a:cubicBezTo>
                  <a:cubicBezTo>
                    <a:pt x="1641" y="880"/>
                    <a:pt x="1640" y="881"/>
                    <a:pt x="1640" y="883"/>
                  </a:cubicBezTo>
                  <a:cubicBezTo>
                    <a:pt x="1640" y="885"/>
                    <a:pt x="1638" y="886"/>
                    <a:pt x="1635" y="886"/>
                  </a:cubicBezTo>
                  <a:cubicBezTo>
                    <a:pt x="1632" y="886"/>
                    <a:pt x="1629" y="885"/>
                    <a:pt x="1626" y="883"/>
                  </a:cubicBezTo>
                  <a:cubicBezTo>
                    <a:pt x="1625" y="882"/>
                    <a:pt x="1625" y="882"/>
                    <a:pt x="1625" y="882"/>
                  </a:cubicBezTo>
                  <a:cubicBezTo>
                    <a:pt x="1623" y="882"/>
                    <a:pt x="1621" y="884"/>
                    <a:pt x="1619" y="886"/>
                  </a:cubicBezTo>
                  <a:cubicBezTo>
                    <a:pt x="1618" y="887"/>
                    <a:pt x="1616" y="889"/>
                    <a:pt x="1615" y="889"/>
                  </a:cubicBezTo>
                  <a:cubicBezTo>
                    <a:pt x="1614" y="889"/>
                    <a:pt x="1614" y="889"/>
                    <a:pt x="1613" y="889"/>
                  </a:cubicBezTo>
                  <a:cubicBezTo>
                    <a:pt x="1612" y="891"/>
                    <a:pt x="1612" y="896"/>
                    <a:pt x="1613" y="898"/>
                  </a:cubicBezTo>
                  <a:cubicBezTo>
                    <a:pt x="1613" y="900"/>
                    <a:pt x="1613" y="901"/>
                    <a:pt x="1613" y="903"/>
                  </a:cubicBezTo>
                  <a:cubicBezTo>
                    <a:pt x="1613" y="905"/>
                    <a:pt x="1613" y="907"/>
                    <a:pt x="1614" y="910"/>
                  </a:cubicBezTo>
                  <a:cubicBezTo>
                    <a:pt x="1614" y="912"/>
                    <a:pt x="1615" y="915"/>
                    <a:pt x="1615" y="918"/>
                  </a:cubicBezTo>
                  <a:cubicBezTo>
                    <a:pt x="1615" y="920"/>
                    <a:pt x="1615" y="921"/>
                    <a:pt x="1615" y="924"/>
                  </a:cubicBezTo>
                  <a:cubicBezTo>
                    <a:pt x="1618" y="921"/>
                    <a:pt x="1624" y="917"/>
                    <a:pt x="1626" y="917"/>
                  </a:cubicBezTo>
                  <a:cubicBezTo>
                    <a:pt x="1629" y="917"/>
                    <a:pt x="1632" y="920"/>
                    <a:pt x="1635" y="922"/>
                  </a:cubicBezTo>
                  <a:cubicBezTo>
                    <a:pt x="1637" y="924"/>
                    <a:pt x="1640" y="927"/>
                    <a:pt x="1643" y="927"/>
                  </a:cubicBezTo>
                  <a:cubicBezTo>
                    <a:pt x="1650" y="927"/>
                    <a:pt x="1676" y="908"/>
                    <a:pt x="1676" y="906"/>
                  </a:cubicBezTo>
                  <a:cubicBezTo>
                    <a:pt x="1676" y="904"/>
                    <a:pt x="1683" y="897"/>
                    <a:pt x="1693" y="887"/>
                  </a:cubicBezTo>
                  <a:cubicBezTo>
                    <a:pt x="1696" y="884"/>
                    <a:pt x="1698" y="882"/>
                    <a:pt x="1700" y="880"/>
                  </a:cubicBezTo>
                  <a:cubicBezTo>
                    <a:pt x="1706" y="873"/>
                    <a:pt x="1717" y="861"/>
                    <a:pt x="1721" y="851"/>
                  </a:cubicBezTo>
                  <a:cubicBezTo>
                    <a:pt x="1723" y="848"/>
                    <a:pt x="1727" y="843"/>
                    <a:pt x="1731" y="838"/>
                  </a:cubicBezTo>
                  <a:cubicBezTo>
                    <a:pt x="1733" y="835"/>
                    <a:pt x="1736" y="832"/>
                    <a:pt x="1737" y="830"/>
                  </a:cubicBezTo>
                  <a:cubicBezTo>
                    <a:pt x="1738" y="829"/>
                    <a:pt x="1738" y="828"/>
                    <a:pt x="1739" y="827"/>
                  </a:cubicBezTo>
                  <a:cubicBezTo>
                    <a:pt x="1741" y="825"/>
                    <a:pt x="1743" y="822"/>
                    <a:pt x="1746" y="816"/>
                  </a:cubicBezTo>
                  <a:cubicBezTo>
                    <a:pt x="1749" y="809"/>
                    <a:pt x="1750" y="797"/>
                    <a:pt x="1751" y="788"/>
                  </a:cubicBezTo>
                  <a:cubicBezTo>
                    <a:pt x="1751" y="781"/>
                    <a:pt x="1751" y="778"/>
                    <a:pt x="1752" y="777"/>
                  </a:cubicBezTo>
                  <a:cubicBezTo>
                    <a:pt x="1753" y="777"/>
                    <a:pt x="1753" y="775"/>
                    <a:pt x="1753" y="774"/>
                  </a:cubicBezTo>
                  <a:cubicBezTo>
                    <a:pt x="1753" y="772"/>
                    <a:pt x="1754" y="770"/>
                    <a:pt x="1755" y="768"/>
                  </a:cubicBezTo>
                  <a:cubicBezTo>
                    <a:pt x="1756" y="767"/>
                    <a:pt x="1756" y="766"/>
                    <a:pt x="1756" y="765"/>
                  </a:cubicBezTo>
                  <a:cubicBezTo>
                    <a:pt x="1757" y="763"/>
                    <a:pt x="1758" y="760"/>
                    <a:pt x="1760" y="758"/>
                  </a:cubicBezTo>
                  <a:cubicBezTo>
                    <a:pt x="1764" y="755"/>
                    <a:pt x="1764" y="752"/>
                    <a:pt x="1763" y="749"/>
                  </a:cubicBezTo>
                  <a:cubicBezTo>
                    <a:pt x="1762" y="747"/>
                    <a:pt x="1762" y="745"/>
                    <a:pt x="1762" y="743"/>
                  </a:cubicBezTo>
                  <a:cubicBezTo>
                    <a:pt x="1762" y="741"/>
                    <a:pt x="1762" y="739"/>
                    <a:pt x="1762" y="738"/>
                  </a:cubicBezTo>
                  <a:cubicBezTo>
                    <a:pt x="1760" y="736"/>
                    <a:pt x="1761" y="734"/>
                    <a:pt x="1764" y="733"/>
                  </a:cubicBezTo>
                  <a:cubicBezTo>
                    <a:pt x="1764" y="732"/>
                    <a:pt x="1764" y="732"/>
                    <a:pt x="1764" y="732"/>
                  </a:cubicBezTo>
                  <a:cubicBezTo>
                    <a:pt x="1764" y="731"/>
                    <a:pt x="1761" y="728"/>
                    <a:pt x="1758" y="727"/>
                  </a:cubicBezTo>
                  <a:cubicBezTo>
                    <a:pt x="1758" y="726"/>
                    <a:pt x="1757" y="726"/>
                    <a:pt x="1757" y="726"/>
                  </a:cubicBezTo>
                  <a:cubicBezTo>
                    <a:pt x="1753" y="724"/>
                    <a:pt x="1750" y="723"/>
                    <a:pt x="1749" y="719"/>
                  </a:cubicBezTo>
                  <a:cubicBezTo>
                    <a:pt x="1749" y="715"/>
                    <a:pt x="1743" y="710"/>
                    <a:pt x="1738" y="711"/>
                  </a:cubicBezTo>
                  <a:cubicBezTo>
                    <a:pt x="1736" y="711"/>
                    <a:pt x="1734" y="711"/>
                    <a:pt x="1732" y="710"/>
                  </a:cubicBezTo>
                  <a:cubicBezTo>
                    <a:pt x="1730" y="710"/>
                    <a:pt x="1729" y="710"/>
                    <a:pt x="1728" y="710"/>
                  </a:cubicBezTo>
                  <a:cubicBezTo>
                    <a:pt x="1727" y="710"/>
                    <a:pt x="1726" y="710"/>
                    <a:pt x="1726" y="710"/>
                  </a:cubicBezTo>
                  <a:cubicBezTo>
                    <a:pt x="1726" y="710"/>
                    <a:pt x="1726" y="710"/>
                    <a:pt x="1726" y="711"/>
                  </a:cubicBezTo>
                  <a:cubicBezTo>
                    <a:pt x="1727" y="712"/>
                    <a:pt x="1727" y="714"/>
                    <a:pt x="1726" y="715"/>
                  </a:cubicBezTo>
                  <a:cubicBezTo>
                    <a:pt x="1725" y="716"/>
                    <a:pt x="1724" y="716"/>
                    <a:pt x="1723" y="716"/>
                  </a:cubicBezTo>
                  <a:cubicBezTo>
                    <a:pt x="1722" y="716"/>
                    <a:pt x="1722" y="716"/>
                    <a:pt x="1722" y="716"/>
                  </a:cubicBezTo>
                  <a:cubicBezTo>
                    <a:pt x="1721" y="716"/>
                    <a:pt x="1720" y="718"/>
                    <a:pt x="1718" y="721"/>
                  </a:cubicBezTo>
                  <a:cubicBezTo>
                    <a:pt x="1717" y="722"/>
                    <a:pt x="1717" y="722"/>
                    <a:pt x="1717" y="722"/>
                  </a:cubicBezTo>
                  <a:cubicBezTo>
                    <a:pt x="1716" y="724"/>
                    <a:pt x="1712" y="725"/>
                    <a:pt x="1710" y="725"/>
                  </a:cubicBezTo>
                  <a:cubicBezTo>
                    <a:pt x="1708" y="725"/>
                    <a:pt x="1707" y="725"/>
                    <a:pt x="1707" y="724"/>
                  </a:cubicBezTo>
                  <a:cubicBezTo>
                    <a:pt x="1707" y="723"/>
                    <a:pt x="1707" y="723"/>
                    <a:pt x="1708" y="722"/>
                  </a:cubicBezTo>
                  <a:cubicBezTo>
                    <a:pt x="1710" y="720"/>
                    <a:pt x="1710" y="719"/>
                    <a:pt x="1709" y="718"/>
                  </a:cubicBezTo>
                  <a:cubicBezTo>
                    <a:pt x="1708" y="717"/>
                    <a:pt x="1707" y="715"/>
                    <a:pt x="1707" y="713"/>
                  </a:cubicBezTo>
                  <a:cubicBezTo>
                    <a:pt x="1708" y="712"/>
                    <a:pt x="1708" y="710"/>
                    <a:pt x="1709" y="709"/>
                  </a:cubicBezTo>
                  <a:cubicBezTo>
                    <a:pt x="1709" y="708"/>
                    <a:pt x="1709" y="708"/>
                    <a:pt x="1710" y="707"/>
                  </a:cubicBezTo>
                  <a:cubicBezTo>
                    <a:pt x="1709" y="707"/>
                    <a:pt x="1709" y="707"/>
                    <a:pt x="1708" y="708"/>
                  </a:cubicBezTo>
                  <a:cubicBezTo>
                    <a:pt x="1705" y="709"/>
                    <a:pt x="1704" y="711"/>
                    <a:pt x="1703" y="714"/>
                  </a:cubicBezTo>
                  <a:cubicBezTo>
                    <a:pt x="1702" y="716"/>
                    <a:pt x="1701" y="718"/>
                    <a:pt x="1699" y="718"/>
                  </a:cubicBezTo>
                  <a:cubicBezTo>
                    <a:pt x="1698" y="719"/>
                    <a:pt x="1697" y="718"/>
                    <a:pt x="1696" y="717"/>
                  </a:cubicBezTo>
                  <a:cubicBezTo>
                    <a:pt x="1694" y="714"/>
                    <a:pt x="1695" y="705"/>
                    <a:pt x="1696" y="703"/>
                  </a:cubicBezTo>
                  <a:cubicBezTo>
                    <a:pt x="1696" y="702"/>
                    <a:pt x="1696" y="702"/>
                    <a:pt x="1696" y="702"/>
                  </a:cubicBezTo>
                  <a:cubicBezTo>
                    <a:pt x="1696" y="702"/>
                    <a:pt x="1696" y="702"/>
                    <a:pt x="1695" y="702"/>
                  </a:cubicBezTo>
                  <a:cubicBezTo>
                    <a:pt x="1694" y="702"/>
                    <a:pt x="1693" y="702"/>
                    <a:pt x="1691" y="702"/>
                  </a:cubicBezTo>
                  <a:cubicBezTo>
                    <a:pt x="1689" y="703"/>
                    <a:pt x="1686" y="703"/>
                    <a:pt x="1683" y="703"/>
                  </a:cubicBezTo>
                  <a:cubicBezTo>
                    <a:pt x="1682" y="703"/>
                    <a:pt x="1681" y="703"/>
                    <a:pt x="1680" y="703"/>
                  </a:cubicBezTo>
                  <a:cubicBezTo>
                    <a:pt x="1676" y="703"/>
                    <a:pt x="1674" y="701"/>
                    <a:pt x="1674" y="700"/>
                  </a:cubicBezTo>
                  <a:cubicBezTo>
                    <a:pt x="1673" y="697"/>
                    <a:pt x="1676" y="694"/>
                    <a:pt x="1681" y="691"/>
                  </a:cubicBezTo>
                  <a:cubicBezTo>
                    <a:pt x="1685" y="689"/>
                    <a:pt x="1686" y="687"/>
                    <a:pt x="1687" y="685"/>
                  </a:cubicBezTo>
                  <a:cubicBezTo>
                    <a:pt x="1688" y="684"/>
                    <a:pt x="1689" y="683"/>
                    <a:pt x="1690" y="682"/>
                  </a:cubicBezTo>
                  <a:cubicBezTo>
                    <a:pt x="1693" y="681"/>
                    <a:pt x="1697" y="678"/>
                    <a:pt x="1702" y="676"/>
                  </a:cubicBezTo>
                  <a:cubicBezTo>
                    <a:pt x="1705" y="674"/>
                    <a:pt x="1707" y="672"/>
                    <a:pt x="1709" y="671"/>
                  </a:cubicBezTo>
                  <a:cubicBezTo>
                    <a:pt x="1714" y="668"/>
                    <a:pt x="1715" y="665"/>
                    <a:pt x="1717" y="662"/>
                  </a:cubicBezTo>
                  <a:cubicBezTo>
                    <a:pt x="1717" y="661"/>
                    <a:pt x="1717" y="661"/>
                    <a:pt x="1717" y="661"/>
                  </a:cubicBezTo>
                  <a:cubicBezTo>
                    <a:pt x="1718" y="659"/>
                    <a:pt x="1721" y="657"/>
                    <a:pt x="1726" y="653"/>
                  </a:cubicBezTo>
                  <a:cubicBezTo>
                    <a:pt x="1730" y="651"/>
                    <a:pt x="1734" y="648"/>
                    <a:pt x="1738" y="645"/>
                  </a:cubicBezTo>
                  <a:cubicBezTo>
                    <a:pt x="1746" y="638"/>
                    <a:pt x="1751" y="634"/>
                    <a:pt x="1754" y="629"/>
                  </a:cubicBezTo>
                  <a:cubicBezTo>
                    <a:pt x="1755" y="627"/>
                    <a:pt x="1759" y="624"/>
                    <a:pt x="1762" y="622"/>
                  </a:cubicBezTo>
                  <a:cubicBezTo>
                    <a:pt x="1766" y="620"/>
                    <a:pt x="1769" y="617"/>
                    <a:pt x="1770" y="616"/>
                  </a:cubicBezTo>
                  <a:cubicBezTo>
                    <a:pt x="1770" y="612"/>
                    <a:pt x="1787" y="603"/>
                    <a:pt x="1797" y="601"/>
                  </a:cubicBezTo>
                  <a:cubicBezTo>
                    <a:pt x="1800" y="600"/>
                    <a:pt x="1803" y="600"/>
                    <a:pt x="1806" y="600"/>
                  </a:cubicBezTo>
                  <a:cubicBezTo>
                    <a:pt x="1816" y="600"/>
                    <a:pt x="1827" y="602"/>
                    <a:pt x="1829" y="605"/>
                  </a:cubicBezTo>
                  <a:cubicBezTo>
                    <a:pt x="1832" y="607"/>
                    <a:pt x="1834" y="607"/>
                    <a:pt x="1836" y="605"/>
                  </a:cubicBezTo>
                  <a:cubicBezTo>
                    <a:pt x="1837" y="604"/>
                    <a:pt x="1838" y="603"/>
                    <a:pt x="1840" y="603"/>
                  </a:cubicBezTo>
                  <a:cubicBezTo>
                    <a:pt x="1842" y="603"/>
                    <a:pt x="1844" y="604"/>
                    <a:pt x="1847" y="604"/>
                  </a:cubicBezTo>
                  <a:cubicBezTo>
                    <a:pt x="1848" y="604"/>
                    <a:pt x="1849" y="604"/>
                    <a:pt x="1850" y="604"/>
                  </a:cubicBezTo>
                  <a:cubicBezTo>
                    <a:pt x="1851" y="604"/>
                    <a:pt x="1851" y="605"/>
                    <a:pt x="1852" y="605"/>
                  </a:cubicBezTo>
                  <a:cubicBezTo>
                    <a:pt x="1855" y="605"/>
                    <a:pt x="1856" y="604"/>
                    <a:pt x="1858" y="603"/>
                  </a:cubicBezTo>
                  <a:cubicBezTo>
                    <a:pt x="1859" y="603"/>
                    <a:pt x="1861" y="602"/>
                    <a:pt x="1862" y="602"/>
                  </a:cubicBezTo>
                  <a:cubicBezTo>
                    <a:pt x="1863" y="602"/>
                    <a:pt x="1863" y="602"/>
                    <a:pt x="1864" y="603"/>
                  </a:cubicBezTo>
                  <a:cubicBezTo>
                    <a:pt x="1866" y="603"/>
                    <a:pt x="1868" y="604"/>
                    <a:pt x="1870" y="604"/>
                  </a:cubicBezTo>
                  <a:cubicBezTo>
                    <a:pt x="1872" y="604"/>
                    <a:pt x="1874" y="602"/>
                    <a:pt x="1876" y="599"/>
                  </a:cubicBezTo>
                  <a:cubicBezTo>
                    <a:pt x="1878" y="595"/>
                    <a:pt x="1885" y="595"/>
                    <a:pt x="1887" y="595"/>
                  </a:cubicBezTo>
                  <a:cubicBezTo>
                    <a:pt x="1891" y="595"/>
                    <a:pt x="1895" y="596"/>
                    <a:pt x="1897" y="597"/>
                  </a:cubicBezTo>
                  <a:cubicBezTo>
                    <a:pt x="1897" y="597"/>
                    <a:pt x="1898" y="597"/>
                    <a:pt x="1898" y="598"/>
                  </a:cubicBezTo>
                  <a:cubicBezTo>
                    <a:pt x="1900" y="599"/>
                    <a:pt x="1901" y="600"/>
                    <a:pt x="1903" y="600"/>
                  </a:cubicBezTo>
                  <a:cubicBezTo>
                    <a:pt x="1905" y="600"/>
                    <a:pt x="1906" y="600"/>
                    <a:pt x="1907" y="599"/>
                  </a:cubicBezTo>
                  <a:cubicBezTo>
                    <a:pt x="1908" y="598"/>
                    <a:pt x="1909" y="598"/>
                    <a:pt x="1910" y="598"/>
                  </a:cubicBezTo>
                  <a:cubicBezTo>
                    <a:pt x="1912" y="598"/>
                    <a:pt x="1913" y="599"/>
                    <a:pt x="1914" y="601"/>
                  </a:cubicBezTo>
                  <a:cubicBezTo>
                    <a:pt x="1915" y="602"/>
                    <a:pt x="1916" y="604"/>
                    <a:pt x="1918" y="604"/>
                  </a:cubicBezTo>
                  <a:cubicBezTo>
                    <a:pt x="1920" y="604"/>
                    <a:pt x="1921" y="606"/>
                    <a:pt x="1921" y="606"/>
                  </a:cubicBezTo>
                  <a:cubicBezTo>
                    <a:pt x="1921" y="608"/>
                    <a:pt x="1918" y="610"/>
                    <a:pt x="1916" y="610"/>
                  </a:cubicBezTo>
                  <a:cubicBezTo>
                    <a:pt x="1915" y="610"/>
                    <a:pt x="1915" y="610"/>
                    <a:pt x="1915" y="610"/>
                  </a:cubicBezTo>
                  <a:cubicBezTo>
                    <a:pt x="1912" y="609"/>
                    <a:pt x="1909" y="610"/>
                    <a:pt x="1909" y="611"/>
                  </a:cubicBezTo>
                  <a:cubicBezTo>
                    <a:pt x="1909" y="612"/>
                    <a:pt x="1910" y="613"/>
                    <a:pt x="1911" y="614"/>
                  </a:cubicBezTo>
                  <a:cubicBezTo>
                    <a:pt x="1911" y="614"/>
                    <a:pt x="1912" y="614"/>
                    <a:pt x="1913" y="614"/>
                  </a:cubicBezTo>
                  <a:cubicBezTo>
                    <a:pt x="1915" y="614"/>
                    <a:pt x="1918" y="613"/>
                    <a:pt x="1919" y="613"/>
                  </a:cubicBezTo>
                  <a:cubicBezTo>
                    <a:pt x="1921" y="612"/>
                    <a:pt x="1923" y="611"/>
                    <a:pt x="1925" y="611"/>
                  </a:cubicBezTo>
                  <a:cubicBezTo>
                    <a:pt x="1926" y="611"/>
                    <a:pt x="1928" y="612"/>
                    <a:pt x="1929" y="612"/>
                  </a:cubicBezTo>
                  <a:cubicBezTo>
                    <a:pt x="1934" y="612"/>
                    <a:pt x="1937" y="611"/>
                    <a:pt x="1940" y="609"/>
                  </a:cubicBezTo>
                  <a:cubicBezTo>
                    <a:pt x="1941" y="608"/>
                    <a:pt x="1942" y="608"/>
                    <a:pt x="1943" y="608"/>
                  </a:cubicBezTo>
                  <a:cubicBezTo>
                    <a:pt x="1945" y="608"/>
                    <a:pt x="1946" y="608"/>
                    <a:pt x="1947" y="609"/>
                  </a:cubicBezTo>
                  <a:cubicBezTo>
                    <a:pt x="1948" y="609"/>
                    <a:pt x="1949" y="610"/>
                    <a:pt x="1950" y="609"/>
                  </a:cubicBezTo>
                  <a:cubicBezTo>
                    <a:pt x="1954" y="606"/>
                    <a:pt x="1961" y="605"/>
                    <a:pt x="1964" y="605"/>
                  </a:cubicBezTo>
                  <a:cubicBezTo>
                    <a:pt x="1965" y="605"/>
                    <a:pt x="1965" y="605"/>
                    <a:pt x="1966" y="605"/>
                  </a:cubicBezTo>
                  <a:cubicBezTo>
                    <a:pt x="1967" y="605"/>
                    <a:pt x="1967" y="605"/>
                    <a:pt x="1967" y="605"/>
                  </a:cubicBezTo>
                  <a:cubicBezTo>
                    <a:pt x="1967" y="605"/>
                    <a:pt x="1967" y="605"/>
                    <a:pt x="1967" y="604"/>
                  </a:cubicBezTo>
                  <a:cubicBezTo>
                    <a:pt x="1967" y="604"/>
                    <a:pt x="1964" y="601"/>
                    <a:pt x="1960" y="601"/>
                  </a:cubicBezTo>
                  <a:cubicBezTo>
                    <a:pt x="1957" y="601"/>
                    <a:pt x="1956" y="601"/>
                    <a:pt x="1955" y="600"/>
                  </a:cubicBezTo>
                  <a:cubicBezTo>
                    <a:pt x="1954" y="598"/>
                    <a:pt x="1955" y="594"/>
                    <a:pt x="1958" y="588"/>
                  </a:cubicBezTo>
                  <a:cubicBezTo>
                    <a:pt x="1962" y="582"/>
                    <a:pt x="1968" y="578"/>
                    <a:pt x="1973" y="574"/>
                  </a:cubicBezTo>
                  <a:cubicBezTo>
                    <a:pt x="1976" y="572"/>
                    <a:pt x="1978" y="571"/>
                    <a:pt x="1980" y="569"/>
                  </a:cubicBezTo>
                  <a:cubicBezTo>
                    <a:pt x="1983" y="566"/>
                    <a:pt x="1986" y="566"/>
                    <a:pt x="1988" y="565"/>
                  </a:cubicBezTo>
                  <a:cubicBezTo>
                    <a:pt x="1990" y="565"/>
                    <a:pt x="1990" y="565"/>
                    <a:pt x="1990" y="563"/>
                  </a:cubicBezTo>
                  <a:cubicBezTo>
                    <a:pt x="1990" y="560"/>
                    <a:pt x="1993" y="550"/>
                    <a:pt x="1998" y="550"/>
                  </a:cubicBezTo>
                  <a:cubicBezTo>
                    <a:pt x="2000" y="550"/>
                    <a:pt x="2001" y="550"/>
                    <a:pt x="2003" y="550"/>
                  </a:cubicBezTo>
                  <a:cubicBezTo>
                    <a:pt x="2005" y="550"/>
                    <a:pt x="2007" y="550"/>
                    <a:pt x="2009" y="550"/>
                  </a:cubicBezTo>
                  <a:cubicBezTo>
                    <a:pt x="2015" y="550"/>
                    <a:pt x="2019" y="549"/>
                    <a:pt x="2022" y="547"/>
                  </a:cubicBezTo>
                  <a:cubicBezTo>
                    <a:pt x="2024" y="547"/>
                    <a:pt x="2025" y="546"/>
                    <a:pt x="2026" y="546"/>
                  </a:cubicBezTo>
                  <a:cubicBezTo>
                    <a:pt x="2028" y="546"/>
                    <a:pt x="2029" y="548"/>
                    <a:pt x="2030" y="549"/>
                  </a:cubicBezTo>
                  <a:cubicBezTo>
                    <a:pt x="2031" y="550"/>
                    <a:pt x="2031" y="551"/>
                    <a:pt x="2032" y="552"/>
                  </a:cubicBezTo>
                  <a:cubicBezTo>
                    <a:pt x="2033" y="552"/>
                    <a:pt x="2035" y="551"/>
                    <a:pt x="2036" y="550"/>
                  </a:cubicBezTo>
                  <a:cubicBezTo>
                    <a:pt x="2038" y="548"/>
                    <a:pt x="2040" y="547"/>
                    <a:pt x="2041" y="547"/>
                  </a:cubicBezTo>
                  <a:cubicBezTo>
                    <a:pt x="2042" y="547"/>
                    <a:pt x="2042" y="547"/>
                    <a:pt x="2043" y="548"/>
                  </a:cubicBezTo>
                  <a:cubicBezTo>
                    <a:pt x="2043" y="548"/>
                    <a:pt x="2044" y="548"/>
                    <a:pt x="2044" y="549"/>
                  </a:cubicBezTo>
                  <a:cubicBezTo>
                    <a:pt x="2044" y="550"/>
                    <a:pt x="2043" y="552"/>
                    <a:pt x="2041" y="554"/>
                  </a:cubicBezTo>
                  <a:cubicBezTo>
                    <a:pt x="2039" y="556"/>
                    <a:pt x="2037" y="559"/>
                    <a:pt x="2036" y="562"/>
                  </a:cubicBezTo>
                  <a:cubicBezTo>
                    <a:pt x="2036" y="563"/>
                    <a:pt x="2036" y="564"/>
                    <a:pt x="2036" y="565"/>
                  </a:cubicBezTo>
                  <a:cubicBezTo>
                    <a:pt x="2036" y="565"/>
                    <a:pt x="2038" y="566"/>
                    <a:pt x="2040" y="566"/>
                  </a:cubicBezTo>
                  <a:cubicBezTo>
                    <a:pt x="2041" y="566"/>
                    <a:pt x="2043" y="566"/>
                    <a:pt x="2044" y="567"/>
                  </a:cubicBezTo>
                  <a:cubicBezTo>
                    <a:pt x="2045" y="567"/>
                    <a:pt x="2045" y="567"/>
                    <a:pt x="2045" y="568"/>
                  </a:cubicBezTo>
                  <a:cubicBezTo>
                    <a:pt x="2045" y="569"/>
                    <a:pt x="2044" y="570"/>
                    <a:pt x="2042" y="571"/>
                  </a:cubicBezTo>
                  <a:cubicBezTo>
                    <a:pt x="2040" y="573"/>
                    <a:pt x="2040" y="573"/>
                    <a:pt x="2040" y="573"/>
                  </a:cubicBezTo>
                  <a:cubicBezTo>
                    <a:pt x="2040" y="573"/>
                    <a:pt x="2041" y="573"/>
                    <a:pt x="2042" y="573"/>
                  </a:cubicBezTo>
                  <a:cubicBezTo>
                    <a:pt x="2044" y="573"/>
                    <a:pt x="2049" y="573"/>
                    <a:pt x="2057" y="565"/>
                  </a:cubicBezTo>
                  <a:cubicBezTo>
                    <a:pt x="2065" y="557"/>
                    <a:pt x="2073" y="553"/>
                    <a:pt x="2080" y="553"/>
                  </a:cubicBezTo>
                  <a:cubicBezTo>
                    <a:pt x="2080" y="553"/>
                    <a:pt x="2081" y="553"/>
                    <a:pt x="2082" y="553"/>
                  </a:cubicBezTo>
                  <a:cubicBezTo>
                    <a:pt x="2083" y="554"/>
                    <a:pt x="2084" y="553"/>
                    <a:pt x="2084" y="553"/>
                  </a:cubicBezTo>
                  <a:cubicBezTo>
                    <a:pt x="2085" y="552"/>
                    <a:pt x="2085" y="550"/>
                    <a:pt x="2084" y="547"/>
                  </a:cubicBezTo>
                  <a:cubicBezTo>
                    <a:pt x="2084" y="545"/>
                    <a:pt x="2084" y="543"/>
                    <a:pt x="2084" y="540"/>
                  </a:cubicBezTo>
                  <a:cubicBezTo>
                    <a:pt x="2084" y="533"/>
                    <a:pt x="2095" y="529"/>
                    <a:pt x="2103" y="529"/>
                  </a:cubicBezTo>
                  <a:cubicBezTo>
                    <a:pt x="2106" y="529"/>
                    <a:pt x="2108" y="530"/>
                    <a:pt x="2110" y="530"/>
                  </a:cubicBezTo>
                  <a:cubicBezTo>
                    <a:pt x="2112" y="531"/>
                    <a:pt x="2115" y="533"/>
                    <a:pt x="2114" y="534"/>
                  </a:cubicBezTo>
                  <a:cubicBezTo>
                    <a:pt x="2114" y="535"/>
                    <a:pt x="2114" y="535"/>
                    <a:pt x="2112" y="535"/>
                  </a:cubicBezTo>
                  <a:cubicBezTo>
                    <a:pt x="2111" y="535"/>
                    <a:pt x="2110" y="535"/>
                    <a:pt x="2109" y="535"/>
                  </a:cubicBezTo>
                  <a:cubicBezTo>
                    <a:pt x="2106" y="534"/>
                    <a:pt x="2104" y="535"/>
                    <a:pt x="2102" y="537"/>
                  </a:cubicBezTo>
                  <a:cubicBezTo>
                    <a:pt x="2100" y="539"/>
                    <a:pt x="2099" y="542"/>
                    <a:pt x="2099" y="545"/>
                  </a:cubicBezTo>
                  <a:cubicBezTo>
                    <a:pt x="2099" y="549"/>
                    <a:pt x="2098" y="552"/>
                    <a:pt x="2097" y="553"/>
                  </a:cubicBezTo>
                  <a:cubicBezTo>
                    <a:pt x="2096" y="555"/>
                    <a:pt x="2095" y="556"/>
                    <a:pt x="2096" y="557"/>
                  </a:cubicBezTo>
                  <a:cubicBezTo>
                    <a:pt x="2097" y="558"/>
                    <a:pt x="2097" y="559"/>
                    <a:pt x="2097" y="559"/>
                  </a:cubicBezTo>
                  <a:cubicBezTo>
                    <a:pt x="2097" y="560"/>
                    <a:pt x="2096" y="561"/>
                    <a:pt x="2095" y="562"/>
                  </a:cubicBezTo>
                  <a:cubicBezTo>
                    <a:pt x="2093" y="562"/>
                    <a:pt x="2092" y="563"/>
                    <a:pt x="2092" y="564"/>
                  </a:cubicBezTo>
                  <a:cubicBezTo>
                    <a:pt x="2092" y="565"/>
                    <a:pt x="2092" y="565"/>
                    <a:pt x="2092" y="565"/>
                  </a:cubicBezTo>
                  <a:cubicBezTo>
                    <a:pt x="2092" y="568"/>
                    <a:pt x="2092" y="570"/>
                    <a:pt x="2087" y="571"/>
                  </a:cubicBezTo>
                  <a:cubicBezTo>
                    <a:pt x="2087" y="572"/>
                    <a:pt x="2085" y="572"/>
                    <a:pt x="2084" y="572"/>
                  </a:cubicBezTo>
                  <a:cubicBezTo>
                    <a:pt x="2078" y="573"/>
                    <a:pt x="2069" y="575"/>
                    <a:pt x="2069" y="579"/>
                  </a:cubicBezTo>
                  <a:cubicBezTo>
                    <a:pt x="2068" y="583"/>
                    <a:pt x="2066" y="584"/>
                    <a:pt x="2063" y="586"/>
                  </a:cubicBezTo>
                  <a:cubicBezTo>
                    <a:pt x="2061" y="588"/>
                    <a:pt x="2058" y="590"/>
                    <a:pt x="2057" y="593"/>
                  </a:cubicBezTo>
                  <a:cubicBezTo>
                    <a:pt x="2055" y="596"/>
                    <a:pt x="2051" y="598"/>
                    <a:pt x="2047" y="601"/>
                  </a:cubicBezTo>
                  <a:cubicBezTo>
                    <a:pt x="2042" y="605"/>
                    <a:pt x="2035" y="610"/>
                    <a:pt x="2030" y="617"/>
                  </a:cubicBezTo>
                  <a:cubicBezTo>
                    <a:pt x="2024" y="627"/>
                    <a:pt x="2015" y="630"/>
                    <a:pt x="2010" y="632"/>
                  </a:cubicBezTo>
                  <a:cubicBezTo>
                    <a:pt x="2008" y="632"/>
                    <a:pt x="2006" y="633"/>
                    <a:pt x="2006" y="634"/>
                  </a:cubicBezTo>
                  <a:cubicBezTo>
                    <a:pt x="2006" y="636"/>
                    <a:pt x="2001" y="636"/>
                    <a:pt x="1995" y="637"/>
                  </a:cubicBezTo>
                  <a:cubicBezTo>
                    <a:pt x="1994" y="637"/>
                    <a:pt x="1993" y="637"/>
                    <a:pt x="1992" y="637"/>
                  </a:cubicBezTo>
                  <a:cubicBezTo>
                    <a:pt x="1991" y="637"/>
                    <a:pt x="1991" y="637"/>
                    <a:pt x="1992" y="640"/>
                  </a:cubicBezTo>
                  <a:cubicBezTo>
                    <a:pt x="1992" y="643"/>
                    <a:pt x="1993" y="649"/>
                    <a:pt x="1987" y="654"/>
                  </a:cubicBezTo>
                  <a:cubicBezTo>
                    <a:pt x="1979" y="663"/>
                    <a:pt x="1974" y="676"/>
                    <a:pt x="1974" y="687"/>
                  </a:cubicBezTo>
                  <a:cubicBezTo>
                    <a:pt x="1974" y="700"/>
                    <a:pt x="1979" y="735"/>
                    <a:pt x="1982" y="741"/>
                  </a:cubicBezTo>
                  <a:cubicBezTo>
                    <a:pt x="1984" y="744"/>
                    <a:pt x="1984" y="750"/>
                    <a:pt x="1985" y="755"/>
                  </a:cubicBezTo>
                  <a:cubicBezTo>
                    <a:pt x="1985" y="760"/>
                    <a:pt x="1985" y="764"/>
                    <a:pt x="1987" y="765"/>
                  </a:cubicBezTo>
                  <a:cubicBezTo>
                    <a:pt x="1988" y="767"/>
                    <a:pt x="1989" y="770"/>
                    <a:pt x="1989" y="772"/>
                  </a:cubicBezTo>
                  <a:cubicBezTo>
                    <a:pt x="1989" y="774"/>
                    <a:pt x="1990" y="775"/>
                    <a:pt x="1990" y="776"/>
                  </a:cubicBezTo>
                  <a:cubicBezTo>
                    <a:pt x="1991" y="776"/>
                    <a:pt x="1991" y="776"/>
                    <a:pt x="1991" y="776"/>
                  </a:cubicBezTo>
                  <a:cubicBezTo>
                    <a:pt x="1992" y="776"/>
                    <a:pt x="1996" y="772"/>
                    <a:pt x="1999" y="769"/>
                  </a:cubicBezTo>
                  <a:cubicBezTo>
                    <a:pt x="2001" y="767"/>
                    <a:pt x="2003" y="764"/>
                    <a:pt x="2005" y="763"/>
                  </a:cubicBezTo>
                  <a:cubicBezTo>
                    <a:pt x="2008" y="761"/>
                    <a:pt x="2009" y="759"/>
                    <a:pt x="2009" y="758"/>
                  </a:cubicBezTo>
                  <a:cubicBezTo>
                    <a:pt x="2010" y="757"/>
                    <a:pt x="2011" y="756"/>
                    <a:pt x="2012" y="754"/>
                  </a:cubicBezTo>
                  <a:cubicBezTo>
                    <a:pt x="2015" y="753"/>
                    <a:pt x="2015" y="748"/>
                    <a:pt x="2015" y="745"/>
                  </a:cubicBezTo>
                  <a:cubicBezTo>
                    <a:pt x="2015" y="743"/>
                    <a:pt x="2015" y="741"/>
                    <a:pt x="2015" y="740"/>
                  </a:cubicBezTo>
                  <a:cubicBezTo>
                    <a:pt x="2016" y="738"/>
                    <a:pt x="2018" y="737"/>
                    <a:pt x="2020" y="736"/>
                  </a:cubicBezTo>
                  <a:cubicBezTo>
                    <a:pt x="2022" y="735"/>
                    <a:pt x="2024" y="734"/>
                    <a:pt x="2025" y="733"/>
                  </a:cubicBezTo>
                  <a:cubicBezTo>
                    <a:pt x="2027" y="731"/>
                    <a:pt x="2030" y="731"/>
                    <a:pt x="2032" y="731"/>
                  </a:cubicBezTo>
                  <a:cubicBezTo>
                    <a:pt x="2034" y="731"/>
                    <a:pt x="2035" y="731"/>
                    <a:pt x="2036" y="731"/>
                  </a:cubicBezTo>
                  <a:cubicBezTo>
                    <a:pt x="2038" y="730"/>
                    <a:pt x="2037" y="726"/>
                    <a:pt x="2036" y="722"/>
                  </a:cubicBezTo>
                  <a:cubicBezTo>
                    <a:pt x="2035" y="721"/>
                    <a:pt x="2035" y="720"/>
                    <a:pt x="2035" y="719"/>
                  </a:cubicBezTo>
                  <a:cubicBezTo>
                    <a:pt x="2034" y="715"/>
                    <a:pt x="2041" y="711"/>
                    <a:pt x="2046" y="707"/>
                  </a:cubicBezTo>
                  <a:cubicBezTo>
                    <a:pt x="2047" y="706"/>
                    <a:pt x="2048" y="706"/>
                    <a:pt x="2049" y="705"/>
                  </a:cubicBezTo>
                  <a:cubicBezTo>
                    <a:pt x="2050" y="704"/>
                    <a:pt x="2052" y="704"/>
                    <a:pt x="2054" y="704"/>
                  </a:cubicBezTo>
                  <a:cubicBezTo>
                    <a:pt x="2055" y="704"/>
                    <a:pt x="2056" y="704"/>
                    <a:pt x="2057" y="704"/>
                  </a:cubicBezTo>
                  <a:cubicBezTo>
                    <a:pt x="2058" y="704"/>
                    <a:pt x="2059" y="704"/>
                    <a:pt x="2060" y="704"/>
                  </a:cubicBezTo>
                  <a:cubicBezTo>
                    <a:pt x="2063" y="704"/>
                    <a:pt x="2065" y="704"/>
                    <a:pt x="2066" y="702"/>
                  </a:cubicBezTo>
                  <a:cubicBezTo>
                    <a:pt x="2071" y="698"/>
                    <a:pt x="2067" y="692"/>
                    <a:pt x="2064" y="689"/>
                  </a:cubicBezTo>
                  <a:cubicBezTo>
                    <a:pt x="2064" y="689"/>
                    <a:pt x="2064" y="689"/>
                    <a:pt x="2064" y="688"/>
                  </a:cubicBezTo>
                  <a:cubicBezTo>
                    <a:pt x="2063" y="688"/>
                    <a:pt x="2063" y="686"/>
                    <a:pt x="2064" y="684"/>
                  </a:cubicBezTo>
                  <a:cubicBezTo>
                    <a:pt x="2066" y="679"/>
                    <a:pt x="2071" y="671"/>
                    <a:pt x="2074" y="670"/>
                  </a:cubicBezTo>
                  <a:cubicBezTo>
                    <a:pt x="2075" y="670"/>
                    <a:pt x="2075" y="670"/>
                    <a:pt x="2076" y="670"/>
                  </a:cubicBezTo>
                  <a:cubicBezTo>
                    <a:pt x="2077" y="670"/>
                    <a:pt x="2078" y="670"/>
                    <a:pt x="2079" y="670"/>
                  </a:cubicBezTo>
                  <a:cubicBezTo>
                    <a:pt x="2080" y="671"/>
                    <a:pt x="2081" y="671"/>
                    <a:pt x="2082" y="671"/>
                  </a:cubicBezTo>
                  <a:cubicBezTo>
                    <a:pt x="2083" y="671"/>
                    <a:pt x="2084" y="671"/>
                    <a:pt x="2085" y="669"/>
                  </a:cubicBezTo>
                  <a:cubicBezTo>
                    <a:pt x="2086" y="669"/>
                    <a:pt x="2087" y="667"/>
                    <a:pt x="2086" y="666"/>
                  </a:cubicBezTo>
                  <a:cubicBezTo>
                    <a:pt x="2085" y="663"/>
                    <a:pt x="2081" y="661"/>
                    <a:pt x="2079" y="661"/>
                  </a:cubicBezTo>
                  <a:cubicBezTo>
                    <a:pt x="2079" y="661"/>
                    <a:pt x="2079" y="661"/>
                    <a:pt x="2079" y="661"/>
                  </a:cubicBezTo>
                  <a:cubicBezTo>
                    <a:pt x="2078" y="661"/>
                    <a:pt x="2077" y="660"/>
                    <a:pt x="2076" y="659"/>
                  </a:cubicBezTo>
                  <a:cubicBezTo>
                    <a:pt x="2075" y="655"/>
                    <a:pt x="2076" y="647"/>
                    <a:pt x="2081" y="643"/>
                  </a:cubicBezTo>
                  <a:cubicBezTo>
                    <a:pt x="2084" y="641"/>
                    <a:pt x="2086" y="640"/>
                    <a:pt x="2085" y="639"/>
                  </a:cubicBezTo>
                  <a:cubicBezTo>
                    <a:pt x="2085" y="638"/>
                    <a:pt x="2083" y="637"/>
                    <a:pt x="2081" y="637"/>
                  </a:cubicBezTo>
                  <a:cubicBezTo>
                    <a:pt x="2080" y="636"/>
                    <a:pt x="2079" y="636"/>
                    <a:pt x="2078" y="636"/>
                  </a:cubicBezTo>
                  <a:cubicBezTo>
                    <a:pt x="2077" y="636"/>
                    <a:pt x="2076" y="636"/>
                    <a:pt x="2075" y="637"/>
                  </a:cubicBezTo>
                  <a:cubicBezTo>
                    <a:pt x="2074" y="637"/>
                    <a:pt x="2073" y="637"/>
                    <a:pt x="2072" y="637"/>
                  </a:cubicBezTo>
                  <a:cubicBezTo>
                    <a:pt x="2072" y="637"/>
                    <a:pt x="2072" y="637"/>
                    <a:pt x="2072" y="637"/>
                  </a:cubicBezTo>
                  <a:cubicBezTo>
                    <a:pt x="2070" y="637"/>
                    <a:pt x="2069" y="636"/>
                    <a:pt x="2068" y="634"/>
                  </a:cubicBezTo>
                  <a:cubicBezTo>
                    <a:pt x="2066" y="631"/>
                    <a:pt x="2066" y="626"/>
                    <a:pt x="2070" y="621"/>
                  </a:cubicBezTo>
                  <a:cubicBezTo>
                    <a:pt x="2073" y="618"/>
                    <a:pt x="2075" y="616"/>
                    <a:pt x="2077" y="615"/>
                  </a:cubicBezTo>
                  <a:cubicBezTo>
                    <a:pt x="2080" y="613"/>
                    <a:pt x="2081" y="612"/>
                    <a:pt x="2082" y="609"/>
                  </a:cubicBezTo>
                  <a:cubicBezTo>
                    <a:pt x="2083" y="604"/>
                    <a:pt x="2087" y="598"/>
                    <a:pt x="2091" y="594"/>
                  </a:cubicBezTo>
                  <a:cubicBezTo>
                    <a:pt x="2092" y="592"/>
                    <a:pt x="2093" y="591"/>
                    <a:pt x="2093" y="590"/>
                  </a:cubicBezTo>
                  <a:cubicBezTo>
                    <a:pt x="2094" y="589"/>
                    <a:pt x="2095" y="589"/>
                    <a:pt x="2097" y="589"/>
                  </a:cubicBezTo>
                  <a:cubicBezTo>
                    <a:pt x="2099" y="589"/>
                    <a:pt x="2100" y="589"/>
                    <a:pt x="2102" y="589"/>
                  </a:cubicBezTo>
                  <a:cubicBezTo>
                    <a:pt x="2103" y="589"/>
                    <a:pt x="2105" y="590"/>
                    <a:pt x="2106" y="589"/>
                  </a:cubicBezTo>
                  <a:cubicBezTo>
                    <a:pt x="2106" y="589"/>
                    <a:pt x="2106" y="589"/>
                    <a:pt x="2107" y="589"/>
                  </a:cubicBezTo>
                  <a:cubicBezTo>
                    <a:pt x="2108" y="589"/>
                    <a:pt x="2109" y="591"/>
                    <a:pt x="2109" y="592"/>
                  </a:cubicBezTo>
                  <a:cubicBezTo>
                    <a:pt x="2110" y="593"/>
                    <a:pt x="2110" y="593"/>
                    <a:pt x="2110" y="593"/>
                  </a:cubicBezTo>
                  <a:cubicBezTo>
                    <a:pt x="2110" y="593"/>
                    <a:pt x="2111" y="593"/>
                    <a:pt x="2111" y="592"/>
                  </a:cubicBezTo>
                  <a:cubicBezTo>
                    <a:pt x="2113" y="591"/>
                    <a:pt x="2114" y="589"/>
                    <a:pt x="2116" y="587"/>
                  </a:cubicBezTo>
                  <a:cubicBezTo>
                    <a:pt x="2119" y="583"/>
                    <a:pt x="2123" y="578"/>
                    <a:pt x="2126" y="578"/>
                  </a:cubicBezTo>
                  <a:cubicBezTo>
                    <a:pt x="2127" y="578"/>
                    <a:pt x="2128" y="578"/>
                    <a:pt x="2129" y="579"/>
                  </a:cubicBezTo>
                  <a:cubicBezTo>
                    <a:pt x="2130" y="580"/>
                    <a:pt x="2130" y="583"/>
                    <a:pt x="2130" y="585"/>
                  </a:cubicBezTo>
                  <a:cubicBezTo>
                    <a:pt x="2130" y="587"/>
                    <a:pt x="2130" y="589"/>
                    <a:pt x="2130" y="591"/>
                  </a:cubicBezTo>
                  <a:cubicBezTo>
                    <a:pt x="2130" y="592"/>
                    <a:pt x="2131" y="592"/>
                    <a:pt x="2131" y="592"/>
                  </a:cubicBezTo>
                  <a:cubicBezTo>
                    <a:pt x="2131" y="592"/>
                    <a:pt x="2133" y="591"/>
                    <a:pt x="2135" y="590"/>
                  </a:cubicBezTo>
                  <a:cubicBezTo>
                    <a:pt x="2137" y="588"/>
                    <a:pt x="2139" y="585"/>
                    <a:pt x="2143" y="583"/>
                  </a:cubicBezTo>
                  <a:cubicBezTo>
                    <a:pt x="2149" y="578"/>
                    <a:pt x="2160" y="578"/>
                    <a:pt x="2165" y="578"/>
                  </a:cubicBezTo>
                  <a:cubicBezTo>
                    <a:pt x="2171" y="578"/>
                    <a:pt x="2177" y="579"/>
                    <a:pt x="2180" y="580"/>
                  </a:cubicBezTo>
                  <a:cubicBezTo>
                    <a:pt x="2183" y="582"/>
                    <a:pt x="2185" y="584"/>
                    <a:pt x="2186" y="586"/>
                  </a:cubicBezTo>
                  <a:cubicBezTo>
                    <a:pt x="2188" y="588"/>
                    <a:pt x="2189" y="590"/>
                    <a:pt x="2190" y="589"/>
                  </a:cubicBezTo>
                  <a:cubicBezTo>
                    <a:pt x="2192" y="589"/>
                    <a:pt x="2192" y="587"/>
                    <a:pt x="2193" y="586"/>
                  </a:cubicBezTo>
                  <a:cubicBezTo>
                    <a:pt x="2193" y="584"/>
                    <a:pt x="2193" y="582"/>
                    <a:pt x="2196" y="581"/>
                  </a:cubicBezTo>
                  <a:cubicBezTo>
                    <a:pt x="2201" y="579"/>
                    <a:pt x="2211" y="574"/>
                    <a:pt x="2217" y="569"/>
                  </a:cubicBezTo>
                  <a:cubicBezTo>
                    <a:pt x="2220" y="567"/>
                    <a:pt x="2222" y="566"/>
                    <a:pt x="2222" y="566"/>
                  </a:cubicBezTo>
                  <a:cubicBezTo>
                    <a:pt x="2223" y="566"/>
                    <a:pt x="2224" y="566"/>
                    <a:pt x="2225" y="563"/>
                  </a:cubicBezTo>
                  <a:cubicBezTo>
                    <a:pt x="2227" y="561"/>
                    <a:pt x="2229" y="560"/>
                    <a:pt x="2231" y="560"/>
                  </a:cubicBezTo>
                  <a:cubicBezTo>
                    <a:pt x="2232" y="559"/>
                    <a:pt x="2233" y="559"/>
                    <a:pt x="2234" y="558"/>
                  </a:cubicBezTo>
                  <a:cubicBezTo>
                    <a:pt x="2235" y="554"/>
                    <a:pt x="2246" y="549"/>
                    <a:pt x="2259" y="547"/>
                  </a:cubicBezTo>
                  <a:cubicBezTo>
                    <a:pt x="2271" y="544"/>
                    <a:pt x="2286" y="536"/>
                    <a:pt x="2288" y="533"/>
                  </a:cubicBezTo>
                  <a:cubicBezTo>
                    <a:pt x="2289" y="533"/>
                    <a:pt x="2289" y="532"/>
                    <a:pt x="2289" y="532"/>
                  </a:cubicBezTo>
                  <a:cubicBezTo>
                    <a:pt x="2288" y="532"/>
                    <a:pt x="2288" y="531"/>
                    <a:pt x="2289" y="530"/>
                  </a:cubicBezTo>
                  <a:cubicBezTo>
                    <a:pt x="2290" y="529"/>
                    <a:pt x="2291" y="529"/>
                    <a:pt x="2292" y="529"/>
                  </a:cubicBezTo>
                  <a:cubicBezTo>
                    <a:pt x="2294" y="529"/>
                    <a:pt x="2295" y="530"/>
                    <a:pt x="2295" y="531"/>
                  </a:cubicBezTo>
                  <a:cubicBezTo>
                    <a:pt x="2296" y="532"/>
                    <a:pt x="2297" y="532"/>
                    <a:pt x="2301" y="533"/>
                  </a:cubicBezTo>
                  <a:cubicBezTo>
                    <a:pt x="2303" y="533"/>
                    <a:pt x="2305" y="533"/>
                    <a:pt x="2308" y="534"/>
                  </a:cubicBezTo>
                  <a:cubicBezTo>
                    <a:pt x="2309" y="534"/>
                    <a:pt x="2311" y="534"/>
                    <a:pt x="2312" y="535"/>
                  </a:cubicBezTo>
                  <a:cubicBezTo>
                    <a:pt x="2314" y="535"/>
                    <a:pt x="2315" y="536"/>
                    <a:pt x="2317" y="536"/>
                  </a:cubicBezTo>
                  <a:cubicBezTo>
                    <a:pt x="2319" y="536"/>
                    <a:pt x="2321" y="535"/>
                    <a:pt x="2323" y="533"/>
                  </a:cubicBezTo>
                  <a:cubicBezTo>
                    <a:pt x="2327" y="529"/>
                    <a:pt x="2326" y="527"/>
                    <a:pt x="2324" y="525"/>
                  </a:cubicBezTo>
                  <a:cubicBezTo>
                    <a:pt x="2323" y="524"/>
                    <a:pt x="2323" y="523"/>
                    <a:pt x="2323" y="521"/>
                  </a:cubicBezTo>
                  <a:cubicBezTo>
                    <a:pt x="2323" y="519"/>
                    <a:pt x="2321" y="517"/>
                    <a:pt x="2319" y="515"/>
                  </a:cubicBezTo>
                  <a:cubicBezTo>
                    <a:pt x="2316" y="513"/>
                    <a:pt x="2314" y="510"/>
                    <a:pt x="2314" y="508"/>
                  </a:cubicBezTo>
                  <a:cubicBezTo>
                    <a:pt x="2315" y="505"/>
                    <a:pt x="2313" y="501"/>
                    <a:pt x="2310" y="498"/>
                  </a:cubicBezTo>
                  <a:cubicBezTo>
                    <a:pt x="2308" y="495"/>
                    <a:pt x="2306" y="493"/>
                    <a:pt x="2305" y="494"/>
                  </a:cubicBezTo>
                  <a:cubicBezTo>
                    <a:pt x="2304" y="495"/>
                    <a:pt x="2301" y="495"/>
                    <a:pt x="2298" y="493"/>
                  </a:cubicBezTo>
                  <a:cubicBezTo>
                    <a:pt x="2297" y="491"/>
                    <a:pt x="2296" y="490"/>
                    <a:pt x="2296" y="488"/>
                  </a:cubicBezTo>
                  <a:cubicBezTo>
                    <a:pt x="2296" y="485"/>
                    <a:pt x="2295" y="483"/>
                    <a:pt x="2294" y="483"/>
                  </a:cubicBezTo>
                  <a:cubicBezTo>
                    <a:pt x="2294" y="483"/>
                    <a:pt x="2293" y="483"/>
                    <a:pt x="2292" y="484"/>
                  </a:cubicBezTo>
                  <a:cubicBezTo>
                    <a:pt x="2291" y="485"/>
                    <a:pt x="2289" y="485"/>
                    <a:pt x="2287" y="485"/>
                  </a:cubicBezTo>
                  <a:cubicBezTo>
                    <a:pt x="2284" y="485"/>
                    <a:pt x="2280" y="484"/>
                    <a:pt x="2279" y="481"/>
                  </a:cubicBezTo>
                  <a:cubicBezTo>
                    <a:pt x="2279" y="480"/>
                    <a:pt x="2279" y="479"/>
                    <a:pt x="2280" y="478"/>
                  </a:cubicBezTo>
                  <a:cubicBezTo>
                    <a:pt x="2281" y="476"/>
                    <a:pt x="2284" y="475"/>
                    <a:pt x="2288" y="475"/>
                  </a:cubicBezTo>
                  <a:cubicBezTo>
                    <a:pt x="2290" y="475"/>
                    <a:pt x="2292" y="475"/>
                    <a:pt x="2294" y="476"/>
                  </a:cubicBezTo>
                  <a:cubicBezTo>
                    <a:pt x="2298" y="478"/>
                    <a:pt x="2299" y="479"/>
                    <a:pt x="2300" y="481"/>
                  </a:cubicBezTo>
                  <a:cubicBezTo>
                    <a:pt x="2300" y="482"/>
                    <a:pt x="2301" y="483"/>
                    <a:pt x="2302" y="483"/>
                  </a:cubicBezTo>
                  <a:cubicBezTo>
                    <a:pt x="2303" y="484"/>
                    <a:pt x="2305" y="484"/>
                    <a:pt x="2307" y="484"/>
                  </a:cubicBezTo>
                  <a:cubicBezTo>
                    <a:pt x="2311" y="484"/>
                    <a:pt x="2315" y="483"/>
                    <a:pt x="2318" y="482"/>
                  </a:cubicBezTo>
                  <a:cubicBezTo>
                    <a:pt x="2319" y="482"/>
                    <a:pt x="2321" y="481"/>
                    <a:pt x="2323" y="480"/>
                  </a:cubicBezTo>
                  <a:cubicBezTo>
                    <a:pt x="2328" y="478"/>
                    <a:pt x="2336" y="475"/>
                    <a:pt x="2337" y="472"/>
                  </a:cubicBezTo>
                  <a:cubicBezTo>
                    <a:pt x="2338" y="471"/>
                    <a:pt x="2338" y="470"/>
                    <a:pt x="2338" y="469"/>
                  </a:cubicBezTo>
                  <a:cubicBezTo>
                    <a:pt x="2338" y="467"/>
                    <a:pt x="2339" y="466"/>
                    <a:pt x="2342" y="465"/>
                  </a:cubicBezTo>
                  <a:cubicBezTo>
                    <a:pt x="2343" y="464"/>
                    <a:pt x="2343" y="463"/>
                    <a:pt x="2343" y="462"/>
                  </a:cubicBezTo>
                  <a:cubicBezTo>
                    <a:pt x="2343" y="461"/>
                    <a:pt x="2341" y="458"/>
                    <a:pt x="2339" y="457"/>
                  </a:cubicBezTo>
                  <a:cubicBezTo>
                    <a:pt x="2337" y="456"/>
                    <a:pt x="2336" y="454"/>
                    <a:pt x="2336" y="452"/>
                  </a:cubicBezTo>
                  <a:cubicBezTo>
                    <a:pt x="2337" y="450"/>
                    <a:pt x="2338" y="449"/>
                    <a:pt x="2340" y="449"/>
                  </a:cubicBezTo>
                  <a:cubicBezTo>
                    <a:pt x="2342" y="449"/>
                    <a:pt x="2343" y="448"/>
                    <a:pt x="2343" y="447"/>
                  </a:cubicBezTo>
                  <a:cubicBezTo>
                    <a:pt x="2344" y="446"/>
                    <a:pt x="2344" y="444"/>
                    <a:pt x="2346" y="444"/>
                  </a:cubicBezTo>
                  <a:cubicBezTo>
                    <a:pt x="2347" y="444"/>
                    <a:pt x="2347" y="444"/>
                    <a:pt x="2348" y="445"/>
                  </a:cubicBezTo>
                  <a:cubicBezTo>
                    <a:pt x="2348" y="445"/>
                    <a:pt x="2349" y="445"/>
                    <a:pt x="2350" y="445"/>
                  </a:cubicBezTo>
                  <a:cubicBezTo>
                    <a:pt x="2351" y="445"/>
                    <a:pt x="2352" y="445"/>
                    <a:pt x="2353" y="444"/>
                  </a:cubicBezTo>
                  <a:cubicBezTo>
                    <a:pt x="2354" y="443"/>
                    <a:pt x="2354" y="443"/>
                    <a:pt x="2355" y="443"/>
                  </a:cubicBezTo>
                  <a:cubicBezTo>
                    <a:pt x="2356" y="444"/>
                    <a:pt x="2356" y="444"/>
                    <a:pt x="2356" y="444"/>
                  </a:cubicBezTo>
                  <a:cubicBezTo>
                    <a:pt x="2356" y="445"/>
                    <a:pt x="2355" y="446"/>
                    <a:pt x="2354" y="449"/>
                  </a:cubicBezTo>
                  <a:cubicBezTo>
                    <a:pt x="2353" y="450"/>
                    <a:pt x="2352" y="451"/>
                    <a:pt x="2352" y="452"/>
                  </a:cubicBezTo>
                  <a:cubicBezTo>
                    <a:pt x="2351" y="455"/>
                    <a:pt x="2353" y="457"/>
                    <a:pt x="2355" y="459"/>
                  </a:cubicBezTo>
                  <a:cubicBezTo>
                    <a:pt x="2356" y="460"/>
                    <a:pt x="2357" y="461"/>
                    <a:pt x="2357" y="462"/>
                  </a:cubicBezTo>
                  <a:cubicBezTo>
                    <a:pt x="2357" y="463"/>
                    <a:pt x="2360" y="464"/>
                    <a:pt x="2364" y="464"/>
                  </a:cubicBezTo>
                  <a:cubicBezTo>
                    <a:pt x="2367" y="464"/>
                    <a:pt x="2369" y="463"/>
                    <a:pt x="2371" y="462"/>
                  </a:cubicBezTo>
                  <a:cubicBezTo>
                    <a:pt x="2372" y="461"/>
                    <a:pt x="2374" y="461"/>
                    <a:pt x="2375" y="461"/>
                  </a:cubicBezTo>
                  <a:cubicBezTo>
                    <a:pt x="2382" y="461"/>
                    <a:pt x="2394" y="466"/>
                    <a:pt x="2395" y="470"/>
                  </a:cubicBezTo>
                  <a:cubicBezTo>
                    <a:pt x="2396" y="473"/>
                    <a:pt x="2398" y="478"/>
                    <a:pt x="2405" y="482"/>
                  </a:cubicBezTo>
                  <a:cubicBezTo>
                    <a:pt x="2408" y="483"/>
                    <a:pt x="2411" y="484"/>
                    <a:pt x="2414" y="484"/>
                  </a:cubicBezTo>
                  <a:cubicBezTo>
                    <a:pt x="2416" y="485"/>
                    <a:pt x="2419" y="485"/>
                    <a:pt x="2420" y="487"/>
                  </a:cubicBezTo>
                  <a:cubicBezTo>
                    <a:pt x="2420" y="489"/>
                    <a:pt x="2422" y="491"/>
                    <a:pt x="2425" y="491"/>
                  </a:cubicBezTo>
                  <a:cubicBezTo>
                    <a:pt x="2426" y="491"/>
                    <a:pt x="2426" y="491"/>
                    <a:pt x="2427" y="491"/>
                  </a:cubicBezTo>
                  <a:cubicBezTo>
                    <a:pt x="2428" y="491"/>
                    <a:pt x="2428" y="491"/>
                    <a:pt x="2428" y="491"/>
                  </a:cubicBezTo>
                  <a:cubicBezTo>
                    <a:pt x="2429" y="491"/>
                    <a:pt x="2431" y="492"/>
                    <a:pt x="2432" y="492"/>
                  </a:cubicBezTo>
                  <a:cubicBezTo>
                    <a:pt x="2433" y="493"/>
                    <a:pt x="2434" y="493"/>
                    <a:pt x="2435" y="492"/>
                  </a:cubicBezTo>
                  <a:cubicBezTo>
                    <a:pt x="2436" y="491"/>
                    <a:pt x="2437" y="491"/>
                    <a:pt x="2438" y="491"/>
                  </a:cubicBezTo>
                  <a:cubicBezTo>
                    <a:pt x="2439" y="491"/>
                    <a:pt x="2439" y="491"/>
                    <a:pt x="2439" y="491"/>
                  </a:cubicBezTo>
                  <a:cubicBezTo>
                    <a:pt x="2440" y="491"/>
                    <a:pt x="2440" y="492"/>
                    <a:pt x="2441" y="492"/>
                  </a:cubicBezTo>
                  <a:cubicBezTo>
                    <a:pt x="2441" y="492"/>
                    <a:pt x="2442" y="491"/>
                    <a:pt x="2443" y="490"/>
                  </a:cubicBezTo>
                  <a:cubicBezTo>
                    <a:pt x="2444" y="490"/>
                    <a:pt x="2444" y="489"/>
                    <a:pt x="2444" y="489"/>
                  </a:cubicBezTo>
                  <a:cubicBezTo>
                    <a:pt x="2444" y="488"/>
                    <a:pt x="2442" y="487"/>
                    <a:pt x="2440" y="487"/>
                  </a:cubicBezTo>
                  <a:cubicBezTo>
                    <a:pt x="2438" y="486"/>
                    <a:pt x="2437" y="485"/>
                    <a:pt x="2437" y="484"/>
                  </a:cubicBezTo>
                  <a:cubicBezTo>
                    <a:pt x="2437" y="483"/>
                    <a:pt x="2437" y="483"/>
                    <a:pt x="2437" y="483"/>
                  </a:cubicBezTo>
                  <a:cubicBezTo>
                    <a:pt x="2437" y="482"/>
                    <a:pt x="2438" y="481"/>
                    <a:pt x="2438" y="481"/>
                  </a:cubicBezTo>
                  <a:cubicBezTo>
                    <a:pt x="2439" y="481"/>
                    <a:pt x="2440" y="482"/>
                    <a:pt x="2441" y="483"/>
                  </a:cubicBezTo>
                  <a:cubicBezTo>
                    <a:pt x="2442" y="483"/>
                    <a:pt x="2443" y="484"/>
                    <a:pt x="2444" y="484"/>
                  </a:cubicBezTo>
                  <a:cubicBezTo>
                    <a:pt x="2444" y="484"/>
                    <a:pt x="2444" y="484"/>
                    <a:pt x="2444" y="484"/>
                  </a:cubicBezTo>
                  <a:cubicBezTo>
                    <a:pt x="2445" y="484"/>
                    <a:pt x="2445" y="484"/>
                    <a:pt x="2445" y="484"/>
                  </a:cubicBezTo>
                  <a:cubicBezTo>
                    <a:pt x="2445" y="483"/>
                    <a:pt x="2445" y="482"/>
                    <a:pt x="2445" y="481"/>
                  </a:cubicBezTo>
                  <a:cubicBezTo>
                    <a:pt x="2445" y="479"/>
                    <a:pt x="2444" y="477"/>
                    <a:pt x="2446" y="477"/>
                  </a:cubicBezTo>
                  <a:cubicBezTo>
                    <a:pt x="2446" y="477"/>
                    <a:pt x="2446" y="476"/>
                    <a:pt x="2446" y="474"/>
                  </a:cubicBezTo>
                  <a:cubicBezTo>
                    <a:pt x="2447" y="470"/>
                    <a:pt x="2445" y="464"/>
                    <a:pt x="2444" y="463"/>
                  </a:cubicBezTo>
                  <a:cubicBezTo>
                    <a:pt x="2443" y="463"/>
                    <a:pt x="2442" y="462"/>
                    <a:pt x="2442" y="461"/>
                  </a:cubicBezTo>
                  <a:cubicBezTo>
                    <a:pt x="2442" y="460"/>
                    <a:pt x="2443" y="459"/>
                    <a:pt x="2445" y="459"/>
                  </a:cubicBezTo>
                  <a:cubicBezTo>
                    <a:pt x="2446" y="459"/>
                    <a:pt x="2447" y="460"/>
                    <a:pt x="2448" y="461"/>
                  </a:cubicBezTo>
                  <a:cubicBezTo>
                    <a:pt x="2453" y="464"/>
                    <a:pt x="2460" y="464"/>
                    <a:pt x="2463" y="464"/>
                  </a:cubicBezTo>
                  <a:cubicBezTo>
                    <a:pt x="2465" y="464"/>
                    <a:pt x="2465" y="464"/>
                    <a:pt x="2465" y="464"/>
                  </a:cubicBezTo>
                  <a:cubicBezTo>
                    <a:pt x="2466" y="464"/>
                    <a:pt x="2466" y="464"/>
                    <a:pt x="2466" y="464"/>
                  </a:cubicBezTo>
                  <a:cubicBezTo>
                    <a:pt x="2466" y="463"/>
                    <a:pt x="2464" y="462"/>
                    <a:pt x="2461" y="461"/>
                  </a:cubicBezTo>
                  <a:cubicBezTo>
                    <a:pt x="2459" y="461"/>
                    <a:pt x="2459" y="460"/>
                    <a:pt x="2459" y="460"/>
                  </a:cubicBezTo>
                  <a:cubicBezTo>
                    <a:pt x="2459" y="459"/>
                    <a:pt x="2461" y="458"/>
                    <a:pt x="2462" y="458"/>
                  </a:cubicBezTo>
                  <a:cubicBezTo>
                    <a:pt x="2463" y="458"/>
                    <a:pt x="2464" y="458"/>
                    <a:pt x="2465" y="459"/>
                  </a:cubicBezTo>
                  <a:cubicBezTo>
                    <a:pt x="2466" y="460"/>
                    <a:pt x="2468" y="461"/>
                    <a:pt x="2470" y="461"/>
                  </a:cubicBezTo>
                  <a:cubicBezTo>
                    <a:pt x="2471" y="461"/>
                    <a:pt x="2472" y="461"/>
                    <a:pt x="2472" y="460"/>
                  </a:cubicBezTo>
                  <a:cubicBezTo>
                    <a:pt x="2472" y="457"/>
                    <a:pt x="2475" y="452"/>
                    <a:pt x="2480" y="452"/>
                  </a:cubicBezTo>
                  <a:cubicBezTo>
                    <a:pt x="2480" y="452"/>
                    <a:pt x="2480" y="452"/>
                    <a:pt x="2480" y="452"/>
                  </a:cubicBezTo>
                  <a:cubicBezTo>
                    <a:pt x="2480" y="452"/>
                    <a:pt x="2480" y="452"/>
                    <a:pt x="2480" y="452"/>
                  </a:cubicBezTo>
                  <a:cubicBezTo>
                    <a:pt x="2480" y="452"/>
                    <a:pt x="2480" y="452"/>
                    <a:pt x="2480" y="452"/>
                  </a:cubicBezTo>
                  <a:cubicBezTo>
                    <a:pt x="2482" y="452"/>
                    <a:pt x="2483" y="451"/>
                    <a:pt x="2484" y="451"/>
                  </a:cubicBezTo>
                  <a:cubicBezTo>
                    <a:pt x="2484" y="450"/>
                    <a:pt x="2483" y="449"/>
                    <a:pt x="2481" y="449"/>
                  </a:cubicBezTo>
                  <a:cubicBezTo>
                    <a:pt x="2477" y="447"/>
                    <a:pt x="2463" y="438"/>
                    <a:pt x="2460" y="433"/>
                  </a:cubicBezTo>
                  <a:cubicBezTo>
                    <a:pt x="2457" y="430"/>
                    <a:pt x="2448" y="428"/>
                    <a:pt x="2443" y="428"/>
                  </a:cubicBezTo>
                  <a:cubicBezTo>
                    <a:pt x="2441" y="428"/>
                    <a:pt x="2441" y="428"/>
                    <a:pt x="2441" y="428"/>
                  </a:cubicBezTo>
                  <a:cubicBezTo>
                    <a:pt x="2441" y="429"/>
                    <a:pt x="2440" y="430"/>
                    <a:pt x="2439" y="430"/>
                  </a:cubicBezTo>
                  <a:cubicBezTo>
                    <a:pt x="2437" y="430"/>
                    <a:pt x="2434" y="427"/>
                    <a:pt x="2433" y="425"/>
                  </a:cubicBezTo>
                  <a:cubicBezTo>
                    <a:pt x="2432" y="424"/>
                    <a:pt x="2428" y="423"/>
                    <a:pt x="2423" y="423"/>
                  </a:cubicBezTo>
                  <a:cubicBezTo>
                    <a:pt x="2417" y="423"/>
                    <a:pt x="2415" y="424"/>
                    <a:pt x="2415" y="425"/>
                  </a:cubicBezTo>
                  <a:cubicBezTo>
                    <a:pt x="2415" y="426"/>
                    <a:pt x="2416" y="427"/>
                    <a:pt x="2418" y="428"/>
                  </a:cubicBezTo>
                  <a:cubicBezTo>
                    <a:pt x="2419" y="429"/>
                    <a:pt x="2420" y="429"/>
                    <a:pt x="2421" y="431"/>
                  </a:cubicBezTo>
                  <a:cubicBezTo>
                    <a:pt x="2423" y="433"/>
                    <a:pt x="2422" y="435"/>
                    <a:pt x="2421" y="436"/>
                  </a:cubicBezTo>
                  <a:cubicBezTo>
                    <a:pt x="2420" y="438"/>
                    <a:pt x="2419" y="439"/>
                    <a:pt x="2419" y="440"/>
                  </a:cubicBezTo>
                  <a:cubicBezTo>
                    <a:pt x="2420" y="441"/>
                    <a:pt x="2420" y="442"/>
                    <a:pt x="2419" y="442"/>
                  </a:cubicBezTo>
                  <a:cubicBezTo>
                    <a:pt x="2419" y="442"/>
                    <a:pt x="2419" y="442"/>
                    <a:pt x="2418" y="442"/>
                  </a:cubicBezTo>
                  <a:cubicBezTo>
                    <a:pt x="2417" y="442"/>
                    <a:pt x="2414" y="441"/>
                    <a:pt x="2409" y="437"/>
                  </a:cubicBezTo>
                  <a:cubicBezTo>
                    <a:pt x="2407" y="435"/>
                    <a:pt x="2407" y="427"/>
                    <a:pt x="2409" y="422"/>
                  </a:cubicBezTo>
                  <a:cubicBezTo>
                    <a:pt x="2409" y="420"/>
                    <a:pt x="2408" y="419"/>
                    <a:pt x="2406" y="418"/>
                  </a:cubicBezTo>
                  <a:cubicBezTo>
                    <a:pt x="2405" y="417"/>
                    <a:pt x="2403" y="416"/>
                    <a:pt x="2403" y="414"/>
                  </a:cubicBezTo>
                  <a:cubicBezTo>
                    <a:pt x="2402" y="411"/>
                    <a:pt x="2389" y="404"/>
                    <a:pt x="2375" y="398"/>
                  </a:cubicBezTo>
                  <a:cubicBezTo>
                    <a:pt x="2373" y="397"/>
                    <a:pt x="2371" y="396"/>
                    <a:pt x="2369" y="395"/>
                  </a:cubicBezTo>
                  <a:cubicBezTo>
                    <a:pt x="2362" y="393"/>
                    <a:pt x="2356" y="390"/>
                    <a:pt x="2353" y="387"/>
                  </a:cubicBezTo>
                  <a:cubicBezTo>
                    <a:pt x="2352" y="385"/>
                    <a:pt x="2348" y="384"/>
                    <a:pt x="2344" y="383"/>
                  </a:cubicBezTo>
                  <a:cubicBezTo>
                    <a:pt x="2339" y="381"/>
                    <a:pt x="2333" y="380"/>
                    <a:pt x="2330" y="376"/>
                  </a:cubicBezTo>
                  <a:cubicBezTo>
                    <a:pt x="2325" y="371"/>
                    <a:pt x="2300" y="360"/>
                    <a:pt x="2290" y="360"/>
                  </a:cubicBezTo>
                  <a:cubicBezTo>
                    <a:pt x="2284" y="359"/>
                    <a:pt x="2282" y="357"/>
                    <a:pt x="2281" y="356"/>
                  </a:cubicBezTo>
                  <a:cubicBezTo>
                    <a:pt x="2279" y="355"/>
                    <a:pt x="2279" y="354"/>
                    <a:pt x="2277" y="354"/>
                  </a:cubicBezTo>
                  <a:cubicBezTo>
                    <a:pt x="2276" y="354"/>
                    <a:pt x="2273" y="355"/>
                    <a:pt x="2270" y="355"/>
                  </a:cubicBezTo>
                  <a:cubicBezTo>
                    <a:pt x="2261" y="355"/>
                    <a:pt x="2248" y="354"/>
                    <a:pt x="2243" y="353"/>
                  </a:cubicBezTo>
                  <a:cubicBezTo>
                    <a:pt x="2242" y="353"/>
                    <a:pt x="2241" y="353"/>
                    <a:pt x="2241" y="353"/>
                  </a:cubicBezTo>
                  <a:cubicBezTo>
                    <a:pt x="2238" y="353"/>
                    <a:pt x="2237" y="354"/>
                    <a:pt x="2235" y="354"/>
                  </a:cubicBezTo>
                  <a:cubicBezTo>
                    <a:pt x="2234" y="355"/>
                    <a:pt x="2233" y="356"/>
                    <a:pt x="2231" y="356"/>
                  </a:cubicBezTo>
                  <a:cubicBezTo>
                    <a:pt x="2231" y="356"/>
                    <a:pt x="2230" y="355"/>
                    <a:pt x="2229" y="355"/>
                  </a:cubicBezTo>
                  <a:cubicBezTo>
                    <a:pt x="2224" y="353"/>
                    <a:pt x="2206" y="347"/>
                    <a:pt x="2199" y="347"/>
                  </a:cubicBezTo>
                  <a:cubicBezTo>
                    <a:pt x="2197" y="347"/>
                    <a:pt x="2196" y="347"/>
                    <a:pt x="2196" y="347"/>
                  </a:cubicBezTo>
                  <a:cubicBezTo>
                    <a:pt x="2195" y="349"/>
                    <a:pt x="2194" y="351"/>
                    <a:pt x="2194" y="352"/>
                  </a:cubicBezTo>
                  <a:cubicBezTo>
                    <a:pt x="2193" y="354"/>
                    <a:pt x="2193" y="356"/>
                    <a:pt x="2191" y="357"/>
                  </a:cubicBezTo>
                  <a:cubicBezTo>
                    <a:pt x="2190" y="357"/>
                    <a:pt x="2190" y="357"/>
                    <a:pt x="2190" y="357"/>
                  </a:cubicBezTo>
                  <a:cubicBezTo>
                    <a:pt x="2190" y="358"/>
                    <a:pt x="2191" y="361"/>
                    <a:pt x="2198" y="367"/>
                  </a:cubicBezTo>
                  <a:cubicBezTo>
                    <a:pt x="2201" y="370"/>
                    <a:pt x="2203" y="373"/>
                    <a:pt x="2202" y="375"/>
                  </a:cubicBezTo>
                  <a:cubicBezTo>
                    <a:pt x="2202" y="379"/>
                    <a:pt x="2198" y="381"/>
                    <a:pt x="2195" y="382"/>
                  </a:cubicBezTo>
                  <a:cubicBezTo>
                    <a:pt x="2193" y="383"/>
                    <a:pt x="2192" y="383"/>
                    <a:pt x="2190" y="383"/>
                  </a:cubicBezTo>
                  <a:cubicBezTo>
                    <a:pt x="2184" y="383"/>
                    <a:pt x="2177" y="379"/>
                    <a:pt x="2174" y="375"/>
                  </a:cubicBezTo>
                  <a:cubicBezTo>
                    <a:pt x="2173" y="373"/>
                    <a:pt x="2170" y="372"/>
                    <a:pt x="2168" y="371"/>
                  </a:cubicBezTo>
                  <a:cubicBezTo>
                    <a:pt x="2164" y="370"/>
                    <a:pt x="2161" y="369"/>
                    <a:pt x="2160" y="365"/>
                  </a:cubicBezTo>
                  <a:cubicBezTo>
                    <a:pt x="2159" y="362"/>
                    <a:pt x="2159" y="361"/>
                    <a:pt x="2160" y="360"/>
                  </a:cubicBezTo>
                  <a:cubicBezTo>
                    <a:pt x="2160" y="359"/>
                    <a:pt x="2161" y="359"/>
                    <a:pt x="2162" y="359"/>
                  </a:cubicBezTo>
                  <a:cubicBezTo>
                    <a:pt x="2164" y="359"/>
                    <a:pt x="2166" y="359"/>
                    <a:pt x="2167" y="361"/>
                  </a:cubicBezTo>
                  <a:cubicBezTo>
                    <a:pt x="2169" y="362"/>
                    <a:pt x="2170" y="362"/>
                    <a:pt x="2171" y="362"/>
                  </a:cubicBezTo>
                  <a:cubicBezTo>
                    <a:pt x="2174" y="362"/>
                    <a:pt x="2177" y="360"/>
                    <a:pt x="2177" y="357"/>
                  </a:cubicBezTo>
                  <a:cubicBezTo>
                    <a:pt x="2177" y="356"/>
                    <a:pt x="2177" y="356"/>
                    <a:pt x="2177" y="355"/>
                  </a:cubicBezTo>
                  <a:cubicBezTo>
                    <a:pt x="2174" y="352"/>
                    <a:pt x="2165" y="350"/>
                    <a:pt x="2160" y="350"/>
                  </a:cubicBezTo>
                  <a:cubicBezTo>
                    <a:pt x="2156" y="350"/>
                    <a:pt x="2153" y="353"/>
                    <a:pt x="2150" y="357"/>
                  </a:cubicBezTo>
                  <a:cubicBezTo>
                    <a:pt x="2148" y="359"/>
                    <a:pt x="2146" y="362"/>
                    <a:pt x="2143" y="364"/>
                  </a:cubicBezTo>
                  <a:cubicBezTo>
                    <a:pt x="2141" y="365"/>
                    <a:pt x="2138" y="365"/>
                    <a:pt x="2134" y="365"/>
                  </a:cubicBezTo>
                  <a:cubicBezTo>
                    <a:pt x="2124" y="365"/>
                    <a:pt x="2108" y="362"/>
                    <a:pt x="2106" y="359"/>
                  </a:cubicBezTo>
                  <a:cubicBezTo>
                    <a:pt x="2105" y="359"/>
                    <a:pt x="2104" y="359"/>
                    <a:pt x="2096" y="359"/>
                  </a:cubicBezTo>
                  <a:cubicBezTo>
                    <a:pt x="2083" y="359"/>
                    <a:pt x="2065" y="360"/>
                    <a:pt x="2062" y="362"/>
                  </a:cubicBezTo>
                  <a:cubicBezTo>
                    <a:pt x="2060" y="363"/>
                    <a:pt x="2060" y="367"/>
                    <a:pt x="2060" y="371"/>
                  </a:cubicBezTo>
                  <a:cubicBezTo>
                    <a:pt x="2060" y="373"/>
                    <a:pt x="2060" y="375"/>
                    <a:pt x="2059" y="376"/>
                  </a:cubicBezTo>
                  <a:cubicBezTo>
                    <a:pt x="2059" y="376"/>
                    <a:pt x="2059" y="376"/>
                    <a:pt x="2059" y="376"/>
                  </a:cubicBezTo>
                  <a:cubicBezTo>
                    <a:pt x="2058" y="376"/>
                    <a:pt x="2057" y="376"/>
                    <a:pt x="2056" y="369"/>
                  </a:cubicBezTo>
                  <a:cubicBezTo>
                    <a:pt x="2055" y="366"/>
                    <a:pt x="2055" y="362"/>
                    <a:pt x="2055" y="361"/>
                  </a:cubicBezTo>
                  <a:cubicBezTo>
                    <a:pt x="2055" y="360"/>
                    <a:pt x="2051" y="358"/>
                    <a:pt x="2044" y="358"/>
                  </a:cubicBezTo>
                  <a:cubicBezTo>
                    <a:pt x="2038" y="358"/>
                    <a:pt x="2036" y="357"/>
                    <a:pt x="2035" y="356"/>
                  </a:cubicBezTo>
                  <a:cubicBezTo>
                    <a:pt x="2035" y="355"/>
                    <a:pt x="2035" y="354"/>
                    <a:pt x="2036" y="354"/>
                  </a:cubicBezTo>
                  <a:cubicBezTo>
                    <a:pt x="2037" y="353"/>
                    <a:pt x="2037" y="352"/>
                    <a:pt x="2036" y="351"/>
                  </a:cubicBezTo>
                  <a:cubicBezTo>
                    <a:pt x="2036" y="349"/>
                    <a:pt x="2035" y="347"/>
                    <a:pt x="2039" y="345"/>
                  </a:cubicBezTo>
                  <a:cubicBezTo>
                    <a:pt x="2039" y="344"/>
                    <a:pt x="2040" y="343"/>
                    <a:pt x="2039" y="343"/>
                  </a:cubicBezTo>
                  <a:cubicBezTo>
                    <a:pt x="2039" y="338"/>
                    <a:pt x="2027" y="329"/>
                    <a:pt x="2015" y="325"/>
                  </a:cubicBezTo>
                  <a:cubicBezTo>
                    <a:pt x="2010" y="323"/>
                    <a:pt x="2002" y="322"/>
                    <a:pt x="1992" y="322"/>
                  </a:cubicBezTo>
                  <a:cubicBezTo>
                    <a:pt x="1979" y="322"/>
                    <a:pt x="1966" y="323"/>
                    <a:pt x="1960" y="325"/>
                  </a:cubicBezTo>
                  <a:cubicBezTo>
                    <a:pt x="1955" y="327"/>
                    <a:pt x="1945" y="327"/>
                    <a:pt x="1937" y="327"/>
                  </a:cubicBezTo>
                  <a:cubicBezTo>
                    <a:pt x="1936" y="327"/>
                    <a:pt x="1934" y="327"/>
                    <a:pt x="1933" y="327"/>
                  </a:cubicBezTo>
                  <a:cubicBezTo>
                    <a:pt x="1930" y="327"/>
                    <a:pt x="1930" y="327"/>
                    <a:pt x="1930" y="327"/>
                  </a:cubicBezTo>
                  <a:cubicBezTo>
                    <a:pt x="1929" y="327"/>
                    <a:pt x="1927" y="327"/>
                    <a:pt x="1926" y="327"/>
                  </a:cubicBezTo>
                  <a:cubicBezTo>
                    <a:pt x="1924" y="327"/>
                    <a:pt x="1922" y="327"/>
                    <a:pt x="1922" y="326"/>
                  </a:cubicBezTo>
                  <a:cubicBezTo>
                    <a:pt x="1921" y="325"/>
                    <a:pt x="1922" y="324"/>
                    <a:pt x="1922" y="323"/>
                  </a:cubicBezTo>
                  <a:cubicBezTo>
                    <a:pt x="1922" y="322"/>
                    <a:pt x="1923" y="321"/>
                    <a:pt x="1922" y="320"/>
                  </a:cubicBezTo>
                  <a:cubicBezTo>
                    <a:pt x="1920" y="317"/>
                    <a:pt x="1912" y="313"/>
                    <a:pt x="1907" y="313"/>
                  </a:cubicBezTo>
                  <a:cubicBezTo>
                    <a:pt x="1906" y="313"/>
                    <a:pt x="1905" y="314"/>
                    <a:pt x="1904" y="314"/>
                  </a:cubicBezTo>
                  <a:cubicBezTo>
                    <a:pt x="1904" y="316"/>
                    <a:pt x="1903" y="316"/>
                    <a:pt x="1902" y="316"/>
                  </a:cubicBezTo>
                  <a:cubicBezTo>
                    <a:pt x="1901" y="316"/>
                    <a:pt x="1900" y="315"/>
                    <a:pt x="1899" y="314"/>
                  </a:cubicBezTo>
                  <a:cubicBezTo>
                    <a:pt x="1898" y="314"/>
                    <a:pt x="1898" y="312"/>
                    <a:pt x="1898" y="312"/>
                  </a:cubicBezTo>
                  <a:cubicBezTo>
                    <a:pt x="1898" y="310"/>
                    <a:pt x="1888" y="306"/>
                    <a:pt x="1882" y="306"/>
                  </a:cubicBezTo>
                  <a:cubicBezTo>
                    <a:pt x="1881" y="306"/>
                    <a:pt x="1881" y="306"/>
                    <a:pt x="1880" y="306"/>
                  </a:cubicBezTo>
                  <a:cubicBezTo>
                    <a:pt x="1878" y="307"/>
                    <a:pt x="1876" y="306"/>
                    <a:pt x="1875" y="304"/>
                  </a:cubicBezTo>
                  <a:cubicBezTo>
                    <a:pt x="1875" y="303"/>
                    <a:pt x="1875" y="303"/>
                    <a:pt x="1875" y="302"/>
                  </a:cubicBezTo>
                  <a:cubicBezTo>
                    <a:pt x="1875" y="301"/>
                    <a:pt x="1876" y="300"/>
                    <a:pt x="1879" y="300"/>
                  </a:cubicBezTo>
                  <a:cubicBezTo>
                    <a:pt x="1879" y="300"/>
                    <a:pt x="1880" y="300"/>
                    <a:pt x="1881" y="300"/>
                  </a:cubicBezTo>
                  <a:cubicBezTo>
                    <a:pt x="1882" y="300"/>
                    <a:pt x="1883" y="300"/>
                    <a:pt x="1884" y="300"/>
                  </a:cubicBezTo>
                  <a:cubicBezTo>
                    <a:pt x="1887" y="300"/>
                    <a:pt x="1890" y="300"/>
                    <a:pt x="1891" y="299"/>
                  </a:cubicBezTo>
                  <a:cubicBezTo>
                    <a:pt x="1891" y="298"/>
                    <a:pt x="1891" y="297"/>
                    <a:pt x="1890" y="296"/>
                  </a:cubicBezTo>
                  <a:cubicBezTo>
                    <a:pt x="1887" y="290"/>
                    <a:pt x="1861" y="288"/>
                    <a:pt x="1849" y="288"/>
                  </a:cubicBezTo>
                  <a:cubicBezTo>
                    <a:pt x="1845" y="288"/>
                    <a:pt x="1844" y="288"/>
                    <a:pt x="1844" y="288"/>
                  </a:cubicBezTo>
                  <a:cubicBezTo>
                    <a:pt x="1843" y="288"/>
                    <a:pt x="1842" y="289"/>
                    <a:pt x="1842" y="291"/>
                  </a:cubicBezTo>
                  <a:cubicBezTo>
                    <a:pt x="1841" y="294"/>
                    <a:pt x="1840" y="297"/>
                    <a:pt x="1835" y="302"/>
                  </a:cubicBezTo>
                  <a:cubicBezTo>
                    <a:pt x="1832" y="306"/>
                    <a:pt x="1828" y="306"/>
                    <a:pt x="1826" y="306"/>
                  </a:cubicBezTo>
                  <a:cubicBezTo>
                    <a:pt x="1824" y="306"/>
                    <a:pt x="1821" y="305"/>
                    <a:pt x="1820" y="304"/>
                  </a:cubicBezTo>
                  <a:cubicBezTo>
                    <a:pt x="1819" y="302"/>
                    <a:pt x="1819" y="301"/>
                    <a:pt x="1819" y="300"/>
                  </a:cubicBezTo>
                  <a:cubicBezTo>
                    <a:pt x="1820" y="298"/>
                    <a:pt x="1823" y="297"/>
                    <a:pt x="1825" y="296"/>
                  </a:cubicBezTo>
                  <a:cubicBezTo>
                    <a:pt x="1828" y="296"/>
                    <a:pt x="1830" y="295"/>
                    <a:pt x="1830" y="293"/>
                  </a:cubicBezTo>
                  <a:cubicBezTo>
                    <a:pt x="1830" y="292"/>
                    <a:pt x="1826" y="291"/>
                    <a:pt x="1823" y="291"/>
                  </a:cubicBezTo>
                  <a:cubicBezTo>
                    <a:pt x="1819" y="291"/>
                    <a:pt x="1815" y="290"/>
                    <a:pt x="1814" y="289"/>
                  </a:cubicBezTo>
                  <a:cubicBezTo>
                    <a:pt x="1813" y="287"/>
                    <a:pt x="1814" y="286"/>
                    <a:pt x="1814" y="286"/>
                  </a:cubicBezTo>
                  <a:cubicBezTo>
                    <a:pt x="1815" y="284"/>
                    <a:pt x="1817" y="283"/>
                    <a:pt x="1819" y="283"/>
                  </a:cubicBezTo>
                  <a:cubicBezTo>
                    <a:pt x="1821" y="283"/>
                    <a:pt x="1822" y="284"/>
                    <a:pt x="1823" y="284"/>
                  </a:cubicBezTo>
                  <a:cubicBezTo>
                    <a:pt x="1826" y="285"/>
                    <a:pt x="1830" y="285"/>
                    <a:pt x="1833" y="285"/>
                  </a:cubicBezTo>
                  <a:cubicBezTo>
                    <a:pt x="1836" y="285"/>
                    <a:pt x="1837" y="285"/>
                    <a:pt x="1837" y="284"/>
                  </a:cubicBezTo>
                  <a:cubicBezTo>
                    <a:pt x="1837" y="284"/>
                    <a:pt x="1837" y="284"/>
                    <a:pt x="1837" y="284"/>
                  </a:cubicBezTo>
                  <a:cubicBezTo>
                    <a:pt x="1836" y="283"/>
                    <a:pt x="1832" y="282"/>
                    <a:pt x="1828" y="281"/>
                  </a:cubicBezTo>
                  <a:cubicBezTo>
                    <a:pt x="1826" y="281"/>
                    <a:pt x="1825" y="281"/>
                    <a:pt x="1823" y="281"/>
                  </a:cubicBezTo>
                  <a:cubicBezTo>
                    <a:pt x="1822" y="280"/>
                    <a:pt x="1819" y="280"/>
                    <a:pt x="1817" y="279"/>
                  </a:cubicBezTo>
                  <a:cubicBezTo>
                    <a:pt x="1808" y="278"/>
                    <a:pt x="1795" y="275"/>
                    <a:pt x="1786" y="275"/>
                  </a:cubicBezTo>
                  <a:cubicBezTo>
                    <a:pt x="1785" y="275"/>
                    <a:pt x="1784" y="275"/>
                    <a:pt x="1783" y="275"/>
                  </a:cubicBezTo>
                  <a:cubicBezTo>
                    <a:pt x="1782" y="275"/>
                    <a:pt x="1781" y="275"/>
                    <a:pt x="1780" y="275"/>
                  </a:cubicBezTo>
                  <a:cubicBezTo>
                    <a:pt x="1775" y="275"/>
                    <a:pt x="1771" y="274"/>
                    <a:pt x="1768" y="273"/>
                  </a:cubicBezTo>
                  <a:cubicBezTo>
                    <a:pt x="1765" y="272"/>
                    <a:pt x="1763" y="271"/>
                    <a:pt x="1761" y="271"/>
                  </a:cubicBezTo>
                  <a:cubicBezTo>
                    <a:pt x="1760" y="271"/>
                    <a:pt x="1760" y="271"/>
                    <a:pt x="1760" y="271"/>
                  </a:cubicBezTo>
                  <a:cubicBezTo>
                    <a:pt x="1759" y="271"/>
                    <a:pt x="1757" y="271"/>
                    <a:pt x="1757" y="272"/>
                  </a:cubicBezTo>
                  <a:cubicBezTo>
                    <a:pt x="1756" y="273"/>
                    <a:pt x="1757" y="275"/>
                    <a:pt x="1758" y="277"/>
                  </a:cubicBezTo>
                  <a:cubicBezTo>
                    <a:pt x="1759" y="278"/>
                    <a:pt x="1759" y="279"/>
                    <a:pt x="1759" y="279"/>
                  </a:cubicBezTo>
                  <a:cubicBezTo>
                    <a:pt x="1758" y="281"/>
                    <a:pt x="1753" y="282"/>
                    <a:pt x="1749" y="282"/>
                  </a:cubicBezTo>
                  <a:cubicBezTo>
                    <a:pt x="1747" y="282"/>
                    <a:pt x="1746" y="282"/>
                    <a:pt x="1745" y="282"/>
                  </a:cubicBezTo>
                  <a:cubicBezTo>
                    <a:pt x="1744" y="282"/>
                    <a:pt x="1744" y="282"/>
                    <a:pt x="1743" y="282"/>
                  </a:cubicBezTo>
                  <a:cubicBezTo>
                    <a:pt x="1738" y="282"/>
                    <a:pt x="1733" y="284"/>
                    <a:pt x="1731" y="287"/>
                  </a:cubicBezTo>
                  <a:cubicBezTo>
                    <a:pt x="1731" y="288"/>
                    <a:pt x="1731" y="289"/>
                    <a:pt x="1732" y="290"/>
                  </a:cubicBezTo>
                  <a:cubicBezTo>
                    <a:pt x="1733" y="291"/>
                    <a:pt x="1734" y="292"/>
                    <a:pt x="1735" y="292"/>
                  </a:cubicBezTo>
                  <a:cubicBezTo>
                    <a:pt x="1736" y="292"/>
                    <a:pt x="1737" y="291"/>
                    <a:pt x="1739" y="291"/>
                  </a:cubicBezTo>
                  <a:cubicBezTo>
                    <a:pt x="1740" y="290"/>
                    <a:pt x="1741" y="290"/>
                    <a:pt x="1742" y="290"/>
                  </a:cubicBezTo>
                  <a:cubicBezTo>
                    <a:pt x="1743" y="290"/>
                    <a:pt x="1743" y="290"/>
                    <a:pt x="1743" y="290"/>
                  </a:cubicBezTo>
                  <a:cubicBezTo>
                    <a:pt x="1744" y="291"/>
                    <a:pt x="1744" y="291"/>
                    <a:pt x="1744" y="291"/>
                  </a:cubicBezTo>
                  <a:cubicBezTo>
                    <a:pt x="1744" y="292"/>
                    <a:pt x="1743" y="293"/>
                    <a:pt x="1741" y="294"/>
                  </a:cubicBezTo>
                  <a:cubicBezTo>
                    <a:pt x="1740" y="295"/>
                    <a:pt x="1739" y="296"/>
                    <a:pt x="1739" y="297"/>
                  </a:cubicBezTo>
                  <a:cubicBezTo>
                    <a:pt x="1739" y="297"/>
                    <a:pt x="1739" y="298"/>
                    <a:pt x="1740" y="298"/>
                  </a:cubicBezTo>
                  <a:cubicBezTo>
                    <a:pt x="1744" y="300"/>
                    <a:pt x="1744" y="304"/>
                    <a:pt x="1744" y="307"/>
                  </a:cubicBezTo>
                  <a:cubicBezTo>
                    <a:pt x="1744" y="308"/>
                    <a:pt x="1744" y="308"/>
                    <a:pt x="1744" y="308"/>
                  </a:cubicBezTo>
                  <a:cubicBezTo>
                    <a:pt x="1744" y="309"/>
                    <a:pt x="1744" y="309"/>
                    <a:pt x="1744" y="310"/>
                  </a:cubicBezTo>
                  <a:cubicBezTo>
                    <a:pt x="1743" y="311"/>
                    <a:pt x="1741" y="311"/>
                    <a:pt x="1738" y="311"/>
                  </a:cubicBezTo>
                  <a:cubicBezTo>
                    <a:pt x="1736" y="311"/>
                    <a:pt x="1733" y="310"/>
                    <a:pt x="1732" y="309"/>
                  </a:cubicBezTo>
                  <a:cubicBezTo>
                    <a:pt x="1731" y="308"/>
                    <a:pt x="1730" y="307"/>
                    <a:pt x="1728" y="307"/>
                  </a:cubicBezTo>
                  <a:cubicBezTo>
                    <a:pt x="1727" y="307"/>
                    <a:pt x="1726" y="307"/>
                    <a:pt x="1724" y="307"/>
                  </a:cubicBezTo>
                  <a:cubicBezTo>
                    <a:pt x="1723" y="308"/>
                    <a:pt x="1721" y="308"/>
                    <a:pt x="1718" y="308"/>
                  </a:cubicBezTo>
                  <a:cubicBezTo>
                    <a:pt x="1717" y="308"/>
                    <a:pt x="1717" y="308"/>
                    <a:pt x="1717" y="308"/>
                  </a:cubicBezTo>
                  <a:cubicBezTo>
                    <a:pt x="1713" y="308"/>
                    <a:pt x="1712" y="309"/>
                    <a:pt x="1712" y="309"/>
                  </a:cubicBezTo>
                  <a:cubicBezTo>
                    <a:pt x="1712" y="309"/>
                    <a:pt x="1712" y="310"/>
                    <a:pt x="1714" y="310"/>
                  </a:cubicBezTo>
                  <a:cubicBezTo>
                    <a:pt x="1718" y="311"/>
                    <a:pt x="1720" y="312"/>
                    <a:pt x="1720" y="314"/>
                  </a:cubicBezTo>
                  <a:cubicBezTo>
                    <a:pt x="1720" y="315"/>
                    <a:pt x="1720" y="316"/>
                    <a:pt x="1714" y="317"/>
                  </a:cubicBezTo>
                  <a:cubicBezTo>
                    <a:pt x="1709" y="318"/>
                    <a:pt x="1708" y="315"/>
                    <a:pt x="1706" y="313"/>
                  </a:cubicBezTo>
                  <a:cubicBezTo>
                    <a:pt x="1705" y="311"/>
                    <a:pt x="1704" y="310"/>
                    <a:pt x="1703" y="310"/>
                  </a:cubicBezTo>
                  <a:cubicBezTo>
                    <a:pt x="1700" y="311"/>
                    <a:pt x="1695" y="309"/>
                    <a:pt x="1691" y="308"/>
                  </a:cubicBezTo>
                  <a:cubicBezTo>
                    <a:pt x="1687" y="307"/>
                    <a:pt x="1683" y="306"/>
                    <a:pt x="1680" y="306"/>
                  </a:cubicBezTo>
                  <a:cubicBezTo>
                    <a:pt x="1677" y="306"/>
                    <a:pt x="1675" y="307"/>
                    <a:pt x="1673" y="309"/>
                  </a:cubicBezTo>
                  <a:cubicBezTo>
                    <a:pt x="1671" y="310"/>
                    <a:pt x="1668" y="312"/>
                    <a:pt x="1663" y="312"/>
                  </a:cubicBezTo>
                  <a:cubicBezTo>
                    <a:pt x="1655" y="313"/>
                    <a:pt x="1644" y="308"/>
                    <a:pt x="1641" y="303"/>
                  </a:cubicBezTo>
                  <a:cubicBezTo>
                    <a:pt x="1639" y="301"/>
                    <a:pt x="1638" y="300"/>
                    <a:pt x="1637" y="300"/>
                  </a:cubicBezTo>
                  <a:cubicBezTo>
                    <a:pt x="1636" y="300"/>
                    <a:pt x="1635" y="301"/>
                    <a:pt x="1634" y="303"/>
                  </a:cubicBezTo>
                  <a:cubicBezTo>
                    <a:pt x="1632" y="305"/>
                    <a:pt x="1631" y="308"/>
                    <a:pt x="1630" y="310"/>
                  </a:cubicBezTo>
                  <a:cubicBezTo>
                    <a:pt x="1629" y="314"/>
                    <a:pt x="1628" y="317"/>
                    <a:pt x="1625" y="318"/>
                  </a:cubicBezTo>
                  <a:cubicBezTo>
                    <a:pt x="1624" y="318"/>
                    <a:pt x="1622" y="321"/>
                    <a:pt x="1621" y="323"/>
                  </a:cubicBezTo>
                  <a:cubicBezTo>
                    <a:pt x="1620" y="325"/>
                    <a:pt x="1618" y="328"/>
                    <a:pt x="1616" y="329"/>
                  </a:cubicBezTo>
                  <a:cubicBezTo>
                    <a:pt x="1616" y="329"/>
                    <a:pt x="1615" y="330"/>
                    <a:pt x="1614" y="330"/>
                  </a:cubicBezTo>
                  <a:cubicBezTo>
                    <a:pt x="1613" y="330"/>
                    <a:pt x="1612" y="329"/>
                    <a:pt x="1612" y="328"/>
                  </a:cubicBezTo>
                  <a:cubicBezTo>
                    <a:pt x="1610" y="327"/>
                    <a:pt x="1609" y="326"/>
                    <a:pt x="1607" y="326"/>
                  </a:cubicBezTo>
                  <a:cubicBezTo>
                    <a:pt x="1607" y="326"/>
                    <a:pt x="1607" y="326"/>
                    <a:pt x="1607" y="326"/>
                  </a:cubicBezTo>
                  <a:cubicBezTo>
                    <a:pt x="1601" y="326"/>
                    <a:pt x="1586" y="311"/>
                    <a:pt x="1585" y="306"/>
                  </a:cubicBezTo>
                  <a:cubicBezTo>
                    <a:pt x="1584" y="302"/>
                    <a:pt x="1575" y="294"/>
                    <a:pt x="1572" y="292"/>
                  </a:cubicBezTo>
                  <a:cubicBezTo>
                    <a:pt x="1571" y="291"/>
                    <a:pt x="1571" y="291"/>
                    <a:pt x="1571" y="290"/>
                  </a:cubicBezTo>
                  <a:cubicBezTo>
                    <a:pt x="1571" y="290"/>
                    <a:pt x="1572" y="289"/>
                    <a:pt x="1573" y="289"/>
                  </a:cubicBezTo>
                  <a:cubicBezTo>
                    <a:pt x="1574" y="289"/>
                    <a:pt x="1577" y="290"/>
                    <a:pt x="1578" y="291"/>
                  </a:cubicBezTo>
                  <a:cubicBezTo>
                    <a:pt x="1580" y="293"/>
                    <a:pt x="1582" y="293"/>
                    <a:pt x="1584" y="293"/>
                  </a:cubicBezTo>
                  <a:cubicBezTo>
                    <a:pt x="1585" y="293"/>
                    <a:pt x="1587" y="293"/>
                    <a:pt x="1588" y="292"/>
                  </a:cubicBezTo>
                  <a:cubicBezTo>
                    <a:pt x="1590" y="291"/>
                    <a:pt x="1590" y="289"/>
                    <a:pt x="1590" y="287"/>
                  </a:cubicBezTo>
                  <a:cubicBezTo>
                    <a:pt x="1589" y="286"/>
                    <a:pt x="1589" y="283"/>
                    <a:pt x="1586" y="283"/>
                  </a:cubicBezTo>
                  <a:cubicBezTo>
                    <a:pt x="1582" y="283"/>
                    <a:pt x="1582" y="282"/>
                    <a:pt x="1582" y="281"/>
                  </a:cubicBezTo>
                  <a:cubicBezTo>
                    <a:pt x="1581" y="279"/>
                    <a:pt x="1583" y="277"/>
                    <a:pt x="1585" y="276"/>
                  </a:cubicBezTo>
                  <a:cubicBezTo>
                    <a:pt x="1585" y="276"/>
                    <a:pt x="1585" y="276"/>
                    <a:pt x="1585" y="276"/>
                  </a:cubicBezTo>
                  <a:cubicBezTo>
                    <a:pt x="1585" y="276"/>
                    <a:pt x="1584" y="274"/>
                    <a:pt x="1583" y="272"/>
                  </a:cubicBezTo>
                  <a:cubicBezTo>
                    <a:pt x="1582" y="270"/>
                    <a:pt x="1580" y="268"/>
                    <a:pt x="1581" y="267"/>
                  </a:cubicBezTo>
                  <a:cubicBezTo>
                    <a:pt x="1581" y="267"/>
                    <a:pt x="1581" y="267"/>
                    <a:pt x="1582" y="266"/>
                  </a:cubicBezTo>
                  <a:cubicBezTo>
                    <a:pt x="1583" y="266"/>
                    <a:pt x="1583" y="266"/>
                    <a:pt x="1583" y="265"/>
                  </a:cubicBezTo>
                  <a:cubicBezTo>
                    <a:pt x="1583" y="264"/>
                    <a:pt x="1582" y="263"/>
                    <a:pt x="1579" y="262"/>
                  </a:cubicBezTo>
                  <a:cubicBezTo>
                    <a:pt x="1574" y="261"/>
                    <a:pt x="1569" y="257"/>
                    <a:pt x="1569" y="255"/>
                  </a:cubicBezTo>
                  <a:cubicBezTo>
                    <a:pt x="1568" y="254"/>
                    <a:pt x="1564" y="253"/>
                    <a:pt x="1558" y="253"/>
                  </a:cubicBezTo>
                  <a:cubicBezTo>
                    <a:pt x="1553" y="253"/>
                    <a:pt x="1551" y="254"/>
                    <a:pt x="1550" y="255"/>
                  </a:cubicBezTo>
                  <a:cubicBezTo>
                    <a:pt x="1550" y="255"/>
                    <a:pt x="1550" y="255"/>
                    <a:pt x="1550" y="255"/>
                  </a:cubicBezTo>
                  <a:cubicBezTo>
                    <a:pt x="1551" y="256"/>
                    <a:pt x="1550" y="256"/>
                    <a:pt x="1550" y="257"/>
                  </a:cubicBezTo>
                  <a:cubicBezTo>
                    <a:pt x="1550" y="257"/>
                    <a:pt x="1549" y="258"/>
                    <a:pt x="1548" y="258"/>
                  </a:cubicBezTo>
                  <a:cubicBezTo>
                    <a:pt x="1546" y="258"/>
                    <a:pt x="1545" y="257"/>
                    <a:pt x="1544" y="256"/>
                  </a:cubicBezTo>
                  <a:cubicBezTo>
                    <a:pt x="1544" y="256"/>
                    <a:pt x="1544" y="255"/>
                    <a:pt x="1544" y="254"/>
                  </a:cubicBezTo>
                  <a:cubicBezTo>
                    <a:pt x="1544" y="254"/>
                    <a:pt x="1544" y="254"/>
                    <a:pt x="1544" y="254"/>
                  </a:cubicBezTo>
                  <a:cubicBezTo>
                    <a:pt x="1544" y="253"/>
                    <a:pt x="1541" y="253"/>
                    <a:pt x="1538" y="252"/>
                  </a:cubicBezTo>
                  <a:cubicBezTo>
                    <a:pt x="1535" y="252"/>
                    <a:pt x="1532" y="252"/>
                    <a:pt x="1528" y="251"/>
                  </a:cubicBezTo>
                  <a:cubicBezTo>
                    <a:pt x="1522" y="249"/>
                    <a:pt x="1519" y="246"/>
                    <a:pt x="1518" y="243"/>
                  </a:cubicBezTo>
                  <a:cubicBezTo>
                    <a:pt x="1517" y="242"/>
                    <a:pt x="1516" y="241"/>
                    <a:pt x="1515" y="241"/>
                  </a:cubicBezTo>
                  <a:cubicBezTo>
                    <a:pt x="1515" y="241"/>
                    <a:pt x="1515" y="241"/>
                    <a:pt x="1515" y="241"/>
                  </a:cubicBezTo>
                  <a:cubicBezTo>
                    <a:pt x="1514" y="241"/>
                    <a:pt x="1513" y="242"/>
                    <a:pt x="1513" y="244"/>
                  </a:cubicBezTo>
                  <a:cubicBezTo>
                    <a:pt x="1512" y="246"/>
                    <a:pt x="1511" y="248"/>
                    <a:pt x="1509" y="248"/>
                  </a:cubicBezTo>
                  <a:cubicBezTo>
                    <a:pt x="1508" y="248"/>
                    <a:pt x="1508" y="248"/>
                    <a:pt x="1508" y="248"/>
                  </a:cubicBezTo>
                  <a:cubicBezTo>
                    <a:pt x="1505" y="247"/>
                    <a:pt x="1503" y="248"/>
                    <a:pt x="1501" y="250"/>
                  </a:cubicBezTo>
                  <a:cubicBezTo>
                    <a:pt x="1500" y="251"/>
                    <a:pt x="1500" y="253"/>
                    <a:pt x="1501" y="255"/>
                  </a:cubicBezTo>
                  <a:cubicBezTo>
                    <a:pt x="1503" y="259"/>
                    <a:pt x="1503" y="261"/>
                    <a:pt x="1502" y="263"/>
                  </a:cubicBezTo>
                  <a:cubicBezTo>
                    <a:pt x="1502" y="264"/>
                    <a:pt x="1501" y="265"/>
                    <a:pt x="1501" y="266"/>
                  </a:cubicBezTo>
                  <a:cubicBezTo>
                    <a:pt x="1501" y="268"/>
                    <a:pt x="1501" y="269"/>
                    <a:pt x="1499" y="269"/>
                  </a:cubicBezTo>
                  <a:cubicBezTo>
                    <a:pt x="1498" y="269"/>
                    <a:pt x="1496" y="269"/>
                    <a:pt x="1494" y="268"/>
                  </a:cubicBezTo>
                  <a:cubicBezTo>
                    <a:pt x="1494" y="268"/>
                    <a:pt x="1493" y="267"/>
                    <a:pt x="1492" y="267"/>
                  </a:cubicBezTo>
                  <a:cubicBezTo>
                    <a:pt x="1491" y="267"/>
                    <a:pt x="1491" y="267"/>
                    <a:pt x="1490" y="267"/>
                  </a:cubicBezTo>
                  <a:cubicBezTo>
                    <a:pt x="1489" y="267"/>
                    <a:pt x="1488" y="267"/>
                    <a:pt x="1487" y="268"/>
                  </a:cubicBezTo>
                  <a:cubicBezTo>
                    <a:pt x="1485" y="269"/>
                    <a:pt x="1483" y="270"/>
                    <a:pt x="1480" y="270"/>
                  </a:cubicBezTo>
                  <a:cubicBezTo>
                    <a:pt x="1478" y="270"/>
                    <a:pt x="1476" y="269"/>
                    <a:pt x="1474" y="269"/>
                  </a:cubicBezTo>
                  <a:cubicBezTo>
                    <a:pt x="1469" y="267"/>
                    <a:pt x="1465" y="267"/>
                    <a:pt x="1462" y="267"/>
                  </a:cubicBezTo>
                  <a:cubicBezTo>
                    <a:pt x="1458" y="267"/>
                    <a:pt x="1456" y="267"/>
                    <a:pt x="1454" y="265"/>
                  </a:cubicBezTo>
                  <a:cubicBezTo>
                    <a:pt x="1453" y="263"/>
                    <a:pt x="1452" y="262"/>
                    <a:pt x="1451" y="262"/>
                  </a:cubicBezTo>
                  <a:cubicBezTo>
                    <a:pt x="1450" y="262"/>
                    <a:pt x="1449" y="263"/>
                    <a:pt x="1449" y="264"/>
                  </a:cubicBezTo>
                  <a:cubicBezTo>
                    <a:pt x="1449" y="266"/>
                    <a:pt x="1445" y="266"/>
                    <a:pt x="1442" y="266"/>
                  </a:cubicBezTo>
                  <a:cubicBezTo>
                    <a:pt x="1437" y="266"/>
                    <a:pt x="1429" y="264"/>
                    <a:pt x="1428" y="261"/>
                  </a:cubicBezTo>
                  <a:cubicBezTo>
                    <a:pt x="1426" y="257"/>
                    <a:pt x="1430" y="255"/>
                    <a:pt x="1433" y="254"/>
                  </a:cubicBezTo>
                  <a:cubicBezTo>
                    <a:pt x="1433" y="254"/>
                    <a:pt x="1434" y="254"/>
                    <a:pt x="1434" y="253"/>
                  </a:cubicBezTo>
                  <a:cubicBezTo>
                    <a:pt x="1434" y="253"/>
                    <a:pt x="1434" y="253"/>
                    <a:pt x="1434" y="253"/>
                  </a:cubicBezTo>
                  <a:cubicBezTo>
                    <a:pt x="1434" y="253"/>
                    <a:pt x="1431" y="252"/>
                    <a:pt x="1425" y="252"/>
                  </a:cubicBezTo>
                  <a:cubicBezTo>
                    <a:pt x="1424" y="252"/>
                    <a:pt x="1422" y="252"/>
                    <a:pt x="1421" y="252"/>
                  </a:cubicBezTo>
                  <a:cubicBezTo>
                    <a:pt x="1416" y="252"/>
                    <a:pt x="1412" y="251"/>
                    <a:pt x="1408" y="250"/>
                  </a:cubicBezTo>
                  <a:cubicBezTo>
                    <a:pt x="1404" y="249"/>
                    <a:pt x="1401" y="248"/>
                    <a:pt x="1397" y="248"/>
                  </a:cubicBezTo>
                  <a:cubicBezTo>
                    <a:pt x="1396" y="248"/>
                    <a:pt x="1395" y="248"/>
                    <a:pt x="1394" y="248"/>
                  </a:cubicBezTo>
                  <a:cubicBezTo>
                    <a:pt x="1393" y="248"/>
                    <a:pt x="1391" y="248"/>
                    <a:pt x="1389" y="248"/>
                  </a:cubicBezTo>
                  <a:cubicBezTo>
                    <a:pt x="1378" y="249"/>
                    <a:pt x="1361" y="251"/>
                    <a:pt x="1358" y="252"/>
                  </a:cubicBezTo>
                  <a:cubicBezTo>
                    <a:pt x="1357" y="253"/>
                    <a:pt x="1357" y="254"/>
                    <a:pt x="1358" y="256"/>
                  </a:cubicBezTo>
                  <a:cubicBezTo>
                    <a:pt x="1358" y="257"/>
                    <a:pt x="1358" y="258"/>
                    <a:pt x="1358" y="259"/>
                  </a:cubicBezTo>
                  <a:cubicBezTo>
                    <a:pt x="1357" y="260"/>
                    <a:pt x="1357" y="260"/>
                    <a:pt x="1356" y="260"/>
                  </a:cubicBezTo>
                  <a:cubicBezTo>
                    <a:pt x="1355" y="260"/>
                    <a:pt x="1354" y="260"/>
                    <a:pt x="1353" y="259"/>
                  </a:cubicBezTo>
                  <a:cubicBezTo>
                    <a:pt x="1352" y="258"/>
                    <a:pt x="1352" y="255"/>
                    <a:pt x="1353" y="252"/>
                  </a:cubicBezTo>
                  <a:cubicBezTo>
                    <a:pt x="1353" y="249"/>
                    <a:pt x="1353" y="247"/>
                    <a:pt x="1353" y="246"/>
                  </a:cubicBezTo>
                  <a:cubicBezTo>
                    <a:pt x="1352" y="243"/>
                    <a:pt x="1350" y="242"/>
                    <a:pt x="1348" y="242"/>
                  </a:cubicBezTo>
                  <a:cubicBezTo>
                    <a:pt x="1347" y="242"/>
                    <a:pt x="1347" y="242"/>
                    <a:pt x="1347" y="243"/>
                  </a:cubicBezTo>
                  <a:cubicBezTo>
                    <a:pt x="1346" y="243"/>
                    <a:pt x="1346" y="243"/>
                    <a:pt x="1346" y="244"/>
                  </a:cubicBezTo>
                  <a:cubicBezTo>
                    <a:pt x="1347" y="244"/>
                    <a:pt x="1347" y="245"/>
                    <a:pt x="1346" y="245"/>
                  </a:cubicBezTo>
                  <a:cubicBezTo>
                    <a:pt x="1345" y="247"/>
                    <a:pt x="1341" y="248"/>
                    <a:pt x="1337" y="248"/>
                  </a:cubicBezTo>
                  <a:cubicBezTo>
                    <a:pt x="1334" y="248"/>
                    <a:pt x="1332" y="247"/>
                    <a:pt x="1331" y="246"/>
                  </a:cubicBezTo>
                  <a:cubicBezTo>
                    <a:pt x="1326" y="242"/>
                    <a:pt x="1320" y="240"/>
                    <a:pt x="1314" y="238"/>
                  </a:cubicBezTo>
                  <a:cubicBezTo>
                    <a:pt x="1313" y="238"/>
                    <a:pt x="1312" y="238"/>
                    <a:pt x="1311" y="238"/>
                  </a:cubicBezTo>
                  <a:cubicBezTo>
                    <a:pt x="1306" y="238"/>
                    <a:pt x="1300" y="242"/>
                    <a:pt x="1298" y="245"/>
                  </a:cubicBezTo>
                  <a:cubicBezTo>
                    <a:pt x="1298" y="245"/>
                    <a:pt x="1298" y="246"/>
                    <a:pt x="1298" y="247"/>
                  </a:cubicBezTo>
                  <a:cubicBezTo>
                    <a:pt x="1299" y="248"/>
                    <a:pt x="1302" y="248"/>
                    <a:pt x="1304" y="248"/>
                  </a:cubicBezTo>
                  <a:cubicBezTo>
                    <a:pt x="1305" y="248"/>
                    <a:pt x="1307" y="248"/>
                    <a:pt x="1307" y="249"/>
                  </a:cubicBezTo>
                  <a:cubicBezTo>
                    <a:pt x="1307" y="250"/>
                    <a:pt x="1307" y="250"/>
                    <a:pt x="1307" y="250"/>
                  </a:cubicBezTo>
                  <a:cubicBezTo>
                    <a:pt x="1306" y="252"/>
                    <a:pt x="1302" y="252"/>
                    <a:pt x="1297" y="253"/>
                  </a:cubicBezTo>
                  <a:cubicBezTo>
                    <a:pt x="1294" y="253"/>
                    <a:pt x="1289" y="253"/>
                    <a:pt x="1289" y="254"/>
                  </a:cubicBezTo>
                  <a:cubicBezTo>
                    <a:pt x="1289" y="258"/>
                    <a:pt x="1270" y="262"/>
                    <a:pt x="1267" y="263"/>
                  </a:cubicBezTo>
                  <a:cubicBezTo>
                    <a:pt x="1263" y="263"/>
                    <a:pt x="1263" y="263"/>
                    <a:pt x="1263" y="263"/>
                  </a:cubicBezTo>
                  <a:cubicBezTo>
                    <a:pt x="1252" y="264"/>
                    <a:pt x="1249" y="265"/>
                    <a:pt x="1243" y="270"/>
                  </a:cubicBezTo>
                  <a:cubicBezTo>
                    <a:pt x="1241" y="271"/>
                    <a:pt x="1240" y="272"/>
                    <a:pt x="1240" y="272"/>
                  </a:cubicBezTo>
                  <a:cubicBezTo>
                    <a:pt x="1239" y="271"/>
                    <a:pt x="1239" y="271"/>
                    <a:pt x="1239" y="271"/>
                  </a:cubicBezTo>
                  <a:cubicBezTo>
                    <a:pt x="1238" y="269"/>
                    <a:pt x="1243" y="262"/>
                    <a:pt x="1246" y="259"/>
                  </a:cubicBezTo>
                  <a:cubicBezTo>
                    <a:pt x="1249" y="256"/>
                    <a:pt x="1252" y="255"/>
                    <a:pt x="1254" y="255"/>
                  </a:cubicBezTo>
                  <a:cubicBezTo>
                    <a:pt x="1256" y="254"/>
                    <a:pt x="1258" y="254"/>
                    <a:pt x="1260" y="252"/>
                  </a:cubicBezTo>
                  <a:cubicBezTo>
                    <a:pt x="1262" y="249"/>
                    <a:pt x="1266" y="248"/>
                    <a:pt x="1271" y="247"/>
                  </a:cubicBezTo>
                  <a:cubicBezTo>
                    <a:pt x="1272" y="247"/>
                    <a:pt x="1274" y="247"/>
                    <a:pt x="1276" y="247"/>
                  </a:cubicBezTo>
                  <a:cubicBezTo>
                    <a:pt x="1281" y="246"/>
                    <a:pt x="1282" y="244"/>
                    <a:pt x="1284" y="242"/>
                  </a:cubicBezTo>
                  <a:cubicBezTo>
                    <a:pt x="1285" y="241"/>
                    <a:pt x="1286" y="240"/>
                    <a:pt x="1287" y="239"/>
                  </a:cubicBezTo>
                  <a:cubicBezTo>
                    <a:pt x="1288" y="239"/>
                    <a:pt x="1288" y="239"/>
                    <a:pt x="1289" y="238"/>
                  </a:cubicBezTo>
                  <a:cubicBezTo>
                    <a:pt x="1293" y="237"/>
                    <a:pt x="1301" y="233"/>
                    <a:pt x="1302" y="230"/>
                  </a:cubicBezTo>
                  <a:cubicBezTo>
                    <a:pt x="1304" y="226"/>
                    <a:pt x="1323" y="220"/>
                    <a:pt x="1327" y="220"/>
                  </a:cubicBezTo>
                  <a:cubicBezTo>
                    <a:pt x="1328" y="220"/>
                    <a:pt x="1328" y="220"/>
                    <a:pt x="1328" y="220"/>
                  </a:cubicBezTo>
                  <a:cubicBezTo>
                    <a:pt x="1329" y="220"/>
                    <a:pt x="1331" y="217"/>
                    <a:pt x="1332" y="215"/>
                  </a:cubicBezTo>
                  <a:cubicBezTo>
                    <a:pt x="1332" y="213"/>
                    <a:pt x="1333" y="212"/>
                    <a:pt x="1334" y="212"/>
                  </a:cubicBezTo>
                  <a:cubicBezTo>
                    <a:pt x="1336" y="212"/>
                    <a:pt x="1342" y="209"/>
                    <a:pt x="1352" y="205"/>
                  </a:cubicBezTo>
                  <a:cubicBezTo>
                    <a:pt x="1356" y="203"/>
                    <a:pt x="1358" y="200"/>
                    <a:pt x="1358" y="197"/>
                  </a:cubicBezTo>
                  <a:cubicBezTo>
                    <a:pt x="1358" y="196"/>
                    <a:pt x="1357" y="195"/>
                    <a:pt x="1355" y="195"/>
                  </a:cubicBezTo>
                  <a:cubicBezTo>
                    <a:pt x="1354" y="194"/>
                    <a:pt x="1352" y="193"/>
                    <a:pt x="1352" y="192"/>
                  </a:cubicBezTo>
                  <a:cubicBezTo>
                    <a:pt x="1352" y="191"/>
                    <a:pt x="1352" y="191"/>
                    <a:pt x="1352" y="190"/>
                  </a:cubicBezTo>
                  <a:cubicBezTo>
                    <a:pt x="1352" y="190"/>
                    <a:pt x="1353" y="190"/>
                    <a:pt x="1355" y="190"/>
                  </a:cubicBezTo>
                  <a:cubicBezTo>
                    <a:pt x="1356" y="190"/>
                    <a:pt x="1357" y="189"/>
                    <a:pt x="1359" y="189"/>
                  </a:cubicBezTo>
                  <a:cubicBezTo>
                    <a:pt x="1361" y="188"/>
                    <a:pt x="1361" y="187"/>
                    <a:pt x="1361" y="186"/>
                  </a:cubicBezTo>
                  <a:cubicBezTo>
                    <a:pt x="1361" y="185"/>
                    <a:pt x="1359" y="183"/>
                    <a:pt x="1357" y="183"/>
                  </a:cubicBezTo>
                  <a:cubicBezTo>
                    <a:pt x="1356" y="183"/>
                    <a:pt x="1356" y="183"/>
                    <a:pt x="1356" y="183"/>
                  </a:cubicBezTo>
                  <a:cubicBezTo>
                    <a:pt x="1355" y="183"/>
                    <a:pt x="1354" y="183"/>
                    <a:pt x="1354" y="183"/>
                  </a:cubicBezTo>
                  <a:cubicBezTo>
                    <a:pt x="1354" y="182"/>
                    <a:pt x="1354" y="182"/>
                    <a:pt x="1354" y="181"/>
                  </a:cubicBezTo>
                  <a:cubicBezTo>
                    <a:pt x="1355" y="180"/>
                    <a:pt x="1356" y="178"/>
                    <a:pt x="1354" y="176"/>
                  </a:cubicBezTo>
                  <a:cubicBezTo>
                    <a:pt x="1354" y="175"/>
                    <a:pt x="1353" y="175"/>
                    <a:pt x="1352" y="175"/>
                  </a:cubicBezTo>
                  <a:cubicBezTo>
                    <a:pt x="1351" y="175"/>
                    <a:pt x="1349" y="175"/>
                    <a:pt x="1348" y="175"/>
                  </a:cubicBezTo>
                  <a:cubicBezTo>
                    <a:pt x="1347" y="176"/>
                    <a:pt x="1346" y="176"/>
                    <a:pt x="1345" y="175"/>
                  </a:cubicBezTo>
                  <a:cubicBezTo>
                    <a:pt x="1345" y="174"/>
                    <a:pt x="1345" y="174"/>
                    <a:pt x="1345" y="174"/>
                  </a:cubicBezTo>
                  <a:cubicBezTo>
                    <a:pt x="1345" y="170"/>
                    <a:pt x="1344" y="165"/>
                    <a:pt x="1342" y="162"/>
                  </a:cubicBezTo>
                  <a:cubicBezTo>
                    <a:pt x="1341" y="161"/>
                    <a:pt x="1340" y="162"/>
                    <a:pt x="1338" y="163"/>
                  </a:cubicBezTo>
                  <a:cubicBezTo>
                    <a:pt x="1336" y="163"/>
                    <a:pt x="1335" y="164"/>
                    <a:pt x="1333" y="164"/>
                  </a:cubicBezTo>
                  <a:cubicBezTo>
                    <a:pt x="1332" y="164"/>
                    <a:pt x="1330" y="164"/>
                    <a:pt x="1329" y="163"/>
                  </a:cubicBezTo>
                  <a:cubicBezTo>
                    <a:pt x="1325" y="160"/>
                    <a:pt x="1314" y="157"/>
                    <a:pt x="1310" y="157"/>
                  </a:cubicBezTo>
                  <a:cubicBezTo>
                    <a:pt x="1309" y="157"/>
                    <a:pt x="1309" y="157"/>
                    <a:pt x="1309" y="158"/>
                  </a:cubicBezTo>
                  <a:cubicBezTo>
                    <a:pt x="1308" y="158"/>
                    <a:pt x="1308" y="158"/>
                    <a:pt x="1308" y="158"/>
                  </a:cubicBezTo>
                  <a:cubicBezTo>
                    <a:pt x="1307" y="158"/>
                    <a:pt x="1306" y="158"/>
                    <a:pt x="1305" y="158"/>
                  </a:cubicBezTo>
                  <a:cubicBezTo>
                    <a:pt x="1303" y="157"/>
                    <a:pt x="1302" y="157"/>
                    <a:pt x="1301" y="157"/>
                  </a:cubicBezTo>
                  <a:cubicBezTo>
                    <a:pt x="1300" y="157"/>
                    <a:pt x="1300" y="157"/>
                    <a:pt x="1300" y="157"/>
                  </a:cubicBezTo>
                  <a:cubicBezTo>
                    <a:pt x="1299" y="158"/>
                    <a:pt x="1294" y="158"/>
                    <a:pt x="1291" y="158"/>
                  </a:cubicBezTo>
                  <a:cubicBezTo>
                    <a:pt x="1287" y="158"/>
                    <a:pt x="1283" y="158"/>
                    <a:pt x="1281" y="157"/>
                  </a:cubicBezTo>
                  <a:cubicBezTo>
                    <a:pt x="1280" y="157"/>
                    <a:pt x="1280" y="157"/>
                    <a:pt x="1280" y="157"/>
                  </a:cubicBezTo>
                  <a:cubicBezTo>
                    <a:pt x="1276" y="157"/>
                    <a:pt x="1273" y="159"/>
                    <a:pt x="1272" y="162"/>
                  </a:cubicBezTo>
                  <a:cubicBezTo>
                    <a:pt x="1272" y="164"/>
                    <a:pt x="1269" y="165"/>
                    <a:pt x="1264" y="165"/>
                  </a:cubicBezTo>
                  <a:cubicBezTo>
                    <a:pt x="1260" y="165"/>
                    <a:pt x="1255" y="165"/>
                    <a:pt x="1254" y="165"/>
                  </a:cubicBezTo>
                  <a:cubicBezTo>
                    <a:pt x="1253" y="164"/>
                    <a:pt x="1253" y="164"/>
                    <a:pt x="1253" y="164"/>
                  </a:cubicBezTo>
                  <a:cubicBezTo>
                    <a:pt x="1253" y="163"/>
                    <a:pt x="1255" y="160"/>
                    <a:pt x="1259" y="156"/>
                  </a:cubicBezTo>
                  <a:cubicBezTo>
                    <a:pt x="1261" y="154"/>
                    <a:pt x="1263" y="151"/>
                    <a:pt x="1264" y="151"/>
                  </a:cubicBezTo>
                  <a:cubicBezTo>
                    <a:pt x="1263" y="150"/>
                    <a:pt x="1262" y="150"/>
                    <a:pt x="1258" y="150"/>
                  </a:cubicBezTo>
                  <a:cubicBezTo>
                    <a:pt x="1256" y="150"/>
                    <a:pt x="1255" y="150"/>
                    <a:pt x="1253" y="150"/>
                  </a:cubicBezTo>
                  <a:cubicBezTo>
                    <a:pt x="1252" y="150"/>
                    <a:pt x="1250" y="150"/>
                    <a:pt x="1249" y="150"/>
                  </a:cubicBezTo>
                  <a:cubicBezTo>
                    <a:pt x="1242" y="150"/>
                    <a:pt x="1240" y="150"/>
                    <a:pt x="1240" y="149"/>
                  </a:cubicBezTo>
                  <a:cubicBezTo>
                    <a:pt x="1239" y="148"/>
                    <a:pt x="1232" y="147"/>
                    <a:pt x="1225" y="147"/>
                  </a:cubicBezTo>
                  <a:cubicBezTo>
                    <a:pt x="1224" y="147"/>
                    <a:pt x="1224" y="147"/>
                    <a:pt x="1223" y="147"/>
                  </a:cubicBezTo>
                  <a:cubicBezTo>
                    <a:pt x="1223" y="147"/>
                    <a:pt x="1223" y="147"/>
                    <a:pt x="1222" y="147"/>
                  </a:cubicBezTo>
                  <a:cubicBezTo>
                    <a:pt x="1222" y="147"/>
                    <a:pt x="1221" y="147"/>
                    <a:pt x="1221" y="146"/>
                  </a:cubicBezTo>
                  <a:cubicBezTo>
                    <a:pt x="1221" y="145"/>
                    <a:pt x="1227" y="144"/>
                    <a:pt x="1227" y="144"/>
                  </a:cubicBezTo>
                  <a:cubicBezTo>
                    <a:pt x="1230" y="144"/>
                    <a:pt x="1232" y="143"/>
                    <a:pt x="1234" y="142"/>
                  </a:cubicBezTo>
                  <a:cubicBezTo>
                    <a:pt x="1236" y="140"/>
                    <a:pt x="1238" y="139"/>
                    <a:pt x="1241" y="139"/>
                  </a:cubicBezTo>
                  <a:cubicBezTo>
                    <a:pt x="1243" y="139"/>
                    <a:pt x="1244" y="138"/>
                    <a:pt x="1244" y="138"/>
                  </a:cubicBezTo>
                  <a:cubicBezTo>
                    <a:pt x="1244" y="137"/>
                    <a:pt x="1243" y="135"/>
                    <a:pt x="1242" y="134"/>
                  </a:cubicBezTo>
                  <a:cubicBezTo>
                    <a:pt x="1241" y="132"/>
                    <a:pt x="1239" y="132"/>
                    <a:pt x="1236" y="132"/>
                  </a:cubicBezTo>
                  <a:cubicBezTo>
                    <a:pt x="1234" y="132"/>
                    <a:pt x="1232" y="132"/>
                    <a:pt x="1230" y="131"/>
                  </a:cubicBezTo>
                  <a:cubicBezTo>
                    <a:pt x="1229" y="131"/>
                    <a:pt x="1228" y="131"/>
                    <a:pt x="1228" y="130"/>
                  </a:cubicBezTo>
                  <a:cubicBezTo>
                    <a:pt x="1223" y="129"/>
                    <a:pt x="1219" y="128"/>
                    <a:pt x="1215" y="127"/>
                  </a:cubicBezTo>
                  <a:cubicBezTo>
                    <a:pt x="1213" y="127"/>
                    <a:pt x="1210" y="128"/>
                    <a:pt x="1207" y="129"/>
                  </a:cubicBezTo>
                  <a:cubicBezTo>
                    <a:pt x="1204" y="130"/>
                    <a:pt x="1201" y="131"/>
                    <a:pt x="1196" y="131"/>
                  </a:cubicBezTo>
                  <a:cubicBezTo>
                    <a:pt x="1190" y="133"/>
                    <a:pt x="1187" y="136"/>
                    <a:pt x="1185" y="139"/>
                  </a:cubicBezTo>
                  <a:cubicBezTo>
                    <a:pt x="1184" y="141"/>
                    <a:pt x="1182" y="142"/>
                    <a:pt x="1180" y="143"/>
                  </a:cubicBezTo>
                  <a:cubicBezTo>
                    <a:pt x="1176" y="145"/>
                    <a:pt x="1169" y="152"/>
                    <a:pt x="1169" y="155"/>
                  </a:cubicBezTo>
                  <a:cubicBezTo>
                    <a:pt x="1170" y="155"/>
                    <a:pt x="1170" y="155"/>
                    <a:pt x="1170" y="155"/>
                  </a:cubicBezTo>
                  <a:cubicBezTo>
                    <a:pt x="1174" y="156"/>
                    <a:pt x="1173" y="158"/>
                    <a:pt x="1173" y="159"/>
                  </a:cubicBezTo>
                  <a:cubicBezTo>
                    <a:pt x="1173" y="160"/>
                    <a:pt x="1173" y="161"/>
                    <a:pt x="1173" y="162"/>
                  </a:cubicBezTo>
                  <a:cubicBezTo>
                    <a:pt x="1174" y="163"/>
                    <a:pt x="1173" y="163"/>
                    <a:pt x="1173" y="164"/>
                  </a:cubicBezTo>
                  <a:cubicBezTo>
                    <a:pt x="1172" y="165"/>
                    <a:pt x="1171" y="165"/>
                    <a:pt x="1168" y="165"/>
                  </a:cubicBezTo>
                  <a:cubicBezTo>
                    <a:pt x="1167" y="165"/>
                    <a:pt x="1166" y="165"/>
                    <a:pt x="1165" y="165"/>
                  </a:cubicBezTo>
                  <a:cubicBezTo>
                    <a:pt x="1163" y="165"/>
                    <a:pt x="1161" y="165"/>
                    <a:pt x="1158" y="165"/>
                  </a:cubicBezTo>
                  <a:cubicBezTo>
                    <a:pt x="1150" y="165"/>
                    <a:pt x="1145" y="165"/>
                    <a:pt x="1143" y="167"/>
                  </a:cubicBezTo>
                  <a:cubicBezTo>
                    <a:pt x="1143" y="167"/>
                    <a:pt x="1143" y="167"/>
                    <a:pt x="1143" y="167"/>
                  </a:cubicBezTo>
                  <a:cubicBezTo>
                    <a:pt x="1143" y="169"/>
                    <a:pt x="1146" y="171"/>
                    <a:pt x="1149" y="172"/>
                  </a:cubicBezTo>
                  <a:cubicBezTo>
                    <a:pt x="1151" y="173"/>
                    <a:pt x="1153" y="174"/>
                    <a:pt x="1152" y="175"/>
                  </a:cubicBezTo>
                  <a:cubicBezTo>
                    <a:pt x="1152" y="176"/>
                    <a:pt x="1151" y="176"/>
                    <a:pt x="1150" y="176"/>
                  </a:cubicBezTo>
                  <a:cubicBezTo>
                    <a:pt x="1148" y="176"/>
                    <a:pt x="1143" y="175"/>
                    <a:pt x="1141" y="173"/>
                  </a:cubicBezTo>
                  <a:cubicBezTo>
                    <a:pt x="1140" y="173"/>
                    <a:pt x="1138" y="172"/>
                    <a:pt x="1137" y="172"/>
                  </a:cubicBezTo>
                  <a:cubicBezTo>
                    <a:pt x="1133" y="172"/>
                    <a:pt x="1130" y="173"/>
                    <a:pt x="1129" y="176"/>
                  </a:cubicBezTo>
                  <a:cubicBezTo>
                    <a:pt x="1128" y="178"/>
                    <a:pt x="1126" y="179"/>
                    <a:pt x="1123" y="179"/>
                  </a:cubicBezTo>
                  <a:cubicBezTo>
                    <a:pt x="1121" y="179"/>
                    <a:pt x="1120" y="178"/>
                    <a:pt x="1119" y="178"/>
                  </a:cubicBezTo>
                  <a:cubicBezTo>
                    <a:pt x="1118" y="178"/>
                    <a:pt x="1117" y="178"/>
                    <a:pt x="1115" y="178"/>
                  </a:cubicBezTo>
                  <a:cubicBezTo>
                    <a:pt x="1113" y="179"/>
                    <a:pt x="1111" y="179"/>
                    <a:pt x="1109" y="178"/>
                  </a:cubicBezTo>
                  <a:cubicBezTo>
                    <a:pt x="1108" y="178"/>
                    <a:pt x="1108" y="178"/>
                    <a:pt x="1108" y="178"/>
                  </a:cubicBezTo>
                  <a:cubicBezTo>
                    <a:pt x="1108" y="177"/>
                    <a:pt x="1109" y="176"/>
                    <a:pt x="1111" y="174"/>
                  </a:cubicBezTo>
                  <a:cubicBezTo>
                    <a:pt x="1112" y="173"/>
                    <a:pt x="1113" y="172"/>
                    <a:pt x="1113" y="171"/>
                  </a:cubicBezTo>
                  <a:cubicBezTo>
                    <a:pt x="1113" y="170"/>
                    <a:pt x="1113" y="170"/>
                    <a:pt x="1113" y="170"/>
                  </a:cubicBezTo>
                  <a:cubicBezTo>
                    <a:pt x="1113" y="170"/>
                    <a:pt x="1111" y="169"/>
                    <a:pt x="1110" y="169"/>
                  </a:cubicBezTo>
                  <a:cubicBezTo>
                    <a:pt x="1106" y="169"/>
                    <a:pt x="1101" y="171"/>
                    <a:pt x="1100" y="174"/>
                  </a:cubicBezTo>
                  <a:cubicBezTo>
                    <a:pt x="1100" y="175"/>
                    <a:pt x="1099" y="175"/>
                    <a:pt x="1098" y="175"/>
                  </a:cubicBezTo>
                  <a:cubicBezTo>
                    <a:pt x="1097" y="175"/>
                    <a:pt x="1096" y="175"/>
                    <a:pt x="1094" y="174"/>
                  </a:cubicBezTo>
                  <a:cubicBezTo>
                    <a:pt x="1093" y="173"/>
                    <a:pt x="1091" y="172"/>
                    <a:pt x="1090" y="172"/>
                  </a:cubicBezTo>
                  <a:cubicBezTo>
                    <a:pt x="1089" y="173"/>
                    <a:pt x="1089" y="173"/>
                    <a:pt x="1089" y="173"/>
                  </a:cubicBezTo>
                  <a:cubicBezTo>
                    <a:pt x="1087" y="174"/>
                    <a:pt x="1085" y="175"/>
                    <a:pt x="1081" y="177"/>
                  </a:cubicBezTo>
                  <a:cubicBezTo>
                    <a:pt x="1080" y="178"/>
                    <a:pt x="1079" y="178"/>
                    <a:pt x="1077" y="178"/>
                  </a:cubicBezTo>
                  <a:cubicBezTo>
                    <a:pt x="1076" y="178"/>
                    <a:pt x="1075" y="178"/>
                    <a:pt x="1073" y="177"/>
                  </a:cubicBezTo>
                  <a:cubicBezTo>
                    <a:pt x="1072" y="177"/>
                    <a:pt x="1071" y="177"/>
                    <a:pt x="1070" y="177"/>
                  </a:cubicBezTo>
                  <a:cubicBezTo>
                    <a:pt x="1068" y="177"/>
                    <a:pt x="1067" y="177"/>
                    <a:pt x="1067" y="178"/>
                  </a:cubicBezTo>
                  <a:cubicBezTo>
                    <a:pt x="1067" y="179"/>
                    <a:pt x="1067" y="179"/>
                    <a:pt x="1067" y="179"/>
                  </a:cubicBezTo>
                  <a:cubicBezTo>
                    <a:pt x="1067" y="180"/>
                    <a:pt x="1070" y="181"/>
                    <a:pt x="1072" y="182"/>
                  </a:cubicBezTo>
                  <a:cubicBezTo>
                    <a:pt x="1075" y="183"/>
                    <a:pt x="1076" y="183"/>
                    <a:pt x="1076" y="184"/>
                  </a:cubicBezTo>
                  <a:cubicBezTo>
                    <a:pt x="1076" y="184"/>
                    <a:pt x="1076" y="184"/>
                    <a:pt x="1076" y="184"/>
                  </a:cubicBezTo>
                  <a:cubicBezTo>
                    <a:pt x="1075" y="185"/>
                    <a:pt x="1073" y="185"/>
                    <a:pt x="1066" y="186"/>
                  </a:cubicBezTo>
                  <a:cubicBezTo>
                    <a:pt x="1061" y="186"/>
                    <a:pt x="1052" y="187"/>
                    <a:pt x="1052" y="188"/>
                  </a:cubicBezTo>
                  <a:cubicBezTo>
                    <a:pt x="1051" y="190"/>
                    <a:pt x="1046" y="191"/>
                    <a:pt x="1035" y="191"/>
                  </a:cubicBezTo>
                  <a:cubicBezTo>
                    <a:pt x="1033" y="191"/>
                    <a:pt x="1033" y="191"/>
                    <a:pt x="1033" y="191"/>
                  </a:cubicBezTo>
                  <a:cubicBezTo>
                    <a:pt x="1028" y="191"/>
                    <a:pt x="1027" y="192"/>
                    <a:pt x="1026" y="194"/>
                  </a:cubicBezTo>
                  <a:cubicBezTo>
                    <a:pt x="1025" y="195"/>
                    <a:pt x="1023" y="197"/>
                    <a:pt x="1020" y="197"/>
                  </a:cubicBezTo>
                  <a:cubicBezTo>
                    <a:pt x="1019" y="197"/>
                    <a:pt x="1018" y="198"/>
                    <a:pt x="1017" y="198"/>
                  </a:cubicBezTo>
                  <a:cubicBezTo>
                    <a:pt x="1011" y="199"/>
                    <a:pt x="1008" y="199"/>
                    <a:pt x="1006" y="203"/>
                  </a:cubicBezTo>
                  <a:cubicBezTo>
                    <a:pt x="1005" y="205"/>
                    <a:pt x="1002" y="206"/>
                    <a:pt x="999" y="206"/>
                  </a:cubicBezTo>
                  <a:cubicBezTo>
                    <a:pt x="997" y="206"/>
                    <a:pt x="995" y="205"/>
                    <a:pt x="994" y="204"/>
                  </a:cubicBezTo>
                  <a:cubicBezTo>
                    <a:pt x="994" y="204"/>
                    <a:pt x="993" y="203"/>
                    <a:pt x="992" y="203"/>
                  </a:cubicBezTo>
                  <a:cubicBezTo>
                    <a:pt x="991" y="203"/>
                    <a:pt x="989" y="204"/>
                    <a:pt x="988" y="205"/>
                  </a:cubicBezTo>
                  <a:cubicBezTo>
                    <a:pt x="988" y="205"/>
                    <a:pt x="988" y="205"/>
                    <a:pt x="988" y="205"/>
                  </a:cubicBezTo>
                  <a:cubicBezTo>
                    <a:pt x="988" y="205"/>
                    <a:pt x="988" y="205"/>
                    <a:pt x="988" y="205"/>
                  </a:cubicBezTo>
                  <a:cubicBezTo>
                    <a:pt x="988" y="205"/>
                    <a:pt x="988" y="205"/>
                    <a:pt x="989" y="205"/>
                  </a:cubicBezTo>
                  <a:cubicBezTo>
                    <a:pt x="991" y="205"/>
                    <a:pt x="991" y="207"/>
                    <a:pt x="991" y="207"/>
                  </a:cubicBezTo>
                  <a:cubicBezTo>
                    <a:pt x="991" y="209"/>
                    <a:pt x="988" y="210"/>
                    <a:pt x="986" y="210"/>
                  </a:cubicBezTo>
                  <a:cubicBezTo>
                    <a:pt x="986" y="210"/>
                    <a:pt x="986" y="210"/>
                    <a:pt x="986" y="210"/>
                  </a:cubicBezTo>
                  <a:cubicBezTo>
                    <a:pt x="984" y="210"/>
                    <a:pt x="981" y="212"/>
                    <a:pt x="981" y="212"/>
                  </a:cubicBezTo>
                  <a:cubicBezTo>
                    <a:pt x="981" y="212"/>
                    <a:pt x="981" y="212"/>
                    <a:pt x="981" y="212"/>
                  </a:cubicBezTo>
                  <a:cubicBezTo>
                    <a:pt x="983" y="212"/>
                    <a:pt x="985" y="213"/>
                    <a:pt x="986" y="215"/>
                  </a:cubicBezTo>
                  <a:cubicBezTo>
                    <a:pt x="987" y="216"/>
                    <a:pt x="986" y="217"/>
                    <a:pt x="985" y="218"/>
                  </a:cubicBezTo>
                  <a:cubicBezTo>
                    <a:pt x="985" y="219"/>
                    <a:pt x="984" y="219"/>
                    <a:pt x="983" y="219"/>
                  </a:cubicBezTo>
                  <a:cubicBezTo>
                    <a:pt x="982" y="219"/>
                    <a:pt x="980" y="219"/>
                    <a:pt x="979" y="218"/>
                  </a:cubicBezTo>
                  <a:cubicBezTo>
                    <a:pt x="976" y="218"/>
                    <a:pt x="974" y="217"/>
                    <a:pt x="973" y="218"/>
                  </a:cubicBezTo>
                  <a:cubicBezTo>
                    <a:pt x="973" y="218"/>
                    <a:pt x="973" y="218"/>
                    <a:pt x="973" y="219"/>
                  </a:cubicBezTo>
                  <a:cubicBezTo>
                    <a:pt x="973" y="220"/>
                    <a:pt x="978" y="222"/>
                    <a:pt x="981" y="221"/>
                  </a:cubicBezTo>
                  <a:cubicBezTo>
                    <a:pt x="981" y="221"/>
                    <a:pt x="981" y="221"/>
                    <a:pt x="981" y="221"/>
                  </a:cubicBezTo>
                  <a:cubicBezTo>
                    <a:pt x="985" y="221"/>
                    <a:pt x="987" y="224"/>
                    <a:pt x="988" y="227"/>
                  </a:cubicBezTo>
                  <a:cubicBezTo>
                    <a:pt x="987" y="228"/>
                    <a:pt x="987" y="228"/>
                    <a:pt x="987" y="228"/>
                  </a:cubicBezTo>
                  <a:cubicBezTo>
                    <a:pt x="986" y="228"/>
                    <a:pt x="986" y="228"/>
                    <a:pt x="986" y="228"/>
                  </a:cubicBezTo>
                  <a:cubicBezTo>
                    <a:pt x="985" y="228"/>
                    <a:pt x="984" y="228"/>
                    <a:pt x="982" y="228"/>
                  </a:cubicBezTo>
                  <a:cubicBezTo>
                    <a:pt x="981" y="228"/>
                    <a:pt x="979" y="227"/>
                    <a:pt x="978" y="227"/>
                  </a:cubicBezTo>
                  <a:cubicBezTo>
                    <a:pt x="977" y="227"/>
                    <a:pt x="977" y="227"/>
                    <a:pt x="976" y="228"/>
                  </a:cubicBezTo>
                  <a:cubicBezTo>
                    <a:pt x="976" y="229"/>
                    <a:pt x="976" y="229"/>
                    <a:pt x="976" y="229"/>
                  </a:cubicBezTo>
                  <a:cubicBezTo>
                    <a:pt x="976" y="229"/>
                    <a:pt x="977" y="230"/>
                    <a:pt x="982" y="231"/>
                  </a:cubicBezTo>
                  <a:cubicBezTo>
                    <a:pt x="984" y="231"/>
                    <a:pt x="984" y="232"/>
                    <a:pt x="985" y="233"/>
                  </a:cubicBezTo>
                  <a:cubicBezTo>
                    <a:pt x="985" y="234"/>
                    <a:pt x="985" y="235"/>
                    <a:pt x="987" y="236"/>
                  </a:cubicBezTo>
                  <a:cubicBezTo>
                    <a:pt x="987" y="237"/>
                    <a:pt x="987" y="237"/>
                    <a:pt x="987" y="237"/>
                  </a:cubicBezTo>
                  <a:cubicBezTo>
                    <a:pt x="989" y="239"/>
                    <a:pt x="988" y="240"/>
                    <a:pt x="987" y="241"/>
                  </a:cubicBezTo>
                  <a:cubicBezTo>
                    <a:pt x="986" y="242"/>
                    <a:pt x="986" y="242"/>
                    <a:pt x="986" y="243"/>
                  </a:cubicBezTo>
                  <a:cubicBezTo>
                    <a:pt x="986" y="244"/>
                    <a:pt x="986" y="245"/>
                    <a:pt x="985" y="246"/>
                  </a:cubicBezTo>
                  <a:cubicBezTo>
                    <a:pt x="984" y="247"/>
                    <a:pt x="983" y="247"/>
                    <a:pt x="982" y="246"/>
                  </a:cubicBezTo>
                  <a:cubicBezTo>
                    <a:pt x="981" y="246"/>
                    <a:pt x="981" y="245"/>
                    <a:pt x="981" y="245"/>
                  </a:cubicBezTo>
                  <a:cubicBezTo>
                    <a:pt x="981" y="244"/>
                    <a:pt x="978" y="243"/>
                    <a:pt x="974" y="243"/>
                  </a:cubicBezTo>
                  <a:cubicBezTo>
                    <a:pt x="971" y="243"/>
                    <a:pt x="969" y="243"/>
                    <a:pt x="968" y="244"/>
                  </a:cubicBezTo>
                  <a:cubicBezTo>
                    <a:pt x="968" y="245"/>
                    <a:pt x="968" y="245"/>
                    <a:pt x="968" y="245"/>
                  </a:cubicBezTo>
                  <a:cubicBezTo>
                    <a:pt x="966" y="246"/>
                    <a:pt x="965" y="248"/>
                    <a:pt x="963" y="248"/>
                  </a:cubicBezTo>
                  <a:cubicBezTo>
                    <a:pt x="962" y="248"/>
                    <a:pt x="961" y="248"/>
                    <a:pt x="960" y="247"/>
                  </a:cubicBezTo>
                  <a:cubicBezTo>
                    <a:pt x="960" y="246"/>
                    <a:pt x="959" y="246"/>
                    <a:pt x="957" y="246"/>
                  </a:cubicBezTo>
                  <a:cubicBezTo>
                    <a:pt x="955" y="246"/>
                    <a:pt x="953" y="246"/>
                    <a:pt x="950" y="247"/>
                  </a:cubicBezTo>
                  <a:cubicBezTo>
                    <a:pt x="947" y="247"/>
                    <a:pt x="943" y="248"/>
                    <a:pt x="939" y="248"/>
                  </a:cubicBezTo>
                  <a:cubicBezTo>
                    <a:pt x="939" y="248"/>
                    <a:pt x="939" y="248"/>
                    <a:pt x="939" y="248"/>
                  </a:cubicBezTo>
                  <a:cubicBezTo>
                    <a:pt x="929" y="248"/>
                    <a:pt x="907" y="249"/>
                    <a:pt x="902" y="251"/>
                  </a:cubicBezTo>
                  <a:cubicBezTo>
                    <a:pt x="899" y="252"/>
                    <a:pt x="896" y="255"/>
                    <a:pt x="895" y="259"/>
                  </a:cubicBezTo>
                  <a:cubicBezTo>
                    <a:pt x="895" y="260"/>
                    <a:pt x="895" y="263"/>
                    <a:pt x="897" y="265"/>
                  </a:cubicBezTo>
                  <a:cubicBezTo>
                    <a:pt x="901" y="268"/>
                    <a:pt x="899" y="271"/>
                    <a:pt x="898" y="273"/>
                  </a:cubicBezTo>
                  <a:cubicBezTo>
                    <a:pt x="898" y="274"/>
                    <a:pt x="897" y="275"/>
                    <a:pt x="897" y="275"/>
                  </a:cubicBezTo>
                  <a:cubicBezTo>
                    <a:pt x="897" y="278"/>
                    <a:pt x="910" y="285"/>
                    <a:pt x="917" y="285"/>
                  </a:cubicBezTo>
                  <a:cubicBezTo>
                    <a:pt x="921" y="286"/>
                    <a:pt x="925" y="289"/>
                    <a:pt x="926" y="293"/>
                  </a:cubicBezTo>
                  <a:cubicBezTo>
                    <a:pt x="927" y="295"/>
                    <a:pt x="927" y="298"/>
                    <a:pt x="925" y="300"/>
                  </a:cubicBezTo>
                  <a:cubicBezTo>
                    <a:pt x="924" y="302"/>
                    <a:pt x="923" y="303"/>
                    <a:pt x="921" y="303"/>
                  </a:cubicBezTo>
                  <a:cubicBezTo>
                    <a:pt x="915" y="303"/>
                    <a:pt x="906" y="297"/>
                    <a:pt x="900" y="293"/>
                  </a:cubicBezTo>
                  <a:cubicBezTo>
                    <a:pt x="893" y="287"/>
                    <a:pt x="876" y="284"/>
                    <a:pt x="869" y="284"/>
                  </a:cubicBezTo>
                  <a:cubicBezTo>
                    <a:pt x="868" y="284"/>
                    <a:pt x="868" y="284"/>
                    <a:pt x="867" y="284"/>
                  </a:cubicBezTo>
                  <a:cubicBezTo>
                    <a:pt x="867" y="284"/>
                    <a:pt x="867" y="284"/>
                    <a:pt x="866" y="284"/>
                  </a:cubicBezTo>
                  <a:cubicBezTo>
                    <a:pt x="864" y="284"/>
                    <a:pt x="863" y="283"/>
                    <a:pt x="862" y="281"/>
                  </a:cubicBezTo>
                  <a:cubicBezTo>
                    <a:pt x="861" y="280"/>
                    <a:pt x="860" y="279"/>
                    <a:pt x="857" y="279"/>
                  </a:cubicBezTo>
                  <a:cubicBezTo>
                    <a:pt x="857" y="279"/>
                    <a:pt x="857" y="279"/>
                    <a:pt x="857" y="279"/>
                  </a:cubicBezTo>
                  <a:cubicBezTo>
                    <a:pt x="851" y="279"/>
                    <a:pt x="846" y="283"/>
                    <a:pt x="846" y="284"/>
                  </a:cubicBezTo>
                  <a:cubicBezTo>
                    <a:pt x="846" y="285"/>
                    <a:pt x="847" y="285"/>
                    <a:pt x="847" y="285"/>
                  </a:cubicBezTo>
                  <a:cubicBezTo>
                    <a:pt x="848" y="285"/>
                    <a:pt x="849" y="285"/>
                    <a:pt x="849" y="285"/>
                  </a:cubicBezTo>
                  <a:cubicBezTo>
                    <a:pt x="850" y="285"/>
                    <a:pt x="850" y="285"/>
                    <a:pt x="851" y="285"/>
                  </a:cubicBezTo>
                  <a:cubicBezTo>
                    <a:pt x="853" y="285"/>
                    <a:pt x="854" y="285"/>
                    <a:pt x="855" y="286"/>
                  </a:cubicBezTo>
                  <a:cubicBezTo>
                    <a:pt x="855" y="287"/>
                    <a:pt x="854" y="287"/>
                    <a:pt x="854" y="288"/>
                  </a:cubicBezTo>
                  <a:cubicBezTo>
                    <a:pt x="853" y="289"/>
                    <a:pt x="853" y="289"/>
                    <a:pt x="853" y="289"/>
                  </a:cubicBezTo>
                  <a:cubicBezTo>
                    <a:pt x="853" y="289"/>
                    <a:pt x="854" y="290"/>
                    <a:pt x="856" y="290"/>
                  </a:cubicBezTo>
                  <a:cubicBezTo>
                    <a:pt x="857" y="290"/>
                    <a:pt x="859" y="291"/>
                    <a:pt x="861" y="292"/>
                  </a:cubicBezTo>
                  <a:cubicBezTo>
                    <a:pt x="863" y="293"/>
                    <a:pt x="864" y="294"/>
                    <a:pt x="864" y="294"/>
                  </a:cubicBezTo>
                  <a:cubicBezTo>
                    <a:pt x="863" y="296"/>
                    <a:pt x="860" y="297"/>
                    <a:pt x="857" y="297"/>
                  </a:cubicBezTo>
                  <a:cubicBezTo>
                    <a:pt x="854" y="297"/>
                    <a:pt x="851" y="296"/>
                    <a:pt x="849" y="295"/>
                  </a:cubicBezTo>
                  <a:cubicBezTo>
                    <a:pt x="847" y="294"/>
                    <a:pt x="845" y="293"/>
                    <a:pt x="843" y="293"/>
                  </a:cubicBezTo>
                  <a:cubicBezTo>
                    <a:pt x="839" y="293"/>
                    <a:pt x="835" y="296"/>
                    <a:pt x="834" y="298"/>
                  </a:cubicBezTo>
                  <a:cubicBezTo>
                    <a:pt x="834" y="299"/>
                    <a:pt x="834" y="300"/>
                    <a:pt x="834" y="301"/>
                  </a:cubicBezTo>
                  <a:cubicBezTo>
                    <a:pt x="836" y="305"/>
                    <a:pt x="844" y="311"/>
                    <a:pt x="853" y="312"/>
                  </a:cubicBezTo>
                  <a:cubicBezTo>
                    <a:pt x="860" y="313"/>
                    <a:pt x="862" y="315"/>
                    <a:pt x="863" y="317"/>
                  </a:cubicBezTo>
                  <a:cubicBezTo>
                    <a:pt x="864" y="318"/>
                    <a:pt x="864" y="319"/>
                    <a:pt x="866" y="320"/>
                  </a:cubicBezTo>
                  <a:cubicBezTo>
                    <a:pt x="868" y="320"/>
                    <a:pt x="869" y="321"/>
                    <a:pt x="869" y="322"/>
                  </a:cubicBezTo>
                  <a:cubicBezTo>
                    <a:pt x="869" y="324"/>
                    <a:pt x="866" y="325"/>
                    <a:pt x="864" y="325"/>
                  </a:cubicBezTo>
                  <a:cubicBezTo>
                    <a:pt x="864" y="325"/>
                    <a:pt x="864" y="325"/>
                    <a:pt x="864" y="325"/>
                  </a:cubicBezTo>
                  <a:cubicBezTo>
                    <a:pt x="861" y="325"/>
                    <a:pt x="857" y="323"/>
                    <a:pt x="853" y="320"/>
                  </a:cubicBezTo>
                  <a:cubicBezTo>
                    <a:pt x="851" y="319"/>
                    <a:pt x="849" y="317"/>
                    <a:pt x="847" y="316"/>
                  </a:cubicBezTo>
                  <a:cubicBezTo>
                    <a:pt x="845" y="316"/>
                    <a:pt x="843" y="315"/>
                    <a:pt x="840" y="315"/>
                  </a:cubicBezTo>
                  <a:cubicBezTo>
                    <a:pt x="838" y="315"/>
                    <a:pt x="836" y="315"/>
                    <a:pt x="834" y="315"/>
                  </a:cubicBezTo>
                  <a:cubicBezTo>
                    <a:pt x="832" y="316"/>
                    <a:pt x="830" y="316"/>
                    <a:pt x="829" y="316"/>
                  </a:cubicBezTo>
                  <a:cubicBezTo>
                    <a:pt x="825" y="316"/>
                    <a:pt x="823" y="315"/>
                    <a:pt x="822" y="314"/>
                  </a:cubicBezTo>
                  <a:cubicBezTo>
                    <a:pt x="820" y="312"/>
                    <a:pt x="821" y="310"/>
                    <a:pt x="821" y="308"/>
                  </a:cubicBezTo>
                  <a:cubicBezTo>
                    <a:pt x="822" y="307"/>
                    <a:pt x="822" y="306"/>
                    <a:pt x="821" y="305"/>
                  </a:cubicBezTo>
                  <a:cubicBezTo>
                    <a:pt x="817" y="302"/>
                    <a:pt x="821" y="295"/>
                    <a:pt x="824" y="290"/>
                  </a:cubicBezTo>
                  <a:cubicBezTo>
                    <a:pt x="826" y="287"/>
                    <a:pt x="826" y="283"/>
                    <a:pt x="825" y="280"/>
                  </a:cubicBezTo>
                  <a:cubicBezTo>
                    <a:pt x="824" y="276"/>
                    <a:pt x="821" y="273"/>
                    <a:pt x="818" y="272"/>
                  </a:cubicBezTo>
                  <a:cubicBezTo>
                    <a:pt x="817" y="272"/>
                    <a:pt x="815" y="272"/>
                    <a:pt x="815" y="273"/>
                  </a:cubicBezTo>
                  <a:cubicBezTo>
                    <a:pt x="814" y="274"/>
                    <a:pt x="815" y="277"/>
                    <a:pt x="815" y="277"/>
                  </a:cubicBezTo>
                  <a:cubicBezTo>
                    <a:pt x="817" y="279"/>
                    <a:pt x="816" y="288"/>
                    <a:pt x="812" y="293"/>
                  </a:cubicBezTo>
                  <a:cubicBezTo>
                    <a:pt x="809" y="296"/>
                    <a:pt x="805" y="297"/>
                    <a:pt x="801" y="299"/>
                  </a:cubicBezTo>
                  <a:cubicBezTo>
                    <a:pt x="797" y="300"/>
                    <a:pt x="794" y="300"/>
                    <a:pt x="794" y="302"/>
                  </a:cubicBezTo>
                  <a:cubicBezTo>
                    <a:pt x="794" y="304"/>
                    <a:pt x="792" y="305"/>
                    <a:pt x="790" y="307"/>
                  </a:cubicBezTo>
                  <a:cubicBezTo>
                    <a:pt x="789" y="308"/>
                    <a:pt x="788" y="309"/>
                    <a:pt x="788" y="310"/>
                  </a:cubicBezTo>
                  <a:cubicBezTo>
                    <a:pt x="788" y="310"/>
                    <a:pt x="788" y="310"/>
                    <a:pt x="788" y="311"/>
                  </a:cubicBezTo>
                  <a:cubicBezTo>
                    <a:pt x="791" y="313"/>
                    <a:pt x="803" y="327"/>
                    <a:pt x="805" y="331"/>
                  </a:cubicBezTo>
                  <a:cubicBezTo>
                    <a:pt x="806" y="333"/>
                    <a:pt x="804" y="336"/>
                    <a:pt x="801" y="341"/>
                  </a:cubicBezTo>
                  <a:cubicBezTo>
                    <a:pt x="799" y="346"/>
                    <a:pt x="795" y="351"/>
                    <a:pt x="796" y="355"/>
                  </a:cubicBezTo>
                  <a:cubicBezTo>
                    <a:pt x="797" y="359"/>
                    <a:pt x="797" y="362"/>
                    <a:pt x="796" y="364"/>
                  </a:cubicBezTo>
                  <a:cubicBezTo>
                    <a:pt x="796" y="367"/>
                    <a:pt x="796" y="368"/>
                    <a:pt x="797" y="370"/>
                  </a:cubicBezTo>
                  <a:cubicBezTo>
                    <a:pt x="798" y="371"/>
                    <a:pt x="799" y="371"/>
                    <a:pt x="800" y="371"/>
                  </a:cubicBezTo>
                  <a:cubicBezTo>
                    <a:pt x="801" y="371"/>
                    <a:pt x="802" y="371"/>
                    <a:pt x="803" y="371"/>
                  </a:cubicBezTo>
                  <a:cubicBezTo>
                    <a:pt x="804" y="371"/>
                    <a:pt x="804" y="371"/>
                    <a:pt x="805" y="371"/>
                  </a:cubicBezTo>
                  <a:cubicBezTo>
                    <a:pt x="806" y="371"/>
                    <a:pt x="807" y="371"/>
                    <a:pt x="808" y="372"/>
                  </a:cubicBezTo>
                  <a:cubicBezTo>
                    <a:pt x="810" y="372"/>
                    <a:pt x="813" y="371"/>
                    <a:pt x="816" y="370"/>
                  </a:cubicBezTo>
                  <a:cubicBezTo>
                    <a:pt x="819" y="369"/>
                    <a:pt x="821" y="368"/>
                    <a:pt x="825" y="368"/>
                  </a:cubicBezTo>
                  <a:cubicBezTo>
                    <a:pt x="825" y="368"/>
                    <a:pt x="826" y="368"/>
                    <a:pt x="827" y="368"/>
                  </a:cubicBezTo>
                  <a:cubicBezTo>
                    <a:pt x="834" y="368"/>
                    <a:pt x="844" y="373"/>
                    <a:pt x="850" y="376"/>
                  </a:cubicBezTo>
                  <a:cubicBezTo>
                    <a:pt x="851" y="377"/>
                    <a:pt x="852" y="377"/>
                    <a:pt x="853" y="377"/>
                  </a:cubicBezTo>
                  <a:cubicBezTo>
                    <a:pt x="856" y="379"/>
                    <a:pt x="857" y="381"/>
                    <a:pt x="857" y="384"/>
                  </a:cubicBezTo>
                  <a:cubicBezTo>
                    <a:pt x="857" y="385"/>
                    <a:pt x="857" y="387"/>
                    <a:pt x="858" y="389"/>
                  </a:cubicBezTo>
                  <a:cubicBezTo>
                    <a:pt x="860" y="391"/>
                    <a:pt x="858" y="393"/>
                    <a:pt x="856" y="394"/>
                  </a:cubicBezTo>
                  <a:cubicBezTo>
                    <a:pt x="854" y="395"/>
                    <a:pt x="852" y="397"/>
                    <a:pt x="852" y="400"/>
                  </a:cubicBezTo>
                  <a:cubicBezTo>
                    <a:pt x="852" y="404"/>
                    <a:pt x="859" y="406"/>
                    <a:pt x="863" y="408"/>
                  </a:cubicBezTo>
                  <a:cubicBezTo>
                    <a:pt x="867" y="409"/>
                    <a:pt x="868" y="410"/>
                    <a:pt x="869" y="411"/>
                  </a:cubicBezTo>
                  <a:cubicBezTo>
                    <a:pt x="869" y="411"/>
                    <a:pt x="869" y="411"/>
                    <a:pt x="868" y="412"/>
                  </a:cubicBezTo>
                  <a:cubicBezTo>
                    <a:pt x="868" y="412"/>
                    <a:pt x="868" y="412"/>
                    <a:pt x="865" y="412"/>
                  </a:cubicBezTo>
                  <a:cubicBezTo>
                    <a:pt x="861" y="412"/>
                    <a:pt x="855" y="411"/>
                    <a:pt x="852" y="410"/>
                  </a:cubicBezTo>
                  <a:cubicBezTo>
                    <a:pt x="848" y="409"/>
                    <a:pt x="847" y="406"/>
                    <a:pt x="846" y="403"/>
                  </a:cubicBezTo>
                  <a:cubicBezTo>
                    <a:pt x="846" y="402"/>
                    <a:pt x="845" y="401"/>
                    <a:pt x="845" y="401"/>
                  </a:cubicBezTo>
                  <a:cubicBezTo>
                    <a:pt x="844" y="400"/>
                    <a:pt x="845" y="398"/>
                    <a:pt x="846" y="396"/>
                  </a:cubicBezTo>
                  <a:cubicBezTo>
                    <a:pt x="847" y="394"/>
                    <a:pt x="848" y="392"/>
                    <a:pt x="848" y="390"/>
                  </a:cubicBezTo>
                  <a:cubicBezTo>
                    <a:pt x="848" y="387"/>
                    <a:pt x="846" y="386"/>
                    <a:pt x="844" y="384"/>
                  </a:cubicBezTo>
                  <a:cubicBezTo>
                    <a:pt x="843" y="383"/>
                    <a:pt x="842" y="382"/>
                    <a:pt x="841" y="381"/>
                  </a:cubicBezTo>
                  <a:cubicBezTo>
                    <a:pt x="838" y="376"/>
                    <a:pt x="835" y="374"/>
                    <a:pt x="832" y="375"/>
                  </a:cubicBezTo>
                  <a:cubicBezTo>
                    <a:pt x="831" y="375"/>
                    <a:pt x="830" y="375"/>
                    <a:pt x="828" y="376"/>
                  </a:cubicBezTo>
                  <a:cubicBezTo>
                    <a:pt x="823" y="377"/>
                    <a:pt x="813" y="378"/>
                    <a:pt x="810" y="381"/>
                  </a:cubicBezTo>
                  <a:cubicBezTo>
                    <a:pt x="806" y="385"/>
                    <a:pt x="811" y="395"/>
                    <a:pt x="813" y="400"/>
                  </a:cubicBezTo>
                  <a:cubicBezTo>
                    <a:pt x="813" y="401"/>
                    <a:pt x="813" y="401"/>
                    <a:pt x="813" y="401"/>
                  </a:cubicBezTo>
                  <a:cubicBezTo>
                    <a:pt x="815" y="404"/>
                    <a:pt x="811" y="408"/>
                    <a:pt x="807" y="411"/>
                  </a:cubicBezTo>
                  <a:cubicBezTo>
                    <a:pt x="804" y="414"/>
                    <a:pt x="801" y="416"/>
                    <a:pt x="801" y="418"/>
                  </a:cubicBezTo>
                  <a:cubicBezTo>
                    <a:pt x="802" y="422"/>
                    <a:pt x="798" y="424"/>
                    <a:pt x="792" y="427"/>
                  </a:cubicBezTo>
                  <a:cubicBezTo>
                    <a:pt x="792" y="427"/>
                    <a:pt x="791" y="428"/>
                    <a:pt x="790" y="428"/>
                  </a:cubicBezTo>
                  <a:cubicBezTo>
                    <a:pt x="789" y="429"/>
                    <a:pt x="788" y="429"/>
                    <a:pt x="787" y="430"/>
                  </a:cubicBezTo>
                  <a:cubicBezTo>
                    <a:pt x="782" y="432"/>
                    <a:pt x="777" y="435"/>
                    <a:pt x="777" y="439"/>
                  </a:cubicBezTo>
                  <a:cubicBezTo>
                    <a:pt x="777" y="440"/>
                    <a:pt x="777" y="441"/>
                    <a:pt x="776" y="442"/>
                  </a:cubicBezTo>
                  <a:cubicBezTo>
                    <a:pt x="775" y="443"/>
                    <a:pt x="774" y="443"/>
                    <a:pt x="773" y="443"/>
                  </a:cubicBezTo>
                  <a:cubicBezTo>
                    <a:pt x="770" y="443"/>
                    <a:pt x="766" y="441"/>
                    <a:pt x="763" y="440"/>
                  </a:cubicBezTo>
                  <a:cubicBezTo>
                    <a:pt x="762" y="439"/>
                    <a:pt x="761" y="439"/>
                    <a:pt x="760" y="439"/>
                  </a:cubicBezTo>
                  <a:cubicBezTo>
                    <a:pt x="758" y="439"/>
                    <a:pt x="756" y="439"/>
                    <a:pt x="754" y="440"/>
                  </a:cubicBezTo>
                  <a:cubicBezTo>
                    <a:pt x="752" y="441"/>
                    <a:pt x="749" y="441"/>
                    <a:pt x="747" y="441"/>
                  </a:cubicBezTo>
                  <a:cubicBezTo>
                    <a:pt x="743" y="441"/>
                    <a:pt x="742" y="440"/>
                    <a:pt x="740" y="439"/>
                  </a:cubicBezTo>
                  <a:cubicBezTo>
                    <a:pt x="739" y="438"/>
                    <a:pt x="738" y="437"/>
                    <a:pt x="737" y="437"/>
                  </a:cubicBezTo>
                  <a:cubicBezTo>
                    <a:pt x="736" y="437"/>
                    <a:pt x="736" y="437"/>
                    <a:pt x="735" y="437"/>
                  </a:cubicBezTo>
                  <a:cubicBezTo>
                    <a:pt x="732" y="439"/>
                    <a:pt x="729" y="438"/>
                    <a:pt x="728" y="436"/>
                  </a:cubicBezTo>
                  <a:cubicBezTo>
                    <a:pt x="727" y="434"/>
                    <a:pt x="727" y="432"/>
                    <a:pt x="727" y="431"/>
                  </a:cubicBezTo>
                  <a:cubicBezTo>
                    <a:pt x="728" y="429"/>
                    <a:pt x="729" y="428"/>
                    <a:pt x="731" y="428"/>
                  </a:cubicBezTo>
                  <a:cubicBezTo>
                    <a:pt x="733" y="428"/>
                    <a:pt x="736" y="431"/>
                    <a:pt x="736" y="433"/>
                  </a:cubicBezTo>
                  <a:cubicBezTo>
                    <a:pt x="736" y="433"/>
                    <a:pt x="737" y="434"/>
                    <a:pt x="738" y="434"/>
                  </a:cubicBezTo>
                  <a:cubicBezTo>
                    <a:pt x="739" y="434"/>
                    <a:pt x="741" y="433"/>
                    <a:pt x="744" y="431"/>
                  </a:cubicBezTo>
                  <a:cubicBezTo>
                    <a:pt x="745" y="431"/>
                    <a:pt x="745" y="431"/>
                    <a:pt x="746" y="431"/>
                  </a:cubicBezTo>
                  <a:cubicBezTo>
                    <a:pt x="747" y="431"/>
                    <a:pt x="747" y="431"/>
                    <a:pt x="748" y="432"/>
                  </a:cubicBezTo>
                  <a:cubicBezTo>
                    <a:pt x="749" y="433"/>
                    <a:pt x="750" y="435"/>
                    <a:pt x="752" y="435"/>
                  </a:cubicBezTo>
                  <a:cubicBezTo>
                    <a:pt x="755" y="435"/>
                    <a:pt x="756" y="434"/>
                    <a:pt x="756" y="433"/>
                  </a:cubicBezTo>
                  <a:cubicBezTo>
                    <a:pt x="757" y="433"/>
                    <a:pt x="757" y="432"/>
                    <a:pt x="760" y="432"/>
                  </a:cubicBezTo>
                  <a:cubicBezTo>
                    <a:pt x="762" y="432"/>
                    <a:pt x="763" y="432"/>
                    <a:pt x="764" y="431"/>
                  </a:cubicBezTo>
                  <a:cubicBezTo>
                    <a:pt x="764" y="431"/>
                    <a:pt x="764" y="431"/>
                    <a:pt x="763" y="429"/>
                  </a:cubicBezTo>
                  <a:cubicBezTo>
                    <a:pt x="763" y="429"/>
                    <a:pt x="762" y="428"/>
                    <a:pt x="763" y="428"/>
                  </a:cubicBezTo>
                  <a:cubicBezTo>
                    <a:pt x="763" y="426"/>
                    <a:pt x="766" y="425"/>
                    <a:pt x="769" y="424"/>
                  </a:cubicBezTo>
                  <a:cubicBezTo>
                    <a:pt x="769" y="423"/>
                    <a:pt x="769" y="423"/>
                    <a:pt x="770" y="423"/>
                  </a:cubicBezTo>
                  <a:cubicBezTo>
                    <a:pt x="771" y="423"/>
                    <a:pt x="772" y="421"/>
                    <a:pt x="772" y="419"/>
                  </a:cubicBezTo>
                  <a:cubicBezTo>
                    <a:pt x="772" y="418"/>
                    <a:pt x="773" y="416"/>
                    <a:pt x="774" y="415"/>
                  </a:cubicBezTo>
                  <a:cubicBezTo>
                    <a:pt x="775" y="415"/>
                    <a:pt x="775" y="414"/>
                    <a:pt x="776" y="413"/>
                  </a:cubicBezTo>
                  <a:cubicBezTo>
                    <a:pt x="776" y="412"/>
                    <a:pt x="776" y="411"/>
                    <a:pt x="778" y="411"/>
                  </a:cubicBezTo>
                  <a:cubicBezTo>
                    <a:pt x="779" y="411"/>
                    <a:pt x="780" y="409"/>
                    <a:pt x="781" y="408"/>
                  </a:cubicBezTo>
                  <a:cubicBezTo>
                    <a:pt x="783" y="407"/>
                    <a:pt x="784" y="406"/>
                    <a:pt x="785" y="406"/>
                  </a:cubicBezTo>
                  <a:cubicBezTo>
                    <a:pt x="786" y="406"/>
                    <a:pt x="787" y="405"/>
                    <a:pt x="788" y="404"/>
                  </a:cubicBezTo>
                  <a:cubicBezTo>
                    <a:pt x="788" y="403"/>
                    <a:pt x="788" y="401"/>
                    <a:pt x="787" y="400"/>
                  </a:cubicBezTo>
                  <a:cubicBezTo>
                    <a:pt x="787" y="399"/>
                    <a:pt x="787" y="397"/>
                    <a:pt x="787" y="395"/>
                  </a:cubicBezTo>
                  <a:cubicBezTo>
                    <a:pt x="788" y="393"/>
                    <a:pt x="790" y="390"/>
                    <a:pt x="792" y="389"/>
                  </a:cubicBezTo>
                  <a:cubicBezTo>
                    <a:pt x="793" y="389"/>
                    <a:pt x="793" y="388"/>
                    <a:pt x="793" y="388"/>
                  </a:cubicBezTo>
                  <a:cubicBezTo>
                    <a:pt x="794" y="387"/>
                    <a:pt x="793" y="386"/>
                    <a:pt x="792" y="385"/>
                  </a:cubicBezTo>
                  <a:cubicBezTo>
                    <a:pt x="791" y="384"/>
                    <a:pt x="791" y="384"/>
                    <a:pt x="791" y="384"/>
                  </a:cubicBezTo>
                  <a:cubicBezTo>
                    <a:pt x="787" y="382"/>
                    <a:pt x="780" y="376"/>
                    <a:pt x="780" y="372"/>
                  </a:cubicBezTo>
                  <a:cubicBezTo>
                    <a:pt x="781" y="370"/>
                    <a:pt x="780" y="368"/>
                    <a:pt x="780" y="365"/>
                  </a:cubicBezTo>
                  <a:cubicBezTo>
                    <a:pt x="780" y="362"/>
                    <a:pt x="779" y="359"/>
                    <a:pt x="780" y="357"/>
                  </a:cubicBezTo>
                  <a:cubicBezTo>
                    <a:pt x="781" y="354"/>
                    <a:pt x="780" y="349"/>
                    <a:pt x="780" y="345"/>
                  </a:cubicBezTo>
                  <a:cubicBezTo>
                    <a:pt x="780" y="345"/>
                    <a:pt x="780" y="344"/>
                    <a:pt x="780" y="343"/>
                  </a:cubicBezTo>
                  <a:cubicBezTo>
                    <a:pt x="779" y="341"/>
                    <a:pt x="780" y="339"/>
                    <a:pt x="781" y="336"/>
                  </a:cubicBezTo>
                  <a:cubicBezTo>
                    <a:pt x="782" y="334"/>
                    <a:pt x="783" y="331"/>
                    <a:pt x="783" y="328"/>
                  </a:cubicBezTo>
                  <a:cubicBezTo>
                    <a:pt x="785" y="321"/>
                    <a:pt x="776" y="314"/>
                    <a:pt x="772" y="312"/>
                  </a:cubicBezTo>
                  <a:cubicBezTo>
                    <a:pt x="770" y="311"/>
                    <a:pt x="770" y="311"/>
                    <a:pt x="769" y="309"/>
                  </a:cubicBezTo>
                  <a:cubicBezTo>
                    <a:pt x="769" y="307"/>
                    <a:pt x="771" y="304"/>
                    <a:pt x="776" y="300"/>
                  </a:cubicBezTo>
                  <a:cubicBezTo>
                    <a:pt x="782" y="295"/>
                    <a:pt x="783" y="279"/>
                    <a:pt x="782" y="276"/>
                  </a:cubicBezTo>
                  <a:cubicBezTo>
                    <a:pt x="782" y="273"/>
                    <a:pt x="771" y="270"/>
                    <a:pt x="766" y="270"/>
                  </a:cubicBezTo>
                  <a:cubicBezTo>
                    <a:pt x="765" y="270"/>
                    <a:pt x="765" y="270"/>
                    <a:pt x="765" y="270"/>
                  </a:cubicBezTo>
                  <a:cubicBezTo>
                    <a:pt x="764" y="270"/>
                    <a:pt x="763" y="270"/>
                    <a:pt x="761" y="270"/>
                  </a:cubicBezTo>
                  <a:cubicBezTo>
                    <a:pt x="754" y="270"/>
                    <a:pt x="741" y="270"/>
                    <a:pt x="737" y="269"/>
                  </a:cubicBezTo>
                  <a:cubicBezTo>
                    <a:pt x="736" y="269"/>
                    <a:pt x="736" y="269"/>
                    <a:pt x="736" y="269"/>
                  </a:cubicBezTo>
                  <a:cubicBezTo>
                    <a:pt x="733" y="269"/>
                    <a:pt x="732" y="272"/>
                    <a:pt x="730" y="275"/>
                  </a:cubicBezTo>
                  <a:cubicBezTo>
                    <a:pt x="730" y="276"/>
                    <a:pt x="730" y="276"/>
                    <a:pt x="729" y="277"/>
                  </a:cubicBezTo>
                  <a:cubicBezTo>
                    <a:pt x="729" y="278"/>
                    <a:pt x="728" y="279"/>
                    <a:pt x="727" y="281"/>
                  </a:cubicBezTo>
                  <a:cubicBezTo>
                    <a:pt x="725" y="285"/>
                    <a:pt x="722" y="290"/>
                    <a:pt x="720" y="298"/>
                  </a:cubicBezTo>
                  <a:cubicBezTo>
                    <a:pt x="717" y="306"/>
                    <a:pt x="708" y="310"/>
                    <a:pt x="702" y="312"/>
                  </a:cubicBezTo>
                  <a:cubicBezTo>
                    <a:pt x="702" y="312"/>
                    <a:pt x="701" y="312"/>
                    <a:pt x="700" y="313"/>
                  </a:cubicBezTo>
                  <a:cubicBezTo>
                    <a:pt x="697" y="314"/>
                    <a:pt x="695" y="317"/>
                    <a:pt x="694" y="320"/>
                  </a:cubicBezTo>
                  <a:cubicBezTo>
                    <a:pt x="693" y="322"/>
                    <a:pt x="694" y="323"/>
                    <a:pt x="694" y="325"/>
                  </a:cubicBezTo>
                  <a:cubicBezTo>
                    <a:pt x="695" y="326"/>
                    <a:pt x="696" y="326"/>
                    <a:pt x="697" y="326"/>
                  </a:cubicBezTo>
                  <a:cubicBezTo>
                    <a:pt x="698" y="326"/>
                    <a:pt x="698" y="326"/>
                    <a:pt x="699" y="326"/>
                  </a:cubicBezTo>
                  <a:cubicBezTo>
                    <a:pt x="700" y="326"/>
                    <a:pt x="700" y="326"/>
                    <a:pt x="700" y="326"/>
                  </a:cubicBezTo>
                  <a:cubicBezTo>
                    <a:pt x="701" y="326"/>
                    <a:pt x="702" y="326"/>
                    <a:pt x="702" y="326"/>
                  </a:cubicBezTo>
                  <a:cubicBezTo>
                    <a:pt x="703" y="327"/>
                    <a:pt x="703" y="328"/>
                    <a:pt x="703" y="329"/>
                  </a:cubicBezTo>
                  <a:cubicBezTo>
                    <a:pt x="704" y="332"/>
                    <a:pt x="702" y="338"/>
                    <a:pt x="701" y="339"/>
                  </a:cubicBezTo>
                  <a:cubicBezTo>
                    <a:pt x="700" y="339"/>
                    <a:pt x="701" y="340"/>
                    <a:pt x="701" y="341"/>
                  </a:cubicBezTo>
                  <a:cubicBezTo>
                    <a:pt x="701" y="342"/>
                    <a:pt x="702" y="344"/>
                    <a:pt x="700" y="346"/>
                  </a:cubicBezTo>
                  <a:cubicBezTo>
                    <a:pt x="697" y="348"/>
                    <a:pt x="695" y="351"/>
                    <a:pt x="694" y="353"/>
                  </a:cubicBezTo>
                  <a:cubicBezTo>
                    <a:pt x="694" y="354"/>
                    <a:pt x="694" y="354"/>
                    <a:pt x="695" y="355"/>
                  </a:cubicBezTo>
                  <a:cubicBezTo>
                    <a:pt x="696" y="356"/>
                    <a:pt x="700" y="357"/>
                    <a:pt x="703" y="358"/>
                  </a:cubicBezTo>
                  <a:cubicBezTo>
                    <a:pt x="707" y="359"/>
                    <a:pt x="710" y="360"/>
                    <a:pt x="712" y="361"/>
                  </a:cubicBezTo>
                  <a:cubicBezTo>
                    <a:pt x="715" y="363"/>
                    <a:pt x="715" y="365"/>
                    <a:pt x="716" y="368"/>
                  </a:cubicBezTo>
                  <a:cubicBezTo>
                    <a:pt x="716" y="369"/>
                    <a:pt x="717" y="371"/>
                    <a:pt x="718" y="373"/>
                  </a:cubicBezTo>
                  <a:cubicBezTo>
                    <a:pt x="720" y="376"/>
                    <a:pt x="722" y="376"/>
                    <a:pt x="724" y="376"/>
                  </a:cubicBezTo>
                  <a:cubicBezTo>
                    <a:pt x="725" y="376"/>
                    <a:pt x="726" y="376"/>
                    <a:pt x="727" y="378"/>
                  </a:cubicBezTo>
                  <a:cubicBezTo>
                    <a:pt x="728" y="379"/>
                    <a:pt x="728" y="380"/>
                    <a:pt x="727" y="383"/>
                  </a:cubicBezTo>
                  <a:cubicBezTo>
                    <a:pt x="725" y="387"/>
                    <a:pt x="720" y="393"/>
                    <a:pt x="718" y="393"/>
                  </a:cubicBezTo>
                  <a:cubicBezTo>
                    <a:pt x="718" y="393"/>
                    <a:pt x="718" y="393"/>
                    <a:pt x="718" y="393"/>
                  </a:cubicBezTo>
                  <a:cubicBezTo>
                    <a:pt x="715" y="393"/>
                    <a:pt x="711" y="389"/>
                    <a:pt x="705" y="383"/>
                  </a:cubicBezTo>
                  <a:cubicBezTo>
                    <a:pt x="703" y="381"/>
                    <a:pt x="701" y="380"/>
                    <a:pt x="700" y="379"/>
                  </a:cubicBezTo>
                  <a:cubicBezTo>
                    <a:pt x="698" y="377"/>
                    <a:pt x="693" y="376"/>
                    <a:pt x="688" y="374"/>
                  </a:cubicBezTo>
                  <a:cubicBezTo>
                    <a:pt x="684" y="372"/>
                    <a:pt x="680" y="370"/>
                    <a:pt x="676" y="369"/>
                  </a:cubicBezTo>
                  <a:cubicBezTo>
                    <a:pt x="674" y="367"/>
                    <a:pt x="671" y="367"/>
                    <a:pt x="669" y="366"/>
                  </a:cubicBezTo>
                  <a:cubicBezTo>
                    <a:pt x="665" y="365"/>
                    <a:pt x="661" y="364"/>
                    <a:pt x="657" y="361"/>
                  </a:cubicBezTo>
                  <a:cubicBezTo>
                    <a:pt x="650" y="356"/>
                    <a:pt x="644" y="354"/>
                    <a:pt x="630" y="354"/>
                  </a:cubicBezTo>
                  <a:cubicBezTo>
                    <a:pt x="630" y="354"/>
                    <a:pt x="630" y="354"/>
                    <a:pt x="629" y="354"/>
                  </a:cubicBezTo>
                  <a:cubicBezTo>
                    <a:pt x="622" y="354"/>
                    <a:pt x="617" y="353"/>
                    <a:pt x="612" y="352"/>
                  </a:cubicBezTo>
                  <a:cubicBezTo>
                    <a:pt x="609" y="352"/>
                    <a:pt x="606" y="351"/>
                    <a:pt x="604" y="351"/>
                  </a:cubicBezTo>
                  <a:cubicBezTo>
                    <a:pt x="602" y="352"/>
                    <a:pt x="601" y="350"/>
                    <a:pt x="600" y="349"/>
                  </a:cubicBezTo>
                  <a:cubicBezTo>
                    <a:pt x="599" y="347"/>
                    <a:pt x="597" y="345"/>
                    <a:pt x="593" y="343"/>
                  </a:cubicBezTo>
                  <a:cubicBezTo>
                    <a:pt x="591" y="342"/>
                    <a:pt x="589" y="341"/>
                    <a:pt x="587" y="340"/>
                  </a:cubicBezTo>
                  <a:cubicBezTo>
                    <a:pt x="583" y="339"/>
                    <a:pt x="581" y="337"/>
                    <a:pt x="578" y="337"/>
                  </a:cubicBezTo>
                  <a:cubicBezTo>
                    <a:pt x="577" y="337"/>
                    <a:pt x="577" y="337"/>
                    <a:pt x="576" y="338"/>
                  </a:cubicBezTo>
                  <a:cubicBezTo>
                    <a:pt x="574" y="339"/>
                    <a:pt x="573" y="340"/>
                    <a:pt x="574" y="343"/>
                  </a:cubicBezTo>
                  <a:cubicBezTo>
                    <a:pt x="574" y="345"/>
                    <a:pt x="576" y="348"/>
                    <a:pt x="580" y="349"/>
                  </a:cubicBezTo>
                  <a:cubicBezTo>
                    <a:pt x="583" y="349"/>
                    <a:pt x="584" y="350"/>
                    <a:pt x="585" y="351"/>
                  </a:cubicBezTo>
                  <a:cubicBezTo>
                    <a:pt x="586" y="352"/>
                    <a:pt x="587" y="353"/>
                    <a:pt x="590" y="353"/>
                  </a:cubicBezTo>
                  <a:cubicBezTo>
                    <a:pt x="595" y="353"/>
                    <a:pt x="597" y="353"/>
                    <a:pt x="599" y="355"/>
                  </a:cubicBezTo>
                  <a:cubicBezTo>
                    <a:pt x="600" y="356"/>
                    <a:pt x="600" y="358"/>
                    <a:pt x="600" y="360"/>
                  </a:cubicBezTo>
                  <a:cubicBezTo>
                    <a:pt x="600" y="365"/>
                    <a:pt x="604" y="369"/>
                    <a:pt x="607" y="372"/>
                  </a:cubicBezTo>
                  <a:cubicBezTo>
                    <a:pt x="608" y="373"/>
                    <a:pt x="609" y="375"/>
                    <a:pt x="608" y="377"/>
                  </a:cubicBezTo>
                  <a:cubicBezTo>
                    <a:pt x="607" y="379"/>
                    <a:pt x="605" y="381"/>
                    <a:pt x="602" y="381"/>
                  </a:cubicBezTo>
                  <a:cubicBezTo>
                    <a:pt x="596" y="381"/>
                    <a:pt x="593" y="381"/>
                    <a:pt x="592" y="383"/>
                  </a:cubicBezTo>
                  <a:cubicBezTo>
                    <a:pt x="592" y="383"/>
                    <a:pt x="592" y="384"/>
                    <a:pt x="592" y="385"/>
                  </a:cubicBezTo>
                  <a:cubicBezTo>
                    <a:pt x="593" y="387"/>
                    <a:pt x="593" y="388"/>
                    <a:pt x="593" y="388"/>
                  </a:cubicBezTo>
                  <a:cubicBezTo>
                    <a:pt x="592" y="389"/>
                    <a:pt x="591" y="390"/>
                    <a:pt x="590" y="390"/>
                  </a:cubicBezTo>
                  <a:cubicBezTo>
                    <a:pt x="588" y="390"/>
                    <a:pt x="586" y="389"/>
                    <a:pt x="584" y="389"/>
                  </a:cubicBezTo>
                  <a:cubicBezTo>
                    <a:pt x="582" y="388"/>
                    <a:pt x="581" y="387"/>
                    <a:pt x="581" y="385"/>
                  </a:cubicBezTo>
                  <a:cubicBezTo>
                    <a:pt x="580" y="383"/>
                    <a:pt x="582" y="381"/>
                    <a:pt x="584" y="379"/>
                  </a:cubicBezTo>
                  <a:cubicBezTo>
                    <a:pt x="584" y="379"/>
                    <a:pt x="584" y="379"/>
                    <a:pt x="584" y="378"/>
                  </a:cubicBezTo>
                  <a:cubicBezTo>
                    <a:pt x="584" y="377"/>
                    <a:pt x="581" y="375"/>
                    <a:pt x="575" y="373"/>
                  </a:cubicBezTo>
                  <a:cubicBezTo>
                    <a:pt x="575" y="373"/>
                    <a:pt x="575" y="373"/>
                    <a:pt x="575" y="373"/>
                  </a:cubicBezTo>
                  <a:cubicBezTo>
                    <a:pt x="572" y="373"/>
                    <a:pt x="565" y="378"/>
                    <a:pt x="560" y="381"/>
                  </a:cubicBezTo>
                  <a:cubicBezTo>
                    <a:pt x="557" y="382"/>
                    <a:pt x="555" y="384"/>
                    <a:pt x="553" y="385"/>
                  </a:cubicBezTo>
                  <a:cubicBezTo>
                    <a:pt x="552" y="385"/>
                    <a:pt x="549" y="385"/>
                    <a:pt x="545" y="384"/>
                  </a:cubicBezTo>
                  <a:cubicBezTo>
                    <a:pt x="542" y="384"/>
                    <a:pt x="539" y="384"/>
                    <a:pt x="536" y="384"/>
                  </a:cubicBezTo>
                  <a:cubicBezTo>
                    <a:pt x="533" y="384"/>
                    <a:pt x="531" y="384"/>
                    <a:pt x="529" y="385"/>
                  </a:cubicBezTo>
                  <a:cubicBezTo>
                    <a:pt x="523" y="386"/>
                    <a:pt x="521" y="389"/>
                    <a:pt x="519" y="392"/>
                  </a:cubicBezTo>
                  <a:cubicBezTo>
                    <a:pt x="518" y="393"/>
                    <a:pt x="517" y="395"/>
                    <a:pt x="516" y="395"/>
                  </a:cubicBezTo>
                  <a:cubicBezTo>
                    <a:pt x="515" y="394"/>
                    <a:pt x="515" y="394"/>
                    <a:pt x="515" y="394"/>
                  </a:cubicBezTo>
                  <a:cubicBezTo>
                    <a:pt x="514" y="394"/>
                    <a:pt x="513" y="394"/>
                    <a:pt x="512" y="394"/>
                  </a:cubicBezTo>
                  <a:cubicBezTo>
                    <a:pt x="511" y="394"/>
                    <a:pt x="510" y="394"/>
                    <a:pt x="508" y="394"/>
                  </a:cubicBezTo>
                  <a:cubicBezTo>
                    <a:pt x="507" y="394"/>
                    <a:pt x="506" y="394"/>
                    <a:pt x="504" y="394"/>
                  </a:cubicBezTo>
                  <a:cubicBezTo>
                    <a:pt x="501" y="394"/>
                    <a:pt x="498" y="394"/>
                    <a:pt x="495" y="393"/>
                  </a:cubicBezTo>
                  <a:cubicBezTo>
                    <a:pt x="494" y="392"/>
                    <a:pt x="493" y="391"/>
                    <a:pt x="493" y="390"/>
                  </a:cubicBezTo>
                  <a:cubicBezTo>
                    <a:pt x="494" y="388"/>
                    <a:pt x="497" y="388"/>
                    <a:pt x="498" y="388"/>
                  </a:cubicBezTo>
                  <a:cubicBezTo>
                    <a:pt x="499" y="388"/>
                    <a:pt x="499" y="388"/>
                    <a:pt x="499" y="388"/>
                  </a:cubicBezTo>
                  <a:cubicBezTo>
                    <a:pt x="502" y="388"/>
                    <a:pt x="503" y="388"/>
                    <a:pt x="503" y="387"/>
                  </a:cubicBezTo>
                  <a:cubicBezTo>
                    <a:pt x="504" y="387"/>
                    <a:pt x="503" y="386"/>
                    <a:pt x="502" y="385"/>
                  </a:cubicBezTo>
                  <a:cubicBezTo>
                    <a:pt x="500" y="382"/>
                    <a:pt x="502" y="380"/>
                    <a:pt x="504" y="377"/>
                  </a:cubicBezTo>
                  <a:cubicBezTo>
                    <a:pt x="505" y="376"/>
                    <a:pt x="505" y="375"/>
                    <a:pt x="505" y="374"/>
                  </a:cubicBezTo>
                  <a:cubicBezTo>
                    <a:pt x="505" y="374"/>
                    <a:pt x="505" y="374"/>
                    <a:pt x="505" y="374"/>
                  </a:cubicBezTo>
                  <a:cubicBezTo>
                    <a:pt x="501" y="374"/>
                    <a:pt x="489" y="379"/>
                    <a:pt x="486" y="381"/>
                  </a:cubicBezTo>
                  <a:cubicBezTo>
                    <a:pt x="485" y="382"/>
                    <a:pt x="485" y="383"/>
                    <a:pt x="485" y="385"/>
                  </a:cubicBezTo>
                  <a:cubicBezTo>
                    <a:pt x="485" y="386"/>
                    <a:pt x="485" y="388"/>
                    <a:pt x="484" y="389"/>
                  </a:cubicBezTo>
                  <a:cubicBezTo>
                    <a:pt x="483" y="389"/>
                    <a:pt x="483" y="389"/>
                    <a:pt x="482" y="389"/>
                  </a:cubicBezTo>
                  <a:cubicBezTo>
                    <a:pt x="481" y="389"/>
                    <a:pt x="480" y="388"/>
                    <a:pt x="480" y="387"/>
                  </a:cubicBezTo>
                  <a:cubicBezTo>
                    <a:pt x="479" y="386"/>
                    <a:pt x="478" y="385"/>
                    <a:pt x="477" y="385"/>
                  </a:cubicBezTo>
                  <a:cubicBezTo>
                    <a:pt x="477" y="385"/>
                    <a:pt x="476" y="385"/>
                    <a:pt x="475" y="385"/>
                  </a:cubicBezTo>
                  <a:cubicBezTo>
                    <a:pt x="469" y="385"/>
                    <a:pt x="448" y="390"/>
                    <a:pt x="444" y="395"/>
                  </a:cubicBezTo>
                  <a:cubicBezTo>
                    <a:pt x="441" y="398"/>
                    <a:pt x="438" y="399"/>
                    <a:pt x="435" y="400"/>
                  </a:cubicBezTo>
                  <a:cubicBezTo>
                    <a:pt x="432" y="401"/>
                    <a:pt x="430" y="402"/>
                    <a:pt x="430" y="403"/>
                  </a:cubicBezTo>
                  <a:cubicBezTo>
                    <a:pt x="430" y="405"/>
                    <a:pt x="426" y="406"/>
                    <a:pt x="421" y="407"/>
                  </a:cubicBezTo>
                  <a:cubicBezTo>
                    <a:pt x="419" y="407"/>
                    <a:pt x="416" y="408"/>
                    <a:pt x="414" y="408"/>
                  </a:cubicBezTo>
                  <a:cubicBezTo>
                    <a:pt x="411" y="410"/>
                    <a:pt x="411" y="413"/>
                    <a:pt x="412" y="417"/>
                  </a:cubicBezTo>
                  <a:cubicBezTo>
                    <a:pt x="412" y="419"/>
                    <a:pt x="412" y="422"/>
                    <a:pt x="411" y="423"/>
                  </a:cubicBezTo>
                  <a:cubicBezTo>
                    <a:pt x="410" y="426"/>
                    <a:pt x="405" y="427"/>
                    <a:pt x="394" y="427"/>
                  </a:cubicBezTo>
                  <a:cubicBezTo>
                    <a:pt x="393" y="427"/>
                    <a:pt x="391" y="427"/>
                    <a:pt x="390" y="427"/>
                  </a:cubicBezTo>
                  <a:cubicBezTo>
                    <a:pt x="388" y="427"/>
                    <a:pt x="387" y="427"/>
                    <a:pt x="386" y="427"/>
                  </a:cubicBezTo>
                  <a:cubicBezTo>
                    <a:pt x="386" y="427"/>
                    <a:pt x="386" y="427"/>
                    <a:pt x="386" y="427"/>
                  </a:cubicBezTo>
                  <a:cubicBezTo>
                    <a:pt x="382" y="427"/>
                    <a:pt x="381" y="424"/>
                    <a:pt x="379" y="421"/>
                  </a:cubicBezTo>
                  <a:cubicBezTo>
                    <a:pt x="377" y="418"/>
                    <a:pt x="376" y="416"/>
                    <a:pt x="374" y="416"/>
                  </a:cubicBezTo>
                  <a:cubicBezTo>
                    <a:pt x="373" y="416"/>
                    <a:pt x="372" y="415"/>
                    <a:pt x="372" y="414"/>
                  </a:cubicBezTo>
                  <a:cubicBezTo>
                    <a:pt x="371" y="412"/>
                    <a:pt x="372" y="409"/>
                    <a:pt x="373" y="406"/>
                  </a:cubicBezTo>
                  <a:cubicBezTo>
                    <a:pt x="374" y="404"/>
                    <a:pt x="375" y="404"/>
                    <a:pt x="377" y="404"/>
                  </a:cubicBezTo>
                  <a:cubicBezTo>
                    <a:pt x="379" y="404"/>
                    <a:pt x="381" y="404"/>
                    <a:pt x="384" y="402"/>
                  </a:cubicBezTo>
                  <a:cubicBezTo>
                    <a:pt x="385" y="401"/>
                    <a:pt x="386" y="401"/>
                    <a:pt x="388" y="401"/>
                  </a:cubicBezTo>
                  <a:cubicBezTo>
                    <a:pt x="390" y="401"/>
                    <a:pt x="391" y="401"/>
                    <a:pt x="392" y="401"/>
                  </a:cubicBezTo>
                  <a:cubicBezTo>
                    <a:pt x="394" y="402"/>
                    <a:pt x="396" y="402"/>
                    <a:pt x="396" y="401"/>
                  </a:cubicBezTo>
                  <a:cubicBezTo>
                    <a:pt x="397" y="401"/>
                    <a:pt x="395" y="398"/>
                    <a:pt x="393" y="396"/>
                  </a:cubicBezTo>
                  <a:cubicBezTo>
                    <a:pt x="391" y="394"/>
                    <a:pt x="388" y="391"/>
                    <a:pt x="387" y="388"/>
                  </a:cubicBezTo>
                  <a:cubicBezTo>
                    <a:pt x="387" y="384"/>
                    <a:pt x="381" y="382"/>
                    <a:pt x="375" y="382"/>
                  </a:cubicBezTo>
                  <a:cubicBezTo>
                    <a:pt x="373" y="382"/>
                    <a:pt x="371" y="383"/>
                    <a:pt x="369" y="383"/>
                  </a:cubicBezTo>
                  <a:cubicBezTo>
                    <a:pt x="368" y="384"/>
                    <a:pt x="366" y="384"/>
                    <a:pt x="363" y="384"/>
                  </a:cubicBezTo>
                  <a:cubicBezTo>
                    <a:pt x="359" y="384"/>
                    <a:pt x="355" y="383"/>
                    <a:pt x="351" y="381"/>
                  </a:cubicBezTo>
                  <a:cubicBezTo>
                    <a:pt x="350" y="381"/>
                    <a:pt x="350" y="381"/>
                    <a:pt x="350" y="381"/>
                  </a:cubicBezTo>
                  <a:cubicBezTo>
                    <a:pt x="349" y="381"/>
                    <a:pt x="349" y="381"/>
                    <a:pt x="349" y="381"/>
                  </a:cubicBezTo>
                  <a:cubicBezTo>
                    <a:pt x="349" y="382"/>
                    <a:pt x="350" y="385"/>
                    <a:pt x="354" y="386"/>
                  </a:cubicBezTo>
                  <a:cubicBezTo>
                    <a:pt x="359" y="387"/>
                    <a:pt x="359" y="390"/>
                    <a:pt x="359" y="393"/>
                  </a:cubicBezTo>
                  <a:cubicBezTo>
                    <a:pt x="358" y="394"/>
                    <a:pt x="358" y="395"/>
                    <a:pt x="359" y="396"/>
                  </a:cubicBezTo>
                  <a:cubicBezTo>
                    <a:pt x="360" y="400"/>
                    <a:pt x="357" y="407"/>
                    <a:pt x="353" y="413"/>
                  </a:cubicBezTo>
                  <a:cubicBezTo>
                    <a:pt x="351" y="415"/>
                    <a:pt x="351" y="416"/>
                    <a:pt x="351" y="417"/>
                  </a:cubicBezTo>
                  <a:cubicBezTo>
                    <a:pt x="352" y="417"/>
                    <a:pt x="353" y="417"/>
                    <a:pt x="354" y="417"/>
                  </a:cubicBezTo>
                  <a:cubicBezTo>
                    <a:pt x="355" y="417"/>
                    <a:pt x="356" y="417"/>
                    <a:pt x="357" y="417"/>
                  </a:cubicBezTo>
                  <a:cubicBezTo>
                    <a:pt x="358" y="417"/>
                    <a:pt x="358" y="417"/>
                    <a:pt x="358" y="417"/>
                  </a:cubicBezTo>
                  <a:cubicBezTo>
                    <a:pt x="359" y="417"/>
                    <a:pt x="360" y="418"/>
                    <a:pt x="361" y="418"/>
                  </a:cubicBezTo>
                  <a:cubicBezTo>
                    <a:pt x="363" y="421"/>
                    <a:pt x="363" y="425"/>
                    <a:pt x="363" y="429"/>
                  </a:cubicBezTo>
                  <a:cubicBezTo>
                    <a:pt x="363" y="431"/>
                    <a:pt x="363" y="431"/>
                    <a:pt x="363" y="431"/>
                  </a:cubicBezTo>
                  <a:cubicBezTo>
                    <a:pt x="363" y="434"/>
                    <a:pt x="362" y="436"/>
                    <a:pt x="361" y="437"/>
                  </a:cubicBezTo>
                  <a:cubicBezTo>
                    <a:pt x="360" y="439"/>
                    <a:pt x="359" y="440"/>
                    <a:pt x="359" y="442"/>
                  </a:cubicBezTo>
                  <a:cubicBezTo>
                    <a:pt x="359" y="443"/>
                    <a:pt x="358" y="444"/>
                    <a:pt x="357" y="444"/>
                  </a:cubicBezTo>
                  <a:cubicBezTo>
                    <a:pt x="357" y="444"/>
                    <a:pt x="356" y="443"/>
                    <a:pt x="355" y="443"/>
                  </a:cubicBezTo>
                  <a:cubicBezTo>
                    <a:pt x="354" y="442"/>
                    <a:pt x="353" y="442"/>
                    <a:pt x="353" y="442"/>
                  </a:cubicBezTo>
                  <a:cubicBezTo>
                    <a:pt x="352" y="442"/>
                    <a:pt x="352" y="442"/>
                    <a:pt x="352" y="442"/>
                  </a:cubicBezTo>
                  <a:cubicBezTo>
                    <a:pt x="351" y="443"/>
                    <a:pt x="351" y="443"/>
                    <a:pt x="351" y="443"/>
                  </a:cubicBezTo>
                  <a:cubicBezTo>
                    <a:pt x="349" y="443"/>
                    <a:pt x="348" y="440"/>
                    <a:pt x="347" y="437"/>
                  </a:cubicBezTo>
                  <a:cubicBezTo>
                    <a:pt x="347" y="436"/>
                    <a:pt x="343" y="435"/>
                    <a:pt x="340" y="435"/>
                  </a:cubicBezTo>
                  <a:cubicBezTo>
                    <a:pt x="337" y="435"/>
                    <a:pt x="335" y="435"/>
                    <a:pt x="333" y="435"/>
                  </a:cubicBezTo>
                  <a:cubicBezTo>
                    <a:pt x="332" y="435"/>
                    <a:pt x="331" y="435"/>
                    <a:pt x="330" y="435"/>
                  </a:cubicBezTo>
                  <a:cubicBezTo>
                    <a:pt x="328" y="435"/>
                    <a:pt x="326" y="436"/>
                    <a:pt x="324" y="439"/>
                  </a:cubicBezTo>
                  <a:cubicBezTo>
                    <a:pt x="321" y="444"/>
                    <a:pt x="313" y="445"/>
                    <a:pt x="311" y="445"/>
                  </a:cubicBezTo>
                  <a:cubicBezTo>
                    <a:pt x="308" y="445"/>
                    <a:pt x="305" y="448"/>
                    <a:pt x="302" y="451"/>
                  </a:cubicBezTo>
                  <a:cubicBezTo>
                    <a:pt x="300" y="453"/>
                    <a:pt x="299" y="454"/>
                    <a:pt x="297" y="455"/>
                  </a:cubicBezTo>
                  <a:cubicBezTo>
                    <a:pt x="295" y="456"/>
                    <a:pt x="295" y="458"/>
                    <a:pt x="294" y="459"/>
                  </a:cubicBezTo>
                  <a:cubicBezTo>
                    <a:pt x="294" y="462"/>
                    <a:pt x="295" y="464"/>
                    <a:pt x="298" y="467"/>
                  </a:cubicBezTo>
                  <a:cubicBezTo>
                    <a:pt x="303" y="471"/>
                    <a:pt x="305" y="475"/>
                    <a:pt x="304" y="479"/>
                  </a:cubicBezTo>
                  <a:cubicBezTo>
                    <a:pt x="304" y="481"/>
                    <a:pt x="300" y="481"/>
                    <a:pt x="298" y="481"/>
                  </a:cubicBezTo>
                  <a:cubicBezTo>
                    <a:pt x="293" y="481"/>
                    <a:pt x="287" y="480"/>
                    <a:pt x="286" y="478"/>
                  </a:cubicBezTo>
                  <a:cubicBezTo>
                    <a:pt x="284" y="476"/>
                    <a:pt x="278" y="474"/>
                    <a:pt x="274" y="474"/>
                  </a:cubicBezTo>
                  <a:cubicBezTo>
                    <a:pt x="273" y="474"/>
                    <a:pt x="272" y="475"/>
                    <a:pt x="271" y="475"/>
                  </a:cubicBezTo>
                  <a:cubicBezTo>
                    <a:pt x="271" y="475"/>
                    <a:pt x="271" y="475"/>
                    <a:pt x="271" y="475"/>
                  </a:cubicBezTo>
                  <a:cubicBezTo>
                    <a:pt x="269" y="475"/>
                    <a:pt x="266" y="473"/>
                    <a:pt x="263" y="470"/>
                  </a:cubicBezTo>
                  <a:cubicBezTo>
                    <a:pt x="260" y="468"/>
                    <a:pt x="257" y="465"/>
                    <a:pt x="255" y="465"/>
                  </a:cubicBezTo>
                  <a:cubicBezTo>
                    <a:pt x="254" y="465"/>
                    <a:pt x="254" y="465"/>
                    <a:pt x="254" y="465"/>
                  </a:cubicBezTo>
                  <a:cubicBezTo>
                    <a:pt x="251" y="465"/>
                    <a:pt x="248" y="470"/>
                    <a:pt x="247" y="472"/>
                  </a:cubicBezTo>
                  <a:cubicBezTo>
                    <a:pt x="246" y="473"/>
                    <a:pt x="246" y="473"/>
                    <a:pt x="246" y="473"/>
                  </a:cubicBezTo>
                  <a:cubicBezTo>
                    <a:pt x="246" y="474"/>
                    <a:pt x="246" y="475"/>
                    <a:pt x="248" y="476"/>
                  </a:cubicBezTo>
                  <a:cubicBezTo>
                    <a:pt x="249" y="477"/>
                    <a:pt x="250" y="479"/>
                    <a:pt x="251" y="481"/>
                  </a:cubicBezTo>
                  <a:cubicBezTo>
                    <a:pt x="253" y="485"/>
                    <a:pt x="261" y="485"/>
                    <a:pt x="264" y="485"/>
                  </a:cubicBezTo>
                  <a:cubicBezTo>
                    <a:pt x="266" y="485"/>
                    <a:pt x="266" y="486"/>
                    <a:pt x="267" y="487"/>
                  </a:cubicBezTo>
                  <a:cubicBezTo>
                    <a:pt x="268" y="489"/>
                    <a:pt x="267" y="493"/>
                    <a:pt x="266" y="495"/>
                  </a:cubicBezTo>
                  <a:cubicBezTo>
                    <a:pt x="265" y="497"/>
                    <a:pt x="261" y="498"/>
                    <a:pt x="258" y="498"/>
                  </a:cubicBezTo>
                  <a:cubicBezTo>
                    <a:pt x="257" y="498"/>
                    <a:pt x="255" y="498"/>
                    <a:pt x="254" y="497"/>
                  </a:cubicBezTo>
                  <a:cubicBezTo>
                    <a:pt x="253" y="495"/>
                    <a:pt x="251" y="495"/>
                    <a:pt x="249" y="495"/>
                  </a:cubicBezTo>
                  <a:cubicBezTo>
                    <a:pt x="246" y="495"/>
                    <a:pt x="243" y="495"/>
                    <a:pt x="243" y="493"/>
                  </a:cubicBezTo>
                  <a:cubicBezTo>
                    <a:pt x="243" y="490"/>
                    <a:pt x="238" y="486"/>
                    <a:pt x="232" y="486"/>
                  </a:cubicBezTo>
                  <a:cubicBezTo>
                    <a:pt x="231" y="486"/>
                    <a:pt x="231" y="486"/>
                    <a:pt x="230" y="486"/>
                  </a:cubicBezTo>
                  <a:cubicBezTo>
                    <a:pt x="227" y="486"/>
                    <a:pt x="225" y="486"/>
                    <a:pt x="224" y="484"/>
                  </a:cubicBezTo>
                  <a:cubicBezTo>
                    <a:pt x="222" y="483"/>
                    <a:pt x="222" y="480"/>
                    <a:pt x="222" y="477"/>
                  </a:cubicBezTo>
                  <a:cubicBezTo>
                    <a:pt x="222" y="474"/>
                    <a:pt x="221" y="472"/>
                    <a:pt x="220" y="470"/>
                  </a:cubicBezTo>
                  <a:cubicBezTo>
                    <a:pt x="219" y="469"/>
                    <a:pt x="218" y="467"/>
                    <a:pt x="219" y="466"/>
                  </a:cubicBezTo>
                  <a:cubicBezTo>
                    <a:pt x="219" y="466"/>
                    <a:pt x="218" y="465"/>
                    <a:pt x="218" y="464"/>
                  </a:cubicBezTo>
                  <a:cubicBezTo>
                    <a:pt x="217" y="461"/>
                    <a:pt x="217" y="458"/>
                    <a:pt x="219" y="457"/>
                  </a:cubicBezTo>
                  <a:cubicBezTo>
                    <a:pt x="221" y="455"/>
                    <a:pt x="221" y="453"/>
                    <a:pt x="220" y="451"/>
                  </a:cubicBezTo>
                  <a:cubicBezTo>
                    <a:pt x="220" y="450"/>
                    <a:pt x="220" y="449"/>
                    <a:pt x="220" y="448"/>
                  </a:cubicBezTo>
                  <a:cubicBezTo>
                    <a:pt x="220" y="447"/>
                    <a:pt x="219" y="445"/>
                    <a:pt x="218" y="444"/>
                  </a:cubicBezTo>
                  <a:cubicBezTo>
                    <a:pt x="216" y="442"/>
                    <a:pt x="213" y="440"/>
                    <a:pt x="209" y="440"/>
                  </a:cubicBezTo>
                  <a:cubicBezTo>
                    <a:pt x="206" y="440"/>
                    <a:pt x="205" y="438"/>
                    <a:pt x="204" y="437"/>
                  </a:cubicBezTo>
                  <a:cubicBezTo>
                    <a:pt x="203" y="435"/>
                    <a:pt x="202" y="434"/>
                    <a:pt x="200" y="434"/>
                  </a:cubicBezTo>
                  <a:cubicBezTo>
                    <a:pt x="196" y="432"/>
                    <a:pt x="187" y="425"/>
                    <a:pt x="186" y="421"/>
                  </a:cubicBezTo>
                  <a:cubicBezTo>
                    <a:pt x="186" y="420"/>
                    <a:pt x="184" y="419"/>
                    <a:pt x="182" y="418"/>
                  </a:cubicBezTo>
                  <a:cubicBezTo>
                    <a:pt x="181" y="418"/>
                    <a:pt x="180" y="418"/>
                    <a:pt x="180" y="417"/>
                  </a:cubicBezTo>
                  <a:cubicBezTo>
                    <a:pt x="180" y="416"/>
                    <a:pt x="181" y="416"/>
                    <a:pt x="181" y="416"/>
                  </a:cubicBezTo>
                  <a:cubicBezTo>
                    <a:pt x="182" y="416"/>
                    <a:pt x="182" y="416"/>
                    <a:pt x="183" y="416"/>
                  </a:cubicBezTo>
                  <a:cubicBezTo>
                    <a:pt x="186" y="416"/>
                    <a:pt x="190" y="417"/>
                    <a:pt x="193" y="420"/>
                  </a:cubicBezTo>
                  <a:cubicBezTo>
                    <a:pt x="198" y="425"/>
                    <a:pt x="204" y="428"/>
                    <a:pt x="213" y="429"/>
                  </a:cubicBezTo>
                  <a:cubicBezTo>
                    <a:pt x="218" y="430"/>
                    <a:pt x="222" y="431"/>
                    <a:pt x="226" y="433"/>
                  </a:cubicBezTo>
                  <a:cubicBezTo>
                    <a:pt x="229" y="434"/>
                    <a:pt x="233" y="436"/>
                    <a:pt x="238" y="437"/>
                  </a:cubicBezTo>
                  <a:cubicBezTo>
                    <a:pt x="241" y="437"/>
                    <a:pt x="243" y="438"/>
                    <a:pt x="245" y="438"/>
                  </a:cubicBezTo>
                  <a:cubicBezTo>
                    <a:pt x="253" y="439"/>
                    <a:pt x="259" y="441"/>
                    <a:pt x="272" y="442"/>
                  </a:cubicBezTo>
                  <a:cubicBezTo>
                    <a:pt x="273" y="443"/>
                    <a:pt x="275" y="443"/>
                    <a:pt x="276" y="443"/>
                  </a:cubicBezTo>
                  <a:cubicBezTo>
                    <a:pt x="291" y="443"/>
                    <a:pt x="309" y="429"/>
                    <a:pt x="314" y="424"/>
                  </a:cubicBezTo>
                  <a:cubicBezTo>
                    <a:pt x="317" y="421"/>
                    <a:pt x="315" y="416"/>
                    <a:pt x="314" y="412"/>
                  </a:cubicBezTo>
                  <a:cubicBezTo>
                    <a:pt x="313" y="410"/>
                    <a:pt x="313" y="408"/>
                    <a:pt x="313" y="407"/>
                  </a:cubicBezTo>
                  <a:cubicBezTo>
                    <a:pt x="313" y="406"/>
                    <a:pt x="311" y="405"/>
                    <a:pt x="309" y="404"/>
                  </a:cubicBezTo>
                  <a:cubicBezTo>
                    <a:pt x="307" y="403"/>
                    <a:pt x="305" y="402"/>
                    <a:pt x="304" y="401"/>
                  </a:cubicBezTo>
                  <a:cubicBezTo>
                    <a:pt x="303" y="399"/>
                    <a:pt x="299" y="394"/>
                    <a:pt x="293" y="394"/>
                  </a:cubicBezTo>
                  <a:cubicBezTo>
                    <a:pt x="289" y="394"/>
                    <a:pt x="287" y="392"/>
                    <a:pt x="286" y="390"/>
                  </a:cubicBezTo>
                  <a:cubicBezTo>
                    <a:pt x="284" y="389"/>
                    <a:pt x="283" y="387"/>
                    <a:pt x="281" y="387"/>
                  </a:cubicBezTo>
                  <a:cubicBezTo>
                    <a:pt x="276" y="388"/>
                    <a:pt x="273" y="385"/>
                    <a:pt x="262" y="378"/>
                  </a:cubicBezTo>
                  <a:cubicBezTo>
                    <a:pt x="259" y="377"/>
                    <a:pt x="259" y="377"/>
                    <a:pt x="259" y="377"/>
                  </a:cubicBezTo>
                  <a:cubicBezTo>
                    <a:pt x="248" y="369"/>
                    <a:pt x="232" y="363"/>
                    <a:pt x="227" y="363"/>
                  </a:cubicBezTo>
                  <a:cubicBezTo>
                    <a:pt x="226" y="363"/>
                    <a:pt x="226" y="363"/>
                    <a:pt x="226" y="363"/>
                  </a:cubicBezTo>
                  <a:cubicBezTo>
                    <a:pt x="224" y="364"/>
                    <a:pt x="223" y="365"/>
                    <a:pt x="221" y="365"/>
                  </a:cubicBezTo>
                  <a:cubicBezTo>
                    <a:pt x="220" y="365"/>
                    <a:pt x="219" y="364"/>
                    <a:pt x="218" y="362"/>
                  </a:cubicBezTo>
                  <a:cubicBezTo>
                    <a:pt x="217" y="361"/>
                    <a:pt x="215" y="360"/>
                    <a:pt x="213" y="360"/>
                  </a:cubicBezTo>
                  <a:cubicBezTo>
                    <a:pt x="211" y="360"/>
                    <a:pt x="209" y="361"/>
                    <a:pt x="208" y="362"/>
                  </a:cubicBezTo>
                  <a:cubicBezTo>
                    <a:pt x="207" y="363"/>
                    <a:pt x="206" y="363"/>
                    <a:pt x="205" y="363"/>
                  </a:cubicBezTo>
                  <a:cubicBezTo>
                    <a:pt x="204" y="363"/>
                    <a:pt x="203" y="363"/>
                    <a:pt x="202" y="362"/>
                  </a:cubicBezTo>
                  <a:cubicBezTo>
                    <a:pt x="200" y="362"/>
                    <a:pt x="199" y="361"/>
                    <a:pt x="197" y="361"/>
                  </a:cubicBezTo>
                  <a:cubicBezTo>
                    <a:pt x="196" y="361"/>
                    <a:pt x="195" y="361"/>
                    <a:pt x="194" y="361"/>
                  </a:cubicBezTo>
                  <a:cubicBezTo>
                    <a:pt x="193" y="362"/>
                    <a:pt x="192" y="362"/>
                    <a:pt x="191" y="362"/>
                  </a:cubicBezTo>
                  <a:cubicBezTo>
                    <a:pt x="188" y="362"/>
                    <a:pt x="186" y="360"/>
                    <a:pt x="185" y="358"/>
                  </a:cubicBezTo>
                  <a:cubicBezTo>
                    <a:pt x="185" y="357"/>
                    <a:pt x="185" y="356"/>
                    <a:pt x="186" y="356"/>
                  </a:cubicBezTo>
                  <a:cubicBezTo>
                    <a:pt x="186" y="355"/>
                    <a:pt x="189" y="355"/>
                    <a:pt x="191" y="354"/>
                  </a:cubicBezTo>
                  <a:cubicBezTo>
                    <a:pt x="193" y="354"/>
                    <a:pt x="195" y="354"/>
                    <a:pt x="196" y="353"/>
                  </a:cubicBezTo>
                  <a:cubicBezTo>
                    <a:pt x="196" y="353"/>
                    <a:pt x="196" y="353"/>
                    <a:pt x="196" y="353"/>
                  </a:cubicBezTo>
                  <a:cubicBezTo>
                    <a:pt x="196" y="352"/>
                    <a:pt x="196" y="352"/>
                    <a:pt x="194" y="351"/>
                  </a:cubicBezTo>
                  <a:cubicBezTo>
                    <a:pt x="192" y="351"/>
                    <a:pt x="190" y="351"/>
                    <a:pt x="187" y="349"/>
                  </a:cubicBezTo>
                  <a:cubicBezTo>
                    <a:pt x="185" y="348"/>
                    <a:pt x="183" y="347"/>
                    <a:pt x="182" y="347"/>
                  </a:cubicBezTo>
                  <a:cubicBezTo>
                    <a:pt x="179" y="347"/>
                    <a:pt x="178" y="350"/>
                    <a:pt x="177" y="351"/>
                  </a:cubicBezTo>
                  <a:cubicBezTo>
                    <a:pt x="177" y="352"/>
                    <a:pt x="175" y="353"/>
                    <a:pt x="173" y="353"/>
                  </a:cubicBezTo>
                  <a:cubicBezTo>
                    <a:pt x="172" y="353"/>
                    <a:pt x="169" y="352"/>
                    <a:pt x="168" y="351"/>
                  </a:cubicBezTo>
                  <a:cubicBezTo>
                    <a:pt x="167" y="351"/>
                    <a:pt x="167" y="350"/>
                    <a:pt x="167" y="350"/>
                  </a:cubicBezTo>
                  <a:cubicBezTo>
                    <a:pt x="166" y="354"/>
                    <a:pt x="164" y="356"/>
                    <a:pt x="162" y="356"/>
                  </a:cubicBezTo>
                  <a:cubicBezTo>
                    <a:pt x="161" y="356"/>
                    <a:pt x="160" y="355"/>
                    <a:pt x="159" y="355"/>
                  </a:cubicBezTo>
                  <a:cubicBezTo>
                    <a:pt x="158" y="355"/>
                    <a:pt x="156" y="356"/>
                    <a:pt x="154" y="358"/>
                  </a:cubicBezTo>
                  <a:cubicBezTo>
                    <a:pt x="152" y="359"/>
                    <a:pt x="150" y="361"/>
                    <a:pt x="147" y="361"/>
                  </a:cubicBezTo>
                  <a:cubicBezTo>
                    <a:pt x="143" y="361"/>
                    <a:pt x="139" y="365"/>
                    <a:pt x="138" y="369"/>
                  </a:cubicBezTo>
                  <a:cubicBezTo>
                    <a:pt x="137" y="372"/>
                    <a:pt x="136" y="372"/>
                    <a:pt x="134" y="372"/>
                  </a:cubicBezTo>
                  <a:cubicBezTo>
                    <a:pt x="133" y="372"/>
                    <a:pt x="132" y="373"/>
                    <a:pt x="132" y="373"/>
                  </a:cubicBezTo>
                  <a:cubicBezTo>
                    <a:pt x="132" y="376"/>
                    <a:pt x="132" y="379"/>
                    <a:pt x="130" y="381"/>
                  </a:cubicBezTo>
                  <a:cubicBezTo>
                    <a:pt x="129" y="383"/>
                    <a:pt x="129" y="384"/>
                    <a:pt x="131" y="386"/>
                  </a:cubicBezTo>
                  <a:cubicBezTo>
                    <a:pt x="131" y="387"/>
                    <a:pt x="132" y="388"/>
                    <a:pt x="132" y="389"/>
                  </a:cubicBezTo>
                  <a:cubicBezTo>
                    <a:pt x="134" y="392"/>
                    <a:pt x="136" y="392"/>
                    <a:pt x="139" y="393"/>
                  </a:cubicBezTo>
                  <a:cubicBezTo>
                    <a:pt x="140" y="393"/>
                    <a:pt x="141" y="394"/>
                    <a:pt x="141" y="394"/>
                  </a:cubicBezTo>
                  <a:cubicBezTo>
                    <a:pt x="143" y="395"/>
                    <a:pt x="152" y="402"/>
                    <a:pt x="152" y="405"/>
                  </a:cubicBezTo>
                  <a:cubicBezTo>
                    <a:pt x="152" y="408"/>
                    <a:pt x="145" y="415"/>
                    <a:pt x="143" y="416"/>
                  </a:cubicBezTo>
                  <a:cubicBezTo>
                    <a:pt x="141" y="418"/>
                    <a:pt x="138" y="420"/>
                    <a:pt x="138" y="422"/>
                  </a:cubicBezTo>
                  <a:cubicBezTo>
                    <a:pt x="138" y="423"/>
                    <a:pt x="138" y="424"/>
                    <a:pt x="138" y="424"/>
                  </a:cubicBezTo>
                  <a:cubicBezTo>
                    <a:pt x="139" y="425"/>
                    <a:pt x="139" y="425"/>
                    <a:pt x="139" y="425"/>
                  </a:cubicBezTo>
                  <a:cubicBezTo>
                    <a:pt x="141" y="429"/>
                    <a:pt x="148" y="438"/>
                    <a:pt x="152" y="446"/>
                  </a:cubicBezTo>
                  <a:cubicBezTo>
                    <a:pt x="154" y="449"/>
                    <a:pt x="154" y="451"/>
                    <a:pt x="154" y="452"/>
                  </a:cubicBezTo>
                  <a:cubicBezTo>
                    <a:pt x="153" y="453"/>
                    <a:pt x="152" y="453"/>
                    <a:pt x="151" y="453"/>
                  </a:cubicBezTo>
                  <a:cubicBezTo>
                    <a:pt x="150" y="454"/>
                    <a:pt x="148" y="454"/>
                    <a:pt x="147" y="455"/>
                  </a:cubicBezTo>
                  <a:cubicBezTo>
                    <a:pt x="145" y="458"/>
                    <a:pt x="147" y="461"/>
                    <a:pt x="148" y="464"/>
                  </a:cubicBezTo>
                  <a:cubicBezTo>
                    <a:pt x="149" y="465"/>
                    <a:pt x="149" y="465"/>
                    <a:pt x="150" y="466"/>
                  </a:cubicBezTo>
                  <a:cubicBezTo>
                    <a:pt x="150" y="468"/>
                    <a:pt x="149" y="469"/>
                    <a:pt x="148" y="469"/>
                  </a:cubicBezTo>
                  <a:cubicBezTo>
                    <a:pt x="147" y="470"/>
                    <a:pt x="146" y="470"/>
                    <a:pt x="146" y="470"/>
                  </a:cubicBezTo>
                  <a:cubicBezTo>
                    <a:pt x="146" y="471"/>
                    <a:pt x="148" y="472"/>
                    <a:pt x="150" y="473"/>
                  </a:cubicBezTo>
                  <a:cubicBezTo>
                    <a:pt x="152" y="473"/>
                    <a:pt x="153" y="474"/>
                    <a:pt x="154" y="475"/>
                  </a:cubicBezTo>
                  <a:cubicBezTo>
                    <a:pt x="154" y="476"/>
                    <a:pt x="153" y="477"/>
                    <a:pt x="152" y="478"/>
                  </a:cubicBezTo>
                  <a:cubicBezTo>
                    <a:pt x="151" y="479"/>
                    <a:pt x="150" y="480"/>
                    <a:pt x="151" y="482"/>
                  </a:cubicBezTo>
                  <a:cubicBezTo>
                    <a:pt x="152" y="484"/>
                    <a:pt x="154" y="484"/>
                    <a:pt x="155" y="485"/>
                  </a:cubicBezTo>
                  <a:cubicBezTo>
                    <a:pt x="157" y="486"/>
                    <a:pt x="159" y="488"/>
                    <a:pt x="159" y="490"/>
                  </a:cubicBezTo>
                  <a:cubicBezTo>
                    <a:pt x="159" y="493"/>
                    <a:pt x="156" y="494"/>
                    <a:pt x="154" y="495"/>
                  </a:cubicBezTo>
                  <a:cubicBezTo>
                    <a:pt x="152" y="496"/>
                    <a:pt x="150" y="497"/>
                    <a:pt x="150" y="498"/>
                  </a:cubicBezTo>
                  <a:cubicBezTo>
                    <a:pt x="150" y="500"/>
                    <a:pt x="154" y="502"/>
                    <a:pt x="157" y="504"/>
                  </a:cubicBezTo>
                  <a:cubicBezTo>
                    <a:pt x="161" y="506"/>
                    <a:pt x="166" y="509"/>
                    <a:pt x="168" y="512"/>
                  </a:cubicBezTo>
                  <a:cubicBezTo>
                    <a:pt x="174" y="519"/>
                    <a:pt x="174" y="521"/>
                    <a:pt x="172" y="524"/>
                  </a:cubicBezTo>
                  <a:cubicBezTo>
                    <a:pt x="171" y="528"/>
                    <a:pt x="167" y="531"/>
                    <a:pt x="162" y="535"/>
                  </a:cubicBezTo>
                  <a:cubicBezTo>
                    <a:pt x="157" y="538"/>
                    <a:pt x="153" y="541"/>
                    <a:pt x="151" y="545"/>
                  </a:cubicBezTo>
                  <a:cubicBezTo>
                    <a:pt x="149" y="550"/>
                    <a:pt x="143" y="553"/>
                    <a:pt x="138" y="557"/>
                  </a:cubicBezTo>
                  <a:cubicBezTo>
                    <a:pt x="134" y="559"/>
                    <a:pt x="131" y="561"/>
                    <a:pt x="128" y="563"/>
                  </a:cubicBezTo>
                  <a:cubicBezTo>
                    <a:pt x="127" y="565"/>
                    <a:pt x="125" y="568"/>
                    <a:pt x="122" y="571"/>
                  </a:cubicBezTo>
                  <a:cubicBezTo>
                    <a:pt x="124" y="570"/>
                    <a:pt x="126" y="570"/>
                    <a:pt x="127" y="569"/>
                  </a:cubicBezTo>
                  <a:cubicBezTo>
                    <a:pt x="128" y="569"/>
                    <a:pt x="128" y="569"/>
                    <a:pt x="128" y="569"/>
                  </a:cubicBezTo>
                  <a:cubicBezTo>
                    <a:pt x="130" y="569"/>
                    <a:pt x="132" y="571"/>
                    <a:pt x="133" y="574"/>
                  </a:cubicBezTo>
                  <a:cubicBezTo>
                    <a:pt x="134" y="576"/>
                    <a:pt x="136" y="578"/>
                    <a:pt x="137" y="579"/>
                  </a:cubicBezTo>
                  <a:cubicBezTo>
                    <a:pt x="138" y="580"/>
                    <a:pt x="141" y="580"/>
                    <a:pt x="143" y="580"/>
                  </a:cubicBezTo>
                  <a:cubicBezTo>
                    <a:pt x="146" y="580"/>
                    <a:pt x="148" y="580"/>
                    <a:pt x="150" y="582"/>
                  </a:cubicBezTo>
                  <a:cubicBezTo>
                    <a:pt x="150" y="582"/>
                    <a:pt x="150" y="583"/>
                    <a:pt x="150" y="584"/>
                  </a:cubicBezTo>
                  <a:cubicBezTo>
                    <a:pt x="150" y="584"/>
                    <a:pt x="149" y="585"/>
                    <a:pt x="147" y="585"/>
                  </a:cubicBezTo>
                  <a:cubicBezTo>
                    <a:pt x="146" y="585"/>
                    <a:pt x="144" y="585"/>
                    <a:pt x="142" y="584"/>
                  </a:cubicBezTo>
                  <a:cubicBezTo>
                    <a:pt x="139" y="584"/>
                    <a:pt x="138" y="585"/>
                    <a:pt x="135" y="586"/>
                  </a:cubicBezTo>
                  <a:cubicBezTo>
                    <a:pt x="134" y="587"/>
                    <a:pt x="132" y="588"/>
                    <a:pt x="128" y="589"/>
                  </a:cubicBezTo>
                  <a:cubicBezTo>
                    <a:pt x="125" y="590"/>
                    <a:pt x="124" y="592"/>
                    <a:pt x="123" y="593"/>
                  </a:cubicBezTo>
                  <a:cubicBezTo>
                    <a:pt x="122" y="594"/>
                    <a:pt x="122" y="594"/>
                    <a:pt x="122" y="594"/>
                  </a:cubicBezTo>
                  <a:cubicBezTo>
                    <a:pt x="124" y="598"/>
                    <a:pt x="122" y="599"/>
                    <a:pt x="121" y="601"/>
                  </a:cubicBezTo>
                  <a:cubicBezTo>
                    <a:pt x="120" y="602"/>
                    <a:pt x="119" y="603"/>
                    <a:pt x="119" y="604"/>
                  </a:cubicBezTo>
                  <a:cubicBezTo>
                    <a:pt x="118" y="606"/>
                    <a:pt x="116" y="607"/>
                    <a:pt x="116" y="608"/>
                  </a:cubicBezTo>
                  <a:cubicBezTo>
                    <a:pt x="115" y="609"/>
                    <a:pt x="114" y="610"/>
                    <a:pt x="114" y="611"/>
                  </a:cubicBezTo>
                  <a:cubicBezTo>
                    <a:pt x="114" y="613"/>
                    <a:pt x="114" y="614"/>
                    <a:pt x="114" y="615"/>
                  </a:cubicBezTo>
                  <a:cubicBezTo>
                    <a:pt x="114" y="617"/>
                    <a:pt x="115" y="618"/>
                    <a:pt x="115" y="619"/>
                  </a:cubicBezTo>
                  <a:cubicBezTo>
                    <a:pt x="115" y="623"/>
                    <a:pt x="116" y="624"/>
                    <a:pt x="117" y="626"/>
                  </a:cubicBezTo>
                  <a:cubicBezTo>
                    <a:pt x="118" y="627"/>
                    <a:pt x="118" y="627"/>
                    <a:pt x="118" y="627"/>
                  </a:cubicBezTo>
                  <a:cubicBezTo>
                    <a:pt x="119" y="628"/>
                    <a:pt x="119" y="629"/>
                    <a:pt x="119" y="629"/>
                  </a:cubicBezTo>
                  <a:cubicBezTo>
                    <a:pt x="118" y="630"/>
                    <a:pt x="117" y="631"/>
                    <a:pt x="116" y="631"/>
                  </a:cubicBezTo>
                  <a:cubicBezTo>
                    <a:pt x="115" y="632"/>
                    <a:pt x="115" y="632"/>
                    <a:pt x="114" y="633"/>
                  </a:cubicBezTo>
                  <a:cubicBezTo>
                    <a:pt x="114" y="633"/>
                    <a:pt x="113" y="633"/>
                    <a:pt x="113" y="634"/>
                  </a:cubicBezTo>
                  <a:cubicBezTo>
                    <a:pt x="113" y="636"/>
                    <a:pt x="114" y="638"/>
                    <a:pt x="116" y="640"/>
                  </a:cubicBezTo>
                  <a:cubicBezTo>
                    <a:pt x="119" y="642"/>
                    <a:pt x="119" y="646"/>
                    <a:pt x="118" y="648"/>
                  </a:cubicBezTo>
                  <a:cubicBezTo>
                    <a:pt x="117" y="650"/>
                    <a:pt x="119" y="653"/>
                    <a:pt x="122" y="656"/>
                  </a:cubicBezTo>
                  <a:cubicBezTo>
                    <a:pt x="123" y="657"/>
                    <a:pt x="124" y="659"/>
                    <a:pt x="124" y="662"/>
                  </a:cubicBezTo>
                  <a:cubicBezTo>
                    <a:pt x="125" y="663"/>
                    <a:pt x="125" y="665"/>
                    <a:pt x="126" y="666"/>
                  </a:cubicBezTo>
                  <a:cubicBezTo>
                    <a:pt x="127" y="667"/>
                    <a:pt x="129" y="668"/>
                    <a:pt x="131" y="668"/>
                  </a:cubicBezTo>
                  <a:cubicBezTo>
                    <a:pt x="132" y="668"/>
                    <a:pt x="133" y="668"/>
                    <a:pt x="133" y="668"/>
                  </a:cubicBezTo>
                  <a:cubicBezTo>
                    <a:pt x="137" y="667"/>
                    <a:pt x="139" y="668"/>
                    <a:pt x="141" y="672"/>
                  </a:cubicBezTo>
                  <a:cubicBezTo>
                    <a:pt x="142" y="673"/>
                    <a:pt x="142" y="673"/>
                    <a:pt x="143" y="673"/>
                  </a:cubicBezTo>
                  <a:cubicBezTo>
                    <a:pt x="145" y="673"/>
                    <a:pt x="146" y="673"/>
                    <a:pt x="148" y="672"/>
                  </a:cubicBezTo>
                  <a:cubicBezTo>
                    <a:pt x="148" y="672"/>
                    <a:pt x="148" y="672"/>
                    <a:pt x="148" y="672"/>
                  </a:cubicBezTo>
                  <a:cubicBezTo>
                    <a:pt x="149" y="671"/>
                    <a:pt x="150" y="671"/>
                    <a:pt x="150" y="671"/>
                  </a:cubicBezTo>
                  <a:cubicBezTo>
                    <a:pt x="154" y="671"/>
                    <a:pt x="159" y="674"/>
                    <a:pt x="162" y="675"/>
                  </a:cubicBezTo>
                  <a:cubicBezTo>
                    <a:pt x="162" y="676"/>
                    <a:pt x="162" y="676"/>
                    <a:pt x="162" y="676"/>
                  </a:cubicBezTo>
                  <a:cubicBezTo>
                    <a:pt x="164" y="676"/>
                    <a:pt x="164" y="679"/>
                    <a:pt x="164" y="682"/>
                  </a:cubicBezTo>
                  <a:cubicBezTo>
                    <a:pt x="164" y="684"/>
                    <a:pt x="164" y="685"/>
                    <a:pt x="164" y="686"/>
                  </a:cubicBezTo>
                  <a:cubicBezTo>
                    <a:pt x="164" y="687"/>
                    <a:pt x="164" y="688"/>
                    <a:pt x="164" y="690"/>
                  </a:cubicBezTo>
                  <a:cubicBezTo>
                    <a:pt x="163" y="692"/>
                    <a:pt x="163" y="695"/>
                    <a:pt x="165" y="696"/>
                  </a:cubicBezTo>
                  <a:cubicBezTo>
                    <a:pt x="167" y="697"/>
                    <a:pt x="168" y="699"/>
                    <a:pt x="168" y="700"/>
                  </a:cubicBezTo>
                  <a:cubicBezTo>
                    <a:pt x="169" y="702"/>
                    <a:pt x="170" y="704"/>
                    <a:pt x="172" y="705"/>
                  </a:cubicBezTo>
                  <a:cubicBezTo>
                    <a:pt x="174" y="706"/>
                    <a:pt x="176" y="708"/>
                    <a:pt x="177" y="710"/>
                  </a:cubicBezTo>
                  <a:cubicBezTo>
                    <a:pt x="178" y="711"/>
                    <a:pt x="179" y="713"/>
                    <a:pt x="180" y="713"/>
                  </a:cubicBezTo>
                  <a:cubicBezTo>
                    <a:pt x="183" y="714"/>
                    <a:pt x="188" y="718"/>
                    <a:pt x="189" y="721"/>
                  </a:cubicBezTo>
                  <a:cubicBezTo>
                    <a:pt x="189" y="723"/>
                    <a:pt x="187" y="726"/>
                    <a:pt x="181" y="728"/>
                  </a:cubicBezTo>
                  <a:cubicBezTo>
                    <a:pt x="180" y="728"/>
                    <a:pt x="180" y="728"/>
                    <a:pt x="180" y="728"/>
                  </a:cubicBezTo>
                  <a:cubicBezTo>
                    <a:pt x="178" y="728"/>
                    <a:pt x="177" y="728"/>
                    <a:pt x="175" y="727"/>
                  </a:cubicBezTo>
                  <a:cubicBezTo>
                    <a:pt x="173" y="726"/>
                    <a:pt x="172" y="725"/>
                    <a:pt x="171" y="726"/>
                  </a:cubicBezTo>
                  <a:cubicBezTo>
                    <a:pt x="170" y="728"/>
                    <a:pt x="170" y="730"/>
                    <a:pt x="171" y="733"/>
                  </a:cubicBezTo>
                  <a:cubicBezTo>
                    <a:pt x="172" y="735"/>
                    <a:pt x="173" y="737"/>
                    <a:pt x="173" y="739"/>
                  </a:cubicBezTo>
                  <a:cubicBezTo>
                    <a:pt x="175" y="747"/>
                    <a:pt x="176" y="747"/>
                    <a:pt x="179" y="747"/>
                  </a:cubicBezTo>
                  <a:cubicBezTo>
                    <a:pt x="181" y="747"/>
                    <a:pt x="182" y="746"/>
                    <a:pt x="183" y="745"/>
                  </a:cubicBezTo>
                  <a:cubicBezTo>
                    <a:pt x="184" y="744"/>
                    <a:pt x="185" y="744"/>
                    <a:pt x="185" y="743"/>
                  </a:cubicBezTo>
                  <a:cubicBezTo>
                    <a:pt x="186" y="743"/>
                    <a:pt x="187" y="743"/>
                    <a:pt x="188" y="743"/>
                  </a:cubicBezTo>
                  <a:cubicBezTo>
                    <a:pt x="189" y="743"/>
                    <a:pt x="190" y="743"/>
                    <a:pt x="191" y="743"/>
                  </a:cubicBezTo>
                  <a:cubicBezTo>
                    <a:pt x="193" y="743"/>
                    <a:pt x="194" y="743"/>
                    <a:pt x="195" y="743"/>
                  </a:cubicBezTo>
                  <a:cubicBezTo>
                    <a:pt x="196" y="743"/>
                    <a:pt x="198" y="742"/>
                    <a:pt x="200" y="742"/>
                  </a:cubicBezTo>
                  <a:cubicBezTo>
                    <a:pt x="202" y="742"/>
                    <a:pt x="206" y="742"/>
                    <a:pt x="208" y="744"/>
                  </a:cubicBezTo>
                  <a:cubicBezTo>
                    <a:pt x="209" y="747"/>
                    <a:pt x="211" y="753"/>
                    <a:pt x="210" y="756"/>
                  </a:cubicBezTo>
                  <a:cubicBezTo>
                    <a:pt x="209" y="757"/>
                    <a:pt x="210" y="759"/>
                    <a:pt x="211" y="761"/>
                  </a:cubicBezTo>
                  <a:cubicBezTo>
                    <a:pt x="212" y="762"/>
                    <a:pt x="212" y="763"/>
                    <a:pt x="213" y="764"/>
                  </a:cubicBezTo>
                  <a:cubicBezTo>
                    <a:pt x="214" y="765"/>
                    <a:pt x="217" y="765"/>
                    <a:pt x="219" y="765"/>
                  </a:cubicBezTo>
                  <a:cubicBezTo>
                    <a:pt x="221" y="765"/>
                    <a:pt x="222" y="765"/>
                    <a:pt x="223" y="766"/>
                  </a:cubicBezTo>
                  <a:cubicBezTo>
                    <a:pt x="226" y="767"/>
                    <a:pt x="231" y="774"/>
                    <a:pt x="230" y="778"/>
                  </a:cubicBezTo>
                  <a:cubicBezTo>
                    <a:pt x="230" y="779"/>
                    <a:pt x="230" y="779"/>
                    <a:pt x="230" y="779"/>
                  </a:cubicBezTo>
                  <a:cubicBezTo>
                    <a:pt x="231" y="780"/>
                    <a:pt x="232" y="780"/>
                    <a:pt x="233" y="780"/>
                  </a:cubicBezTo>
                  <a:cubicBezTo>
                    <a:pt x="233" y="780"/>
                    <a:pt x="234" y="780"/>
                    <a:pt x="235" y="780"/>
                  </a:cubicBezTo>
                  <a:cubicBezTo>
                    <a:pt x="236" y="780"/>
                    <a:pt x="236" y="780"/>
                    <a:pt x="236" y="780"/>
                  </a:cubicBezTo>
                  <a:cubicBezTo>
                    <a:pt x="237" y="780"/>
                    <a:pt x="239" y="781"/>
                    <a:pt x="240" y="782"/>
                  </a:cubicBezTo>
                  <a:cubicBezTo>
                    <a:pt x="241" y="782"/>
                    <a:pt x="242" y="783"/>
                    <a:pt x="242" y="783"/>
                  </a:cubicBezTo>
                  <a:cubicBezTo>
                    <a:pt x="244" y="785"/>
                    <a:pt x="246" y="785"/>
                    <a:pt x="249" y="783"/>
                  </a:cubicBezTo>
                  <a:cubicBezTo>
                    <a:pt x="251" y="782"/>
                    <a:pt x="253" y="781"/>
                    <a:pt x="255" y="781"/>
                  </a:cubicBezTo>
                  <a:cubicBezTo>
                    <a:pt x="256" y="781"/>
                    <a:pt x="257" y="781"/>
                    <a:pt x="258" y="782"/>
                  </a:cubicBezTo>
                  <a:cubicBezTo>
                    <a:pt x="259" y="783"/>
                    <a:pt x="260" y="785"/>
                    <a:pt x="261" y="786"/>
                  </a:cubicBezTo>
                  <a:cubicBezTo>
                    <a:pt x="263" y="788"/>
                    <a:pt x="264" y="789"/>
                    <a:pt x="264" y="790"/>
                  </a:cubicBezTo>
                  <a:cubicBezTo>
                    <a:pt x="265" y="790"/>
                    <a:pt x="267" y="790"/>
                    <a:pt x="268" y="790"/>
                  </a:cubicBezTo>
                  <a:cubicBezTo>
                    <a:pt x="271" y="790"/>
                    <a:pt x="274" y="791"/>
                    <a:pt x="276" y="792"/>
                  </a:cubicBezTo>
                  <a:cubicBezTo>
                    <a:pt x="278" y="793"/>
                    <a:pt x="280" y="793"/>
                    <a:pt x="282" y="793"/>
                  </a:cubicBezTo>
                  <a:cubicBezTo>
                    <a:pt x="284" y="793"/>
                    <a:pt x="286" y="794"/>
                    <a:pt x="288" y="795"/>
                  </a:cubicBezTo>
                  <a:cubicBezTo>
                    <a:pt x="290" y="796"/>
                    <a:pt x="291" y="796"/>
                    <a:pt x="292" y="797"/>
                  </a:cubicBezTo>
                  <a:cubicBezTo>
                    <a:pt x="295" y="798"/>
                    <a:pt x="297" y="798"/>
                    <a:pt x="297" y="800"/>
                  </a:cubicBezTo>
                  <a:cubicBezTo>
                    <a:pt x="297" y="802"/>
                    <a:pt x="296" y="804"/>
                    <a:pt x="294" y="805"/>
                  </a:cubicBezTo>
                  <a:cubicBezTo>
                    <a:pt x="294" y="806"/>
                    <a:pt x="293" y="806"/>
                    <a:pt x="293" y="807"/>
                  </a:cubicBezTo>
                  <a:cubicBezTo>
                    <a:pt x="293" y="807"/>
                    <a:pt x="294" y="807"/>
                    <a:pt x="294" y="808"/>
                  </a:cubicBezTo>
                  <a:cubicBezTo>
                    <a:pt x="295" y="809"/>
                    <a:pt x="296" y="810"/>
                    <a:pt x="296" y="811"/>
                  </a:cubicBezTo>
                  <a:cubicBezTo>
                    <a:pt x="296" y="812"/>
                    <a:pt x="295" y="813"/>
                    <a:pt x="293" y="813"/>
                  </a:cubicBezTo>
                  <a:cubicBezTo>
                    <a:pt x="293" y="814"/>
                    <a:pt x="291" y="814"/>
                    <a:pt x="291" y="815"/>
                  </a:cubicBezTo>
                  <a:cubicBezTo>
                    <a:pt x="291" y="815"/>
                    <a:pt x="292" y="816"/>
                    <a:pt x="293" y="818"/>
                  </a:cubicBezTo>
                  <a:cubicBezTo>
                    <a:pt x="294" y="818"/>
                    <a:pt x="294" y="819"/>
                    <a:pt x="294" y="820"/>
                  </a:cubicBezTo>
                  <a:cubicBezTo>
                    <a:pt x="295" y="821"/>
                    <a:pt x="294" y="823"/>
                    <a:pt x="293" y="825"/>
                  </a:cubicBezTo>
                  <a:cubicBezTo>
                    <a:pt x="292" y="827"/>
                    <a:pt x="292" y="828"/>
                    <a:pt x="292" y="829"/>
                  </a:cubicBezTo>
                  <a:cubicBezTo>
                    <a:pt x="292" y="830"/>
                    <a:pt x="290" y="830"/>
                    <a:pt x="289" y="830"/>
                  </a:cubicBezTo>
                  <a:cubicBezTo>
                    <a:pt x="288" y="830"/>
                    <a:pt x="285" y="829"/>
                    <a:pt x="283" y="829"/>
                  </a:cubicBezTo>
                  <a:cubicBezTo>
                    <a:pt x="281" y="829"/>
                    <a:pt x="280" y="829"/>
                    <a:pt x="279" y="829"/>
                  </a:cubicBezTo>
                  <a:cubicBezTo>
                    <a:pt x="278" y="829"/>
                    <a:pt x="276" y="831"/>
                    <a:pt x="274" y="833"/>
                  </a:cubicBezTo>
                  <a:cubicBezTo>
                    <a:pt x="271" y="835"/>
                    <a:pt x="269" y="836"/>
                    <a:pt x="268" y="837"/>
                  </a:cubicBezTo>
                  <a:cubicBezTo>
                    <a:pt x="268" y="837"/>
                    <a:pt x="268" y="837"/>
                    <a:pt x="268" y="837"/>
                  </a:cubicBezTo>
                  <a:cubicBezTo>
                    <a:pt x="267" y="838"/>
                    <a:pt x="268" y="840"/>
                    <a:pt x="268" y="842"/>
                  </a:cubicBezTo>
                  <a:cubicBezTo>
                    <a:pt x="272" y="842"/>
                    <a:pt x="276" y="841"/>
                    <a:pt x="279" y="841"/>
                  </a:cubicBezTo>
                  <a:cubicBezTo>
                    <a:pt x="281" y="841"/>
                    <a:pt x="283" y="842"/>
                    <a:pt x="283" y="842"/>
                  </a:cubicBezTo>
                  <a:cubicBezTo>
                    <a:pt x="283" y="843"/>
                    <a:pt x="283" y="843"/>
                    <a:pt x="283" y="843"/>
                  </a:cubicBezTo>
                  <a:cubicBezTo>
                    <a:pt x="282" y="847"/>
                    <a:pt x="267" y="853"/>
                    <a:pt x="265" y="854"/>
                  </a:cubicBezTo>
                  <a:cubicBezTo>
                    <a:pt x="265" y="854"/>
                    <a:pt x="265" y="854"/>
                    <a:pt x="265" y="854"/>
                  </a:cubicBezTo>
                  <a:cubicBezTo>
                    <a:pt x="264" y="854"/>
                    <a:pt x="266" y="856"/>
                    <a:pt x="267" y="857"/>
                  </a:cubicBezTo>
                  <a:cubicBezTo>
                    <a:pt x="269" y="858"/>
                    <a:pt x="271" y="860"/>
                    <a:pt x="271" y="861"/>
                  </a:cubicBezTo>
                  <a:cubicBezTo>
                    <a:pt x="271" y="863"/>
                    <a:pt x="269" y="863"/>
                    <a:pt x="267" y="864"/>
                  </a:cubicBezTo>
                  <a:cubicBezTo>
                    <a:pt x="265" y="866"/>
                    <a:pt x="262" y="867"/>
                    <a:pt x="262" y="870"/>
                  </a:cubicBezTo>
                  <a:cubicBezTo>
                    <a:pt x="262" y="872"/>
                    <a:pt x="262" y="873"/>
                    <a:pt x="261" y="874"/>
                  </a:cubicBezTo>
                  <a:cubicBezTo>
                    <a:pt x="260" y="876"/>
                    <a:pt x="256" y="876"/>
                    <a:pt x="254" y="876"/>
                  </a:cubicBezTo>
                  <a:cubicBezTo>
                    <a:pt x="251" y="876"/>
                    <a:pt x="249" y="878"/>
                    <a:pt x="249" y="878"/>
                  </a:cubicBezTo>
                  <a:cubicBezTo>
                    <a:pt x="249" y="879"/>
                    <a:pt x="250" y="879"/>
                    <a:pt x="250" y="879"/>
                  </a:cubicBezTo>
                  <a:cubicBezTo>
                    <a:pt x="251" y="879"/>
                    <a:pt x="251" y="880"/>
                    <a:pt x="252" y="881"/>
                  </a:cubicBezTo>
                  <a:cubicBezTo>
                    <a:pt x="253" y="883"/>
                    <a:pt x="255" y="887"/>
                    <a:pt x="261" y="888"/>
                  </a:cubicBezTo>
                  <a:cubicBezTo>
                    <a:pt x="269" y="890"/>
                    <a:pt x="278" y="897"/>
                    <a:pt x="289" y="908"/>
                  </a:cubicBezTo>
                  <a:cubicBezTo>
                    <a:pt x="290" y="909"/>
                    <a:pt x="291" y="910"/>
                    <a:pt x="292" y="911"/>
                  </a:cubicBezTo>
                  <a:cubicBezTo>
                    <a:pt x="295" y="909"/>
                    <a:pt x="296" y="908"/>
                    <a:pt x="297" y="908"/>
                  </a:cubicBezTo>
                  <a:cubicBezTo>
                    <a:pt x="302" y="907"/>
                    <a:pt x="311" y="910"/>
                    <a:pt x="315" y="913"/>
                  </a:cubicBezTo>
                  <a:cubicBezTo>
                    <a:pt x="316" y="914"/>
                    <a:pt x="319" y="915"/>
                    <a:pt x="322" y="915"/>
                  </a:cubicBezTo>
                  <a:cubicBezTo>
                    <a:pt x="324" y="915"/>
                    <a:pt x="326" y="915"/>
                    <a:pt x="328" y="914"/>
                  </a:cubicBezTo>
                  <a:cubicBezTo>
                    <a:pt x="330" y="914"/>
                    <a:pt x="332" y="914"/>
                    <a:pt x="333" y="914"/>
                  </a:cubicBezTo>
                  <a:cubicBezTo>
                    <a:pt x="336" y="914"/>
                    <a:pt x="337" y="915"/>
                    <a:pt x="338" y="915"/>
                  </a:cubicBezTo>
                  <a:cubicBezTo>
                    <a:pt x="340" y="918"/>
                    <a:pt x="344" y="921"/>
                    <a:pt x="347" y="921"/>
                  </a:cubicBezTo>
                  <a:cubicBezTo>
                    <a:pt x="348" y="921"/>
                    <a:pt x="350" y="922"/>
                    <a:pt x="351" y="924"/>
                  </a:cubicBezTo>
                  <a:cubicBezTo>
                    <a:pt x="352" y="925"/>
                    <a:pt x="354" y="926"/>
                    <a:pt x="355" y="926"/>
                  </a:cubicBezTo>
                  <a:cubicBezTo>
                    <a:pt x="355" y="926"/>
                    <a:pt x="355" y="926"/>
                    <a:pt x="355" y="926"/>
                  </a:cubicBezTo>
                  <a:cubicBezTo>
                    <a:pt x="357" y="924"/>
                    <a:pt x="362" y="924"/>
                    <a:pt x="370" y="924"/>
                  </a:cubicBezTo>
                  <a:cubicBezTo>
                    <a:pt x="372" y="924"/>
                    <a:pt x="373" y="924"/>
                    <a:pt x="373" y="925"/>
                  </a:cubicBezTo>
                  <a:cubicBezTo>
                    <a:pt x="374" y="925"/>
                    <a:pt x="374" y="926"/>
                    <a:pt x="376" y="926"/>
                  </a:cubicBezTo>
                  <a:cubicBezTo>
                    <a:pt x="377" y="926"/>
                    <a:pt x="378" y="928"/>
                    <a:pt x="379" y="931"/>
                  </a:cubicBezTo>
                  <a:cubicBezTo>
                    <a:pt x="379" y="932"/>
                    <a:pt x="380" y="935"/>
                    <a:pt x="380" y="935"/>
                  </a:cubicBezTo>
                  <a:cubicBezTo>
                    <a:pt x="380" y="935"/>
                    <a:pt x="380" y="935"/>
                    <a:pt x="380" y="935"/>
                  </a:cubicBezTo>
                  <a:cubicBezTo>
                    <a:pt x="382" y="935"/>
                    <a:pt x="384" y="936"/>
                    <a:pt x="386" y="937"/>
                  </a:cubicBezTo>
                  <a:cubicBezTo>
                    <a:pt x="389" y="939"/>
                    <a:pt x="391" y="941"/>
                    <a:pt x="394" y="941"/>
                  </a:cubicBezTo>
                  <a:cubicBezTo>
                    <a:pt x="396" y="941"/>
                    <a:pt x="399" y="944"/>
                    <a:pt x="401" y="946"/>
                  </a:cubicBezTo>
                  <a:cubicBezTo>
                    <a:pt x="402" y="947"/>
                    <a:pt x="404" y="949"/>
                    <a:pt x="404" y="949"/>
                  </a:cubicBezTo>
                  <a:cubicBezTo>
                    <a:pt x="405" y="949"/>
                    <a:pt x="405" y="949"/>
                    <a:pt x="405" y="949"/>
                  </a:cubicBezTo>
                  <a:close/>
                  <a:moveTo>
                    <a:pt x="1795" y="869"/>
                  </a:moveTo>
                  <a:cubicBezTo>
                    <a:pt x="1794" y="869"/>
                    <a:pt x="1794" y="869"/>
                    <a:pt x="1794" y="868"/>
                  </a:cubicBezTo>
                  <a:cubicBezTo>
                    <a:pt x="1792" y="867"/>
                    <a:pt x="1791" y="865"/>
                    <a:pt x="1789" y="863"/>
                  </a:cubicBezTo>
                  <a:cubicBezTo>
                    <a:pt x="1788" y="860"/>
                    <a:pt x="1786" y="858"/>
                    <a:pt x="1783" y="858"/>
                  </a:cubicBezTo>
                  <a:cubicBezTo>
                    <a:pt x="1782" y="858"/>
                    <a:pt x="1782" y="858"/>
                    <a:pt x="1782" y="858"/>
                  </a:cubicBezTo>
                  <a:cubicBezTo>
                    <a:pt x="1778" y="858"/>
                    <a:pt x="1777" y="862"/>
                    <a:pt x="1776" y="865"/>
                  </a:cubicBezTo>
                  <a:cubicBezTo>
                    <a:pt x="1776" y="867"/>
                    <a:pt x="1775" y="869"/>
                    <a:pt x="1774" y="869"/>
                  </a:cubicBezTo>
                  <a:cubicBezTo>
                    <a:pt x="1773" y="869"/>
                    <a:pt x="1773" y="868"/>
                    <a:pt x="1772" y="867"/>
                  </a:cubicBezTo>
                  <a:cubicBezTo>
                    <a:pt x="1770" y="865"/>
                    <a:pt x="1771" y="859"/>
                    <a:pt x="1773" y="849"/>
                  </a:cubicBezTo>
                  <a:cubicBezTo>
                    <a:pt x="1774" y="840"/>
                    <a:pt x="1776" y="830"/>
                    <a:pt x="1774" y="826"/>
                  </a:cubicBezTo>
                  <a:cubicBezTo>
                    <a:pt x="1772" y="822"/>
                    <a:pt x="1774" y="811"/>
                    <a:pt x="1775" y="798"/>
                  </a:cubicBezTo>
                  <a:cubicBezTo>
                    <a:pt x="1776" y="786"/>
                    <a:pt x="1777" y="774"/>
                    <a:pt x="1775" y="770"/>
                  </a:cubicBezTo>
                  <a:cubicBezTo>
                    <a:pt x="1774" y="766"/>
                    <a:pt x="1768" y="751"/>
                    <a:pt x="1771" y="741"/>
                  </a:cubicBezTo>
                  <a:cubicBezTo>
                    <a:pt x="1772" y="737"/>
                    <a:pt x="1771" y="734"/>
                    <a:pt x="1771" y="731"/>
                  </a:cubicBezTo>
                  <a:cubicBezTo>
                    <a:pt x="1770" y="729"/>
                    <a:pt x="1770" y="727"/>
                    <a:pt x="1771" y="726"/>
                  </a:cubicBezTo>
                  <a:cubicBezTo>
                    <a:pt x="1772" y="725"/>
                    <a:pt x="1773" y="725"/>
                    <a:pt x="1774" y="725"/>
                  </a:cubicBezTo>
                  <a:cubicBezTo>
                    <a:pt x="1778" y="724"/>
                    <a:pt x="1778" y="721"/>
                    <a:pt x="1778" y="717"/>
                  </a:cubicBezTo>
                  <a:cubicBezTo>
                    <a:pt x="1778" y="714"/>
                    <a:pt x="1779" y="711"/>
                    <a:pt x="1781" y="710"/>
                  </a:cubicBezTo>
                  <a:cubicBezTo>
                    <a:pt x="1781" y="709"/>
                    <a:pt x="1782" y="709"/>
                    <a:pt x="1782" y="709"/>
                  </a:cubicBezTo>
                  <a:cubicBezTo>
                    <a:pt x="1784" y="709"/>
                    <a:pt x="1784" y="711"/>
                    <a:pt x="1784" y="714"/>
                  </a:cubicBezTo>
                  <a:cubicBezTo>
                    <a:pt x="1785" y="718"/>
                    <a:pt x="1786" y="723"/>
                    <a:pt x="1791" y="727"/>
                  </a:cubicBezTo>
                  <a:cubicBezTo>
                    <a:pt x="1796" y="731"/>
                    <a:pt x="1794" y="736"/>
                    <a:pt x="1793" y="742"/>
                  </a:cubicBezTo>
                  <a:cubicBezTo>
                    <a:pt x="1792" y="747"/>
                    <a:pt x="1791" y="752"/>
                    <a:pt x="1793" y="758"/>
                  </a:cubicBezTo>
                  <a:cubicBezTo>
                    <a:pt x="1795" y="764"/>
                    <a:pt x="1798" y="776"/>
                    <a:pt x="1801" y="787"/>
                  </a:cubicBezTo>
                  <a:cubicBezTo>
                    <a:pt x="1804" y="797"/>
                    <a:pt x="1807" y="807"/>
                    <a:pt x="1808" y="810"/>
                  </a:cubicBezTo>
                  <a:cubicBezTo>
                    <a:pt x="1809" y="812"/>
                    <a:pt x="1810" y="814"/>
                    <a:pt x="1809" y="815"/>
                  </a:cubicBezTo>
                  <a:cubicBezTo>
                    <a:pt x="1809" y="816"/>
                    <a:pt x="1809" y="816"/>
                    <a:pt x="1808" y="816"/>
                  </a:cubicBezTo>
                  <a:cubicBezTo>
                    <a:pt x="1807" y="816"/>
                    <a:pt x="1805" y="815"/>
                    <a:pt x="1803" y="813"/>
                  </a:cubicBezTo>
                  <a:cubicBezTo>
                    <a:pt x="1800" y="810"/>
                    <a:pt x="1796" y="808"/>
                    <a:pt x="1792" y="808"/>
                  </a:cubicBezTo>
                  <a:cubicBezTo>
                    <a:pt x="1789" y="808"/>
                    <a:pt x="1786" y="810"/>
                    <a:pt x="1786" y="814"/>
                  </a:cubicBezTo>
                  <a:cubicBezTo>
                    <a:pt x="1786" y="818"/>
                    <a:pt x="1785" y="822"/>
                    <a:pt x="1784" y="826"/>
                  </a:cubicBezTo>
                  <a:cubicBezTo>
                    <a:pt x="1782" y="830"/>
                    <a:pt x="1781" y="834"/>
                    <a:pt x="1782" y="838"/>
                  </a:cubicBezTo>
                  <a:cubicBezTo>
                    <a:pt x="1782" y="838"/>
                    <a:pt x="1782" y="838"/>
                    <a:pt x="1782" y="838"/>
                  </a:cubicBezTo>
                  <a:cubicBezTo>
                    <a:pt x="1784" y="844"/>
                    <a:pt x="1787" y="855"/>
                    <a:pt x="1791" y="855"/>
                  </a:cubicBezTo>
                  <a:cubicBezTo>
                    <a:pt x="1791" y="855"/>
                    <a:pt x="1791" y="855"/>
                    <a:pt x="1791" y="855"/>
                  </a:cubicBezTo>
                  <a:cubicBezTo>
                    <a:pt x="1792" y="855"/>
                    <a:pt x="1792" y="855"/>
                    <a:pt x="1792" y="855"/>
                  </a:cubicBezTo>
                  <a:cubicBezTo>
                    <a:pt x="1795" y="855"/>
                    <a:pt x="1797" y="861"/>
                    <a:pt x="1797" y="865"/>
                  </a:cubicBezTo>
                  <a:cubicBezTo>
                    <a:pt x="1797" y="868"/>
                    <a:pt x="1795" y="869"/>
                    <a:pt x="1795" y="869"/>
                  </a:cubicBezTo>
                  <a:close/>
                  <a:moveTo>
                    <a:pt x="1783" y="857"/>
                  </a:moveTo>
                  <a:cubicBezTo>
                    <a:pt x="1787" y="857"/>
                    <a:pt x="1789" y="860"/>
                    <a:pt x="1790" y="863"/>
                  </a:cubicBezTo>
                  <a:cubicBezTo>
                    <a:pt x="1791" y="865"/>
                    <a:pt x="1792" y="867"/>
                    <a:pt x="1794" y="867"/>
                  </a:cubicBezTo>
                  <a:cubicBezTo>
                    <a:pt x="1794" y="868"/>
                    <a:pt x="1795" y="868"/>
                    <a:pt x="1795" y="868"/>
                  </a:cubicBezTo>
                  <a:cubicBezTo>
                    <a:pt x="1796" y="868"/>
                    <a:pt x="1796" y="866"/>
                    <a:pt x="1796" y="865"/>
                  </a:cubicBezTo>
                  <a:cubicBezTo>
                    <a:pt x="1796" y="861"/>
                    <a:pt x="1794" y="855"/>
                    <a:pt x="1791" y="856"/>
                  </a:cubicBezTo>
                  <a:cubicBezTo>
                    <a:pt x="1787" y="856"/>
                    <a:pt x="1783" y="846"/>
                    <a:pt x="1781" y="838"/>
                  </a:cubicBezTo>
                  <a:cubicBezTo>
                    <a:pt x="1781" y="838"/>
                    <a:pt x="1781" y="838"/>
                    <a:pt x="1781" y="838"/>
                  </a:cubicBezTo>
                  <a:cubicBezTo>
                    <a:pt x="1780" y="834"/>
                    <a:pt x="1781" y="830"/>
                    <a:pt x="1783" y="825"/>
                  </a:cubicBezTo>
                  <a:cubicBezTo>
                    <a:pt x="1784" y="822"/>
                    <a:pt x="1785" y="818"/>
                    <a:pt x="1785" y="814"/>
                  </a:cubicBezTo>
                  <a:cubicBezTo>
                    <a:pt x="1785" y="810"/>
                    <a:pt x="1788" y="807"/>
                    <a:pt x="1792" y="807"/>
                  </a:cubicBezTo>
                  <a:cubicBezTo>
                    <a:pt x="1796" y="807"/>
                    <a:pt x="1800" y="809"/>
                    <a:pt x="1803" y="812"/>
                  </a:cubicBezTo>
                  <a:cubicBezTo>
                    <a:pt x="1806" y="815"/>
                    <a:pt x="1807" y="815"/>
                    <a:pt x="1808" y="815"/>
                  </a:cubicBezTo>
                  <a:cubicBezTo>
                    <a:pt x="1808" y="815"/>
                    <a:pt x="1808" y="815"/>
                    <a:pt x="1808" y="815"/>
                  </a:cubicBezTo>
                  <a:cubicBezTo>
                    <a:pt x="1809" y="814"/>
                    <a:pt x="1809" y="812"/>
                    <a:pt x="1807" y="810"/>
                  </a:cubicBezTo>
                  <a:cubicBezTo>
                    <a:pt x="1806" y="808"/>
                    <a:pt x="1803" y="798"/>
                    <a:pt x="1800" y="787"/>
                  </a:cubicBezTo>
                  <a:cubicBezTo>
                    <a:pt x="1797" y="777"/>
                    <a:pt x="1794" y="765"/>
                    <a:pt x="1792" y="758"/>
                  </a:cubicBezTo>
                  <a:cubicBezTo>
                    <a:pt x="1790" y="752"/>
                    <a:pt x="1791" y="747"/>
                    <a:pt x="1792" y="742"/>
                  </a:cubicBezTo>
                  <a:cubicBezTo>
                    <a:pt x="1793" y="736"/>
                    <a:pt x="1795" y="731"/>
                    <a:pt x="1790" y="728"/>
                  </a:cubicBezTo>
                  <a:cubicBezTo>
                    <a:pt x="1785" y="724"/>
                    <a:pt x="1784" y="718"/>
                    <a:pt x="1783" y="714"/>
                  </a:cubicBezTo>
                  <a:cubicBezTo>
                    <a:pt x="1783" y="712"/>
                    <a:pt x="1783" y="710"/>
                    <a:pt x="1782" y="710"/>
                  </a:cubicBezTo>
                  <a:cubicBezTo>
                    <a:pt x="1782" y="710"/>
                    <a:pt x="1782" y="710"/>
                    <a:pt x="1781" y="711"/>
                  </a:cubicBezTo>
                  <a:cubicBezTo>
                    <a:pt x="1780" y="712"/>
                    <a:pt x="1779" y="714"/>
                    <a:pt x="1779" y="717"/>
                  </a:cubicBezTo>
                  <a:cubicBezTo>
                    <a:pt x="1779" y="721"/>
                    <a:pt x="1779" y="725"/>
                    <a:pt x="1774" y="726"/>
                  </a:cubicBezTo>
                  <a:cubicBezTo>
                    <a:pt x="1773" y="726"/>
                    <a:pt x="1772" y="726"/>
                    <a:pt x="1772" y="727"/>
                  </a:cubicBezTo>
                  <a:cubicBezTo>
                    <a:pt x="1771" y="728"/>
                    <a:pt x="1771" y="729"/>
                    <a:pt x="1772" y="731"/>
                  </a:cubicBezTo>
                  <a:cubicBezTo>
                    <a:pt x="1772" y="734"/>
                    <a:pt x="1773" y="737"/>
                    <a:pt x="1772" y="741"/>
                  </a:cubicBezTo>
                  <a:cubicBezTo>
                    <a:pt x="1769" y="751"/>
                    <a:pt x="1774" y="765"/>
                    <a:pt x="1776" y="770"/>
                  </a:cubicBezTo>
                  <a:cubicBezTo>
                    <a:pt x="1778" y="774"/>
                    <a:pt x="1777" y="786"/>
                    <a:pt x="1776" y="798"/>
                  </a:cubicBezTo>
                  <a:cubicBezTo>
                    <a:pt x="1775" y="810"/>
                    <a:pt x="1773" y="822"/>
                    <a:pt x="1775" y="826"/>
                  </a:cubicBezTo>
                  <a:cubicBezTo>
                    <a:pt x="1777" y="829"/>
                    <a:pt x="1775" y="839"/>
                    <a:pt x="1774" y="849"/>
                  </a:cubicBezTo>
                  <a:cubicBezTo>
                    <a:pt x="1772" y="857"/>
                    <a:pt x="1771" y="865"/>
                    <a:pt x="1772" y="866"/>
                  </a:cubicBezTo>
                  <a:cubicBezTo>
                    <a:pt x="1773" y="868"/>
                    <a:pt x="1774" y="868"/>
                    <a:pt x="1774" y="868"/>
                  </a:cubicBezTo>
                  <a:cubicBezTo>
                    <a:pt x="1775" y="868"/>
                    <a:pt x="1775" y="866"/>
                    <a:pt x="1775" y="865"/>
                  </a:cubicBezTo>
                  <a:cubicBezTo>
                    <a:pt x="1776" y="862"/>
                    <a:pt x="1777" y="857"/>
                    <a:pt x="1781" y="857"/>
                  </a:cubicBezTo>
                  <a:cubicBezTo>
                    <a:pt x="1782" y="857"/>
                    <a:pt x="1782" y="857"/>
                    <a:pt x="1783" y="857"/>
                  </a:cubicBezTo>
                  <a:close/>
                  <a:moveTo>
                    <a:pt x="1219" y="765"/>
                  </a:moveTo>
                  <a:cubicBezTo>
                    <a:pt x="1215" y="765"/>
                    <a:pt x="1213" y="764"/>
                    <a:pt x="1213" y="763"/>
                  </a:cubicBezTo>
                  <a:cubicBezTo>
                    <a:pt x="1212" y="763"/>
                    <a:pt x="1212" y="762"/>
                    <a:pt x="1212" y="762"/>
                  </a:cubicBezTo>
                  <a:cubicBezTo>
                    <a:pt x="1213" y="761"/>
                    <a:pt x="1215" y="760"/>
                    <a:pt x="1219" y="759"/>
                  </a:cubicBezTo>
                  <a:cubicBezTo>
                    <a:pt x="1226" y="756"/>
                    <a:pt x="1237" y="753"/>
                    <a:pt x="1240" y="745"/>
                  </a:cubicBezTo>
                  <a:cubicBezTo>
                    <a:pt x="1243" y="739"/>
                    <a:pt x="1250" y="734"/>
                    <a:pt x="1258" y="728"/>
                  </a:cubicBezTo>
                  <a:cubicBezTo>
                    <a:pt x="1265" y="723"/>
                    <a:pt x="1274" y="717"/>
                    <a:pt x="1279" y="708"/>
                  </a:cubicBezTo>
                  <a:cubicBezTo>
                    <a:pt x="1282" y="704"/>
                    <a:pt x="1284" y="699"/>
                    <a:pt x="1287" y="694"/>
                  </a:cubicBezTo>
                  <a:cubicBezTo>
                    <a:pt x="1291" y="685"/>
                    <a:pt x="1295" y="678"/>
                    <a:pt x="1298" y="678"/>
                  </a:cubicBezTo>
                  <a:cubicBezTo>
                    <a:pt x="1298" y="678"/>
                    <a:pt x="1298" y="678"/>
                    <a:pt x="1298" y="678"/>
                  </a:cubicBezTo>
                  <a:cubicBezTo>
                    <a:pt x="1299" y="679"/>
                    <a:pt x="1299" y="679"/>
                    <a:pt x="1300" y="680"/>
                  </a:cubicBezTo>
                  <a:cubicBezTo>
                    <a:pt x="1302" y="689"/>
                    <a:pt x="1293" y="721"/>
                    <a:pt x="1282" y="731"/>
                  </a:cubicBezTo>
                  <a:cubicBezTo>
                    <a:pt x="1277" y="736"/>
                    <a:pt x="1269" y="739"/>
                    <a:pt x="1262" y="742"/>
                  </a:cubicBezTo>
                  <a:cubicBezTo>
                    <a:pt x="1253" y="745"/>
                    <a:pt x="1246" y="748"/>
                    <a:pt x="1246" y="753"/>
                  </a:cubicBezTo>
                  <a:cubicBezTo>
                    <a:pt x="1246" y="761"/>
                    <a:pt x="1228" y="765"/>
                    <a:pt x="1219" y="765"/>
                  </a:cubicBezTo>
                  <a:close/>
                  <a:moveTo>
                    <a:pt x="1298" y="679"/>
                  </a:moveTo>
                  <a:cubicBezTo>
                    <a:pt x="1295" y="679"/>
                    <a:pt x="1292" y="687"/>
                    <a:pt x="1288" y="694"/>
                  </a:cubicBezTo>
                  <a:cubicBezTo>
                    <a:pt x="1285" y="699"/>
                    <a:pt x="1283" y="704"/>
                    <a:pt x="1280" y="709"/>
                  </a:cubicBezTo>
                  <a:cubicBezTo>
                    <a:pt x="1274" y="718"/>
                    <a:pt x="1266" y="724"/>
                    <a:pt x="1258" y="729"/>
                  </a:cubicBezTo>
                  <a:cubicBezTo>
                    <a:pt x="1251" y="734"/>
                    <a:pt x="1244" y="739"/>
                    <a:pt x="1241" y="746"/>
                  </a:cubicBezTo>
                  <a:cubicBezTo>
                    <a:pt x="1238" y="754"/>
                    <a:pt x="1227" y="757"/>
                    <a:pt x="1220" y="760"/>
                  </a:cubicBezTo>
                  <a:cubicBezTo>
                    <a:pt x="1217" y="761"/>
                    <a:pt x="1214" y="762"/>
                    <a:pt x="1213" y="762"/>
                  </a:cubicBezTo>
                  <a:cubicBezTo>
                    <a:pt x="1213" y="762"/>
                    <a:pt x="1213" y="762"/>
                    <a:pt x="1213" y="762"/>
                  </a:cubicBezTo>
                  <a:cubicBezTo>
                    <a:pt x="1214" y="763"/>
                    <a:pt x="1215" y="764"/>
                    <a:pt x="1219" y="764"/>
                  </a:cubicBezTo>
                  <a:cubicBezTo>
                    <a:pt x="1229" y="764"/>
                    <a:pt x="1245" y="759"/>
                    <a:pt x="1245" y="753"/>
                  </a:cubicBezTo>
                  <a:cubicBezTo>
                    <a:pt x="1245" y="748"/>
                    <a:pt x="1252" y="745"/>
                    <a:pt x="1261" y="741"/>
                  </a:cubicBezTo>
                  <a:cubicBezTo>
                    <a:pt x="1268" y="738"/>
                    <a:pt x="1276" y="735"/>
                    <a:pt x="1282" y="730"/>
                  </a:cubicBezTo>
                  <a:cubicBezTo>
                    <a:pt x="1293" y="720"/>
                    <a:pt x="1300" y="688"/>
                    <a:pt x="1299" y="681"/>
                  </a:cubicBezTo>
                  <a:cubicBezTo>
                    <a:pt x="1299" y="680"/>
                    <a:pt x="1298" y="679"/>
                    <a:pt x="1298" y="679"/>
                  </a:cubicBezTo>
                  <a:cubicBezTo>
                    <a:pt x="1298" y="679"/>
                    <a:pt x="1298" y="679"/>
                    <a:pt x="1298" y="679"/>
                  </a:cubicBezTo>
                  <a:close/>
                  <a:moveTo>
                    <a:pt x="36" y="704"/>
                  </a:moveTo>
                  <a:cubicBezTo>
                    <a:pt x="36" y="704"/>
                    <a:pt x="36" y="704"/>
                    <a:pt x="36" y="704"/>
                  </a:cubicBezTo>
                  <a:cubicBezTo>
                    <a:pt x="24" y="704"/>
                    <a:pt x="9" y="702"/>
                    <a:pt x="8" y="702"/>
                  </a:cubicBezTo>
                  <a:cubicBezTo>
                    <a:pt x="6" y="701"/>
                    <a:pt x="3" y="700"/>
                    <a:pt x="0" y="699"/>
                  </a:cubicBezTo>
                  <a:cubicBezTo>
                    <a:pt x="0" y="699"/>
                    <a:pt x="0" y="699"/>
                    <a:pt x="0" y="699"/>
                  </a:cubicBezTo>
                  <a:cubicBezTo>
                    <a:pt x="0" y="698"/>
                    <a:pt x="0" y="698"/>
                    <a:pt x="0" y="698"/>
                  </a:cubicBezTo>
                  <a:cubicBezTo>
                    <a:pt x="1" y="697"/>
                    <a:pt x="1" y="696"/>
                    <a:pt x="1" y="695"/>
                  </a:cubicBezTo>
                  <a:cubicBezTo>
                    <a:pt x="1" y="694"/>
                    <a:pt x="1" y="694"/>
                    <a:pt x="1" y="694"/>
                  </a:cubicBezTo>
                  <a:cubicBezTo>
                    <a:pt x="2" y="692"/>
                    <a:pt x="5" y="691"/>
                    <a:pt x="8" y="691"/>
                  </a:cubicBezTo>
                  <a:cubicBezTo>
                    <a:pt x="10" y="691"/>
                    <a:pt x="12" y="693"/>
                    <a:pt x="12" y="694"/>
                  </a:cubicBezTo>
                  <a:cubicBezTo>
                    <a:pt x="12" y="695"/>
                    <a:pt x="12" y="696"/>
                    <a:pt x="13" y="696"/>
                  </a:cubicBezTo>
                  <a:cubicBezTo>
                    <a:pt x="14" y="697"/>
                    <a:pt x="15" y="697"/>
                    <a:pt x="16" y="697"/>
                  </a:cubicBezTo>
                  <a:cubicBezTo>
                    <a:pt x="17" y="697"/>
                    <a:pt x="18" y="697"/>
                    <a:pt x="18" y="696"/>
                  </a:cubicBezTo>
                  <a:cubicBezTo>
                    <a:pt x="18" y="695"/>
                    <a:pt x="18" y="695"/>
                    <a:pt x="18" y="695"/>
                  </a:cubicBezTo>
                  <a:cubicBezTo>
                    <a:pt x="17" y="694"/>
                    <a:pt x="17" y="693"/>
                    <a:pt x="17" y="692"/>
                  </a:cubicBezTo>
                  <a:cubicBezTo>
                    <a:pt x="17" y="691"/>
                    <a:pt x="19" y="690"/>
                    <a:pt x="20" y="690"/>
                  </a:cubicBezTo>
                  <a:cubicBezTo>
                    <a:pt x="22" y="688"/>
                    <a:pt x="23" y="688"/>
                    <a:pt x="22" y="687"/>
                  </a:cubicBezTo>
                  <a:cubicBezTo>
                    <a:pt x="22" y="686"/>
                    <a:pt x="21" y="685"/>
                    <a:pt x="20" y="685"/>
                  </a:cubicBezTo>
                  <a:cubicBezTo>
                    <a:pt x="19" y="684"/>
                    <a:pt x="19" y="684"/>
                    <a:pt x="19" y="684"/>
                  </a:cubicBezTo>
                  <a:cubicBezTo>
                    <a:pt x="21" y="684"/>
                    <a:pt x="21" y="684"/>
                    <a:pt x="21" y="684"/>
                  </a:cubicBezTo>
                  <a:cubicBezTo>
                    <a:pt x="21" y="684"/>
                    <a:pt x="21" y="684"/>
                    <a:pt x="22" y="684"/>
                  </a:cubicBezTo>
                  <a:cubicBezTo>
                    <a:pt x="23" y="683"/>
                    <a:pt x="25" y="683"/>
                    <a:pt x="26" y="683"/>
                  </a:cubicBezTo>
                  <a:cubicBezTo>
                    <a:pt x="27" y="683"/>
                    <a:pt x="29" y="683"/>
                    <a:pt x="30" y="685"/>
                  </a:cubicBezTo>
                  <a:cubicBezTo>
                    <a:pt x="31" y="686"/>
                    <a:pt x="35" y="688"/>
                    <a:pt x="37" y="688"/>
                  </a:cubicBezTo>
                  <a:cubicBezTo>
                    <a:pt x="38" y="688"/>
                    <a:pt x="38" y="688"/>
                    <a:pt x="38" y="688"/>
                  </a:cubicBezTo>
                  <a:cubicBezTo>
                    <a:pt x="39" y="688"/>
                    <a:pt x="39" y="688"/>
                    <a:pt x="39" y="688"/>
                  </a:cubicBezTo>
                  <a:cubicBezTo>
                    <a:pt x="42" y="688"/>
                    <a:pt x="47" y="691"/>
                    <a:pt x="47" y="693"/>
                  </a:cubicBezTo>
                  <a:cubicBezTo>
                    <a:pt x="47" y="694"/>
                    <a:pt x="47" y="695"/>
                    <a:pt x="46" y="697"/>
                  </a:cubicBezTo>
                  <a:cubicBezTo>
                    <a:pt x="46" y="699"/>
                    <a:pt x="46" y="702"/>
                    <a:pt x="46" y="703"/>
                  </a:cubicBezTo>
                  <a:cubicBezTo>
                    <a:pt x="46" y="703"/>
                    <a:pt x="46" y="703"/>
                    <a:pt x="46" y="703"/>
                  </a:cubicBezTo>
                  <a:cubicBezTo>
                    <a:pt x="46" y="703"/>
                    <a:pt x="46" y="703"/>
                    <a:pt x="46" y="703"/>
                  </a:cubicBezTo>
                  <a:cubicBezTo>
                    <a:pt x="43" y="704"/>
                    <a:pt x="40" y="704"/>
                    <a:pt x="36" y="704"/>
                  </a:cubicBezTo>
                  <a:close/>
                  <a:moveTo>
                    <a:pt x="1" y="698"/>
                  </a:moveTo>
                  <a:cubicBezTo>
                    <a:pt x="4" y="699"/>
                    <a:pt x="7" y="700"/>
                    <a:pt x="8" y="701"/>
                  </a:cubicBezTo>
                  <a:cubicBezTo>
                    <a:pt x="9" y="701"/>
                    <a:pt x="24" y="703"/>
                    <a:pt x="36" y="703"/>
                  </a:cubicBezTo>
                  <a:cubicBezTo>
                    <a:pt x="36" y="703"/>
                    <a:pt x="36" y="703"/>
                    <a:pt x="36" y="703"/>
                  </a:cubicBezTo>
                  <a:cubicBezTo>
                    <a:pt x="40" y="703"/>
                    <a:pt x="43" y="703"/>
                    <a:pt x="45" y="702"/>
                  </a:cubicBezTo>
                  <a:cubicBezTo>
                    <a:pt x="45" y="701"/>
                    <a:pt x="45" y="699"/>
                    <a:pt x="45" y="696"/>
                  </a:cubicBezTo>
                  <a:cubicBezTo>
                    <a:pt x="46" y="695"/>
                    <a:pt x="46" y="694"/>
                    <a:pt x="46" y="693"/>
                  </a:cubicBezTo>
                  <a:cubicBezTo>
                    <a:pt x="46" y="691"/>
                    <a:pt x="41" y="689"/>
                    <a:pt x="39" y="689"/>
                  </a:cubicBezTo>
                  <a:cubicBezTo>
                    <a:pt x="39" y="689"/>
                    <a:pt x="39" y="689"/>
                    <a:pt x="38" y="689"/>
                  </a:cubicBezTo>
                  <a:cubicBezTo>
                    <a:pt x="37" y="689"/>
                    <a:pt x="37" y="689"/>
                    <a:pt x="37" y="689"/>
                  </a:cubicBezTo>
                  <a:cubicBezTo>
                    <a:pt x="34" y="689"/>
                    <a:pt x="31" y="687"/>
                    <a:pt x="29" y="685"/>
                  </a:cubicBezTo>
                  <a:cubicBezTo>
                    <a:pt x="29" y="685"/>
                    <a:pt x="27" y="684"/>
                    <a:pt x="26" y="684"/>
                  </a:cubicBezTo>
                  <a:cubicBezTo>
                    <a:pt x="25" y="684"/>
                    <a:pt x="23" y="684"/>
                    <a:pt x="22" y="685"/>
                  </a:cubicBezTo>
                  <a:cubicBezTo>
                    <a:pt x="23" y="686"/>
                    <a:pt x="23" y="686"/>
                    <a:pt x="23" y="686"/>
                  </a:cubicBezTo>
                  <a:cubicBezTo>
                    <a:pt x="24" y="688"/>
                    <a:pt x="22" y="689"/>
                    <a:pt x="21" y="690"/>
                  </a:cubicBezTo>
                  <a:cubicBezTo>
                    <a:pt x="20" y="691"/>
                    <a:pt x="18" y="692"/>
                    <a:pt x="18" y="693"/>
                  </a:cubicBezTo>
                  <a:cubicBezTo>
                    <a:pt x="18" y="693"/>
                    <a:pt x="18" y="694"/>
                    <a:pt x="19" y="694"/>
                  </a:cubicBezTo>
                  <a:cubicBezTo>
                    <a:pt x="19" y="695"/>
                    <a:pt x="19" y="696"/>
                    <a:pt x="19" y="697"/>
                  </a:cubicBezTo>
                  <a:cubicBezTo>
                    <a:pt x="19" y="698"/>
                    <a:pt x="17" y="698"/>
                    <a:pt x="16" y="698"/>
                  </a:cubicBezTo>
                  <a:cubicBezTo>
                    <a:pt x="15" y="698"/>
                    <a:pt x="13" y="698"/>
                    <a:pt x="12" y="697"/>
                  </a:cubicBezTo>
                  <a:cubicBezTo>
                    <a:pt x="11" y="697"/>
                    <a:pt x="11" y="696"/>
                    <a:pt x="11" y="694"/>
                  </a:cubicBezTo>
                  <a:cubicBezTo>
                    <a:pt x="11" y="693"/>
                    <a:pt x="9" y="692"/>
                    <a:pt x="8" y="692"/>
                  </a:cubicBezTo>
                  <a:cubicBezTo>
                    <a:pt x="5" y="692"/>
                    <a:pt x="3" y="693"/>
                    <a:pt x="2" y="694"/>
                  </a:cubicBezTo>
                  <a:cubicBezTo>
                    <a:pt x="2" y="695"/>
                    <a:pt x="2" y="695"/>
                    <a:pt x="2" y="695"/>
                  </a:cubicBezTo>
                  <a:cubicBezTo>
                    <a:pt x="2" y="696"/>
                    <a:pt x="2" y="697"/>
                    <a:pt x="1" y="698"/>
                  </a:cubicBezTo>
                  <a:close/>
                  <a:moveTo>
                    <a:pt x="430" y="379"/>
                  </a:moveTo>
                  <a:cubicBezTo>
                    <a:pt x="426" y="379"/>
                    <a:pt x="423" y="378"/>
                    <a:pt x="421" y="375"/>
                  </a:cubicBezTo>
                  <a:cubicBezTo>
                    <a:pt x="418" y="373"/>
                    <a:pt x="417" y="370"/>
                    <a:pt x="418" y="367"/>
                  </a:cubicBezTo>
                  <a:cubicBezTo>
                    <a:pt x="420" y="362"/>
                    <a:pt x="426" y="359"/>
                    <a:pt x="432" y="359"/>
                  </a:cubicBezTo>
                  <a:cubicBezTo>
                    <a:pt x="433" y="359"/>
                    <a:pt x="434" y="359"/>
                    <a:pt x="435" y="359"/>
                  </a:cubicBezTo>
                  <a:cubicBezTo>
                    <a:pt x="442" y="361"/>
                    <a:pt x="450" y="366"/>
                    <a:pt x="450" y="368"/>
                  </a:cubicBezTo>
                  <a:cubicBezTo>
                    <a:pt x="450" y="369"/>
                    <a:pt x="450" y="370"/>
                    <a:pt x="448" y="370"/>
                  </a:cubicBezTo>
                  <a:cubicBezTo>
                    <a:pt x="447" y="370"/>
                    <a:pt x="445" y="372"/>
                    <a:pt x="442" y="373"/>
                  </a:cubicBezTo>
                  <a:cubicBezTo>
                    <a:pt x="439" y="376"/>
                    <a:pt x="434" y="379"/>
                    <a:pt x="430" y="379"/>
                  </a:cubicBezTo>
                  <a:close/>
                  <a:moveTo>
                    <a:pt x="432" y="360"/>
                  </a:moveTo>
                  <a:cubicBezTo>
                    <a:pt x="426" y="360"/>
                    <a:pt x="421" y="363"/>
                    <a:pt x="419" y="367"/>
                  </a:cubicBezTo>
                  <a:cubicBezTo>
                    <a:pt x="418" y="370"/>
                    <a:pt x="419" y="372"/>
                    <a:pt x="421" y="375"/>
                  </a:cubicBezTo>
                  <a:cubicBezTo>
                    <a:pt x="424" y="377"/>
                    <a:pt x="427" y="378"/>
                    <a:pt x="430" y="378"/>
                  </a:cubicBezTo>
                  <a:cubicBezTo>
                    <a:pt x="434" y="378"/>
                    <a:pt x="438" y="375"/>
                    <a:pt x="442" y="373"/>
                  </a:cubicBezTo>
                  <a:cubicBezTo>
                    <a:pt x="444" y="371"/>
                    <a:pt x="446" y="369"/>
                    <a:pt x="448" y="369"/>
                  </a:cubicBezTo>
                  <a:cubicBezTo>
                    <a:pt x="448" y="369"/>
                    <a:pt x="449" y="369"/>
                    <a:pt x="449" y="368"/>
                  </a:cubicBezTo>
                  <a:cubicBezTo>
                    <a:pt x="449" y="367"/>
                    <a:pt x="443" y="363"/>
                    <a:pt x="435" y="360"/>
                  </a:cubicBezTo>
                  <a:cubicBezTo>
                    <a:pt x="434" y="360"/>
                    <a:pt x="433" y="360"/>
                    <a:pt x="432" y="360"/>
                  </a:cubicBezTo>
                  <a:close/>
                  <a:moveTo>
                    <a:pt x="546" y="332"/>
                  </a:moveTo>
                  <a:cubicBezTo>
                    <a:pt x="540" y="332"/>
                    <a:pt x="533" y="331"/>
                    <a:pt x="526" y="330"/>
                  </a:cubicBezTo>
                  <a:cubicBezTo>
                    <a:pt x="523" y="329"/>
                    <a:pt x="519" y="329"/>
                    <a:pt x="517" y="329"/>
                  </a:cubicBezTo>
                  <a:cubicBezTo>
                    <a:pt x="511" y="328"/>
                    <a:pt x="499" y="326"/>
                    <a:pt x="497" y="321"/>
                  </a:cubicBezTo>
                  <a:cubicBezTo>
                    <a:pt x="497" y="320"/>
                    <a:pt x="497" y="319"/>
                    <a:pt x="499" y="317"/>
                  </a:cubicBezTo>
                  <a:cubicBezTo>
                    <a:pt x="500" y="317"/>
                    <a:pt x="500" y="316"/>
                    <a:pt x="499" y="314"/>
                  </a:cubicBezTo>
                  <a:cubicBezTo>
                    <a:pt x="498" y="311"/>
                    <a:pt x="491" y="308"/>
                    <a:pt x="489" y="308"/>
                  </a:cubicBezTo>
                  <a:cubicBezTo>
                    <a:pt x="488" y="308"/>
                    <a:pt x="488" y="308"/>
                    <a:pt x="487" y="308"/>
                  </a:cubicBezTo>
                  <a:cubicBezTo>
                    <a:pt x="487" y="308"/>
                    <a:pt x="487" y="309"/>
                    <a:pt x="488" y="309"/>
                  </a:cubicBezTo>
                  <a:cubicBezTo>
                    <a:pt x="489" y="312"/>
                    <a:pt x="489" y="315"/>
                    <a:pt x="489" y="316"/>
                  </a:cubicBezTo>
                  <a:cubicBezTo>
                    <a:pt x="488" y="318"/>
                    <a:pt x="485" y="317"/>
                    <a:pt x="481" y="315"/>
                  </a:cubicBezTo>
                  <a:cubicBezTo>
                    <a:pt x="478" y="313"/>
                    <a:pt x="480" y="310"/>
                    <a:pt x="480" y="308"/>
                  </a:cubicBezTo>
                  <a:cubicBezTo>
                    <a:pt x="481" y="306"/>
                    <a:pt x="481" y="305"/>
                    <a:pt x="481" y="305"/>
                  </a:cubicBezTo>
                  <a:cubicBezTo>
                    <a:pt x="481" y="304"/>
                    <a:pt x="480" y="304"/>
                    <a:pt x="479" y="304"/>
                  </a:cubicBezTo>
                  <a:cubicBezTo>
                    <a:pt x="478" y="304"/>
                    <a:pt x="477" y="304"/>
                    <a:pt x="476" y="304"/>
                  </a:cubicBezTo>
                  <a:cubicBezTo>
                    <a:pt x="472" y="304"/>
                    <a:pt x="467" y="304"/>
                    <a:pt x="465" y="301"/>
                  </a:cubicBezTo>
                  <a:cubicBezTo>
                    <a:pt x="464" y="300"/>
                    <a:pt x="463" y="298"/>
                    <a:pt x="464" y="295"/>
                  </a:cubicBezTo>
                  <a:cubicBezTo>
                    <a:pt x="465" y="290"/>
                    <a:pt x="470" y="289"/>
                    <a:pt x="475" y="289"/>
                  </a:cubicBezTo>
                  <a:cubicBezTo>
                    <a:pt x="479" y="289"/>
                    <a:pt x="482" y="288"/>
                    <a:pt x="482" y="286"/>
                  </a:cubicBezTo>
                  <a:cubicBezTo>
                    <a:pt x="482" y="281"/>
                    <a:pt x="485" y="280"/>
                    <a:pt x="488" y="280"/>
                  </a:cubicBezTo>
                  <a:cubicBezTo>
                    <a:pt x="490" y="279"/>
                    <a:pt x="491" y="279"/>
                    <a:pt x="491" y="277"/>
                  </a:cubicBezTo>
                  <a:cubicBezTo>
                    <a:pt x="490" y="275"/>
                    <a:pt x="488" y="273"/>
                    <a:pt x="486" y="271"/>
                  </a:cubicBezTo>
                  <a:cubicBezTo>
                    <a:pt x="484" y="270"/>
                    <a:pt x="483" y="269"/>
                    <a:pt x="483" y="268"/>
                  </a:cubicBezTo>
                  <a:cubicBezTo>
                    <a:pt x="483" y="267"/>
                    <a:pt x="484" y="267"/>
                    <a:pt x="486" y="267"/>
                  </a:cubicBezTo>
                  <a:cubicBezTo>
                    <a:pt x="491" y="267"/>
                    <a:pt x="494" y="266"/>
                    <a:pt x="495" y="264"/>
                  </a:cubicBezTo>
                  <a:cubicBezTo>
                    <a:pt x="496" y="263"/>
                    <a:pt x="496" y="262"/>
                    <a:pt x="496" y="260"/>
                  </a:cubicBezTo>
                  <a:cubicBezTo>
                    <a:pt x="496" y="259"/>
                    <a:pt x="496" y="259"/>
                    <a:pt x="497" y="258"/>
                  </a:cubicBezTo>
                  <a:cubicBezTo>
                    <a:pt x="498" y="257"/>
                    <a:pt x="500" y="257"/>
                    <a:pt x="502" y="257"/>
                  </a:cubicBezTo>
                  <a:cubicBezTo>
                    <a:pt x="505" y="257"/>
                    <a:pt x="508" y="257"/>
                    <a:pt x="509" y="255"/>
                  </a:cubicBezTo>
                  <a:cubicBezTo>
                    <a:pt x="509" y="255"/>
                    <a:pt x="509" y="254"/>
                    <a:pt x="509" y="253"/>
                  </a:cubicBezTo>
                  <a:cubicBezTo>
                    <a:pt x="509" y="250"/>
                    <a:pt x="512" y="247"/>
                    <a:pt x="515" y="246"/>
                  </a:cubicBezTo>
                  <a:cubicBezTo>
                    <a:pt x="515" y="246"/>
                    <a:pt x="515" y="246"/>
                    <a:pt x="515" y="246"/>
                  </a:cubicBezTo>
                  <a:cubicBezTo>
                    <a:pt x="515" y="246"/>
                    <a:pt x="514" y="246"/>
                    <a:pt x="513" y="246"/>
                  </a:cubicBezTo>
                  <a:cubicBezTo>
                    <a:pt x="509" y="245"/>
                    <a:pt x="508" y="243"/>
                    <a:pt x="508" y="242"/>
                  </a:cubicBezTo>
                  <a:cubicBezTo>
                    <a:pt x="508" y="239"/>
                    <a:pt x="511" y="235"/>
                    <a:pt x="515" y="234"/>
                  </a:cubicBezTo>
                  <a:cubicBezTo>
                    <a:pt x="516" y="234"/>
                    <a:pt x="516" y="234"/>
                    <a:pt x="516" y="234"/>
                  </a:cubicBezTo>
                  <a:cubicBezTo>
                    <a:pt x="521" y="233"/>
                    <a:pt x="526" y="232"/>
                    <a:pt x="527" y="230"/>
                  </a:cubicBezTo>
                  <a:cubicBezTo>
                    <a:pt x="528" y="230"/>
                    <a:pt x="528" y="229"/>
                    <a:pt x="527" y="229"/>
                  </a:cubicBezTo>
                  <a:cubicBezTo>
                    <a:pt x="526" y="226"/>
                    <a:pt x="528" y="225"/>
                    <a:pt x="530" y="223"/>
                  </a:cubicBezTo>
                  <a:cubicBezTo>
                    <a:pt x="531" y="222"/>
                    <a:pt x="532" y="221"/>
                    <a:pt x="532" y="220"/>
                  </a:cubicBezTo>
                  <a:cubicBezTo>
                    <a:pt x="532" y="220"/>
                    <a:pt x="532" y="220"/>
                    <a:pt x="532" y="219"/>
                  </a:cubicBezTo>
                  <a:cubicBezTo>
                    <a:pt x="531" y="219"/>
                    <a:pt x="531" y="218"/>
                    <a:pt x="531" y="218"/>
                  </a:cubicBezTo>
                  <a:cubicBezTo>
                    <a:pt x="531" y="217"/>
                    <a:pt x="533" y="216"/>
                    <a:pt x="536" y="215"/>
                  </a:cubicBezTo>
                  <a:cubicBezTo>
                    <a:pt x="538" y="214"/>
                    <a:pt x="541" y="213"/>
                    <a:pt x="541" y="212"/>
                  </a:cubicBezTo>
                  <a:cubicBezTo>
                    <a:pt x="541" y="211"/>
                    <a:pt x="541" y="211"/>
                    <a:pt x="540" y="210"/>
                  </a:cubicBezTo>
                  <a:cubicBezTo>
                    <a:pt x="537" y="207"/>
                    <a:pt x="536" y="203"/>
                    <a:pt x="537" y="201"/>
                  </a:cubicBezTo>
                  <a:cubicBezTo>
                    <a:pt x="538" y="199"/>
                    <a:pt x="540" y="198"/>
                    <a:pt x="541" y="198"/>
                  </a:cubicBezTo>
                  <a:cubicBezTo>
                    <a:pt x="542" y="198"/>
                    <a:pt x="543" y="198"/>
                    <a:pt x="544" y="199"/>
                  </a:cubicBezTo>
                  <a:cubicBezTo>
                    <a:pt x="545" y="200"/>
                    <a:pt x="546" y="201"/>
                    <a:pt x="548" y="201"/>
                  </a:cubicBezTo>
                  <a:cubicBezTo>
                    <a:pt x="552" y="201"/>
                    <a:pt x="556" y="198"/>
                    <a:pt x="556" y="195"/>
                  </a:cubicBezTo>
                  <a:cubicBezTo>
                    <a:pt x="556" y="193"/>
                    <a:pt x="559" y="192"/>
                    <a:pt x="562" y="191"/>
                  </a:cubicBezTo>
                  <a:cubicBezTo>
                    <a:pt x="564" y="190"/>
                    <a:pt x="566" y="190"/>
                    <a:pt x="567" y="188"/>
                  </a:cubicBezTo>
                  <a:cubicBezTo>
                    <a:pt x="568" y="185"/>
                    <a:pt x="579" y="180"/>
                    <a:pt x="585" y="180"/>
                  </a:cubicBezTo>
                  <a:cubicBezTo>
                    <a:pt x="586" y="180"/>
                    <a:pt x="586" y="180"/>
                    <a:pt x="586" y="180"/>
                  </a:cubicBezTo>
                  <a:cubicBezTo>
                    <a:pt x="589" y="180"/>
                    <a:pt x="592" y="178"/>
                    <a:pt x="595" y="177"/>
                  </a:cubicBezTo>
                  <a:cubicBezTo>
                    <a:pt x="598" y="176"/>
                    <a:pt x="601" y="174"/>
                    <a:pt x="604" y="175"/>
                  </a:cubicBezTo>
                  <a:cubicBezTo>
                    <a:pt x="606" y="175"/>
                    <a:pt x="609" y="173"/>
                    <a:pt x="612" y="172"/>
                  </a:cubicBezTo>
                  <a:cubicBezTo>
                    <a:pt x="615" y="170"/>
                    <a:pt x="618" y="168"/>
                    <a:pt x="622" y="168"/>
                  </a:cubicBezTo>
                  <a:cubicBezTo>
                    <a:pt x="623" y="168"/>
                    <a:pt x="625" y="169"/>
                    <a:pt x="626" y="169"/>
                  </a:cubicBezTo>
                  <a:cubicBezTo>
                    <a:pt x="628" y="171"/>
                    <a:pt x="631" y="172"/>
                    <a:pt x="635" y="172"/>
                  </a:cubicBezTo>
                  <a:cubicBezTo>
                    <a:pt x="642" y="172"/>
                    <a:pt x="650" y="169"/>
                    <a:pt x="654" y="167"/>
                  </a:cubicBezTo>
                  <a:cubicBezTo>
                    <a:pt x="658" y="165"/>
                    <a:pt x="661" y="165"/>
                    <a:pt x="665" y="165"/>
                  </a:cubicBezTo>
                  <a:cubicBezTo>
                    <a:pt x="670" y="164"/>
                    <a:pt x="674" y="164"/>
                    <a:pt x="678" y="161"/>
                  </a:cubicBezTo>
                  <a:cubicBezTo>
                    <a:pt x="683" y="157"/>
                    <a:pt x="700" y="150"/>
                    <a:pt x="713" y="150"/>
                  </a:cubicBezTo>
                  <a:cubicBezTo>
                    <a:pt x="717" y="150"/>
                    <a:pt x="721" y="151"/>
                    <a:pt x="723" y="153"/>
                  </a:cubicBezTo>
                  <a:cubicBezTo>
                    <a:pt x="726" y="154"/>
                    <a:pt x="726" y="157"/>
                    <a:pt x="726" y="159"/>
                  </a:cubicBezTo>
                  <a:cubicBezTo>
                    <a:pt x="724" y="166"/>
                    <a:pt x="708" y="174"/>
                    <a:pt x="686" y="179"/>
                  </a:cubicBezTo>
                  <a:cubicBezTo>
                    <a:pt x="658" y="186"/>
                    <a:pt x="608" y="203"/>
                    <a:pt x="605" y="210"/>
                  </a:cubicBezTo>
                  <a:cubicBezTo>
                    <a:pt x="603" y="214"/>
                    <a:pt x="599" y="215"/>
                    <a:pt x="594" y="215"/>
                  </a:cubicBezTo>
                  <a:cubicBezTo>
                    <a:pt x="591" y="216"/>
                    <a:pt x="588" y="217"/>
                    <a:pt x="586" y="219"/>
                  </a:cubicBezTo>
                  <a:cubicBezTo>
                    <a:pt x="583" y="222"/>
                    <a:pt x="579" y="222"/>
                    <a:pt x="575" y="222"/>
                  </a:cubicBezTo>
                  <a:cubicBezTo>
                    <a:pt x="574" y="222"/>
                    <a:pt x="572" y="222"/>
                    <a:pt x="572" y="223"/>
                  </a:cubicBezTo>
                  <a:cubicBezTo>
                    <a:pt x="572" y="223"/>
                    <a:pt x="572" y="223"/>
                    <a:pt x="572" y="223"/>
                  </a:cubicBezTo>
                  <a:cubicBezTo>
                    <a:pt x="573" y="225"/>
                    <a:pt x="573" y="229"/>
                    <a:pt x="571" y="233"/>
                  </a:cubicBezTo>
                  <a:cubicBezTo>
                    <a:pt x="569" y="235"/>
                    <a:pt x="567" y="237"/>
                    <a:pt x="563" y="238"/>
                  </a:cubicBezTo>
                  <a:cubicBezTo>
                    <a:pt x="559" y="238"/>
                    <a:pt x="559" y="240"/>
                    <a:pt x="559" y="242"/>
                  </a:cubicBezTo>
                  <a:cubicBezTo>
                    <a:pt x="559" y="245"/>
                    <a:pt x="560" y="247"/>
                    <a:pt x="555" y="248"/>
                  </a:cubicBezTo>
                  <a:cubicBezTo>
                    <a:pt x="551" y="248"/>
                    <a:pt x="550" y="250"/>
                    <a:pt x="549" y="253"/>
                  </a:cubicBezTo>
                  <a:cubicBezTo>
                    <a:pt x="549" y="255"/>
                    <a:pt x="547" y="259"/>
                    <a:pt x="542" y="263"/>
                  </a:cubicBezTo>
                  <a:cubicBezTo>
                    <a:pt x="537" y="266"/>
                    <a:pt x="537" y="269"/>
                    <a:pt x="537" y="271"/>
                  </a:cubicBezTo>
                  <a:cubicBezTo>
                    <a:pt x="536" y="274"/>
                    <a:pt x="536" y="276"/>
                    <a:pt x="531" y="280"/>
                  </a:cubicBezTo>
                  <a:cubicBezTo>
                    <a:pt x="528" y="281"/>
                    <a:pt x="526" y="284"/>
                    <a:pt x="526" y="287"/>
                  </a:cubicBezTo>
                  <a:cubicBezTo>
                    <a:pt x="525" y="295"/>
                    <a:pt x="530" y="304"/>
                    <a:pt x="536" y="310"/>
                  </a:cubicBezTo>
                  <a:cubicBezTo>
                    <a:pt x="540" y="314"/>
                    <a:pt x="544" y="318"/>
                    <a:pt x="548" y="320"/>
                  </a:cubicBezTo>
                  <a:cubicBezTo>
                    <a:pt x="553" y="323"/>
                    <a:pt x="556" y="326"/>
                    <a:pt x="556" y="328"/>
                  </a:cubicBezTo>
                  <a:cubicBezTo>
                    <a:pt x="555" y="331"/>
                    <a:pt x="552" y="332"/>
                    <a:pt x="546" y="332"/>
                  </a:cubicBezTo>
                  <a:close/>
                  <a:moveTo>
                    <a:pt x="489" y="307"/>
                  </a:moveTo>
                  <a:cubicBezTo>
                    <a:pt x="492" y="307"/>
                    <a:pt x="499" y="310"/>
                    <a:pt x="500" y="314"/>
                  </a:cubicBezTo>
                  <a:cubicBezTo>
                    <a:pt x="501" y="316"/>
                    <a:pt x="500" y="317"/>
                    <a:pt x="499" y="318"/>
                  </a:cubicBezTo>
                  <a:cubicBezTo>
                    <a:pt x="498" y="319"/>
                    <a:pt x="498" y="320"/>
                    <a:pt x="498" y="321"/>
                  </a:cubicBezTo>
                  <a:cubicBezTo>
                    <a:pt x="499" y="324"/>
                    <a:pt x="510" y="327"/>
                    <a:pt x="517" y="328"/>
                  </a:cubicBezTo>
                  <a:cubicBezTo>
                    <a:pt x="519" y="328"/>
                    <a:pt x="523" y="328"/>
                    <a:pt x="526" y="329"/>
                  </a:cubicBezTo>
                  <a:cubicBezTo>
                    <a:pt x="533" y="330"/>
                    <a:pt x="541" y="331"/>
                    <a:pt x="546" y="331"/>
                  </a:cubicBezTo>
                  <a:cubicBezTo>
                    <a:pt x="552" y="331"/>
                    <a:pt x="555" y="330"/>
                    <a:pt x="555" y="328"/>
                  </a:cubicBezTo>
                  <a:cubicBezTo>
                    <a:pt x="555" y="326"/>
                    <a:pt x="552" y="324"/>
                    <a:pt x="547" y="321"/>
                  </a:cubicBezTo>
                  <a:cubicBezTo>
                    <a:pt x="544" y="318"/>
                    <a:pt x="539" y="315"/>
                    <a:pt x="535" y="311"/>
                  </a:cubicBezTo>
                  <a:cubicBezTo>
                    <a:pt x="529" y="305"/>
                    <a:pt x="524" y="295"/>
                    <a:pt x="525" y="287"/>
                  </a:cubicBezTo>
                  <a:cubicBezTo>
                    <a:pt x="525" y="283"/>
                    <a:pt x="527" y="281"/>
                    <a:pt x="530" y="279"/>
                  </a:cubicBezTo>
                  <a:cubicBezTo>
                    <a:pt x="535" y="276"/>
                    <a:pt x="535" y="273"/>
                    <a:pt x="536" y="271"/>
                  </a:cubicBezTo>
                  <a:cubicBezTo>
                    <a:pt x="536" y="268"/>
                    <a:pt x="536" y="266"/>
                    <a:pt x="542" y="262"/>
                  </a:cubicBezTo>
                  <a:cubicBezTo>
                    <a:pt x="547" y="258"/>
                    <a:pt x="548" y="255"/>
                    <a:pt x="548" y="252"/>
                  </a:cubicBezTo>
                  <a:cubicBezTo>
                    <a:pt x="549" y="249"/>
                    <a:pt x="550" y="247"/>
                    <a:pt x="555" y="247"/>
                  </a:cubicBezTo>
                  <a:cubicBezTo>
                    <a:pt x="559" y="246"/>
                    <a:pt x="558" y="245"/>
                    <a:pt x="558" y="243"/>
                  </a:cubicBezTo>
                  <a:cubicBezTo>
                    <a:pt x="558" y="240"/>
                    <a:pt x="558" y="238"/>
                    <a:pt x="562" y="237"/>
                  </a:cubicBezTo>
                  <a:cubicBezTo>
                    <a:pt x="566" y="236"/>
                    <a:pt x="569" y="234"/>
                    <a:pt x="570" y="232"/>
                  </a:cubicBezTo>
                  <a:cubicBezTo>
                    <a:pt x="571" y="229"/>
                    <a:pt x="572" y="225"/>
                    <a:pt x="571" y="223"/>
                  </a:cubicBezTo>
                  <a:cubicBezTo>
                    <a:pt x="571" y="222"/>
                    <a:pt x="571" y="222"/>
                    <a:pt x="571" y="222"/>
                  </a:cubicBezTo>
                  <a:cubicBezTo>
                    <a:pt x="572" y="221"/>
                    <a:pt x="573" y="221"/>
                    <a:pt x="575" y="221"/>
                  </a:cubicBezTo>
                  <a:cubicBezTo>
                    <a:pt x="578" y="221"/>
                    <a:pt x="582" y="221"/>
                    <a:pt x="585" y="218"/>
                  </a:cubicBezTo>
                  <a:cubicBezTo>
                    <a:pt x="587" y="216"/>
                    <a:pt x="591" y="215"/>
                    <a:pt x="594" y="214"/>
                  </a:cubicBezTo>
                  <a:cubicBezTo>
                    <a:pt x="598" y="214"/>
                    <a:pt x="602" y="213"/>
                    <a:pt x="604" y="209"/>
                  </a:cubicBezTo>
                  <a:cubicBezTo>
                    <a:pt x="608" y="201"/>
                    <a:pt x="660" y="184"/>
                    <a:pt x="685" y="178"/>
                  </a:cubicBezTo>
                  <a:cubicBezTo>
                    <a:pt x="707" y="173"/>
                    <a:pt x="723" y="165"/>
                    <a:pt x="725" y="159"/>
                  </a:cubicBezTo>
                  <a:cubicBezTo>
                    <a:pt x="725" y="157"/>
                    <a:pt x="725" y="155"/>
                    <a:pt x="723" y="153"/>
                  </a:cubicBezTo>
                  <a:cubicBezTo>
                    <a:pt x="720" y="152"/>
                    <a:pt x="717" y="151"/>
                    <a:pt x="713" y="151"/>
                  </a:cubicBezTo>
                  <a:cubicBezTo>
                    <a:pt x="700" y="151"/>
                    <a:pt x="683" y="158"/>
                    <a:pt x="679" y="162"/>
                  </a:cubicBezTo>
                  <a:cubicBezTo>
                    <a:pt x="675" y="165"/>
                    <a:pt x="670" y="165"/>
                    <a:pt x="665" y="166"/>
                  </a:cubicBezTo>
                  <a:cubicBezTo>
                    <a:pt x="661" y="166"/>
                    <a:pt x="658" y="166"/>
                    <a:pt x="655" y="168"/>
                  </a:cubicBezTo>
                  <a:cubicBezTo>
                    <a:pt x="651" y="170"/>
                    <a:pt x="643" y="173"/>
                    <a:pt x="635" y="173"/>
                  </a:cubicBezTo>
                  <a:cubicBezTo>
                    <a:pt x="631" y="173"/>
                    <a:pt x="628" y="172"/>
                    <a:pt x="625" y="170"/>
                  </a:cubicBezTo>
                  <a:cubicBezTo>
                    <a:pt x="624" y="169"/>
                    <a:pt x="623" y="169"/>
                    <a:pt x="622" y="169"/>
                  </a:cubicBezTo>
                  <a:cubicBezTo>
                    <a:pt x="618" y="169"/>
                    <a:pt x="615" y="171"/>
                    <a:pt x="612" y="173"/>
                  </a:cubicBezTo>
                  <a:cubicBezTo>
                    <a:pt x="609" y="174"/>
                    <a:pt x="607" y="176"/>
                    <a:pt x="604" y="176"/>
                  </a:cubicBezTo>
                  <a:cubicBezTo>
                    <a:pt x="602" y="175"/>
                    <a:pt x="599" y="177"/>
                    <a:pt x="596" y="178"/>
                  </a:cubicBezTo>
                  <a:cubicBezTo>
                    <a:pt x="593" y="179"/>
                    <a:pt x="589" y="181"/>
                    <a:pt x="586" y="181"/>
                  </a:cubicBezTo>
                  <a:cubicBezTo>
                    <a:pt x="580" y="180"/>
                    <a:pt x="568" y="185"/>
                    <a:pt x="568" y="188"/>
                  </a:cubicBezTo>
                  <a:cubicBezTo>
                    <a:pt x="567" y="190"/>
                    <a:pt x="565" y="191"/>
                    <a:pt x="562" y="192"/>
                  </a:cubicBezTo>
                  <a:cubicBezTo>
                    <a:pt x="559" y="193"/>
                    <a:pt x="557" y="193"/>
                    <a:pt x="557" y="195"/>
                  </a:cubicBezTo>
                  <a:cubicBezTo>
                    <a:pt x="557" y="198"/>
                    <a:pt x="552" y="202"/>
                    <a:pt x="548" y="202"/>
                  </a:cubicBezTo>
                  <a:cubicBezTo>
                    <a:pt x="546" y="202"/>
                    <a:pt x="544" y="201"/>
                    <a:pt x="543" y="200"/>
                  </a:cubicBezTo>
                  <a:cubicBezTo>
                    <a:pt x="543" y="199"/>
                    <a:pt x="542" y="199"/>
                    <a:pt x="541" y="199"/>
                  </a:cubicBezTo>
                  <a:cubicBezTo>
                    <a:pt x="540" y="199"/>
                    <a:pt x="539" y="200"/>
                    <a:pt x="538" y="201"/>
                  </a:cubicBezTo>
                  <a:cubicBezTo>
                    <a:pt x="538" y="203"/>
                    <a:pt x="538" y="206"/>
                    <a:pt x="540" y="209"/>
                  </a:cubicBezTo>
                  <a:cubicBezTo>
                    <a:pt x="542" y="210"/>
                    <a:pt x="542" y="211"/>
                    <a:pt x="542" y="212"/>
                  </a:cubicBezTo>
                  <a:cubicBezTo>
                    <a:pt x="542" y="214"/>
                    <a:pt x="539" y="215"/>
                    <a:pt x="536" y="216"/>
                  </a:cubicBezTo>
                  <a:cubicBezTo>
                    <a:pt x="534" y="217"/>
                    <a:pt x="532" y="217"/>
                    <a:pt x="532" y="218"/>
                  </a:cubicBezTo>
                  <a:cubicBezTo>
                    <a:pt x="532" y="218"/>
                    <a:pt x="532" y="218"/>
                    <a:pt x="532" y="219"/>
                  </a:cubicBezTo>
                  <a:cubicBezTo>
                    <a:pt x="533" y="219"/>
                    <a:pt x="533" y="220"/>
                    <a:pt x="533" y="220"/>
                  </a:cubicBezTo>
                  <a:cubicBezTo>
                    <a:pt x="533" y="222"/>
                    <a:pt x="532" y="223"/>
                    <a:pt x="530" y="224"/>
                  </a:cubicBezTo>
                  <a:cubicBezTo>
                    <a:pt x="528" y="226"/>
                    <a:pt x="527" y="227"/>
                    <a:pt x="528" y="228"/>
                  </a:cubicBezTo>
                  <a:cubicBezTo>
                    <a:pt x="529" y="229"/>
                    <a:pt x="529" y="230"/>
                    <a:pt x="528" y="231"/>
                  </a:cubicBezTo>
                  <a:cubicBezTo>
                    <a:pt x="527" y="233"/>
                    <a:pt x="522" y="234"/>
                    <a:pt x="517" y="235"/>
                  </a:cubicBezTo>
                  <a:cubicBezTo>
                    <a:pt x="515" y="235"/>
                    <a:pt x="515" y="235"/>
                    <a:pt x="515" y="235"/>
                  </a:cubicBezTo>
                  <a:cubicBezTo>
                    <a:pt x="512" y="236"/>
                    <a:pt x="509" y="239"/>
                    <a:pt x="509" y="242"/>
                  </a:cubicBezTo>
                  <a:cubicBezTo>
                    <a:pt x="509" y="243"/>
                    <a:pt x="511" y="244"/>
                    <a:pt x="513" y="245"/>
                  </a:cubicBezTo>
                  <a:cubicBezTo>
                    <a:pt x="516" y="245"/>
                    <a:pt x="517" y="245"/>
                    <a:pt x="517" y="246"/>
                  </a:cubicBezTo>
                  <a:cubicBezTo>
                    <a:pt x="517" y="246"/>
                    <a:pt x="516" y="246"/>
                    <a:pt x="515" y="247"/>
                  </a:cubicBezTo>
                  <a:cubicBezTo>
                    <a:pt x="513" y="248"/>
                    <a:pt x="510" y="250"/>
                    <a:pt x="510" y="253"/>
                  </a:cubicBezTo>
                  <a:cubicBezTo>
                    <a:pt x="510" y="254"/>
                    <a:pt x="510" y="255"/>
                    <a:pt x="509" y="256"/>
                  </a:cubicBezTo>
                  <a:cubicBezTo>
                    <a:pt x="508" y="257"/>
                    <a:pt x="505" y="258"/>
                    <a:pt x="502" y="258"/>
                  </a:cubicBezTo>
                  <a:cubicBezTo>
                    <a:pt x="500" y="258"/>
                    <a:pt x="498" y="258"/>
                    <a:pt x="497" y="259"/>
                  </a:cubicBezTo>
                  <a:cubicBezTo>
                    <a:pt x="497" y="259"/>
                    <a:pt x="497" y="259"/>
                    <a:pt x="497" y="260"/>
                  </a:cubicBezTo>
                  <a:cubicBezTo>
                    <a:pt x="497" y="262"/>
                    <a:pt x="497" y="263"/>
                    <a:pt x="496" y="265"/>
                  </a:cubicBezTo>
                  <a:cubicBezTo>
                    <a:pt x="494" y="267"/>
                    <a:pt x="491" y="268"/>
                    <a:pt x="486" y="268"/>
                  </a:cubicBezTo>
                  <a:cubicBezTo>
                    <a:pt x="484" y="268"/>
                    <a:pt x="484" y="268"/>
                    <a:pt x="484" y="268"/>
                  </a:cubicBezTo>
                  <a:cubicBezTo>
                    <a:pt x="484" y="268"/>
                    <a:pt x="486" y="270"/>
                    <a:pt x="487" y="271"/>
                  </a:cubicBezTo>
                  <a:cubicBezTo>
                    <a:pt x="489" y="273"/>
                    <a:pt x="491" y="275"/>
                    <a:pt x="492" y="277"/>
                  </a:cubicBezTo>
                  <a:cubicBezTo>
                    <a:pt x="492" y="279"/>
                    <a:pt x="490" y="280"/>
                    <a:pt x="488" y="281"/>
                  </a:cubicBezTo>
                  <a:cubicBezTo>
                    <a:pt x="486" y="281"/>
                    <a:pt x="483" y="282"/>
                    <a:pt x="483" y="286"/>
                  </a:cubicBezTo>
                  <a:cubicBezTo>
                    <a:pt x="483" y="289"/>
                    <a:pt x="479" y="290"/>
                    <a:pt x="475" y="290"/>
                  </a:cubicBezTo>
                  <a:cubicBezTo>
                    <a:pt x="471" y="290"/>
                    <a:pt x="466" y="290"/>
                    <a:pt x="465" y="295"/>
                  </a:cubicBezTo>
                  <a:cubicBezTo>
                    <a:pt x="464" y="297"/>
                    <a:pt x="465" y="299"/>
                    <a:pt x="466" y="300"/>
                  </a:cubicBezTo>
                  <a:cubicBezTo>
                    <a:pt x="467" y="303"/>
                    <a:pt x="472" y="303"/>
                    <a:pt x="476" y="303"/>
                  </a:cubicBezTo>
                  <a:cubicBezTo>
                    <a:pt x="477" y="303"/>
                    <a:pt x="478" y="303"/>
                    <a:pt x="479" y="303"/>
                  </a:cubicBezTo>
                  <a:cubicBezTo>
                    <a:pt x="481" y="303"/>
                    <a:pt x="481" y="304"/>
                    <a:pt x="482" y="304"/>
                  </a:cubicBezTo>
                  <a:cubicBezTo>
                    <a:pt x="483" y="305"/>
                    <a:pt x="482" y="307"/>
                    <a:pt x="481" y="308"/>
                  </a:cubicBezTo>
                  <a:cubicBezTo>
                    <a:pt x="481" y="310"/>
                    <a:pt x="480" y="312"/>
                    <a:pt x="482" y="314"/>
                  </a:cubicBezTo>
                  <a:cubicBezTo>
                    <a:pt x="485" y="316"/>
                    <a:pt x="487" y="317"/>
                    <a:pt x="488" y="315"/>
                  </a:cubicBezTo>
                  <a:cubicBezTo>
                    <a:pt x="488" y="314"/>
                    <a:pt x="488" y="312"/>
                    <a:pt x="487" y="310"/>
                  </a:cubicBezTo>
                  <a:cubicBezTo>
                    <a:pt x="486" y="309"/>
                    <a:pt x="486" y="308"/>
                    <a:pt x="487" y="307"/>
                  </a:cubicBezTo>
                  <a:cubicBezTo>
                    <a:pt x="487" y="307"/>
                    <a:pt x="488" y="307"/>
                    <a:pt x="489" y="307"/>
                  </a:cubicBezTo>
                  <a:close/>
                  <a:moveTo>
                    <a:pt x="2343" y="328"/>
                  </a:moveTo>
                  <a:cubicBezTo>
                    <a:pt x="2340" y="328"/>
                    <a:pt x="2338" y="328"/>
                    <a:pt x="2336" y="326"/>
                  </a:cubicBezTo>
                  <a:cubicBezTo>
                    <a:pt x="2335" y="326"/>
                    <a:pt x="2334" y="325"/>
                    <a:pt x="2333" y="325"/>
                  </a:cubicBezTo>
                  <a:cubicBezTo>
                    <a:pt x="2331" y="325"/>
                    <a:pt x="2329" y="326"/>
                    <a:pt x="2327" y="326"/>
                  </a:cubicBezTo>
                  <a:cubicBezTo>
                    <a:pt x="2325" y="327"/>
                    <a:pt x="2323" y="328"/>
                    <a:pt x="2321" y="328"/>
                  </a:cubicBezTo>
                  <a:cubicBezTo>
                    <a:pt x="2319" y="328"/>
                    <a:pt x="2318" y="328"/>
                    <a:pt x="2316" y="327"/>
                  </a:cubicBezTo>
                  <a:cubicBezTo>
                    <a:pt x="2314" y="326"/>
                    <a:pt x="2313" y="324"/>
                    <a:pt x="2314" y="323"/>
                  </a:cubicBezTo>
                  <a:cubicBezTo>
                    <a:pt x="2315" y="317"/>
                    <a:pt x="2332" y="309"/>
                    <a:pt x="2347" y="309"/>
                  </a:cubicBezTo>
                  <a:cubicBezTo>
                    <a:pt x="2348" y="309"/>
                    <a:pt x="2350" y="309"/>
                    <a:pt x="2351" y="310"/>
                  </a:cubicBezTo>
                  <a:cubicBezTo>
                    <a:pt x="2365" y="311"/>
                    <a:pt x="2371" y="316"/>
                    <a:pt x="2371" y="320"/>
                  </a:cubicBezTo>
                  <a:cubicBezTo>
                    <a:pt x="2371" y="321"/>
                    <a:pt x="2370" y="323"/>
                    <a:pt x="2367" y="323"/>
                  </a:cubicBezTo>
                  <a:cubicBezTo>
                    <a:pt x="2366" y="323"/>
                    <a:pt x="2364" y="324"/>
                    <a:pt x="2361" y="325"/>
                  </a:cubicBezTo>
                  <a:cubicBezTo>
                    <a:pt x="2356" y="326"/>
                    <a:pt x="2349" y="328"/>
                    <a:pt x="2343" y="328"/>
                  </a:cubicBezTo>
                  <a:close/>
                  <a:moveTo>
                    <a:pt x="2333" y="324"/>
                  </a:moveTo>
                  <a:cubicBezTo>
                    <a:pt x="2334" y="324"/>
                    <a:pt x="2336" y="325"/>
                    <a:pt x="2337" y="326"/>
                  </a:cubicBezTo>
                  <a:cubicBezTo>
                    <a:pt x="2339" y="327"/>
                    <a:pt x="2341" y="327"/>
                    <a:pt x="2343" y="327"/>
                  </a:cubicBezTo>
                  <a:cubicBezTo>
                    <a:pt x="2349" y="327"/>
                    <a:pt x="2355" y="325"/>
                    <a:pt x="2361" y="324"/>
                  </a:cubicBezTo>
                  <a:cubicBezTo>
                    <a:pt x="2363" y="323"/>
                    <a:pt x="2366" y="322"/>
                    <a:pt x="2367" y="322"/>
                  </a:cubicBezTo>
                  <a:cubicBezTo>
                    <a:pt x="2369" y="322"/>
                    <a:pt x="2370" y="321"/>
                    <a:pt x="2370" y="320"/>
                  </a:cubicBezTo>
                  <a:cubicBezTo>
                    <a:pt x="2370" y="317"/>
                    <a:pt x="2365" y="312"/>
                    <a:pt x="2351" y="311"/>
                  </a:cubicBezTo>
                  <a:cubicBezTo>
                    <a:pt x="2350" y="310"/>
                    <a:pt x="2348" y="310"/>
                    <a:pt x="2347" y="310"/>
                  </a:cubicBezTo>
                  <a:cubicBezTo>
                    <a:pt x="2332" y="310"/>
                    <a:pt x="2316" y="318"/>
                    <a:pt x="2315" y="323"/>
                  </a:cubicBezTo>
                  <a:cubicBezTo>
                    <a:pt x="2314" y="324"/>
                    <a:pt x="2315" y="325"/>
                    <a:pt x="2316" y="326"/>
                  </a:cubicBezTo>
                  <a:cubicBezTo>
                    <a:pt x="2318" y="327"/>
                    <a:pt x="2319" y="327"/>
                    <a:pt x="2321" y="327"/>
                  </a:cubicBezTo>
                  <a:cubicBezTo>
                    <a:pt x="2323" y="327"/>
                    <a:pt x="2325" y="326"/>
                    <a:pt x="2327" y="326"/>
                  </a:cubicBezTo>
                  <a:cubicBezTo>
                    <a:pt x="2329" y="325"/>
                    <a:pt x="2331" y="324"/>
                    <a:pt x="2333" y="324"/>
                  </a:cubicBezTo>
                  <a:close/>
                  <a:moveTo>
                    <a:pt x="876" y="274"/>
                  </a:moveTo>
                  <a:cubicBezTo>
                    <a:pt x="874" y="274"/>
                    <a:pt x="871" y="273"/>
                    <a:pt x="869" y="272"/>
                  </a:cubicBezTo>
                  <a:cubicBezTo>
                    <a:pt x="867" y="271"/>
                    <a:pt x="867" y="270"/>
                    <a:pt x="868" y="269"/>
                  </a:cubicBezTo>
                  <a:cubicBezTo>
                    <a:pt x="868" y="267"/>
                    <a:pt x="873" y="264"/>
                    <a:pt x="877" y="264"/>
                  </a:cubicBezTo>
                  <a:cubicBezTo>
                    <a:pt x="879" y="264"/>
                    <a:pt x="881" y="265"/>
                    <a:pt x="881" y="267"/>
                  </a:cubicBezTo>
                  <a:cubicBezTo>
                    <a:pt x="881" y="269"/>
                    <a:pt x="881" y="271"/>
                    <a:pt x="880" y="272"/>
                  </a:cubicBezTo>
                  <a:cubicBezTo>
                    <a:pt x="879" y="273"/>
                    <a:pt x="877" y="274"/>
                    <a:pt x="876" y="274"/>
                  </a:cubicBezTo>
                  <a:close/>
                  <a:moveTo>
                    <a:pt x="877" y="265"/>
                  </a:moveTo>
                  <a:cubicBezTo>
                    <a:pt x="874" y="265"/>
                    <a:pt x="869" y="268"/>
                    <a:pt x="869" y="270"/>
                  </a:cubicBezTo>
                  <a:cubicBezTo>
                    <a:pt x="868" y="270"/>
                    <a:pt x="868" y="270"/>
                    <a:pt x="869" y="271"/>
                  </a:cubicBezTo>
                  <a:cubicBezTo>
                    <a:pt x="874" y="273"/>
                    <a:pt x="877" y="273"/>
                    <a:pt x="879" y="271"/>
                  </a:cubicBezTo>
                  <a:cubicBezTo>
                    <a:pt x="880" y="270"/>
                    <a:pt x="880" y="269"/>
                    <a:pt x="880" y="267"/>
                  </a:cubicBezTo>
                  <a:cubicBezTo>
                    <a:pt x="880" y="265"/>
                    <a:pt x="879" y="265"/>
                    <a:pt x="877" y="265"/>
                  </a:cubicBezTo>
                  <a:close/>
                  <a:moveTo>
                    <a:pt x="746" y="266"/>
                  </a:moveTo>
                  <a:cubicBezTo>
                    <a:pt x="745" y="266"/>
                    <a:pt x="744" y="266"/>
                    <a:pt x="744" y="265"/>
                  </a:cubicBezTo>
                  <a:cubicBezTo>
                    <a:pt x="741" y="265"/>
                    <a:pt x="740" y="263"/>
                    <a:pt x="740" y="261"/>
                  </a:cubicBezTo>
                  <a:cubicBezTo>
                    <a:pt x="741" y="257"/>
                    <a:pt x="744" y="253"/>
                    <a:pt x="750" y="253"/>
                  </a:cubicBezTo>
                  <a:cubicBezTo>
                    <a:pt x="758" y="253"/>
                    <a:pt x="765" y="255"/>
                    <a:pt x="766" y="258"/>
                  </a:cubicBezTo>
                  <a:cubicBezTo>
                    <a:pt x="767" y="258"/>
                    <a:pt x="767" y="259"/>
                    <a:pt x="766" y="260"/>
                  </a:cubicBezTo>
                  <a:cubicBezTo>
                    <a:pt x="765" y="263"/>
                    <a:pt x="752" y="266"/>
                    <a:pt x="746" y="266"/>
                  </a:cubicBezTo>
                  <a:close/>
                  <a:moveTo>
                    <a:pt x="750" y="254"/>
                  </a:moveTo>
                  <a:cubicBezTo>
                    <a:pt x="744" y="254"/>
                    <a:pt x="742" y="258"/>
                    <a:pt x="741" y="261"/>
                  </a:cubicBezTo>
                  <a:cubicBezTo>
                    <a:pt x="741" y="262"/>
                    <a:pt x="742" y="264"/>
                    <a:pt x="744" y="264"/>
                  </a:cubicBezTo>
                  <a:cubicBezTo>
                    <a:pt x="744" y="265"/>
                    <a:pt x="745" y="265"/>
                    <a:pt x="746" y="265"/>
                  </a:cubicBezTo>
                  <a:cubicBezTo>
                    <a:pt x="753" y="265"/>
                    <a:pt x="764" y="262"/>
                    <a:pt x="766" y="260"/>
                  </a:cubicBezTo>
                  <a:cubicBezTo>
                    <a:pt x="766" y="259"/>
                    <a:pt x="766" y="259"/>
                    <a:pt x="765" y="258"/>
                  </a:cubicBezTo>
                  <a:cubicBezTo>
                    <a:pt x="764" y="256"/>
                    <a:pt x="758" y="254"/>
                    <a:pt x="750" y="254"/>
                  </a:cubicBezTo>
                  <a:close/>
                  <a:moveTo>
                    <a:pt x="1789" y="262"/>
                  </a:moveTo>
                  <a:cubicBezTo>
                    <a:pt x="1778" y="262"/>
                    <a:pt x="1756" y="260"/>
                    <a:pt x="1752" y="255"/>
                  </a:cubicBezTo>
                  <a:cubicBezTo>
                    <a:pt x="1752" y="255"/>
                    <a:pt x="1752" y="254"/>
                    <a:pt x="1752" y="253"/>
                  </a:cubicBezTo>
                  <a:cubicBezTo>
                    <a:pt x="1754" y="249"/>
                    <a:pt x="1763" y="243"/>
                    <a:pt x="1773" y="243"/>
                  </a:cubicBezTo>
                  <a:cubicBezTo>
                    <a:pt x="1774" y="243"/>
                    <a:pt x="1776" y="243"/>
                    <a:pt x="1777" y="243"/>
                  </a:cubicBezTo>
                  <a:cubicBezTo>
                    <a:pt x="1788" y="245"/>
                    <a:pt x="1798" y="254"/>
                    <a:pt x="1798" y="259"/>
                  </a:cubicBezTo>
                  <a:cubicBezTo>
                    <a:pt x="1799" y="260"/>
                    <a:pt x="1798" y="262"/>
                    <a:pt x="1796" y="262"/>
                  </a:cubicBezTo>
                  <a:cubicBezTo>
                    <a:pt x="1794" y="262"/>
                    <a:pt x="1792" y="262"/>
                    <a:pt x="1789" y="262"/>
                  </a:cubicBezTo>
                  <a:close/>
                  <a:moveTo>
                    <a:pt x="1773" y="244"/>
                  </a:moveTo>
                  <a:cubicBezTo>
                    <a:pt x="1764" y="244"/>
                    <a:pt x="1755" y="250"/>
                    <a:pt x="1753" y="253"/>
                  </a:cubicBezTo>
                  <a:cubicBezTo>
                    <a:pt x="1753" y="254"/>
                    <a:pt x="1753" y="254"/>
                    <a:pt x="1753" y="254"/>
                  </a:cubicBezTo>
                  <a:cubicBezTo>
                    <a:pt x="1756" y="258"/>
                    <a:pt x="1777" y="261"/>
                    <a:pt x="1789" y="261"/>
                  </a:cubicBezTo>
                  <a:cubicBezTo>
                    <a:pt x="1792" y="261"/>
                    <a:pt x="1794" y="261"/>
                    <a:pt x="1796" y="261"/>
                  </a:cubicBezTo>
                  <a:cubicBezTo>
                    <a:pt x="1797" y="261"/>
                    <a:pt x="1797" y="260"/>
                    <a:pt x="1797" y="259"/>
                  </a:cubicBezTo>
                  <a:cubicBezTo>
                    <a:pt x="1797" y="255"/>
                    <a:pt x="1787" y="246"/>
                    <a:pt x="1777" y="244"/>
                  </a:cubicBezTo>
                  <a:cubicBezTo>
                    <a:pt x="1776" y="244"/>
                    <a:pt x="1774" y="244"/>
                    <a:pt x="1773" y="244"/>
                  </a:cubicBezTo>
                  <a:close/>
                  <a:moveTo>
                    <a:pt x="1752" y="240"/>
                  </a:moveTo>
                  <a:cubicBezTo>
                    <a:pt x="1752" y="240"/>
                    <a:pt x="1752" y="240"/>
                    <a:pt x="1752" y="240"/>
                  </a:cubicBezTo>
                  <a:cubicBezTo>
                    <a:pt x="1751" y="240"/>
                    <a:pt x="1749" y="240"/>
                    <a:pt x="1747" y="239"/>
                  </a:cubicBezTo>
                  <a:cubicBezTo>
                    <a:pt x="1745" y="238"/>
                    <a:pt x="1745" y="237"/>
                    <a:pt x="1745" y="236"/>
                  </a:cubicBezTo>
                  <a:cubicBezTo>
                    <a:pt x="1745" y="233"/>
                    <a:pt x="1753" y="230"/>
                    <a:pt x="1758" y="230"/>
                  </a:cubicBezTo>
                  <a:cubicBezTo>
                    <a:pt x="1761" y="230"/>
                    <a:pt x="1762" y="232"/>
                    <a:pt x="1762" y="233"/>
                  </a:cubicBezTo>
                  <a:cubicBezTo>
                    <a:pt x="1762" y="235"/>
                    <a:pt x="1761" y="237"/>
                    <a:pt x="1759" y="238"/>
                  </a:cubicBezTo>
                  <a:cubicBezTo>
                    <a:pt x="1757" y="239"/>
                    <a:pt x="1755" y="240"/>
                    <a:pt x="1752" y="240"/>
                  </a:cubicBezTo>
                  <a:close/>
                  <a:moveTo>
                    <a:pt x="1758" y="231"/>
                  </a:moveTo>
                  <a:cubicBezTo>
                    <a:pt x="1753" y="231"/>
                    <a:pt x="1746" y="234"/>
                    <a:pt x="1746" y="236"/>
                  </a:cubicBezTo>
                  <a:cubicBezTo>
                    <a:pt x="1746" y="237"/>
                    <a:pt x="1747" y="238"/>
                    <a:pt x="1748" y="238"/>
                  </a:cubicBezTo>
                  <a:cubicBezTo>
                    <a:pt x="1749" y="239"/>
                    <a:pt x="1751" y="239"/>
                    <a:pt x="1752" y="239"/>
                  </a:cubicBezTo>
                  <a:cubicBezTo>
                    <a:pt x="1752" y="239"/>
                    <a:pt x="1752" y="239"/>
                    <a:pt x="1752" y="239"/>
                  </a:cubicBezTo>
                  <a:cubicBezTo>
                    <a:pt x="1755" y="239"/>
                    <a:pt x="1757" y="238"/>
                    <a:pt x="1758" y="238"/>
                  </a:cubicBezTo>
                  <a:cubicBezTo>
                    <a:pt x="1760" y="237"/>
                    <a:pt x="1761" y="235"/>
                    <a:pt x="1761" y="233"/>
                  </a:cubicBezTo>
                  <a:cubicBezTo>
                    <a:pt x="1761" y="232"/>
                    <a:pt x="1759" y="231"/>
                    <a:pt x="1758" y="231"/>
                  </a:cubicBezTo>
                  <a:close/>
                  <a:moveTo>
                    <a:pt x="1338" y="236"/>
                  </a:moveTo>
                  <a:cubicBezTo>
                    <a:pt x="1333" y="236"/>
                    <a:pt x="1329" y="235"/>
                    <a:pt x="1328" y="233"/>
                  </a:cubicBezTo>
                  <a:cubicBezTo>
                    <a:pt x="1327" y="232"/>
                    <a:pt x="1327" y="231"/>
                    <a:pt x="1327" y="231"/>
                  </a:cubicBezTo>
                  <a:cubicBezTo>
                    <a:pt x="1328" y="230"/>
                    <a:pt x="1329" y="229"/>
                    <a:pt x="1331" y="228"/>
                  </a:cubicBezTo>
                  <a:cubicBezTo>
                    <a:pt x="1333" y="227"/>
                    <a:pt x="1336" y="226"/>
                    <a:pt x="1336" y="225"/>
                  </a:cubicBezTo>
                  <a:cubicBezTo>
                    <a:pt x="1337" y="223"/>
                    <a:pt x="1342" y="222"/>
                    <a:pt x="1345" y="222"/>
                  </a:cubicBezTo>
                  <a:cubicBezTo>
                    <a:pt x="1349" y="222"/>
                    <a:pt x="1352" y="223"/>
                    <a:pt x="1354" y="225"/>
                  </a:cubicBezTo>
                  <a:cubicBezTo>
                    <a:pt x="1355" y="226"/>
                    <a:pt x="1355" y="227"/>
                    <a:pt x="1355" y="228"/>
                  </a:cubicBezTo>
                  <a:cubicBezTo>
                    <a:pt x="1355" y="233"/>
                    <a:pt x="1345" y="236"/>
                    <a:pt x="1338" y="236"/>
                  </a:cubicBezTo>
                  <a:close/>
                  <a:moveTo>
                    <a:pt x="1345" y="223"/>
                  </a:moveTo>
                  <a:cubicBezTo>
                    <a:pt x="1341" y="223"/>
                    <a:pt x="1338" y="224"/>
                    <a:pt x="1337" y="226"/>
                  </a:cubicBezTo>
                  <a:cubicBezTo>
                    <a:pt x="1336" y="227"/>
                    <a:pt x="1334" y="228"/>
                    <a:pt x="1332" y="229"/>
                  </a:cubicBezTo>
                  <a:cubicBezTo>
                    <a:pt x="1330" y="230"/>
                    <a:pt x="1328" y="230"/>
                    <a:pt x="1328" y="231"/>
                  </a:cubicBezTo>
                  <a:cubicBezTo>
                    <a:pt x="1328" y="231"/>
                    <a:pt x="1328" y="231"/>
                    <a:pt x="1329" y="232"/>
                  </a:cubicBezTo>
                  <a:cubicBezTo>
                    <a:pt x="1330" y="234"/>
                    <a:pt x="1333" y="235"/>
                    <a:pt x="1338" y="235"/>
                  </a:cubicBezTo>
                  <a:cubicBezTo>
                    <a:pt x="1345" y="235"/>
                    <a:pt x="1354" y="232"/>
                    <a:pt x="1354" y="228"/>
                  </a:cubicBezTo>
                  <a:cubicBezTo>
                    <a:pt x="1354" y="227"/>
                    <a:pt x="1354" y="226"/>
                    <a:pt x="1353" y="225"/>
                  </a:cubicBezTo>
                  <a:cubicBezTo>
                    <a:pt x="1352" y="224"/>
                    <a:pt x="1349" y="223"/>
                    <a:pt x="1345" y="223"/>
                  </a:cubicBezTo>
                  <a:close/>
                  <a:moveTo>
                    <a:pt x="1879" y="219"/>
                  </a:moveTo>
                  <a:cubicBezTo>
                    <a:pt x="1876" y="219"/>
                    <a:pt x="1874" y="219"/>
                    <a:pt x="1871" y="219"/>
                  </a:cubicBezTo>
                  <a:cubicBezTo>
                    <a:pt x="1860" y="218"/>
                    <a:pt x="1853" y="214"/>
                    <a:pt x="1847" y="211"/>
                  </a:cubicBezTo>
                  <a:cubicBezTo>
                    <a:pt x="1844" y="209"/>
                    <a:pt x="1840" y="207"/>
                    <a:pt x="1836" y="206"/>
                  </a:cubicBezTo>
                  <a:cubicBezTo>
                    <a:pt x="1835" y="206"/>
                    <a:pt x="1834" y="206"/>
                    <a:pt x="1834" y="204"/>
                  </a:cubicBezTo>
                  <a:cubicBezTo>
                    <a:pt x="1834" y="201"/>
                    <a:pt x="1840" y="194"/>
                    <a:pt x="1844" y="194"/>
                  </a:cubicBezTo>
                  <a:cubicBezTo>
                    <a:pt x="1845" y="194"/>
                    <a:pt x="1846" y="195"/>
                    <a:pt x="1846" y="196"/>
                  </a:cubicBezTo>
                  <a:cubicBezTo>
                    <a:pt x="1849" y="200"/>
                    <a:pt x="1855" y="201"/>
                    <a:pt x="1858" y="201"/>
                  </a:cubicBezTo>
                  <a:cubicBezTo>
                    <a:pt x="1861" y="201"/>
                    <a:pt x="1863" y="201"/>
                    <a:pt x="1866" y="200"/>
                  </a:cubicBezTo>
                  <a:cubicBezTo>
                    <a:pt x="1866" y="200"/>
                    <a:pt x="1867" y="200"/>
                    <a:pt x="1868" y="200"/>
                  </a:cubicBezTo>
                  <a:cubicBezTo>
                    <a:pt x="1871" y="200"/>
                    <a:pt x="1873" y="201"/>
                    <a:pt x="1875" y="202"/>
                  </a:cubicBezTo>
                  <a:cubicBezTo>
                    <a:pt x="1877" y="203"/>
                    <a:pt x="1878" y="204"/>
                    <a:pt x="1880" y="204"/>
                  </a:cubicBezTo>
                  <a:cubicBezTo>
                    <a:pt x="1881" y="204"/>
                    <a:pt x="1882" y="204"/>
                    <a:pt x="1882" y="203"/>
                  </a:cubicBezTo>
                  <a:cubicBezTo>
                    <a:pt x="1883" y="203"/>
                    <a:pt x="1885" y="202"/>
                    <a:pt x="1887" y="202"/>
                  </a:cubicBezTo>
                  <a:cubicBezTo>
                    <a:pt x="1893" y="202"/>
                    <a:pt x="1903" y="206"/>
                    <a:pt x="1906" y="209"/>
                  </a:cubicBezTo>
                  <a:cubicBezTo>
                    <a:pt x="1906" y="210"/>
                    <a:pt x="1907" y="210"/>
                    <a:pt x="1907" y="211"/>
                  </a:cubicBezTo>
                  <a:cubicBezTo>
                    <a:pt x="1906" y="216"/>
                    <a:pt x="1894" y="219"/>
                    <a:pt x="1879" y="219"/>
                  </a:cubicBezTo>
                  <a:close/>
                  <a:moveTo>
                    <a:pt x="1844" y="195"/>
                  </a:moveTo>
                  <a:cubicBezTo>
                    <a:pt x="1840" y="195"/>
                    <a:pt x="1835" y="202"/>
                    <a:pt x="1835" y="204"/>
                  </a:cubicBezTo>
                  <a:cubicBezTo>
                    <a:pt x="1835" y="205"/>
                    <a:pt x="1836" y="205"/>
                    <a:pt x="1836" y="205"/>
                  </a:cubicBezTo>
                  <a:cubicBezTo>
                    <a:pt x="1841" y="206"/>
                    <a:pt x="1844" y="208"/>
                    <a:pt x="1848" y="210"/>
                  </a:cubicBezTo>
                  <a:cubicBezTo>
                    <a:pt x="1854" y="213"/>
                    <a:pt x="1860" y="217"/>
                    <a:pt x="1871" y="218"/>
                  </a:cubicBezTo>
                  <a:cubicBezTo>
                    <a:pt x="1874" y="218"/>
                    <a:pt x="1877" y="218"/>
                    <a:pt x="1879" y="218"/>
                  </a:cubicBezTo>
                  <a:cubicBezTo>
                    <a:pt x="1895" y="218"/>
                    <a:pt x="1905" y="214"/>
                    <a:pt x="1906" y="211"/>
                  </a:cubicBezTo>
                  <a:cubicBezTo>
                    <a:pt x="1905" y="210"/>
                    <a:pt x="1905" y="210"/>
                    <a:pt x="1905" y="210"/>
                  </a:cubicBezTo>
                  <a:cubicBezTo>
                    <a:pt x="1902" y="207"/>
                    <a:pt x="1893" y="203"/>
                    <a:pt x="1887" y="203"/>
                  </a:cubicBezTo>
                  <a:cubicBezTo>
                    <a:pt x="1885" y="203"/>
                    <a:pt x="1884" y="204"/>
                    <a:pt x="1883" y="204"/>
                  </a:cubicBezTo>
                  <a:cubicBezTo>
                    <a:pt x="1882" y="205"/>
                    <a:pt x="1881" y="205"/>
                    <a:pt x="1880" y="205"/>
                  </a:cubicBezTo>
                  <a:cubicBezTo>
                    <a:pt x="1878" y="205"/>
                    <a:pt x="1876" y="204"/>
                    <a:pt x="1874" y="203"/>
                  </a:cubicBezTo>
                  <a:cubicBezTo>
                    <a:pt x="1872" y="202"/>
                    <a:pt x="1870" y="201"/>
                    <a:pt x="1868" y="201"/>
                  </a:cubicBezTo>
                  <a:cubicBezTo>
                    <a:pt x="1867" y="201"/>
                    <a:pt x="1867" y="201"/>
                    <a:pt x="1866" y="201"/>
                  </a:cubicBezTo>
                  <a:cubicBezTo>
                    <a:pt x="1863" y="202"/>
                    <a:pt x="1861" y="202"/>
                    <a:pt x="1858" y="202"/>
                  </a:cubicBezTo>
                  <a:cubicBezTo>
                    <a:pt x="1855" y="202"/>
                    <a:pt x="1848" y="201"/>
                    <a:pt x="1846" y="196"/>
                  </a:cubicBezTo>
                  <a:cubicBezTo>
                    <a:pt x="1845" y="196"/>
                    <a:pt x="1845" y="195"/>
                    <a:pt x="1844" y="195"/>
                  </a:cubicBezTo>
                  <a:close/>
                  <a:moveTo>
                    <a:pt x="1721" y="218"/>
                  </a:moveTo>
                  <a:cubicBezTo>
                    <a:pt x="1719" y="218"/>
                    <a:pt x="1718" y="217"/>
                    <a:pt x="1717" y="216"/>
                  </a:cubicBezTo>
                  <a:cubicBezTo>
                    <a:pt x="1716" y="216"/>
                    <a:pt x="1716" y="215"/>
                    <a:pt x="1715" y="214"/>
                  </a:cubicBezTo>
                  <a:cubicBezTo>
                    <a:pt x="1713" y="212"/>
                    <a:pt x="1710" y="209"/>
                    <a:pt x="1706" y="207"/>
                  </a:cubicBezTo>
                  <a:cubicBezTo>
                    <a:pt x="1702" y="205"/>
                    <a:pt x="1701" y="202"/>
                    <a:pt x="1702" y="198"/>
                  </a:cubicBezTo>
                  <a:cubicBezTo>
                    <a:pt x="1704" y="187"/>
                    <a:pt x="1720" y="172"/>
                    <a:pt x="1729" y="172"/>
                  </a:cubicBezTo>
                  <a:cubicBezTo>
                    <a:pt x="1730" y="172"/>
                    <a:pt x="1730" y="172"/>
                    <a:pt x="1730" y="172"/>
                  </a:cubicBezTo>
                  <a:cubicBezTo>
                    <a:pt x="1734" y="173"/>
                    <a:pt x="1739" y="177"/>
                    <a:pt x="1744" y="181"/>
                  </a:cubicBezTo>
                  <a:cubicBezTo>
                    <a:pt x="1749" y="184"/>
                    <a:pt x="1754" y="188"/>
                    <a:pt x="1756" y="188"/>
                  </a:cubicBezTo>
                  <a:cubicBezTo>
                    <a:pt x="1757" y="188"/>
                    <a:pt x="1758" y="188"/>
                    <a:pt x="1758" y="186"/>
                  </a:cubicBezTo>
                  <a:cubicBezTo>
                    <a:pt x="1758" y="180"/>
                    <a:pt x="1762" y="177"/>
                    <a:pt x="1768" y="177"/>
                  </a:cubicBezTo>
                  <a:cubicBezTo>
                    <a:pt x="1771" y="177"/>
                    <a:pt x="1775" y="178"/>
                    <a:pt x="1779" y="180"/>
                  </a:cubicBezTo>
                  <a:cubicBezTo>
                    <a:pt x="1783" y="182"/>
                    <a:pt x="1787" y="182"/>
                    <a:pt x="1792" y="182"/>
                  </a:cubicBezTo>
                  <a:cubicBezTo>
                    <a:pt x="1798" y="182"/>
                    <a:pt x="1805" y="183"/>
                    <a:pt x="1811" y="186"/>
                  </a:cubicBezTo>
                  <a:cubicBezTo>
                    <a:pt x="1817" y="190"/>
                    <a:pt x="1819" y="193"/>
                    <a:pt x="1819" y="195"/>
                  </a:cubicBezTo>
                  <a:cubicBezTo>
                    <a:pt x="1819" y="197"/>
                    <a:pt x="1818" y="198"/>
                    <a:pt x="1814" y="200"/>
                  </a:cubicBezTo>
                  <a:cubicBezTo>
                    <a:pt x="1812" y="201"/>
                    <a:pt x="1812" y="203"/>
                    <a:pt x="1812" y="205"/>
                  </a:cubicBezTo>
                  <a:cubicBezTo>
                    <a:pt x="1812" y="208"/>
                    <a:pt x="1812" y="212"/>
                    <a:pt x="1804" y="212"/>
                  </a:cubicBezTo>
                  <a:cubicBezTo>
                    <a:pt x="1794" y="213"/>
                    <a:pt x="1787" y="208"/>
                    <a:pt x="1784" y="203"/>
                  </a:cubicBezTo>
                  <a:cubicBezTo>
                    <a:pt x="1783" y="201"/>
                    <a:pt x="1783" y="199"/>
                    <a:pt x="1785" y="198"/>
                  </a:cubicBezTo>
                  <a:cubicBezTo>
                    <a:pt x="1785" y="197"/>
                    <a:pt x="1785" y="196"/>
                    <a:pt x="1785" y="196"/>
                  </a:cubicBezTo>
                  <a:cubicBezTo>
                    <a:pt x="1784" y="195"/>
                    <a:pt x="1782" y="194"/>
                    <a:pt x="1780" y="194"/>
                  </a:cubicBezTo>
                  <a:cubicBezTo>
                    <a:pt x="1780" y="194"/>
                    <a:pt x="1778" y="194"/>
                    <a:pt x="1778" y="196"/>
                  </a:cubicBezTo>
                  <a:cubicBezTo>
                    <a:pt x="1778" y="197"/>
                    <a:pt x="1779" y="200"/>
                    <a:pt x="1780" y="203"/>
                  </a:cubicBezTo>
                  <a:cubicBezTo>
                    <a:pt x="1782" y="206"/>
                    <a:pt x="1784" y="209"/>
                    <a:pt x="1782" y="211"/>
                  </a:cubicBezTo>
                  <a:cubicBezTo>
                    <a:pt x="1782" y="212"/>
                    <a:pt x="1780" y="213"/>
                    <a:pt x="1778" y="213"/>
                  </a:cubicBezTo>
                  <a:cubicBezTo>
                    <a:pt x="1776" y="213"/>
                    <a:pt x="1774" y="213"/>
                    <a:pt x="1771" y="213"/>
                  </a:cubicBezTo>
                  <a:cubicBezTo>
                    <a:pt x="1769" y="212"/>
                    <a:pt x="1767" y="212"/>
                    <a:pt x="1765" y="212"/>
                  </a:cubicBezTo>
                  <a:cubicBezTo>
                    <a:pt x="1762" y="212"/>
                    <a:pt x="1757" y="213"/>
                    <a:pt x="1753" y="215"/>
                  </a:cubicBezTo>
                  <a:cubicBezTo>
                    <a:pt x="1751" y="217"/>
                    <a:pt x="1750" y="217"/>
                    <a:pt x="1748" y="217"/>
                  </a:cubicBezTo>
                  <a:cubicBezTo>
                    <a:pt x="1746" y="217"/>
                    <a:pt x="1745" y="216"/>
                    <a:pt x="1743" y="215"/>
                  </a:cubicBezTo>
                  <a:cubicBezTo>
                    <a:pt x="1742" y="213"/>
                    <a:pt x="1741" y="212"/>
                    <a:pt x="1739" y="213"/>
                  </a:cubicBezTo>
                  <a:cubicBezTo>
                    <a:pt x="1738" y="213"/>
                    <a:pt x="1738" y="213"/>
                    <a:pt x="1737" y="214"/>
                  </a:cubicBezTo>
                  <a:cubicBezTo>
                    <a:pt x="1732" y="215"/>
                    <a:pt x="1726" y="218"/>
                    <a:pt x="1721" y="218"/>
                  </a:cubicBezTo>
                  <a:close/>
                  <a:moveTo>
                    <a:pt x="1729" y="173"/>
                  </a:moveTo>
                  <a:cubicBezTo>
                    <a:pt x="1722" y="173"/>
                    <a:pt x="1705" y="187"/>
                    <a:pt x="1703" y="198"/>
                  </a:cubicBezTo>
                  <a:cubicBezTo>
                    <a:pt x="1702" y="202"/>
                    <a:pt x="1703" y="204"/>
                    <a:pt x="1706" y="206"/>
                  </a:cubicBezTo>
                  <a:cubicBezTo>
                    <a:pt x="1711" y="208"/>
                    <a:pt x="1713" y="211"/>
                    <a:pt x="1716" y="214"/>
                  </a:cubicBezTo>
                  <a:cubicBezTo>
                    <a:pt x="1717" y="214"/>
                    <a:pt x="1717" y="215"/>
                    <a:pt x="1718" y="216"/>
                  </a:cubicBezTo>
                  <a:cubicBezTo>
                    <a:pt x="1718" y="216"/>
                    <a:pt x="1720" y="217"/>
                    <a:pt x="1721" y="217"/>
                  </a:cubicBezTo>
                  <a:cubicBezTo>
                    <a:pt x="1726" y="217"/>
                    <a:pt x="1732" y="214"/>
                    <a:pt x="1737" y="213"/>
                  </a:cubicBezTo>
                  <a:cubicBezTo>
                    <a:pt x="1737" y="212"/>
                    <a:pt x="1738" y="212"/>
                    <a:pt x="1739" y="212"/>
                  </a:cubicBezTo>
                  <a:cubicBezTo>
                    <a:pt x="1740" y="212"/>
                    <a:pt x="1740" y="212"/>
                    <a:pt x="1740" y="212"/>
                  </a:cubicBezTo>
                  <a:cubicBezTo>
                    <a:pt x="1742" y="212"/>
                    <a:pt x="1743" y="213"/>
                    <a:pt x="1744" y="214"/>
                  </a:cubicBezTo>
                  <a:cubicBezTo>
                    <a:pt x="1745" y="215"/>
                    <a:pt x="1747" y="216"/>
                    <a:pt x="1748" y="216"/>
                  </a:cubicBezTo>
                  <a:cubicBezTo>
                    <a:pt x="1749" y="216"/>
                    <a:pt x="1751" y="216"/>
                    <a:pt x="1752" y="215"/>
                  </a:cubicBezTo>
                  <a:cubicBezTo>
                    <a:pt x="1757" y="212"/>
                    <a:pt x="1762" y="211"/>
                    <a:pt x="1765" y="211"/>
                  </a:cubicBezTo>
                  <a:cubicBezTo>
                    <a:pt x="1767" y="211"/>
                    <a:pt x="1769" y="211"/>
                    <a:pt x="1771" y="212"/>
                  </a:cubicBezTo>
                  <a:cubicBezTo>
                    <a:pt x="1774" y="212"/>
                    <a:pt x="1776" y="212"/>
                    <a:pt x="1778" y="212"/>
                  </a:cubicBezTo>
                  <a:cubicBezTo>
                    <a:pt x="1780" y="212"/>
                    <a:pt x="1781" y="212"/>
                    <a:pt x="1782" y="211"/>
                  </a:cubicBezTo>
                  <a:cubicBezTo>
                    <a:pt x="1782" y="209"/>
                    <a:pt x="1781" y="206"/>
                    <a:pt x="1779" y="203"/>
                  </a:cubicBezTo>
                  <a:cubicBezTo>
                    <a:pt x="1778" y="200"/>
                    <a:pt x="1777" y="198"/>
                    <a:pt x="1777" y="196"/>
                  </a:cubicBezTo>
                  <a:cubicBezTo>
                    <a:pt x="1777" y="194"/>
                    <a:pt x="1778" y="193"/>
                    <a:pt x="1780" y="193"/>
                  </a:cubicBezTo>
                  <a:cubicBezTo>
                    <a:pt x="1782" y="193"/>
                    <a:pt x="1785" y="194"/>
                    <a:pt x="1786" y="195"/>
                  </a:cubicBezTo>
                  <a:cubicBezTo>
                    <a:pt x="1786" y="196"/>
                    <a:pt x="1786" y="197"/>
                    <a:pt x="1785" y="199"/>
                  </a:cubicBezTo>
                  <a:cubicBezTo>
                    <a:pt x="1784" y="200"/>
                    <a:pt x="1784" y="201"/>
                    <a:pt x="1785" y="203"/>
                  </a:cubicBezTo>
                  <a:cubicBezTo>
                    <a:pt x="1787" y="207"/>
                    <a:pt x="1795" y="212"/>
                    <a:pt x="1804" y="211"/>
                  </a:cubicBezTo>
                  <a:cubicBezTo>
                    <a:pt x="1811" y="211"/>
                    <a:pt x="1811" y="208"/>
                    <a:pt x="1811" y="205"/>
                  </a:cubicBezTo>
                  <a:cubicBezTo>
                    <a:pt x="1811" y="203"/>
                    <a:pt x="1811" y="200"/>
                    <a:pt x="1814" y="199"/>
                  </a:cubicBezTo>
                  <a:cubicBezTo>
                    <a:pt x="1817" y="197"/>
                    <a:pt x="1818" y="196"/>
                    <a:pt x="1818" y="195"/>
                  </a:cubicBezTo>
                  <a:cubicBezTo>
                    <a:pt x="1818" y="193"/>
                    <a:pt x="1816" y="190"/>
                    <a:pt x="1810" y="187"/>
                  </a:cubicBezTo>
                  <a:cubicBezTo>
                    <a:pt x="1805" y="184"/>
                    <a:pt x="1798" y="183"/>
                    <a:pt x="1792" y="183"/>
                  </a:cubicBezTo>
                  <a:cubicBezTo>
                    <a:pt x="1787" y="183"/>
                    <a:pt x="1783" y="183"/>
                    <a:pt x="1779" y="181"/>
                  </a:cubicBezTo>
                  <a:cubicBezTo>
                    <a:pt x="1775" y="179"/>
                    <a:pt x="1771" y="178"/>
                    <a:pt x="1768" y="178"/>
                  </a:cubicBezTo>
                  <a:cubicBezTo>
                    <a:pt x="1764" y="178"/>
                    <a:pt x="1759" y="180"/>
                    <a:pt x="1759" y="186"/>
                  </a:cubicBezTo>
                  <a:cubicBezTo>
                    <a:pt x="1759" y="188"/>
                    <a:pt x="1757" y="189"/>
                    <a:pt x="1756" y="189"/>
                  </a:cubicBezTo>
                  <a:cubicBezTo>
                    <a:pt x="1754" y="189"/>
                    <a:pt x="1749" y="185"/>
                    <a:pt x="1744" y="181"/>
                  </a:cubicBezTo>
                  <a:cubicBezTo>
                    <a:pt x="1739" y="178"/>
                    <a:pt x="1734" y="174"/>
                    <a:pt x="1730" y="173"/>
                  </a:cubicBezTo>
                  <a:cubicBezTo>
                    <a:pt x="1729" y="173"/>
                    <a:pt x="1729" y="173"/>
                    <a:pt x="1729" y="173"/>
                  </a:cubicBezTo>
                  <a:close/>
                  <a:moveTo>
                    <a:pt x="1155" y="119"/>
                  </a:moveTo>
                  <a:cubicBezTo>
                    <a:pt x="1153" y="119"/>
                    <a:pt x="1152" y="119"/>
                    <a:pt x="1151" y="118"/>
                  </a:cubicBezTo>
                  <a:cubicBezTo>
                    <a:pt x="1150" y="118"/>
                    <a:pt x="1149" y="117"/>
                    <a:pt x="1149" y="116"/>
                  </a:cubicBezTo>
                  <a:cubicBezTo>
                    <a:pt x="1149" y="114"/>
                    <a:pt x="1151" y="112"/>
                    <a:pt x="1153" y="110"/>
                  </a:cubicBezTo>
                  <a:cubicBezTo>
                    <a:pt x="1156" y="107"/>
                    <a:pt x="1161" y="102"/>
                    <a:pt x="1161" y="97"/>
                  </a:cubicBezTo>
                  <a:cubicBezTo>
                    <a:pt x="1161" y="91"/>
                    <a:pt x="1164" y="90"/>
                    <a:pt x="1168" y="90"/>
                  </a:cubicBezTo>
                  <a:cubicBezTo>
                    <a:pt x="1169" y="90"/>
                    <a:pt x="1169" y="90"/>
                    <a:pt x="1169" y="90"/>
                  </a:cubicBezTo>
                  <a:cubicBezTo>
                    <a:pt x="1170" y="90"/>
                    <a:pt x="1171" y="90"/>
                    <a:pt x="1171" y="90"/>
                  </a:cubicBezTo>
                  <a:cubicBezTo>
                    <a:pt x="1171" y="90"/>
                    <a:pt x="1172" y="89"/>
                    <a:pt x="1171" y="89"/>
                  </a:cubicBezTo>
                  <a:cubicBezTo>
                    <a:pt x="1171" y="86"/>
                    <a:pt x="1173" y="85"/>
                    <a:pt x="1174" y="83"/>
                  </a:cubicBezTo>
                  <a:cubicBezTo>
                    <a:pt x="1175" y="81"/>
                    <a:pt x="1177" y="79"/>
                    <a:pt x="1177" y="77"/>
                  </a:cubicBezTo>
                  <a:cubicBezTo>
                    <a:pt x="1177" y="75"/>
                    <a:pt x="1181" y="74"/>
                    <a:pt x="1184" y="74"/>
                  </a:cubicBezTo>
                  <a:cubicBezTo>
                    <a:pt x="1188" y="74"/>
                    <a:pt x="1192" y="74"/>
                    <a:pt x="1192" y="72"/>
                  </a:cubicBezTo>
                  <a:cubicBezTo>
                    <a:pt x="1192" y="70"/>
                    <a:pt x="1193" y="69"/>
                    <a:pt x="1195" y="69"/>
                  </a:cubicBezTo>
                  <a:cubicBezTo>
                    <a:pt x="1198" y="69"/>
                    <a:pt x="1202" y="72"/>
                    <a:pt x="1204" y="75"/>
                  </a:cubicBezTo>
                  <a:cubicBezTo>
                    <a:pt x="1204" y="76"/>
                    <a:pt x="1204" y="79"/>
                    <a:pt x="1202" y="82"/>
                  </a:cubicBezTo>
                  <a:cubicBezTo>
                    <a:pt x="1197" y="86"/>
                    <a:pt x="1196" y="89"/>
                    <a:pt x="1197" y="90"/>
                  </a:cubicBezTo>
                  <a:cubicBezTo>
                    <a:pt x="1197" y="91"/>
                    <a:pt x="1197" y="91"/>
                    <a:pt x="1197" y="91"/>
                  </a:cubicBezTo>
                  <a:cubicBezTo>
                    <a:pt x="1198" y="91"/>
                    <a:pt x="1198" y="90"/>
                    <a:pt x="1199" y="89"/>
                  </a:cubicBezTo>
                  <a:cubicBezTo>
                    <a:pt x="1201" y="85"/>
                    <a:pt x="1208" y="81"/>
                    <a:pt x="1214" y="81"/>
                  </a:cubicBezTo>
                  <a:cubicBezTo>
                    <a:pt x="1217" y="81"/>
                    <a:pt x="1219" y="82"/>
                    <a:pt x="1221" y="84"/>
                  </a:cubicBezTo>
                  <a:cubicBezTo>
                    <a:pt x="1223" y="87"/>
                    <a:pt x="1227" y="88"/>
                    <a:pt x="1231" y="89"/>
                  </a:cubicBezTo>
                  <a:cubicBezTo>
                    <a:pt x="1236" y="91"/>
                    <a:pt x="1241" y="93"/>
                    <a:pt x="1240" y="97"/>
                  </a:cubicBezTo>
                  <a:cubicBezTo>
                    <a:pt x="1239" y="105"/>
                    <a:pt x="1203" y="114"/>
                    <a:pt x="1190" y="114"/>
                  </a:cubicBezTo>
                  <a:cubicBezTo>
                    <a:pt x="1189" y="114"/>
                    <a:pt x="1189" y="114"/>
                    <a:pt x="1189" y="114"/>
                  </a:cubicBezTo>
                  <a:cubicBezTo>
                    <a:pt x="1183" y="114"/>
                    <a:pt x="1177" y="116"/>
                    <a:pt x="1170" y="117"/>
                  </a:cubicBezTo>
                  <a:cubicBezTo>
                    <a:pt x="1164" y="118"/>
                    <a:pt x="1159" y="119"/>
                    <a:pt x="1155" y="119"/>
                  </a:cubicBezTo>
                  <a:close/>
                  <a:moveTo>
                    <a:pt x="1168" y="91"/>
                  </a:moveTo>
                  <a:cubicBezTo>
                    <a:pt x="1165" y="91"/>
                    <a:pt x="1162" y="92"/>
                    <a:pt x="1162" y="97"/>
                  </a:cubicBezTo>
                  <a:cubicBezTo>
                    <a:pt x="1162" y="103"/>
                    <a:pt x="1157" y="107"/>
                    <a:pt x="1154" y="111"/>
                  </a:cubicBezTo>
                  <a:cubicBezTo>
                    <a:pt x="1152" y="113"/>
                    <a:pt x="1150" y="115"/>
                    <a:pt x="1150" y="116"/>
                  </a:cubicBezTo>
                  <a:cubicBezTo>
                    <a:pt x="1150" y="116"/>
                    <a:pt x="1150" y="117"/>
                    <a:pt x="1151" y="117"/>
                  </a:cubicBezTo>
                  <a:cubicBezTo>
                    <a:pt x="1152" y="118"/>
                    <a:pt x="1154" y="118"/>
                    <a:pt x="1155" y="118"/>
                  </a:cubicBezTo>
                  <a:cubicBezTo>
                    <a:pt x="1159" y="118"/>
                    <a:pt x="1164" y="117"/>
                    <a:pt x="1170" y="116"/>
                  </a:cubicBezTo>
                  <a:cubicBezTo>
                    <a:pt x="1176" y="115"/>
                    <a:pt x="1183" y="113"/>
                    <a:pt x="1188" y="113"/>
                  </a:cubicBezTo>
                  <a:cubicBezTo>
                    <a:pt x="1189" y="113"/>
                    <a:pt x="1189" y="113"/>
                    <a:pt x="1189" y="113"/>
                  </a:cubicBezTo>
                  <a:cubicBezTo>
                    <a:pt x="1190" y="113"/>
                    <a:pt x="1190" y="113"/>
                    <a:pt x="1190" y="113"/>
                  </a:cubicBezTo>
                  <a:cubicBezTo>
                    <a:pt x="1205" y="113"/>
                    <a:pt x="1238" y="103"/>
                    <a:pt x="1239" y="97"/>
                  </a:cubicBezTo>
                  <a:cubicBezTo>
                    <a:pt x="1240" y="94"/>
                    <a:pt x="1235" y="92"/>
                    <a:pt x="1231" y="90"/>
                  </a:cubicBezTo>
                  <a:cubicBezTo>
                    <a:pt x="1227" y="89"/>
                    <a:pt x="1223" y="88"/>
                    <a:pt x="1220" y="85"/>
                  </a:cubicBezTo>
                  <a:cubicBezTo>
                    <a:pt x="1219" y="83"/>
                    <a:pt x="1216" y="82"/>
                    <a:pt x="1214" y="82"/>
                  </a:cubicBezTo>
                  <a:cubicBezTo>
                    <a:pt x="1208" y="82"/>
                    <a:pt x="1202" y="86"/>
                    <a:pt x="1200" y="89"/>
                  </a:cubicBezTo>
                  <a:cubicBezTo>
                    <a:pt x="1199" y="91"/>
                    <a:pt x="1198" y="92"/>
                    <a:pt x="1197" y="92"/>
                  </a:cubicBezTo>
                  <a:cubicBezTo>
                    <a:pt x="1196" y="91"/>
                    <a:pt x="1196" y="91"/>
                    <a:pt x="1196" y="91"/>
                  </a:cubicBezTo>
                  <a:cubicBezTo>
                    <a:pt x="1195" y="89"/>
                    <a:pt x="1196" y="85"/>
                    <a:pt x="1201" y="81"/>
                  </a:cubicBezTo>
                  <a:cubicBezTo>
                    <a:pt x="1203" y="79"/>
                    <a:pt x="1203" y="77"/>
                    <a:pt x="1203" y="75"/>
                  </a:cubicBezTo>
                  <a:cubicBezTo>
                    <a:pt x="1202" y="72"/>
                    <a:pt x="1198" y="70"/>
                    <a:pt x="1195" y="70"/>
                  </a:cubicBezTo>
                  <a:cubicBezTo>
                    <a:pt x="1194" y="70"/>
                    <a:pt x="1193" y="71"/>
                    <a:pt x="1193" y="72"/>
                  </a:cubicBezTo>
                  <a:cubicBezTo>
                    <a:pt x="1193" y="75"/>
                    <a:pt x="1189" y="75"/>
                    <a:pt x="1185" y="75"/>
                  </a:cubicBezTo>
                  <a:cubicBezTo>
                    <a:pt x="1181" y="75"/>
                    <a:pt x="1178" y="76"/>
                    <a:pt x="1178" y="77"/>
                  </a:cubicBezTo>
                  <a:cubicBezTo>
                    <a:pt x="1178" y="80"/>
                    <a:pt x="1176" y="82"/>
                    <a:pt x="1175" y="83"/>
                  </a:cubicBezTo>
                  <a:cubicBezTo>
                    <a:pt x="1174" y="85"/>
                    <a:pt x="1172" y="87"/>
                    <a:pt x="1172" y="89"/>
                  </a:cubicBezTo>
                  <a:cubicBezTo>
                    <a:pt x="1173" y="90"/>
                    <a:pt x="1172" y="90"/>
                    <a:pt x="1172" y="91"/>
                  </a:cubicBezTo>
                  <a:cubicBezTo>
                    <a:pt x="1171" y="91"/>
                    <a:pt x="1170" y="91"/>
                    <a:pt x="1169" y="91"/>
                  </a:cubicBezTo>
                  <a:cubicBezTo>
                    <a:pt x="1168" y="91"/>
                    <a:pt x="1168" y="91"/>
                    <a:pt x="1168" y="91"/>
                  </a:cubicBezTo>
                  <a:close/>
                  <a:moveTo>
                    <a:pt x="1141" y="92"/>
                  </a:moveTo>
                  <a:cubicBezTo>
                    <a:pt x="1134" y="92"/>
                    <a:pt x="1126" y="90"/>
                    <a:pt x="1118" y="87"/>
                  </a:cubicBezTo>
                  <a:cubicBezTo>
                    <a:pt x="1112" y="85"/>
                    <a:pt x="1105" y="83"/>
                    <a:pt x="1101" y="83"/>
                  </a:cubicBezTo>
                  <a:cubicBezTo>
                    <a:pt x="1101" y="83"/>
                    <a:pt x="1100" y="83"/>
                    <a:pt x="1099" y="83"/>
                  </a:cubicBezTo>
                  <a:cubicBezTo>
                    <a:pt x="1099" y="84"/>
                    <a:pt x="1098" y="84"/>
                    <a:pt x="1098" y="84"/>
                  </a:cubicBezTo>
                  <a:cubicBezTo>
                    <a:pt x="1094" y="84"/>
                    <a:pt x="1091" y="80"/>
                    <a:pt x="1089" y="78"/>
                  </a:cubicBezTo>
                  <a:cubicBezTo>
                    <a:pt x="1088" y="76"/>
                    <a:pt x="1086" y="74"/>
                    <a:pt x="1085" y="74"/>
                  </a:cubicBezTo>
                  <a:cubicBezTo>
                    <a:pt x="1084" y="73"/>
                    <a:pt x="1083" y="73"/>
                    <a:pt x="1082" y="73"/>
                  </a:cubicBezTo>
                  <a:cubicBezTo>
                    <a:pt x="1079" y="73"/>
                    <a:pt x="1077" y="73"/>
                    <a:pt x="1074" y="70"/>
                  </a:cubicBezTo>
                  <a:cubicBezTo>
                    <a:pt x="1073" y="70"/>
                    <a:pt x="1073" y="69"/>
                    <a:pt x="1073" y="69"/>
                  </a:cubicBezTo>
                  <a:cubicBezTo>
                    <a:pt x="1073" y="67"/>
                    <a:pt x="1076" y="65"/>
                    <a:pt x="1078" y="63"/>
                  </a:cubicBezTo>
                  <a:cubicBezTo>
                    <a:pt x="1081" y="61"/>
                    <a:pt x="1084" y="59"/>
                    <a:pt x="1084" y="57"/>
                  </a:cubicBezTo>
                  <a:cubicBezTo>
                    <a:pt x="1084" y="53"/>
                    <a:pt x="1108" y="47"/>
                    <a:pt x="1119" y="47"/>
                  </a:cubicBezTo>
                  <a:cubicBezTo>
                    <a:pt x="1123" y="47"/>
                    <a:pt x="1125" y="47"/>
                    <a:pt x="1125" y="48"/>
                  </a:cubicBezTo>
                  <a:cubicBezTo>
                    <a:pt x="1127" y="52"/>
                    <a:pt x="1132" y="57"/>
                    <a:pt x="1134" y="57"/>
                  </a:cubicBezTo>
                  <a:cubicBezTo>
                    <a:pt x="1135" y="57"/>
                    <a:pt x="1135" y="57"/>
                    <a:pt x="1135" y="55"/>
                  </a:cubicBezTo>
                  <a:cubicBezTo>
                    <a:pt x="1135" y="53"/>
                    <a:pt x="1137" y="51"/>
                    <a:pt x="1141" y="51"/>
                  </a:cubicBezTo>
                  <a:cubicBezTo>
                    <a:pt x="1147" y="51"/>
                    <a:pt x="1156" y="54"/>
                    <a:pt x="1158" y="59"/>
                  </a:cubicBezTo>
                  <a:cubicBezTo>
                    <a:pt x="1159" y="61"/>
                    <a:pt x="1159" y="63"/>
                    <a:pt x="1157" y="65"/>
                  </a:cubicBezTo>
                  <a:cubicBezTo>
                    <a:pt x="1153" y="71"/>
                    <a:pt x="1149" y="78"/>
                    <a:pt x="1149" y="80"/>
                  </a:cubicBezTo>
                  <a:cubicBezTo>
                    <a:pt x="1150" y="80"/>
                    <a:pt x="1150" y="80"/>
                    <a:pt x="1151" y="80"/>
                  </a:cubicBezTo>
                  <a:cubicBezTo>
                    <a:pt x="1152" y="80"/>
                    <a:pt x="1153" y="82"/>
                    <a:pt x="1153" y="84"/>
                  </a:cubicBezTo>
                  <a:cubicBezTo>
                    <a:pt x="1153" y="87"/>
                    <a:pt x="1149" y="92"/>
                    <a:pt x="1141" y="92"/>
                  </a:cubicBezTo>
                  <a:close/>
                  <a:moveTo>
                    <a:pt x="1101" y="82"/>
                  </a:moveTo>
                  <a:cubicBezTo>
                    <a:pt x="1106" y="82"/>
                    <a:pt x="1112" y="84"/>
                    <a:pt x="1119" y="86"/>
                  </a:cubicBezTo>
                  <a:cubicBezTo>
                    <a:pt x="1127" y="89"/>
                    <a:pt x="1135" y="91"/>
                    <a:pt x="1141" y="91"/>
                  </a:cubicBezTo>
                  <a:cubicBezTo>
                    <a:pt x="1149" y="91"/>
                    <a:pt x="1152" y="87"/>
                    <a:pt x="1152" y="84"/>
                  </a:cubicBezTo>
                  <a:cubicBezTo>
                    <a:pt x="1152" y="82"/>
                    <a:pt x="1151" y="81"/>
                    <a:pt x="1150" y="81"/>
                  </a:cubicBezTo>
                  <a:cubicBezTo>
                    <a:pt x="1149" y="81"/>
                    <a:pt x="1149" y="81"/>
                    <a:pt x="1149" y="80"/>
                  </a:cubicBezTo>
                  <a:cubicBezTo>
                    <a:pt x="1148" y="78"/>
                    <a:pt x="1151" y="73"/>
                    <a:pt x="1157" y="64"/>
                  </a:cubicBezTo>
                  <a:cubicBezTo>
                    <a:pt x="1158" y="63"/>
                    <a:pt x="1158" y="61"/>
                    <a:pt x="1157" y="59"/>
                  </a:cubicBezTo>
                  <a:cubicBezTo>
                    <a:pt x="1155" y="55"/>
                    <a:pt x="1147" y="52"/>
                    <a:pt x="1141" y="52"/>
                  </a:cubicBezTo>
                  <a:cubicBezTo>
                    <a:pt x="1140" y="52"/>
                    <a:pt x="1136" y="53"/>
                    <a:pt x="1136" y="55"/>
                  </a:cubicBezTo>
                  <a:cubicBezTo>
                    <a:pt x="1136" y="58"/>
                    <a:pt x="1135" y="58"/>
                    <a:pt x="1134" y="58"/>
                  </a:cubicBezTo>
                  <a:cubicBezTo>
                    <a:pt x="1131" y="58"/>
                    <a:pt x="1126" y="52"/>
                    <a:pt x="1124" y="49"/>
                  </a:cubicBezTo>
                  <a:cubicBezTo>
                    <a:pt x="1124" y="48"/>
                    <a:pt x="1123" y="48"/>
                    <a:pt x="1119" y="48"/>
                  </a:cubicBezTo>
                  <a:cubicBezTo>
                    <a:pt x="1108" y="48"/>
                    <a:pt x="1085" y="54"/>
                    <a:pt x="1085" y="57"/>
                  </a:cubicBezTo>
                  <a:cubicBezTo>
                    <a:pt x="1085" y="60"/>
                    <a:pt x="1082" y="62"/>
                    <a:pt x="1079" y="64"/>
                  </a:cubicBezTo>
                  <a:cubicBezTo>
                    <a:pt x="1077" y="66"/>
                    <a:pt x="1074" y="67"/>
                    <a:pt x="1074" y="69"/>
                  </a:cubicBezTo>
                  <a:cubicBezTo>
                    <a:pt x="1074" y="69"/>
                    <a:pt x="1074" y="69"/>
                    <a:pt x="1075" y="70"/>
                  </a:cubicBezTo>
                  <a:cubicBezTo>
                    <a:pt x="1077" y="72"/>
                    <a:pt x="1079" y="72"/>
                    <a:pt x="1082" y="72"/>
                  </a:cubicBezTo>
                  <a:cubicBezTo>
                    <a:pt x="1083" y="72"/>
                    <a:pt x="1084" y="72"/>
                    <a:pt x="1085" y="73"/>
                  </a:cubicBezTo>
                  <a:cubicBezTo>
                    <a:pt x="1087" y="73"/>
                    <a:pt x="1089" y="75"/>
                    <a:pt x="1090" y="77"/>
                  </a:cubicBezTo>
                  <a:cubicBezTo>
                    <a:pt x="1092" y="80"/>
                    <a:pt x="1094" y="83"/>
                    <a:pt x="1098" y="83"/>
                  </a:cubicBezTo>
                  <a:cubicBezTo>
                    <a:pt x="1098" y="83"/>
                    <a:pt x="1099" y="83"/>
                    <a:pt x="1099" y="82"/>
                  </a:cubicBezTo>
                  <a:cubicBezTo>
                    <a:pt x="1100" y="82"/>
                    <a:pt x="1101" y="82"/>
                    <a:pt x="1101" y="82"/>
                  </a:cubicBezTo>
                  <a:close/>
                  <a:moveTo>
                    <a:pt x="1064" y="65"/>
                  </a:moveTo>
                  <a:cubicBezTo>
                    <a:pt x="1063" y="65"/>
                    <a:pt x="1062" y="65"/>
                    <a:pt x="1060" y="65"/>
                  </a:cubicBezTo>
                  <a:cubicBezTo>
                    <a:pt x="1055" y="64"/>
                    <a:pt x="1053" y="61"/>
                    <a:pt x="1051" y="59"/>
                  </a:cubicBezTo>
                  <a:cubicBezTo>
                    <a:pt x="1050" y="58"/>
                    <a:pt x="1049" y="57"/>
                    <a:pt x="1047" y="56"/>
                  </a:cubicBezTo>
                  <a:cubicBezTo>
                    <a:pt x="1046" y="56"/>
                    <a:pt x="1045" y="55"/>
                    <a:pt x="1045" y="54"/>
                  </a:cubicBezTo>
                  <a:cubicBezTo>
                    <a:pt x="1046" y="52"/>
                    <a:pt x="1052" y="50"/>
                    <a:pt x="1058" y="50"/>
                  </a:cubicBezTo>
                  <a:cubicBezTo>
                    <a:pt x="1064" y="50"/>
                    <a:pt x="1066" y="49"/>
                    <a:pt x="1066" y="49"/>
                  </a:cubicBezTo>
                  <a:cubicBezTo>
                    <a:pt x="1066" y="49"/>
                    <a:pt x="1066" y="47"/>
                    <a:pt x="1061" y="46"/>
                  </a:cubicBezTo>
                  <a:cubicBezTo>
                    <a:pt x="1056" y="43"/>
                    <a:pt x="1055" y="40"/>
                    <a:pt x="1055" y="38"/>
                  </a:cubicBezTo>
                  <a:cubicBezTo>
                    <a:pt x="1056" y="36"/>
                    <a:pt x="1058" y="35"/>
                    <a:pt x="1060" y="35"/>
                  </a:cubicBezTo>
                  <a:cubicBezTo>
                    <a:pt x="1061" y="35"/>
                    <a:pt x="1061" y="35"/>
                    <a:pt x="1061" y="35"/>
                  </a:cubicBezTo>
                  <a:cubicBezTo>
                    <a:pt x="1061" y="35"/>
                    <a:pt x="1061" y="35"/>
                    <a:pt x="1062" y="35"/>
                  </a:cubicBezTo>
                  <a:cubicBezTo>
                    <a:pt x="1065" y="35"/>
                    <a:pt x="1069" y="32"/>
                    <a:pt x="1069" y="30"/>
                  </a:cubicBezTo>
                  <a:cubicBezTo>
                    <a:pt x="1070" y="28"/>
                    <a:pt x="1069" y="27"/>
                    <a:pt x="1067" y="26"/>
                  </a:cubicBezTo>
                  <a:cubicBezTo>
                    <a:pt x="1066" y="25"/>
                    <a:pt x="1065" y="24"/>
                    <a:pt x="1065" y="23"/>
                  </a:cubicBezTo>
                  <a:cubicBezTo>
                    <a:pt x="1065" y="19"/>
                    <a:pt x="1075" y="17"/>
                    <a:pt x="1084" y="15"/>
                  </a:cubicBezTo>
                  <a:cubicBezTo>
                    <a:pt x="1091" y="13"/>
                    <a:pt x="1096" y="11"/>
                    <a:pt x="1099" y="9"/>
                  </a:cubicBezTo>
                  <a:cubicBezTo>
                    <a:pt x="1100" y="8"/>
                    <a:pt x="1102" y="7"/>
                    <a:pt x="1103" y="7"/>
                  </a:cubicBezTo>
                  <a:cubicBezTo>
                    <a:pt x="1104" y="7"/>
                    <a:pt x="1104" y="7"/>
                    <a:pt x="1105" y="8"/>
                  </a:cubicBezTo>
                  <a:cubicBezTo>
                    <a:pt x="1107" y="9"/>
                    <a:pt x="1107" y="11"/>
                    <a:pt x="1107" y="13"/>
                  </a:cubicBezTo>
                  <a:cubicBezTo>
                    <a:pt x="1108" y="17"/>
                    <a:pt x="1109" y="22"/>
                    <a:pt x="1116" y="23"/>
                  </a:cubicBezTo>
                  <a:cubicBezTo>
                    <a:pt x="1123" y="24"/>
                    <a:pt x="1128" y="26"/>
                    <a:pt x="1127" y="28"/>
                  </a:cubicBezTo>
                  <a:cubicBezTo>
                    <a:pt x="1127" y="29"/>
                    <a:pt x="1126" y="30"/>
                    <a:pt x="1122" y="31"/>
                  </a:cubicBezTo>
                  <a:cubicBezTo>
                    <a:pt x="1120" y="31"/>
                    <a:pt x="1119" y="31"/>
                    <a:pt x="1119" y="32"/>
                  </a:cubicBezTo>
                  <a:cubicBezTo>
                    <a:pt x="1118" y="32"/>
                    <a:pt x="1119" y="34"/>
                    <a:pt x="1120" y="35"/>
                  </a:cubicBezTo>
                  <a:cubicBezTo>
                    <a:pt x="1121" y="37"/>
                    <a:pt x="1122" y="39"/>
                    <a:pt x="1121" y="41"/>
                  </a:cubicBezTo>
                  <a:cubicBezTo>
                    <a:pt x="1121" y="42"/>
                    <a:pt x="1120" y="42"/>
                    <a:pt x="1118" y="43"/>
                  </a:cubicBezTo>
                  <a:cubicBezTo>
                    <a:pt x="1116" y="43"/>
                    <a:pt x="1113" y="44"/>
                    <a:pt x="1109" y="44"/>
                  </a:cubicBezTo>
                  <a:cubicBezTo>
                    <a:pt x="1099" y="46"/>
                    <a:pt x="1078" y="51"/>
                    <a:pt x="1078" y="54"/>
                  </a:cubicBezTo>
                  <a:cubicBezTo>
                    <a:pt x="1079" y="56"/>
                    <a:pt x="1078" y="58"/>
                    <a:pt x="1076" y="60"/>
                  </a:cubicBezTo>
                  <a:cubicBezTo>
                    <a:pt x="1073" y="63"/>
                    <a:pt x="1069" y="65"/>
                    <a:pt x="1064" y="65"/>
                  </a:cubicBezTo>
                  <a:close/>
                  <a:moveTo>
                    <a:pt x="1060" y="36"/>
                  </a:moveTo>
                  <a:cubicBezTo>
                    <a:pt x="1058" y="36"/>
                    <a:pt x="1057" y="37"/>
                    <a:pt x="1056" y="38"/>
                  </a:cubicBezTo>
                  <a:cubicBezTo>
                    <a:pt x="1056" y="40"/>
                    <a:pt x="1057" y="43"/>
                    <a:pt x="1062" y="45"/>
                  </a:cubicBezTo>
                  <a:cubicBezTo>
                    <a:pt x="1065" y="46"/>
                    <a:pt x="1067" y="48"/>
                    <a:pt x="1067" y="49"/>
                  </a:cubicBezTo>
                  <a:cubicBezTo>
                    <a:pt x="1066" y="51"/>
                    <a:pt x="1062" y="51"/>
                    <a:pt x="1058" y="51"/>
                  </a:cubicBezTo>
                  <a:cubicBezTo>
                    <a:pt x="1051" y="51"/>
                    <a:pt x="1046" y="53"/>
                    <a:pt x="1046" y="54"/>
                  </a:cubicBezTo>
                  <a:cubicBezTo>
                    <a:pt x="1046" y="54"/>
                    <a:pt x="1047" y="55"/>
                    <a:pt x="1048" y="55"/>
                  </a:cubicBezTo>
                  <a:cubicBezTo>
                    <a:pt x="1050" y="56"/>
                    <a:pt x="1051" y="57"/>
                    <a:pt x="1052" y="59"/>
                  </a:cubicBezTo>
                  <a:cubicBezTo>
                    <a:pt x="1053" y="60"/>
                    <a:pt x="1055" y="63"/>
                    <a:pt x="1061" y="64"/>
                  </a:cubicBezTo>
                  <a:cubicBezTo>
                    <a:pt x="1062" y="64"/>
                    <a:pt x="1063" y="64"/>
                    <a:pt x="1064" y="64"/>
                  </a:cubicBezTo>
                  <a:cubicBezTo>
                    <a:pt x="1068" y="64"/>
                    <a:pt x="1073" y="62"/>
                    <a:pt x="1075" y="59"/>
                  </a:cubicBezTo>
                  <a:cubicBezTo>
                    <a:pt x="1077" y="57"/>
                    <a:pt x="1078" y="56"/>
                    <a:pt x="1077" y="54"/>
                  </a:cubicBezTo>
                  <a:cubicBezTo>
                    <a:pt x="1077" y="50"/>
                    <a:pt x="1091" y="47"/>
                    <a:pt x="1109" y="43"/>
                  </a:cubicBezTo>
                  <a:cubicBezTo>
                    <a:pt x="1112" y="43"/>
                    <a:pt x="1116" y="42"/>
                    <a:pt x="1118" y="42"/>
                  </a:cubicBezTo>
                  <a:cubicBezTo>
                    <a:pt x="1119" y="41"/>
                    <a:pt x="1120" y="41"/>
                    <a:pt x="1120" y="40"/>
                  </a:cubicBezTo>
                  <a:cubicBezTo>
                    <a:pt x="1121" y="39"/>
                    <a:pt x="1120" y="37"/>
                    <a:pt x="1119" y="36"/>
                  </a:cubicBezTo>
                  <a:cubicBezTo>
                    <a:pt x="1118" y="34"/>
                    <a:pt x="1117" y="32"/>
                    <a:pt x="1118" y="31"/>
                  </a:cubicBezTo>
                  <a:cubicBezTo>
                    <a:pt x="1119" y="30"/>
                    <a:pt x="1120" y="30"/>
                    <a:pt x="1122" y="30"/>
                  </a:cubicBezTo>
                  <a:cubicBezTo>
                    <a:pt x="1125" y="29"/>
                    <a:pt x="1126" y="28"/>
                    <a:pt x="1126" y="28"/>
                  </a:cubicBezTo>
                  <a:cubicBezTo>
                    <a:pt x="1127" y="27"/>
                    <a:pt x="1123" y="25"/>
                    <a:pt x="1116" y="24"/>
                  </a:cubicBezTo>
                  <a:cubicBezTo>
                    <a:pt x="1108" y="22"/>
                    <a:pt x="1107" y="18"/>
                    <a:pt x="1106" y="14"/>
                  </a:cubicBezTo>
                  <a:cubicBezTo>
                    <a:pt x="1106" y="11"/>
                    <a:pt x="1106" y="10"/>
                    <a:pt x="1105" y="8"/>
                  </a:cubicBezTo>
                  <a:cubicBezTo>
                    <a:pt x="1104" y="8"/>
                    <a:pt x="1103" y="8"/>
                    <a:pt x="1103" y="8"/>
                  </a:cubicBezTo>
                  <a:cubicBezTo>
                    <a:pt x="1102" y="8"/>
                    <a:pt x="1101" y="9"/>
                    <a:pt x="1099" y="10"/>
                  </a:cubicBezTo>
                  <a:cubicBezTo>
                    <a:pt x="1096" y="11"/>
                    <a:pt x="1092" y="14"/>
                    <a:pt x="1084" y="16"/>
                  </a:cubicBezTo>
                  <a:cubicBezTo>
                    <a:pt x="1071" y="19"/>
                    <a:pt x="1066" y="21"/>
                    <a:pt x="1066" y="23"/>
                  </a:cubicBezTo>
                  <a:cubicBezTo>
                    <a:pt x="1066" y="24"/>
                    <a:pt x="1067" y="24"/>
                    <a:pt x="1068" y="25"/>
                  </a:cubicBezTo>
                  <a:cubicBezTo>
                    <a:pt x="1070" y="26"/>
                    <a:pt x="1071" y="28"/>
                    <a:pt x="1070" y="30"/>
                  </a:cubicBezTo>
                  <a:cubicBezTo>
                    <a:pt x="1070" y="33"/>
                    <a:pt x="1066" y="36"/>
                    <a:pt x="1061" y="36"/>
                  </a:cubicBezTo>
                  <a:cubicBezTo>
                    <a:pt x="1061" y="36"/>
                    <a:pt x="1061" y="36"/>
                    <a:pt x="1060" y="36"/>
                  </a:cubicBezTo>
                  <a:close/>
                  <a:moveTo>
                    <a:pt x="548" y="51"/>
                  </a:moveTo>
                  <a:cubicBezTo>
                    <a:pt x="548" y="51"/>
                    <a:pt x="548" y="51"/>
                    <a:pt x="548" y="51"/>
                  </a:cubicBezTo>
                  <a:cubicBezTo>
                    <a:pt x="542" y="51"/>
                    <a:pt x="538" y="51"/>
                    <a:pt x="536" y="49"/>
                  </a:cubicBezTo>
                  <a:cubicBezTo>
                    <a:pt x="534" y="48"/>
                    <a:pt x="534" y="46"/>
                    <a:pt x="534" y="44"/>
                  </a:cubicBezTo>
                  <a:cubicBezTo>
                    <a:pt x="535" y="41"/>
                    <a:pt x="540" y="39"/>
                    <a:pt x="545" y="39"/>
                  </a:cubicBezTo>
                  <a:cubicBezTo>
                    <a:pt x="550" y="39"/>
                    <a:pt x="554" y="39"/>
                    <a:pt x="555" y="38"/>
                  </a:cubicBezTo>
                  <a:cubicBezTo>
                    <a:pt x="555" y="38"/>
                    <a:pt x="555" y="37"/>
                    <a:pt x="555" y="36"/>
                  </a:cubicBezTo>
                  <a:cubicBezTo>
                    <a:pt x="555" y="36"/>
                    <a:pt x="555" y="36"/>
                    <a:pt x="555" y="35"/>
                  </a:cubicBezTo>
                  <a:cubicBezTo>
                    <a:pt x="556" y="34"/>
                    <a:pt x="558" y="34"/>
                    <a:pt x="563" y="34"/>
                  </a:cubicBezTo>
                  <a:cubicBezTo>
                    <a:pt x="570" y="34"/>
                    <a:pt x="582" y="35"/>
                    <a:pt x="584" y="38"/>
                  </a:cubicBezTo>
                  <a:cubicBezTo>
                    <a:pt x="584" y="39"/>
                    <a:pt x="584" y="40"/>
                    <a:pt x="584" y="40"/>
                  </a:cubicBezTo>
                  <a:cubicBezTo>
                    <a:pt x="583" y="43"/>
                    <a:pt x="580" y="43"/>
                    <a:pt x="577" y="43"/>
                  </a:cubicBezTo>
                  <a:cubicBezTo>
                    <a:pt x="573" y="44"/>
                    <a:pt x="570" y="44"/>
                    <a:pt x="568" y="46"/>
                  </a:cubicBezTo>
                  <a:cubicBezTo>
                    <a:pt x="566" y="50"/>
                    <a:pt x="556" y="51"/>
                    <a:pt x="548" y="51"/>
                  </a:cubicBezTo>
                  <a:close/>
                  <a:moveTo>
                    <a:pt x="563" y="35"/>
                  </a:moveTo>
                  <a:cubicBezTo>
                    <a:pt x="558" y="35"/>
                    <a:pt x="556" y="36"/>
                    <a:pt x="556" y="36"/>
                  </a:cubicBezTo>
                  <a:cubicBezTo>
                    <a:pt x="557" y="37"/>
                    <a:pt x="556" y="38"/>
                    <a:pt x="556" y="39"/>
                  </a:cubicBezTo>
                  <a:cubicBezTo>
                    <a:pt x="555" y="40"/>
                    <a:pt x="552" y="40"/>
                    <a:pt x="545" y="40"/>
                  </a:cubicBezTo>
                  <a:cubicBezTo>
                    <a:pt x="539" y="40"/>
                    <a:pt x="536" y="43"/>
                    <a:pt x="535" y="45"/>
                  </a:cubicBezTo>
                  <a:cubicBezTo>
                    <a:pt x="535" y="46"/>
                    <a:pt x="535" y="47"/>
                    <a:pt x="537" y="48"/>
                  </a:cubicBezTo>
                  <a:cubicBezTo>
                    <a:pt x="538" y="50"/>
                    <a:pt x="543" y="50"/>
                    <a:pt x="548" y="50"/>
                  </a:cubicBezTo>
                  <a:cubicBezTo>
                    <a:pt x="548" y="50"/>
                    <a:pt x="548" y="50"/>
                    <a:pt x="548" y="50"/>
                  </a:cubicBezTo>
                  <a:cubicBezTo>
                    <a:pt x="556" y="50"/>
                    <a:pt x="565" y="49"/>
                    <a:pt x="568" y="46"/>
                  </a:cubicBezTo>
                  <a:cubicBezTo>
                    <a:pt x="570" y="43"/>
                    <a:pt x="573" y="43"/>
                    <a:pt x="577" y="42"/>
                  </a:cubicBezTo>
                  <a:cubicBezTo>
                    <a:pt x="580" y="42"/>
                    <a:pt x="582" y="42"/>
                    <a:pt x="583" y="40"/>
                  </a:cubicBezTo>
                  <a:cubicBezTo>
                    <a:pt x="583" y="39"/>
                    <a:pt x="583" y="39"/>
                    <a:pt x="583" y="39"/>
                  </a:cubicBezTo>
                  <a:cubicBezTo>
                    <a:pt x="581" y="37"/>
                    <a:pt x="571" y="35"/>
                    <a:pt x="563" y="35"/>
                  </a:cubicBezTo>
                  <a:close/>
                  <a:moveTo>
                    <a:pt x="420" y="47"/>
                  </a:moveTo>
                  <a:cubicBezTo>
                    <a:pt x="414" y="47"/>
                    <a:pt x="407" y="46"/>
                    <a:pt x="405" y="43"/>
                  </a:cubicBezTo>
                  <a:cubicBezTo>
                    <a:pt x="405" y="42"/>
                    <a:pt x="405" y="41"/>
                    <a:pt x="405" y="40"/>
                  </a:cubicBezTo>
                  <a:cubicBezTo>
                    <a:pt x="406" y="39"/>
                    <a:pt x="409" y="38"/>
                    <a:pt x="412" y="38"/>
                  </a:cubicBezTo>
                  <a:cubicBezTo>
                    <a:pt x="415" y="37"/>
                    <a:pt x="418" y="36"/>
                    <a:pt x="419" y="35"/>
                  </a:cubicBezTo>
                  <a:cubicBezTo>
                    <a:pt x="421" y="32"/>
                    <a:pt x="426" y="32"/>
                    <a:pt x="432" y="31"/>
                  </a:cubicBezTo>
                  <a:cubicBezTo>
                    <a:pt x="435" y="30"/>
                    <a:pt x="440" y="30"/>
                    <a:pt x="440" y="29"/>
                  </a:cubicBezTo>
                  <a:cubicBezTo>
                    <a:pt x="440" y="29"/>
                    <a:pt x="440" y="28"/>
                    <a:pt x="439" y="28"/>
                  </a:cubicBezTo>
                  <a:cubicBezTo>
                    <a:pt x="438" y="27"/>
                    <a:pt x="437" y="26"/>
                    <a:pt x="438" y="24"/>
                  </a:cubicBezTo>
                  <a:cubicBezTo>
                    <a:pt x="439" y="21"/>
                    <a:pt x="445" y="18"/>
                    <a:pt x="452" y="18"/>
                  </a:cubicBezTo>
                  <a:cubicBezTo>
                    <a:pt x="455" y="18"/>
                    <a:pt x="457" y="19"/>
                    <a:pt x="460" y="20"/>
                  </a:cubicBezTo>
                  <a:cubicBezTo>
                    <a:pt x="466" y="23"/>
                    <a:pt x="469" y="25"/>
                    <a:pt x="468" y="27"/>
                  </a:cubicBezTo>
                  <a:cubicBezTo>
                    <a:pt x="468" y="29"/>
                    <a:pt x="465" y="31"/>
                    <a:pt x="459" y="31"/>
                  </a:cubicBezTo>
                  <a:cubicBezTo>
                    <a:pt x="447" y="32"/>
                    <a:pt x="443" y="36"/>
                    <a:pt x="442" y="40"/>
                  </a:cubicBezTo>
                  <a:cubicBezTo>
                    <a:pt x="442" y="42"/>
                    <a:pt x="439" y="42"/>
                    <a:pt x="436" y="42"/>
                  </a:cubicBezTo>
                  <a:cubicBezTo>
                    <a:pt x="433" y="42"/>
                    <a:pt x="431" y="42"/>
                    <a:pt x="431" y="44"/>
                  </a:cubicBezTo>
                  <a:cubicBezTo>
                    <a:pt x="431" y="45"/>
                    <a:pt x="429" y="46"/>
                    <a:pt x="427" y="47"/>
                  </a:cubicBezTo>
                  <a:cubicBezTo>
                    <a:pt x="426" y="47"/>
                    <a:pt x="423" y="47"/>
                    <a:pt x="420" y="47"/>
                  </a:cubicBezTo>
                  <a:close/>
                  <a:moveTo>
                    <a:pt x="452" y="19"/>
                  </a:moveTo>
                  <a:cubicBezTo>
                    <a:pt x="445" y="19"/>
                    <a:pt x="440" y="22"/>
                    <a:pt x="439" y="25"/>
                  </a:cubicBezTo>
                  <a:cubicBezTo>
                    <a:pt x="438" y="26"/>
                    <a:pt x="439" y="26"/>
                    <a:pt x="440" y="27"/>
                  </a:cubicBezTo>
                  <a:cubicBezTo>
                    <a:pt x="440" y="27"/>
                    <a:pt x="441" y="28"/>
                    <a:pt x="441" y="29"/>
                  </a:cubicBezTo>
                  <a:cubicBezTo>
                    <a:pt x="441" y="31"/>
                    <a:pt x="437" y="31"/>
                    <a:pt x="432" y="32"/>
                  </a:cubicBezTo>
                  <a:cubicBezTo>
                    <a:pt x="427" y="32"/>
                    <a:pt x="421" y="33"/>
                    <a:pt x="420" y="35"/>
                  </a:cubicBezTo>
                  <a:cubicBezTo>
                    <a:pt x="419" y="37"/>
                    <a:pt x="415" y="38"/>
                    <a:pt x="412" y="39"/>
                  </a:cubicBezTo>
                  <a:cubicBezTo>
                    <a:pt x="409" y="39"/>
                    <a:pt x="407" y="40"/>
                    <a:pt x="406" y="41"/>
                  </a:cubicBezTo>
                  <a:cubicBezTo>
                    <a:pt x="406" y="42"/>
                    <a:pt x="406" y="42"/>
                    <a:pt x="406" y="42"/>
                  </a:cubicBezTo>
                  <a:cubicBezTo>
                    <a:pt x="408" y="45"/>
                    <a:pt x="415" y="46"/>
                    <a:pt x="420" y="46"/>
                  </a:cubicBezTo>
                  <a:cubicBezTo>
                    <a:pt x="423" y="46"/>
                    <a:pt x="425" y="46"/>
                    <a:pt x="427" y="46"/>
                  </a:cubicBezTo>
                  <a:cubicBezTo>
                    <a:pt x="429" y="45"/>
                    <a:pt x="430" y="44"/>
                    <a:pt x="430" y="44"/>
                  </a:cubicBezTo>
                  <a:cubicBezTo>
                    <a:pt x="430" y="41"/>
                    <a:pt x="433" y="41"/>
                    <a:pt x="436" y="41"/>
                  </a:cubicBezTo>
                  <a:cubicBezTo>
                    <a:pt x="438" y="41"/>
                    <a:pt x="441" y="41"/>
                    <a:pt x="441" y="39"/>
                  </a:cubicBezTo>
                  <a:cubicBezTo>
                    <a:pt x="441" y="38"/>
                    <a:pt x="443" y="31"/>
                    <a:pt x="459" y="30"/>
                  </a:cubicBezTo>
                  <a:cubicBezTo>
                    <a:pt x="466" y="29"/>
                    <a:pt x="467" y="28"/>
                    <a:pt x="467" y="27"/>
                  </a:cubicBezTo>
                  <a:cubicBezTo>
                    <a:pt x="468" y="25"/>
                    <a:pt x="465" y="23"/>
                    <a:pt x="459" y="21"/>
                  </a:cubicBezTo>
                  <a:cubicBezTo>
                    <a:pt x="457" y="20"/>
                    <a:pt x="455" y="19"/>
                    <a:pt x="452" y="19"/>
                  </a:cubicBezTo>
                  <a:close/>
                  <a:moveTo>
                    <a:pt x="493" y="46"/>
                  </a:moveTo>
                  <a:cubicBezTo>
                    <a:pt x="493" y="46"/>
                    <a:pt x="493" y="46"/>
                    <a:pt x="493" y="46"/>
                  </a:cubicBezTo>
                  <a:cubicBezTo>
                    <a:pt x="489" y="46"/>
                    <a:pt x="484" y="45"/>
                    <a:pt x="482" y="44"/>
                  </a:cubicBezTo>
                  <a:cubicBezTo>
                    <a:pt x="481" y="44"/>
                    <a:pt x="481" y="43"/>
                    <a:pt x="481" y="43"/>
                  </a:cubicBezTo>
                  <a:cubicBezTo>
                    <a:pt x="481" y="41"/>
                    <a:pt x="490" y="38"/>
                    <a:pt x="495" y="38"/>
                  </a:cubicBezTo>
                  <a:cubicBezTo>
                    <a:pt x="500" y="38"/>
                    <a:pt x="501" y="40"/>
                    <a:pt x="501" y="42"/>
                  </a:cubicBezTo>
                  <a:cubicBezTo>
                    <a:pt x="501" y="43"/>
                    <a:pt x="500" y="45"/>
                    <a:pt x="498" y="45"/>
                  </a:cubicBezTo>
                  <a:cubicBezTo>
                    <a:pt x="497" y="46"/>
                    <a:pt x="496" y="46"/>
                    <a:pt x="493" y="46"/>
                  </a:cubicBezTo>
                  <a:close/>
                  <a:moveTo>
                    <a:pt x="482" y="43"/>
                  </a:moveTo>
                  <a:cubicBezTo>
                    <a:pt x="482" y="43"/>
                    <a:pt x="482" y="43"/>
                    <a:pt x="482" y="43"/>
                  </a:cubicBezTo>
                  <a:cubicBezTo>
                    <a:pt x="484" y="44"/>
                    <a:pt x="489" y="45"/>
                    <a:pt x="493" y="45"/>
                  </a:cubicBezTo>
                  <a:cubicBezTo>
                    <a:pt x="495" y="45"/>
                    <a:pt x="497" y="45"/>
                    <a:pt x="498" y="45"/>
                  </a:cubicBezTo>
                  <a:cubicBezTo>
                    <a:pt x="499" y="44"/>
                    <a:pt x="500" y="43"/>
                    <a:pt x="500" y="42"/>
                  </a:cubicBezTo>
                  <a:cubicBezTo>
                    <a:pt x="500" y="40"/>
                    <a:pt x="498" y="39"/>
                    <a:pt x="495" y="39"/>
                  </a:cubicBezTo>
                  <a:cubicBezTo>
                    <a:pt x="490" y="39"/>
                    <a:pt x="483" y="42"/>
                    <a:pt x="482" y="43"/>
                  </a:cubicBezTo>
                  <a:close/>
                  <a:moveTo>
                    <a:pt x="600" y="37"/>
                  </a:moveTo>
                  <a:cubicBezTo>
                    <a:pt x="600" y="37"/>
                    <a:pt x="600" y="37"/>
                    <a:pt x="600" y="37"/>
                  </a:cubicBezTo>
                  <a:cubicBezTo>
                    <a:pt x="595" y="37"/>
                    <a:pt x="590" y="36"/>
                    <a:pt x="588" y="33"/>
                  </a:cubicBezTo>
                  <a:cubicBezTo>
                    <a:pt x="587" y="33"/>
                    <a:pt x="586" y="32"/>
                    <a:pt x="586" y="31"/>
                  </a:cubicBezTo>
                  <a:cubicBezTo>
                    <a:pt x="586" y="29"/>
                    <a:pt x="590" y="27"/>
                    <a:pt x="593" y="25"/>
                  </a:cubicBezTo>
                  <a:cubicBezTo>
                    <a:pt x="596" y="23"/>
                    <a:pt x="599" y="21"/>
                    <a:pt x="599" y="20"/>
                  </a:cubicBezTo>
                  <a:cubicBezTo>
                    <a:pt x="598" y="19"/>
                    <a:pt x="599" y="19"/>
                    <a:pt x="599" y="18"/>
                  </a:cubicBezTo>
                  <a:cubicBezTo>
                    <a:pt x="600" y="17"/>
                    <a:pt x="606" y="16"/>
                    <a:pt x="609" y="16"/>
                  </a:cubicBezTo>
                  <a:cubicBezTo>
                    <a:pt x="614" y="16"/>
                    <a:pt x="623" y="17"/>
                    <a:pt x="623" y="20"/>
                  </a:cubicBezTo>
                  <a:cubicBezTo>
                    <a:pt x="624" y="22"/>
                    <a:pt x="625" y="22"/>
                    <a:pt x="627" y="23"/>
                  </a:cubicBezTo>
                  <a:cubicBezTo>
                    <a:pt x="629" y="24"/>
                    <a:pt x="630" y="25"/>
                    <a:pt x="630" y="26"/>
                  </a:cubicBezTo>
                  <a:cubicBezTo>
                    <a:pt x="630" y="27"/>
                    <a:pt x="630" y="27"/>
                    <a:pt x="630" y="28"/>
                  </a:cubicBezTo>
                  <a:cubicBezTo>
                    <a:pt x="627" y="31"/>
                    <a:pt x="612" y="37"/>
                    <a:pt x="600" y="37"/>
                  </a:cubicBezTo>
                  <a:close/>
                  <a:moveTo>
                    <a:pt x="609" y="17"/>
                  </a:moveTo>
                  <a:cubicBezTo>
                    <a:pt x="604" y="17"/>
                    <a:pt x="600" y="18"/>
                    <a:pt x="600" y="19"/>
                  </a:cubicBezTo>
                  <a:cubicBezTo>
                    <a:pt x="600" y="19"/>
                    <a:pt x="599" y="19"/>
                    <a:pt x="600" y="20"/>
                  </a:cubicBezTo>
                  <a:cubicBezTo>
                    <a:pt x="600" y="22"/>
                    <a:pt x="597" y="24"/>
                    <a:pt x="593" y="26"/>
                  </a:cubicBezTo>
                  <a:cubicBezTo>
                    <a:pt x="591" y="28"/>
                    <a:pt x="587" y="30"/>
                    <a:pt x="587" y="31"/>
                  </a:cubicBezTo>
                  <a:cubicBezTo>
                    <a:pt x="587" y="32"/>
                    <a:pt x="588" y="32"/>
                    <a:pt x="588" y="33"/>
                  </a:cubicBezTo>
                  <a:cubicBezTo>
                    <a:pt x="591" y="35"/>
                    <a:pt x="595" y="36"/>
                    <a:pt x="600" y="36"/>
                  </a:cubicBezTo>
                  <a:cubicBezTo>
                    <a:pt x="612" y="36"/>
                    <a:pt x="627" y="30"/>
                    <a:pt x="629" y="28"/>
                  </a:cubicBezTo>
                  <a:cubicBezTo>
                    <a:pt x="629" y="27"/>
                    <a:pt x="629" y="27"/>
                    <a:pt x="629" y="26"/>
                  </a:cubicBezTo>
                  <a:cubicBezTo>
                    <a:pt x="629" y="25"/>
                    <a:pt x="628" y="25"/>
                    <a:pt x="627" y="24"/>
                  </a:cubicBezTo>
                  <a:cubicBezTo>
                    <a:pt x="625" y="23"/>
                    <a:pt x="623" y="22"/>
                    <a:pt x="622" y="20"/>
                  </a:cubicBezTo>
                  <a:cubicBezTo>
                    <a:pt x="622" y="19"/>
                    <a:pt x="616" y="17"/>
                    <a:pt x="609" y="17"/>
                  </a:cubicBezTo>
                  <a:close/>
                  <a:moveTo>
                    <a:pt x="388" y="36"/>
                  </a:moveTo>
                  <a:cubicBezTo>
                    <a:pt x="388" y="36"/>
                    <a:pt x="388" y="36"/>
                    <a:pt x="388" y="36"/>
                  </a:cubicBezTo>
                  <a:cubicBezTo>
                    <a:pt x="382" y="36"/>
                    <a:pt x="376" y="33"/>
                    <a:pt x="375" y="31"/>
                  </a:cubicBezTo>
                  <a:cubicBezTo>
                    <a:pt x="375" y="30"/>
                    <a:pt x="375" y="29"/>
                    <a:pt x="375" y="29"/>
                  </a:cubicBezTo>
                  <a:cubicBezTo>
                    <a:pt x="376" y="27"/>
                    <a:pt x="380" y="27"/>
                    <a:pt x="384" y="27"/>
                  </a:cubicBezTo>
                  <a:cubicBezTo>
                    <a:pt x="389" y="26"/>
                    <a:pt x="394" y="26"/>
                    <a:pt x="398" y="24"/>
                  </a:cubicBezTo>
                  <a:cubicBezTo>
                    <a:pt x="400" y="23"/>
                    <a:pt x="405" y="22"/>
                    <a:pt x="411" y="22"/>
                  </a:cubicBezTo>
                  <a:cubicBezTo>
                    <a:pt x="416" y="22"/>
                    <a:pt x="422" y="23"/>
                    <a:pt x="424" y="25"/>
                  </a:cubicBezTo>
                  <a:cubicBezTo>
                    <a:pt x="424" y="26"/>
                    <a:pt x="424" y="26"/>
                    <a:pt x="424" y="27"/>
                  </a:cubicBezTo>
                  <a:cubicBezTo>
                    <a:pt x="423" y="28"/>
                    <a:pt x="422" y="28"/>
                    <a:pt x="421" y="28"/>
                  </a:cubicBezTo>
                  <a:cubicBezTo>
                    <a:pt x="420" y="28"/>
                    <a:pt x="418" y="28"/>
                    <a:pt x="417" y="28"/>
                  </a:cubicBezTo>
                  <a:cubicBezTo>
                    <a:pt x="415" y="28"/>
                    <a:pt x="413" y="28"/>
                    <a:pt x="411" y="28"/>
                  </a:cubicBezTo>
                  <a:cubicBezTo>
                    <a:pt x="406" y="28"/>
                    <a:pt x="402" y="29"/>
                    <a:pt x="399" y="32"/>
                  </a:cubicBezTo>
                  <a:cubicBezTo>
                    <a:pt x="396" y="35"/>
                    <a:pt x="392" y="36"/>
                    <a:pt x="388" y="36"/>
                  </a:cubicBezTo>
                  <a:close/>
                  <a:moveTo>
                    <a:pt x="411" y="23"/>
                  </a:moveTo>
                  <a:cubicBezTo>
                    <a:pt x="405" y="23"/>
                    <a:pt x="401" y="24"/>
                    <a:pt x="398" y="25"/>
                  </a:cubicBezTo>
                  <a:cubicBezTo>
                    <a:pt x="395" y="27"/>
                    <a:pt x="389" y="27"/>
                    <a:pt x="384" y="28"/>
                  </a:cubicBezTo>
                  <a:cubicBezTo>
                    <a:pt x="381" y="28"/>
                    <a:pt x="377" y="28"/>
                    <a:pt x="376" y="29"/>
                  </a:cubicBezTo>
                  <a:cubicBezTo>
                    <a:pt x="376" y="30"/>
                    <a:pt x="376" y="30"/>
                    <a:pt x="376" y="30"/>
                  </a:cubicBezTo>
                  <a:cubicBezTo>
                    <a:pt x="377" y="32"/>
                    <a:pt x="382" y="35"/>
                    <a:pt x="388" y="35"/>
                  </a:cubicBezTo>
                  <a:cubicBezTo>
                    <a:pt x="388" y="35"/>
                    <a:pt x="388" y="35"/>
                    <a:pt x="388" y="35"/>
                  </a:cubicBezTo>
                  <a:cubicBezTo>
                    <a:pt x="392" y="35"/>
                    <a:pt x="396" y="34"/>
                    <a:pt x="399" y="31"/>
                  </a:cubicBezTo>
                  <a:cubicBezTo>
                    <a:pt x="402" y="28"/>
                    <a:pt x="406" y="27"/>
                    <a:pt x="411" y="27"/>
                  </a:cubicBezTo>
                  <a:cubicBezTo>
                    <a:pt x="413" y="27"/>
                    <a:pt x="415" y="27"/>
                    <a:pt x="417" y="27"/>
                  </a:cubicBezTo>
                  <a:cubicBezTo>
                    <a:pt x="419" y="27"/>
                    <a:pt x="420" y="27"/>
                    <a:pt x="421" y="27"/>
                  </a:cubicBezTo>
                  <a:cubicBezTo>
                    <a:pt x="422" y="27"/>
                    <a:pt x="423" y="27"/>
                    <a:pt x="423" y="26"/>
                  </a:cubicBezTo>
                  <a:cubicBezTo>
                    <a:pt x="423" y="26"/>
                    <a:pt x="423" y="26"/>
                    <a:pt x="423" y="26"/>
                  </a:cubicBezTo>
                  <a:cubicBezTo>
                    <a:pt x="422" y="24"/>
                    <a:pt x="417" y="23"/>
                    <a:pt x="411" y="23"/>
                  </a:cubicBezTo>
                  <a:close/>
                  <a:moveTo>
                    <a:pt x="530" y="31"/>
                  </a:moveTo>
                  <a:cubicBezTo>
                    <a:pt x="520" y="31"/>
                    <a:pt x="513" y="29"/>
                    <a:pt x="510" y="26"/>
                  </a:cubicBezTo>
                  <a:cubicBezTo>
                    <a:pt x="509" y="26"/>
                    <a:pt x="509" y="25"/>
                    <a:pt x="509" y="25"/>
                  </a:cubicBezTo>
                  <a:cubicBezTo>
                    <a:pt x="510" y="23"/>
                    <a:pt x="513" y="22"/>
                    <a:pt x="518" y="20"/>
                  </a:cubicBezTo>
                  <a:cubicBezTo>
                    <a:pt x="521" y="19"/>
                    <a:pt x="525" y="18"/>
                    <a:pt x="525" y="17"/>
                  </a:cubicBezTo>
                  <a:cubicBezTo>
                    <a:pt x="525" y="17"/>
                    <a:pt x="525" y="17"/>
                    <a:pt x="525" y="17"/>
                  </a:cubicBezTo>
                  <a:cubicBezTo>
                    <a:pt x="523" y="15"/>
                    <a:pt x="521" y="13"/>
                    <a:pt x="522" y="12"/>
                  </a:cubicBezTo>
                  <a:cubicBezTo>
                    <a:pt x="522" y="11"/>
                    <a:pt x="523" y="11"/>
                    <a:pt x="524" y="11"/>
                  </a:cubicBezTo>
                  <a:cubicBezTo>
                    <a:pt x="527" y="11"/>
                    <a:pt x="531" y="12"/>
                    <a:pt x="536" y="14"/>
                  </a:cubicBezTo>
                  <a:cubicBezTo>
                    <a:pt x="540" y="16"/>
                    <a:pt x="544" y="16"/>
                    <a:pt x="547" y="16"/>
                  </a:cubicBezTo>
                  <a:cubicBezTo>
                    <a:pt x="548" y="16"/>
                    <a:pt x="549" y="16"/>
                    <a:pt x="551" y="16"/>
                  </a:cubicBezTo>
                  <a:cubicBezTo>
                    <a:pt x="552" y="16"/>
                    <a:pt x="553" y="16"/>
                    <a:pt x="554" y="16"/>
                  </a:cubicBezTo>
                  <a:cubicBezTo>
                    <a:pt x="557" y="16"/>
                    <a:pt x="559" y="16"/>
                    <a:pt x="560" y="17"/>
                  </a:cubicBezTo>
                  <a:cubicBezTo>
                    <a:pt x="561" y="18"/>
                    <a:pt x="562" y="19"/>
                    <a:pt x="561" y="21"/>
                  </a:cubicBezTo>
                  <a:cubicBezTo>
                    <a:pt x="560" y="27"/>
                    <a:pt x="544" y="31"/>
                    <a:pt x="530" y="31"/>
                  </a:cubicBezTo>
                  <a:close/>
                  <a:moveTo>
                    <a:pt x="524" y="12"/>
                  </a:moveTo>
                  <a:cubicBezTo>
                    <a:pt x="523" y="12"/>
                    <a:pt x="523" y="12"/>
                    <a:pt x="523" y="12"/>
                  </a:cubicBezTo>
                  <a:cubicBezTo>
                    <a:pt x="523" y="13"/>
                    <a:pt x="523" y="14"/>
                    <a:pt x="526" y="16"/>
                  </a:cubicBezTo>
                  <a:cubicBezTo>
                    <a:pt x="526" y="17"/>
                    <a:pt x="526" y="17"/>
                    <a:pt x="526" y="18"/>
                  </a:cubicBezTo>
                  <a:cubicBezTo>
                    <a:pt x="526" y="19"/>
                    <a:pt x="523" y="20"/>
                    <a:pt x="518" y="21"/>
                  </a:cubicBezTo>
                  <a:cubicBezTo>
                    <a:pt x="515" y="22"/>
                    <a:pt x="510" y="24"/>
                    <a:pt x="510" y="25"/>
                  </a:cubicBezTo>
                  <a:cubicBezTo>
                    <a:pt x="510" y="25"/>
                    <a:pt x="510" y="25"/>
                    <a:pt x="510" y="25"/>
                  </a:cubicBezTo>
                  <a:cubicBezTo>
                    <a:pt x="513" y="28"/>
                    <a:pt x="520" y="30"/>
                    <a:pt x="530" y="30"/>
                  </a:cubicBezTo>
                  <a:cubicBezTo>
                    <a:pt x="544" y="30"/>
                    <a:pt x="560" y="26"/>
                    <a:pt x="560" y="21"/>
                  </a:cubicBezTo>
                  <a:cubicBezTo>
                    <a:pt x="560" y="20"/>
                    <a:pt x="560" y="19"/>
                    <a:pt x="560" y="18"/>
                  </a:cubicBezTo>
                  <a:cubicBezTo>
                    <a:pt x="559" y="17"/>
                    <a:pt x="556" y="17"/>
                    <a:pt x="554" y="17"/>
                  </a:cubicBezTo>
                  <a:cubicBezTo>
                    <a:pt x="553" y="17"/>
                    <a:pt x="552" y="17"/>
                    <a:pt x="551" y="17"/>
                  </a:cubicBezTo>
                  <a:cubicBezTo>
                    <a:pt x="550" y="17"/>
                    <a:pt x="548" y="17"/>
                    <a:pt x="547" y="17"/>
                  </a:cubicBezTo>
                  <a:cubicBezTo>
                    <a:pt x="544" y="17"/>
                    <a:pt x="539" y="17"/>
                    <a:pt x="536" y="15"/>
                  </a:cubicBezTo>
                  <a:cubicBezTo>
                    <a:pt x="531" y="13"/>
                    <a:pt x="527" y="12"/>
                    <a:pt x="524" y="12"/>
                  </a:cubicBezTo>
                  <a:close/>
                  <a:moveTo>
                    <a:pt x="646" y="28"/>
                  </a:moveTo>
                  <a:cubicBezTo>
                    <a:pt x="641" y="28"/>
                    <a:pt x="638" y="27"/>
                    <a:pt x="636" y="25"/>
                  </a:cubicBezTo>
                  <a:cubicBezTo>
                    <a:pt x="635" y="24"/>
                    <a:pt x="635" y="23"/>
                    <a:pt x="636" y="23"/>
                  </a:cubicBezTo>
                  <a:cubicBezTo>
                    <a:pt x="637" y="20"/>
                    <a:pt x="649" y="17"/>
                    <a:pt x="653" y="17"/>
                  </a:cubicBezTo>
                  <a:cubicBezTo>
                    <a:pt x="653" y="17"/>
                    <a:pt x="653" y="17"/>
                    <a:pt x="654" y="18"/>
                  </a:cubicBezTo>
                  <a:cubicBezTo>
                    <a:pt x="655" y="18"/>
                    <a:pt x="656" y="17"/>
                    <a:pt x="658" y="16"/>
                  </a:cubicBezTo>
                  <a:cubicBezTo>
                    <a:pt x="659" y="14"/>
                    <a:pt x="662" y="13"/>
                    <a:pt x="665" y="13"/>
                  </a:cubicBezTo>
                  <a:cubicBezTo>
                    <a:pt x="666" y="13"/>
                    <a:pt x="667" y="13"/>
                    <a:pt x="668" y="13"/>
                  </a:cubicBezTo>
                  <a:cubicBezTo>
                    <a:pt x="672" y="14"/>
                    <a:pt x="674" y="16"/>
                    <a:pt x="674" y="19"/>
                  </a:cubicBezTo>
                  <a:cubicBezTo>
                    <a:pt x="674" y="22"/>
                    <a:pt x="670" y="25"/>
                    <a:pt x="661" y="26"/>
                  </a:cubicBezTo>
                  <a:cubicBezTo>
                    <a:pt x="660" y="26"/>
                    <a:pt x="658" y="27"/>
                    <a:pt x="657" y="27"/>
                  </a:cubicBezTo>
                  <a:cubicBezTo>
                    <a:pt x="654" y="27"/>
                    <a:pt x="649" y="28"/>
                    <a:pt x="646" y="28"/>
                  </a:cubicBezTo>
                  <a:close/>
                  <a:moveTo>
                    <a:pt x="653" y="18"/>
                  </a:moveTo>
                  <a:cubicBezTo>
                    <a:pt x="648" y="18"/>
                    <a:pt x="638" y="21"/>
                    <a:pt x="637" y="23"/>
                  </a:cubicBezTo>
                  <a:cubicBezTo>
                    <a:pt x="636" y="23"/>
                    <a:pt x="636" y="24"/>
                    <a:pt x="637" y="24"/>
                  </a:cubicBezTo>
                  <a:cubicBezTo>
                    <a:pt x="638" y="26"/>
                    <a:pt x="641" y="27"/>
                    <a:pt x="646" y="27"/>
                  </a:cubicBezTo>
                  <a:cubicBezTo>
                    <a:pt x="649" y="27"/>
                    <a:pt x="653" y="26"/>
                    <a:pt x="657" y="26"/>
                  </a:cubicBezTo>
                  <a:cubicBezTo>
                    <a:pt x="658" y="26"/>
                    <a:pt x="659" y="25"/>
                    <a:pt x="661" y="25"/>
                  </a:cubicBezTo>
                  <a:cubicBezTo>
                    <a:pt x="670" y="24"/>
                    <a:pt x="673" y="21"/>
                    <a:pt x="673" y="19"/>
                  </a:cubicBezTo>
                  <a:cubicBezTo>
                    <a:pt x="673" y="16"/>
                    <a:pt x="671" y="14"/>
                    <a:pt x="668" y="14"/>
                  </a:cubicBezTo>
                  <a:cubicBezTo>
                    <a:pt x="667" y="14"/>
                    <a:pt x="666" y="14"/>
                    <a:pt x="665" y="14"/>
                  </a:cubicBezTo>
                  <a:cubicBezTo>
                    <a:pt x="662" y="14"/>
                    <a:pt x="660" y="15"/>
                    <a:pt x="658" y="16"/>
                  </a:cubicBezTo>
                  <a:cubicBezTo>
                    <a:pt x="657" y="18"/>
                    <a:pt x="656" y="19"/>
                    <a:pt x="654" y="19"/>
                  </a:cubicBezTo>
                  <a:cubicBezTo>
                    <a:pt x="653" y="18"/>
                    <a:pt x="653" y="18"/>
                    <a:pt x="653" y="18"/>
                  </a:cubicBezTo>
                  <a:close/>
                  <a:moveTo>
                    <a:pt x="1040" y="20"/>
                  </a:moveTo>
                  <a:cubicBezTo>
                    <a:pt x="1036" y="20"/>
                    <a:pt x="1032" y="19"/>
                    <a:pt x="1031" y="18"/>
                  </a:cubicBezTo>
                  <a:cubicBezTo>
                    <a:pt x="1029" y="16"/>
                    <a:pt x="1029" y="15"/>
                    <a:pt x="1029" y="14"/>
                  </a:cubicBezTo>
                  <a:cubicBezTo>
                    <a:pt x="1030" y="12"/>
                    <a:pt x="1037" y="10"/>
                    <a:pt x="1042" y="10"/>
                  </a:cubicBezTo>
                  <a:cubicBezTo>
                    <a:pt x="1044" y="10"/>
                    <a:pt x="1049" y="11"/>
                    <a:pt x="1050" y="13"/>
                  </a:cubicBezTo>
                  <a:cubicBezTo>
                    <a:pt x="1051" y="13"/>
                    <a:pt x="1051" y="14"/>
                    <a:pt x="1051" y="15"/>
                  </a:cubicBezTo>
                  <a:cubicBezTo>
                    <a:pt x="1050" y="18"/>
                    <a:pt x="1046" y="20"/>
                    <a:pt x="1040" y="20"/>
                  </a:cubicBezTo>
                  <a:close/>
                  <a:moveTo>
                    <a:pt x="1042" y="11"/>
                  </a:moveTo>
                  <a:cubicBezTo>
                    <a:pt x="1036" y="11"/>
                    <a:pt x="1031" y="13"/>
                    <a:pt x="1030" y="15"/>
                  </a:cubicBezTo>
                  <a:cubicBezTo>
                    <a:pt x="1030" y="15"/>
                    <a:pt x="1030" y="16"/>
                    <a:pt x="1031" y="17"/>
                  </a:cubicBezTo>
                  <a:cubicBezTo>
                    <a:pt x="1032" y="18"/>
                    <a:pt x="1036" y="19"/>
                    <a:pt x="1040" y="19"/>
                  </a:cubicBezTo>
                  <a:cubicBezTo>
                    <a:pt x="1043" y="19"/>
                    <a:pt x="1049" y="18"/>
                    <a:pt x="1050" y="14"/>
                  </a:cubicBezTo>
                  <a:cubicBezTo>
                    <a:pt x="1050" y="14"/>
                    <a:pt x="1050" y="14"/>
                    <a:pt x="1050" y="13"/>
                  </a:cubicBezTo>
                  <a:cubicBezTo>
                    <a:pt x="1049" y="12"/>
                    <a:pt x="1046" y="11"/>
                    <a:pt x="1042" y="11"/>
                  </a:cubicBezTo>
                  <a:close/>
                  <a:moveTo>
                    <a:pt x="553" y="13"/>
                  </a:moveTo>
                  <a:cubicBezTo>
                    <a:pt x="544" y="13"/>
                    <a:pt x="535" y="11"/>
                    <a:pt x="534" y="8"/>
                  </a:cubicBezTo>
                  <a:cubicBezTo>
                    <a:pt x="534" y="8"/>
                    <a:pt x="534" y="8"/>
                    <a:pt x="534" y="8"/>
                  </a:cubicBezTo>
                  <a:cubicBezTo>
                    <a:pt x="534" y="7"/>
                    <a:pt x="534" y="7"/>
                    <a:pt x="534" y="7"/>
                  </a:cubicBezTo>
                  <a:cubicBezTo>
                    <a:pt x="535" y="7"/>
                    <a:pt x="536" y="7"/>
                    <a:pt x="541" y="6"/>
                  </a:cubicBezTo>
                  <a:cubicBezTo>
                    <a:pt x="546" y="6"/>
                    <a:pt x="553" y="6"/>
                    <a:pt x="554" y="5"/>
                  </a:cubicBezTo>
                  <a:cubicBezTo>
                    <a:pt x="554" y="5"/>
                    <a:pt x="554" y="5"/>
                    <a:pt x="554" y="5"/>
                  </a:cubicBezTo>
                  <a:cubicBezTo>
                    <a:pt x="554" y="4"/>
                    <a:pt x="554" y="4"/>
                    <a:pt x="554" y="3"/>
                  </a:cubicBezTo>
                  <a:cubicBezTo>
                    <a:pt x="555" y="1"/>
                    <a:pt x="563" y="0"/>
                    <a:pt x="568" y="0"/>
                  </a:cubicBezTo>
                  <a:cubicBezTo>
                    <a:pt x="571" y="0"/>
                    <a:pt x="579" y="1"/>
                    <a:pt x="581" y="3"/>
                  </a:cubicBezTo>
                  <a:cubicBezTo>
                    <a:pt x="581" y="4"/>
                    <a:pt x="582" y="5"/>
                    <a:pt x="581" y="6"/>
                  </a:cubicBezTo>
                  <a:cubicBezTo>
                    <a:pt x="580" y="8"/>
                    <a:pt x="576" y="8"/>
                    <a:pt x="573" y="8"/>
                  </a:cubicBezTo>
                  <a:cubicBezTo>
                    <a:pt x="571" y="8"/>
                    <a:pt x="570" y="8"/>
                    <a:pt x="568" y="8"/>
                  </a:cubicBezTo>
                  <a:cubicBezTo>
                    <a:pt x="565" y="7"/>
                    <a:pt x="564" y="8"/>
                    <a:pt x="563" y="10"/>
                  </a:cubicBezTo>
                  <a:cubicBezTo>
                    <a:pt x="561" y="11"/>
                    <a:pt x="559" y="13"/>
                    <a:pt x="553" y="13"/>
                  </a:cubicBezTo>
                  <a:close/>
                  <a:moveTo>
                    <a:pt x="535" y="8"/>
                  </a:moveTo>
                  <a:cubicBezTo>
                    <a:pt x="536" y="10"/>
                    <a:pt x="543" y="12"/>
                    <a:pt x="553" y="12"/>
                  </a:cubicBezTo>
                  <a:cubicBezTo>
                    <a:pt x="559" y="12"/>
                    <a:pt x="560" y="11"/>
                    <a:pt x="562" y="9"/>
                  </a:cubicBezTo>
                  <a:cubicBezTo>
                    <a:pt x="563" y="8"/>
                    <a:pt x="564" y="6"/>
                    <a:pt x="568" y="7"/>
                  </a:cubicBezTo>
                  <a:cubicBezTo>
                    <a:pt x="570" y="7"/>
                    <a:pt x="572" y="7"/>
                    <a:pt x="573" y="7"/>
                  </a:cubicBezTo>
                  <a:cubicBezTo>
                    <a:pt x="577" y="7"/>
                    <a:pt x="580" y="7"/>
                    <a:pt x="580" y="5"/>
                  </a:cubicBezTo>
                  <a:cubicBezTo>
                    <a:pt x="581" y="5"/>
                    <a:pt x="580" y="4"/>
                    <a:pt x="580" y="4"/>
                  </a:cubicBezTo>
                  <a:cubicBezTo>
                    <a:pt x="579" y="2"/>
                    <a:pt x="574" y="1"/>
                    <a:pt x="568" y="1"/>
                  </a:cubicBezTo>
                  <a:cubicBezTo>
                    <a:pt x="561" y="1"/>
                    <a:pt x="555" y="3"/>
                    <a:pt x="555" y="4"/>
                  </a:cubicBezTo>
                  <a:cubicBezTo>
                    <a:pt x="555" y="4"/>
                    <a:pt x="555" y="4"/>
                    <a:pt x="555" y="4"/>
                  </a:cubicBezTo>
                  <a:cubicBezTo>
                    <a:pt x="555" y="5"/>
                    <a:pt x="555" y="5"/>
                    <a:pt x="555" y="5"/>
                  </a:cubicBezTo>
                  <a:cubicBezTo>
                    <a:pt x="554" y="7"/>
                    <a:pt x="549" y="7"/>
                    <a:pt x="541" y="7"/>
                  </a:cubicBezTo>
                  <a:cubicBezTo>
                    <a:pt x="539" y="8"/>
                    <a:pt x="536" y="8"/>
                    <a:pt x="535" y="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19" name="Freeform 347"/>
            <p:cNvSpPr/>
            <p:nvPr/>
          </p:nvSpPr>
          <p:spPr>
            <a:xfrm>
              <a:off x="5081588" y="3670300"/>
              <a:ext cx="452438" cy="474663"/>
            </a:xfrm>
            <a:custGeom>
              <a:gdLst>
                <a:gd name="T0" fmla="*/ 238 w 267"/>
                <a:gd name="T1" fmla="*/ 131 h 280"/>
                <a:gd name="T2" fmla="*/ 239 w 267"/>
                <a:gd name="T3" fmla="*/ 122 h 280"/>
                <a:gd name="T4" fmla="*/ 235 w 267"/>
                <a:gd name="T5" fmla="*/ 117 h 280"/>
                <a:gd name="T6" fmla="*/ 241 w 267"/>
                <a:gd name="T7" fmla="*/ 103 h 280"/>
                <a:gd name="T8" fmla="*/ 245 w 267"/>
                <a:gd name="T9" fmla="*/ 92 h 280"/>
                <a:gd name="T10" fmla="*/ 251 w 267"/>
                <a:gd name="T11" fmla="*/ 69 h 280"/>
                <a:gd name="T12" fmla="*/ 263 w 267"/>
                <a:gd name="T13" fmla="*/ 56 h 280"/>
                <a:gd name="T14" fmla="*/ 262 w 267"/>
                <a:gd name="T15" fmla="*/ 42 h 280"/>
                <a:gd name="T16" fmla="*/ 264 w 267"/>
                <a:gd name="T17" fmla="*/ 29 h 280"/>
                <a:gd name="T18" fmla="*/ 240 w 267"/>
                <a:gd name="T19" fmla="*/ 17 h 280"/>
                <a:gd name="T20" fmla="*/ 223 w 267"/>
                <a:gd name="T21" fmla="*/ 16 h 280"/>
                <a:gd name="T22" fmla="*/ 213 w 267"/>
                <a:gd name="T23" fmla="*/ 5 h 280"/>
                <a:gd name="T24" fmla="*/ 202 w 267"/>
                <a:gd name="T25" fmla="*/ 7 h 280"/>
                <a:gd name="T26" fmla="*/ 174 w 267"/>
                <a:gd name="T27" fmla="*/ 7 h 280"/>
                <a:gd name="T28" fmla="*/ 147 w 267"/>
                <a:gd name="T29" fmla="*/ 12 h 280"/>
                <a:gd name="T30" fmla="*/ 115 w 267"/>
                <a:gd name="T31" fmla="*/ 16 h 280"/>
                <a:gd name="T32" fmla="*/ 88 w 267"/>
                <a:gd name="T33" fmla="*/ 20 h 280"/>
                <a:gd name="T34" fmla="*/ 86 w 267"/>
                <a:gd name="T35" fmla="*/ 45 h 280"/>
                <a:gd name="T36" fmla="*/ 70 w 267"/>
                <a:gd name="T37" fmla="*/ 91 h 280"/>
                <a:gd name="T38" fmla="*/ 56 w 267"/>
                <a:gd name="T39" fmla="*/ 131 h 280"/>
                <a:gd name="T40" fmla="*/ 42 w 267"/>
                <a:gd name="T41" fmla="*/ 150 h 280"/>
                <a:gd name="T42" fmla="*/ 24 w 267"/>
                <a:gd name="T43" fmla="*/ 150 h 280"/>
                <a:gd name="T44" fmla="*/ 0 w 267"/>
                <a:gd name="T45" fmla="*/ 156 h 280"/>
                <a:gd name="T46" fmla="*/ 6 w 267"/>
                <a:gd name="T47" fmla="*/ 174 h 280"/>
                <a:gd name="T48" fmla="*/ 61 w 267"/>
                <a:gd name="T49" fmla="*/ 169 h 280"/>
                <a:gd name="T50" fmla="*/ 70 w 267"/>
                <a:gd name="T51" fmla="*/ 193 h 280"/>
                <a:gd name="T52" fmla="*/ 99 w 267"/>
                <a:gd name="T53" fmla="*/ 199 h 280"/>
                <a:gd name="T54" fmla="*/ 116 w 267"/>
                <a:gd name="T55" fmla="*/ 186 h 280"/>
                <a:gd name="T56" fmla="*/ 133 w 267"/>
                <a:gd name="T57" fmla="*/ 191 h 280"/>
                <a:gd name="T58" fmla="*/ 133 w 267"/>
                <a:gd name="T59" fmla="*/ 224 h 280"/>
                <a:gd name="T60" fmla="*/ 141 w 267"/>
                <a:gd name="T61" fmla="*/ 247 h 280"/>
                <a:gd name="T62" fmla="*/ 161 w 267"/>
                <a:gd name="T63" fmla="*/ 242 h 280"/>
                <a:gd name="T64" fmla="*/ 169 w 267"/>
                <a:gd name="T65" fmla="*/ 245 h 280"/>
                <a:gd name="T66" fmla="*/ 182 w 267"/>
                <a:gd name="T67" fmla="*/ 248 h 280"/>
                <a:gd name="T68" fmla="*/ 199 w 267"/>
                <a:gd name="T69" fmla="*/ 259 h 280"/>
                <a:gd name="T70" fmla="*/ 210 w 267"/>
                <a:gd name="T71" fmla="*/ 254 h 280"/>
                <a:gd name="T72" fmla="*/ 229 w 267"/>
                <a:gd name="T73" fmla="*/ 265 h 280"/>
                <a:gd name="T74" fmla="*/ 245 w 267"/>
                <a:gd name="T75" fmla="*/ 278 h 280"/>
                <a:gd name="T76" fmla="*/ 246 w 267"/>
                <a:gd name="T77" fmla="*/ 261 h 280"/>
                <a:gd name="T78" fmla="*/ 226 w 267"/>
                <a:gd name="T79" fmla="*/ 253 h 280"/>
                <a:gd name="T80" fmla="*/ 230 w 267"/>
                <a:gd name="T81" fmla="*/ 223 h 280"/>
                <a:gd name="T82" fmla="*/ 236 w 267"/>
                <a:gd name="T83" fmla="*/ 205 h 280"/>
                <a:gd name="T84" fmla="*/ 254 w 267"/>
                <a:gd name="T85" fmla="*/ 202 h 280"/>
                <a:gd name="T86" fmla="*/ 244 w 267"/>
                <a:gd name="T87" fmla="*/ 185 h 2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7" h="280">
                  <a:moveTo>
                    <a:pt x="244" y="185"/>
                  </a:moveTo>
                  <a:cubicBezTo>
                    <a:pt x="237" y="181"/>
                    <a:pt x="234" y="133"/>
                    <a:pt x="238" y="131"/>
                  </a:cubicBezTo>
                  <a:cubicBezTo>
                    <a:pt x="238" y="131"/>
                    <a:pt x="239" y="132"/>
                    <a:pt x="239" y="133"/>
                  </a:cubicBezTo>
                  <a:cubicBezTo>
                    <a:pt x="239" y="122"/>
                    <a:pt x="239" y="122"/>
                    <a:pt x="239" y="122"/>
                  </a:cubicBezTo>
                  <a:cubicBezTo>
                    <a:pt x="238" y="121"/>
                    <a:pt x="238" y="121"/>
                    <a:pt x="238" y="121"/>
                  </a:cubicBezTo>
                  <a:cubicBezTo>
                    <a:pt x="237" y="121"/>
                    <a:pt x="235" y="120"/>
                    <a:pt x="235" y="117"/>
                  </a:cubicBezTo>
                  <a:cubicBezTo>
                    <a:pt x="235" y="113"/>
                    <a:pt x="238" y="113"/>
                    <a:pt x="238" y="113"/>
                  </a:cubicBezTo>
                  <a:cubicBezTo>
                    <a:pt x="238" y="113"/>
                    <a:pt x="237" y="105"/>
                    <a:pt x="241" y="103"/>
                  </a:cubicBezTo>
                  <a:cubicBezTo>
                    <a:pt x="242" y="103"/>
                    <a:pt x="242" y="103"/>
                    <a:pt x="243" y="102"/>
                  </a:cubicBezTo>
                  <a:cubicBezTo>
                    <a:pt x="245" y="100"/>
                    <a:pt x="245" y="95"/>
                    <a:pt x="245" y="92"/>
                  </a:cubicBezTo>
                  <a:cubicBezTo>
                    <a:pt x="245" y="87"/>
                    <a:pt x="246" y="83"/>
                    <a:pt x="248" y="79"/>
                  </a:cubicBezTo>
                  <a:cubicBezTo>
                    <a:pt x="249" y="75"/>
                    <a:pt x="249" y="71"/>
                    <a:pt x="251" y="69"/>
                  </a:cubicBezTo>
                  <a:cubicBezTo>
                    <a:pt x="254" y="67"/>
                    <a:pt x="254" y="62"/>
                    <a:pt x="257" y="61"/>
                  </a:cubicBezTo>
                  <a:cubicBezTo>
                    <a:pt x="260" y="60"/>
                    <a:pt x="263" y="58"/>
                    <a:pt x="263" y="56"/>
                  </a:cubicBezTo>
                  <a:cubicBezTo>
                    <a:pt x="263" y="54"/>
                    <a:pt x="267" y="52"/>
                    <a:pt x="267" y="49"/>
                  </a:cubicBezTo>
                  <a:cubicBezTo>
                    <a:pt x="267" y="46"/>
                    <a:pt x="262" y="45"/>
                    <a:pt x="262" y="42"/>
                  </a:cubicBezTo>
                  <a:cubicBezTo>
                    <a:pt x="262" y="38"/>
                    <a:pt x="263" y="29"/>
                    <a:pt x="263" y="29"/>
                  </a:cubicBezTo>
                  <a:cubicBezTo>
                    <a:pt x="264" y="29"/>
                    <a:pt x="264" y="29"/>
                    <a:pt x="264" y="29"/>
                  </a:cubicBezTo>
                  <a:cubicBezTo>
                    <a:pt x="257" y="23"/>
                    <a:pt x="249" y="16"/>
                    <a:pt x="247" y="15"/>
                  </a:cubicBezTo>
                  <a:cubicBezTo>
                    <a:pt x="244" y="13"/>
                    <a:pt x="240" y="17"/>
                    <a:pt x="240" y="17"/>
                  </a:cubicBezTo>
                  <a:cubicBezTo>
                    <a:pt x="240" y="17"/>
                    <a:pt x="235" y="12"/>
                    <a:pt x="232" y="16"/>
                  </a:cubicBezTo>
                  <a:cubicBezTo>
                    <a:pt x="228" y="20"/>
                    <a:pt x="223" y="16"/>
                    <a:pt x="223" y="16"/>
                  </a:cubicBezTo>
                  <a:cubicBezTo>
                    <a:pt x="223" y="16"/>
                    <a:pt x="218" y="13"/>
                    <a:pt x="216" y="9"/>
                  </a:cubicBezTo>
                  <a:cubicBezTo>
                    <a:pt x="216" y="7"/>
                    <a:pt x="214" y="6"/>
                    <a:pt x="213" y="5"/>
                  </a:cubicBezTo>
                  <a:cubicBezTo>
                    <a:pt x="213" y="6"/>
                    <a:pt x="213" y="6"/>
                    <a:pt x="213" y="6"/>
                  </a:cubicBezTo>
                  <a:cubicBezTo>
                    <a:pt x="202" y="7"/>
                    <a:pt x="202" y="7"/>
                    <a:pt x="202" y="7"/>
                  </a:cubicBezTo>
                  <a:cubicBezTo>
                    <a:pt x="202" y="7"/>
                    <a:pt x="189" y="0"/>
                    <a:pt x="186" y="6"/>
                  </a:cubicBezTo>
                  <a:cubicBezTo>
                    <a:pt x="183" y="11"/>
                    <a:pt x="180" y="7"/>
                    <a:pt x="174" y="7"/>
                  </a:cubicBezTo>
                  <a:cubicBezTo>
                    <a:pt x="168" y="7"/>
                    <a:pt x="163" y="10"/>
                    <a:pt x="159" y="12"/>
                  </a:cubicBezTo>
                  <a:cubicBezTo>
                    <a:pt x="155" y="14"/>
                    <a:pt x="150" y="10"/>
                    <a:pt x="147" y="12"/>
                  </a:cubicBezTo>
                  <a:cubicBezTo>
                    <a:pt x="145" y="14"/>
                    <a:pt x="143" y="22"/>
                    <a:pt x="143" y="22"/>
                  </a:cubicBezTo>
                  <a:cubicBezTo>
                    <a:pt x="115" y="16"/>
                    <a:pt x="115" y="16"/>
                    <a:pt x="115" y="16"/>
                  </a:cubicBezTo>
                  <a:cubicBezTo>
                    <a:pt x="115" y="16"/>
                    <a:pt x="110" y="8"/>
                    <a:pt x="103" y="8"/>
                  </a:cubicBezTo>
                  <a:cubicBezTo>
                    <a:pt x="97" y="8"/>
                    <a:pt x="88" y="20"/>
                    <a:pt x="88" y="20"/>
                  </a:cubicBezTo>
                  <a:cubicBezTo>
                    <a:pt x="88" y="30"/>
                    <a:pt x="88" y="30"/>
                    <a:pt x="88" y="30"/>
                  </a:cubicBezTo>
                  <a:cubicBezTo>
                    <a:pt x="89" y="35"/>
                    <a:pt x="88" y="42"/>
                    <a:pt x="86" y="45"/>
                  </a:cubicBezTo>
                  <a:cubicBezTo>
                    <a:pt x="83" y="49"/>
                    <a:pt x="81" y="51"/>
                    <a:pt x="81" y="60"/>
                  </a:cubicBezTo>
                  <a:cubicBezTo>
                    <a:pt x="81" y="69"/>
                    <a:pt x="70" y="83"/>
                    <a:pt x="70" y="91"/>
                  </a:cubicBezTo>
                  <a:cubicBezTo>
                    <a:pt x="70" y="98"/>
                    <a:pt x="57" y="102"/>
                    <a:pt x="57" y="107"/>
                  </a:cubicBezTo>
                  <a:cubicBezTo>
                    <a:pt x="57" y="111"/>
                    <a:pt x="56" y="121"/>
                    <a:pt x="56" y="131"/>
                  </a:cubicBezTo>
                  <a:cubicBezTo>
                    <a:pt x="56" y="141"/>
                    <a:pt x="51" y="133"/>
                    <a:pt x="51" y="142"/>
                  </a:cubicBezTo>
                  <a:cubicBezTo>
                    <a:pt x="51" y="151"/>
                    <a:pt x="46" y="145"/>
                    <a:pt x="42" y="150"/>
                  </a:cubicBezTo>
                  <a:cubicBezTo>
                    <a:pt x="37" y="154"/>
                    <a:pt x="36" y="155"/>
                    <a:pt x="36" y="151"/>
                  </a:cubicBezTo>
                  <a:cubicBezTo>
                    <a:pt x="36" y="146"/>
                    <a:pt x="29" y="145"/>
                    <a:pt x="24" y="150"/>
                  </a:cubicBezTo>
                  <a:cubicBezTo>
                    <a:pt x="18" y="154"/>
                    <a:pt x="17" y="150"/>
                    <a:pt x="14" y="149"/>
                  </a:cubicBezTo>
                  <a:cubicBezTo>
                    <a:pt x="13" y="149"/>
                    <a:pt x="6" y="152"/>
                    <a:pt x="0" y="156"/>
                  </a:cubicBezTo>
                  <a:cubicBezTo>
                    <a:pt x="3" y="162"/>
                    <a:pt x="4" y="167"/>
                    <a:pt x="6" y="172"/>
                  </a:cubicBezTo>
                  <a:cubicBezTo>
                    <a:pt x="6" y="173"/>
                    <a:pt x="6" y="173"/>
                    <a:pt x="6" y="174"/>
                  </a:cubicBezTo>
                  <a:cubicBezTo>
                    <a:pt x="9" y="172"/>
                    <a:pt x="12" y="170"/>
                    <a:pt x="14" y="169"/>
                  </a:cubicBezTo>
                  <a:cubicBezTo>
                    <a:pt x="19" y="169"/>
                    <a:pt x="61" y="169"/>
                    <a:pt x="61" y="169"/>
                  </a:cubicBezTo>
                  <a:cubicBezTo>
                    <a:pt x="61" y="169"/>
                    <a:pt x="65" y="176"/>
                    <a:pt x="64" y="182"/>
                  </a:cubicBezTo>
                  <a:cubicBezTo>
                    <a:pt x="63" y="187"/>
                    <a:pt x="66" y="185"/>
                    <a:pt x="70" y="193"/>
                  </a:cubicBezTo>
                  <a:cubicBezTo>
                    <a:pt x="73" y="200"/>
                    <a:pt x="75" y="204"/>
                    <a:pt x="82" y="202"/>
                  </a:cubicBezTo>
                  <a:cubicBezTo>
                    <a:pt x="88" y="200"/>
                    <a:pt x="96" y="198"/>
                    <a:pt x="99" y="199"/>
                  </a:cubicBezTo>
                  <a:cubicBezTo>
                    <a:pt x="101" y="200"/>
                    <a:pt x="101" y="188"/>
                    <a:pt x="104" y="186"/>
                  </a:cubicBezTo>
                  <a:cubicBezTo>
                    <a:pt x="108" y="184"/>
                    <a:pt x="116" y="186"/>
                    <a:pt x="116" y="186"/>
                  </a:cubicBezTo>
                  <a:cubicBezTo>
                    <a:pt x="116" y="186"/>
                    <a:pt x="117" y="189"/>
                    <a:pt x="123" y="189"/>
                  </a:cubicBezTo>
                  <a:cubicBezTo>
                    <a:pt x="130" y="189"/>
                    <a:pt x="133" y="187"/>
                    <a:pt x="133" y="191"/>
                  </a:cubicBezTo>
                  <a:cubicBezTo>
                    <a:pt x="133" y="196"/>
                    <a:pt x="133" y="201"/>
                    <a:pt x="135" y="203"/>
                  </a:cubicBezTo>
                  <a:cubicBezTo>
                    <a:pt x="137" y="205"/>
                    <a:pt x="130" y="221"/>
                    <a:pt x="133" y="224"/>
                  </a:cubicBezTo>
                  <a:cubicBezTo>
                    <a:pt x="137" y="226"/>
                    <a:pt x="141" y="232"/>
                    <a:pt x="141" y="235"/>
                  </a:cubicBezTo>
                  <a:cubicBezTo>
                    <a:pt x="140" y="238"/>
                    <a:pt x="138" y="246"/>
                    <a:pt x="141" y="247"/>
                  </a:cubicBezTo>
                  <a:cubicBezTo>
                    <a:pt x="143" y="247"/>
                    <a:pt x="144" y="243"/>
                    <a:pt x="148" y="243"/>
                  </a:cubicBezTo>
                  <a:cubicBezTo>
                    <a:pt x="153" y="243"/>
                    <a:pt x="157" y="244"/>
                    <a:pt x="161" y="242"/>
                  </a:cubicBezTo>
                  <a:cubicBezTo>
                    <a:pt x="163" y="241"/>
                    <a:pt x="164" y="241"/>
                    <a:pt x="165" y="242"/>
                  </a:cubicBezTo>
                  <a:cubicBezTo>
                    <a:pt x="167" y="243"/>
                    <a:pt x="169" y="245"/>
                    <a:pt x="169" y="245"/>
                  </a:cubicBezTo>
                  <a:cubicBezTo>
                    <a:pt x="169" y="245"/>
                    <a:pt x="170" y="250"/>
                    <a:pt x="173" y="249"/>
                  </a:cubicBezTo>
                  <a:cubicBezTo>
                    <a:pt x="175" y="247"/>
                    <a:pt x="183" y="245"/>
                    <a:pt x="182" y="248"/>
                  </a:cubicBezTo>
                  <a:cubicBezTo>
                    <a:pt x="181" y="251"/>
                    <a:pt x="184" y="256"/>
                    <a:pt x="186" y="255"/>
                  </a:cubicBezTo>
                  <a:cubicBezTo>
                    <a:pt x="189" y="254"/>
                    <a:pt x="195" y="259"/>
                    <a:pt x="199" y="259"/>
                  </a:cubicBezTo>
                  <a:cubicBezTo>
                    <a:pt x="202" y="259"/>
                    <a:pt x="205" y="259"/>
                    <a:pt x="205" y="257"/>
                  </a:cubicBezTo>
                  <a:cubicBezTo>
                    <a:pt x="205" y="255"/>
                    <a:pt x="209" y="252"/>
                    <a:pt x="210" y="254"/>
                  </a:cubicBezTo>
                  <a:cubicBezTo>
                    <a:pt x="212" y="257"/>
                    <a:pt x="215" y="263"/>
                    <a:pt x="218" y="263"/>
                  </a:cubicBezTo>
                  <a:cubicBezTo>
                    <a:pt x="221" y="263"/>
                    <a:pt x="229" y="263"/>
                    <a:pt x="229" y="265"/>
                  </a:cubicBezTo>
                  <a:cubicBezTo>
                    <a:pt x="229" y="268"/>
                    <a:pt x="232" y="275"/>
                    <a:pt x="235" y="278"/>
                  </a:cubicBezTo>
                  <a:cubicBezTo>
                    <a:pt x="238" y="280"/>
                    <a:pt x="245" y="278"/>
                    <a:pt x="245" y="278"/>
                  </a:cubicBezTo>
                  <a:cubicBezTo>
                    <a:pt x="245" y="278"/>
                    <a:pt x="248" y="276"/>
                    <a:pt x="248" y="271"/>
                  </a:cubicBezTo>
                  <a:cubicBezTo>
                    <a:pt x="248" y="267"/>
                    <a:pt x="248" y="261"/>
                    <a:pt x="246" y="261"/>
                  </a:cubicBezTo>
                  <a:cubicBezTo>
                    <a:pt x="244" y="261"/>
                    <a:pt x="241" y="265"/>
                    <a:pt x="236" y="264"/>
                  </a:cubicBezTo>
                  <a:cubicBezTo>
                    <a:pt x="232" y="263"/>
                    <a:pt x="228" y="254"/>
                    <a:pt x="226" y="253"/>
                  </a:cubicBezTo>
                  <a:cubicBezTo>
                    <a:pt x="224" y="251"/>
                    <a:pt x="230" y="243"/>
                    <a:pt x="230" y="239"/>
                  </a:cubicBezTo>
                  <a:cubicBezTo>
                    <a:pt x="230" y="235"/>
                    <a:pt x="233" y="224"/>
                    <a:pt x="230" y="223"/>
                  </a:cubicBezTo>
                  <a:cubicBezTo>
                    <a:pt x="228" y="222"/>
                    <a:pt x="229" y="218"/>
                    <a:pt x="232" y="215"/>
                  </a:cubicBezTo>
                  <a:cubicBezTo>
                    <a:pt x="235" y="213"/>
                    <a:pt x="231" y="205"/>
                    <a:pt x="236" y="205"/>
                  </a:cubicBezTo>
                  <a:cubicBezTo>
                    <a:pt x="241" y="205"/>
                    <a:pt x="251" y="206"/>
                    <a:pt x="254" y="203"/>
                  </a:cubicBezTo>
                  <a:cubicBezTo>
                    <a:pt x="254" y="202"/>
                    <a:pt x="254" y="202"/>
                    <a:pt x="254" y="202"/>
                  </a:cubicBezTo>
                  <a:cubicBezTo>
                    <a:pt x="255" y="201"/>
                    <a:pt x="255" y="201"/>
                    <a:pt x="255" y="200"/>
                  </a:cubicBezTo>
                  <a:cubicBezTo>
                    <a:pt x="252" y="195"/>
                    <a:pt x="248" y="187"/>
                    <a:pt x="244" y="18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0" name="Freeform 348"/>
            <p:cNvSpPr/>
            <p:nvPr/>
          </p:nvSpPr>
          <p:spPr>
            <a:xfrm>
              <a:off x="5484813" y="3868738"/>
              <a:ext cx="39688" cy="52388"/>
            </a:xfrm>
            <a:custGeom>
              <a:gdLst>
                <a:gd name="T0" fmla="*/ 1 w 23"/>
                <a:gd name="T1" fmla="*/ 16 h 31"/>
                <a:gd name="T2" fmla="*/ 5 w 23"/>
                <a:gd name="T3" fmla="*/ 31 h 31"/>
                <a:gd name="T4" fmla="*/ 11 w 23"/>
                <a:gd name="T5" fmla="*/ 27 h 31"/>
                <a:gd name="T6" fmla="*/ 23 w 23"/>
                <a:gd name="T7" fmla="*/ 10 h 31"/>
                <a:gd name="T8" fmla="*/ 19 w 23"/>
                <a:gd name="T9" fmla="*/ 8 h 31"/>
                <a:gd name="T10" fmla="*/ 19 w 23"/>
                <a:gd name="T11" fmla="*/ 0 h 31"/>
                <a:gd name="T12" fmla="*/ 12 w 23"/>
                <a:gd name="T13" fmla="*/ 0 h 31"/>
                <a:gd name="T14" fmla="*/ 4 w 23"/>
                <a:gd name="T15" fmla="*/ 5 h 31"/>
                <a:gd name="T16" fmla="*/ 0 w 23"/>
                <a:gd name="T17" fmla="*/ 4 h 31"/>
                <a:gd name="T18" fmla="*/ 1 w 23"/>
                <a:gd name="T19" fmla="*/ 5 h 31"/>
                <a:gd name="T20" fmla="*/ 1 w 23"/>
                <a:gd name="T21" fmla="*/ 16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1" y="16"/>
                  </a:moveTo>
                  <a:cubicBezTo>
                    <a:pt x="3" y="18"/>
                    <a:pt x="4" y="24"/>
                    <a:pt x="5" y="31"/>
                  </a:cubicBezTo>
                  <a:cubicBezTo>
                    <a:pt x="8" y="29"/>
                    <a:pt x="10" y="27"/>
                    <a:pt x="11" y="27"/>
                  </a:cubicBezTo>
                  <a:cubicBezTo>
                    <a:pt x="15" y="26"/>
                    <a:pt x="23" y="10"/>
                    <a:pt x="23" y="10"/>
                  </a:cubicBezTo>
                  <a:cubicBezTo>
                    <a:pt x="19" y="8"/>
                    <a:pt x="19" y="8"/>
                    <a:pt x="19" y="8"/>
                  </a:cubicBezTo>
                  <a:cubicBezTo>
                    <a:pt x="19" y="8"/>
                    <a:pt x="20" y="4"/>
                    <a:pt x="19" y="0"/>
                  </a:cubicBezTo>
                  <a:cubicBezTo>
                    <a:pt x="15" y="0"/>
                    <a:pt x="12" y="0"/>
                    <a:pt x="12" y="0"/>
                  </a:cubicBezTo>
                  <a:cubicBezTo>
                    <a:pt x="12" y="0"/>
                    <a:pt x="13" y="6"/>
                    <a:pt x="4" y="5"/>
                  </a:cubicBezTo>
                  <a:cubicBezTo>
                    <a:pt x="3" y="4"/>
                    <a:pt x="2" y="4"/>
                    <a:pt x="0" y="4"/>
                  </a:cubicBezTo>
                  <a:cubicBezTo>
                    <a:pt x="1" y="5"/>
                    <a:pt x="1" y="5"/>
                    <a:pt x="1" y="5"/>
                  </a:cubicBezTo>
                  <a:lnTo>
                    <a:pt x="1" y="16"/>
                  </a:ln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1" name="Freeform 349"/>
            <p:cNvSpPr/>
            <p:nvPr/>
          </p:nvSpPr>
          <p:spPr>
            <a:xfrm>
              <a:off x="5508626" y="4071938"/>
              <a:ext cx="265113" cy="422275"/>
            </a:xfrm>
            <a:custGeom>
              <a:gdLst>
                <a:gd name="T0" fmla="*/ 154 w 156"/>
                <a:gd name="T1" fmla="*/ 64 h 249"/>
                <a:gd name="T2" fmla="*/ 151 w 156"/>
                <a:gd name="T3" fmla="*/ 36 h 249"/>
                <a:gd name="T4" fmla="*/ 149 w 156"/>
                <a:gd name="T5" fmla="*/ 1 h 249"/>
                <a:gd name="T6" fmla="*/ 149 w 156"/>
                <a:gd name="T7" fmla="*/ 0 h 249"/>
                <a:gd name="T8" fmla="*/ 134 w 156"/>
                <a:gd name="T9" fmla="*/ 8 h 249"/>
                <a:gd name="T10" fmla="*/ 123 w 156"/>
                <a:gd name="T11" fmla="*/ 11 h 249"/>
                <a:gd name="T12" fmla="*/ 115 w 156"/>
                <a:gd name="T13" fmla="*/ 11 h 249"/>
                <a:gd name="T14" fmla="*/ 110 w 156"/>
                <a:gd name="T15" fmla="*/ 16 h 249"/>
                <a:gd name="T16" fmla="*/ 102 w 156"/>
                <a:gd name="T17" fmla="*/ 17 h 249"/>
                <a:gd name="T18" fmla="*/ 89 w 156"/>
                <a:gd name="T19" fmla="*/ 19 h 249"/>
                <a:gd name="T20" fmla="*/ 84 w 156"/>
                <a:gd name="T21" fmla="*/ 14 h 249"/>
                <a:gd name="T22" fmla="*/ 76 w 156"/>
                <a:gd name="T23" fmla="*/ 16 h 249"/>
                <a:gd name="T24" fmla="*/ 67 w 156"/>
                <a:gd name="T25" fmla="*/ 15 h 249"/>
                <a:gd name="T26" fmla="*/ 67 w 156"/>
                <a:gd name="T27" fmla="*/ 20 h 249"/>
                <a:gd name="T28" fmla="*/ 73 w 156"/>
                <a:gd name="T29" fmla="*/ 51 h 249"/>
                <a:gd name="T30" fmla="*/ 82 w 156"/>
                <a:gd name="T31" fmla="*/ 60 h 249"/>
                <a:gd name="T32" fmla="*/ 82 w 156"/>
                <a:gd name="T33" fmla="*/ 74 h 249"/>
                <a:gd name="T34" fmla="*/ 74 w 156"/>
                <a:gd name="T35" fmla="*/ 84 h 249"/>
                <a:gd name="T36" fmla="*/ 73 w 156"/>
                <a:gd name="T37" fmla="*/ 97 h 249"/>
                <a:gd name="T38" fmla="*/ 59 w 156"/>
                <a:gd name="T39" fmla="*/ 79 h 249"/>
                <a:gd name="T40" fmla="*/ 62 w 156"/>
                <a:gd name="T41" fmla="*/ 60 h 249"/>
                <a:gd name="T42" fmla="*/ 51 w 156"/>
                <a:gd name="T43" fmla="*/ 59 h 249"/>
                <a:gd name="T44" fmla="*/ 41 w 156"/>
                <a:gd name="T45" fmla="*/ 52 h 249"/>
                <a:gd name="T46" fmla="*/ 0 w 156"/>
                <a:gd name="T47" fmla="*/ 67 h 249"/>
                <a:gd name="T48" fmla="*/ 3 w 156"/>
                <a:gd name="T49" fmla="*/ 77 h 249"/>
                <a:gd name="T50" fmla="*/ 3 w 156"/>
                <a:gd name="T51" fmla="*/ 77 h 249"/>
                <a:gd name="T52" fmla="*/ 5 w 156"/>
                <a:gd name="T53" fmla="*/ 82 h 249"/>
                <a:gd name="T54" fmla="*/ 23 w 156"/>
                <a:gd name="T55" fmla="*/ 87 h 249"/>
                <a:gd name="T56" fmla="*/ 40 w 156"/>
                <a:gd name="T57" fmla="*/ 92 h 249"/>
                <a:gd name="T58" fmla="*/ 41 w 156"/>
                <a:gd name="T59" fmla="*/ 115 h 249"/>
                <a:gd name="T60" fmla="*/ 37 w 156"/>
                <a:gd name="T61" fmla="*/ 128 h 249"/>
                <a:gd name="T62" fmla="*/ 42 w 156"/>
                <a:gd name="T63" fmla="*/ 139 h 249"/>
                <a:gd name="T64" fmla="*/ 34 w 156"/>
                <a:gd name="T65" fmla="*/ 150 h 249"/>
                <a:gd name="T66" fmla="*/ 30 w 156"/>
                <a:gd name="T67" fmla="*/ 164 h 249"/>
                <a:gd name="T68" fmla="*/ 15 w 156"/>
                <a:gd name="T69" fmla="*/ 179 h 249"/>
                <a:gd name="T70" fmla="*/ 16 w 156"/>
                <a:gd name="T71" fmla="*/ 179 h 249"/>
                <a:gd name="T72" fmla="*/ 25 w 156"/>
                <a:gd name="T73" fmla="*/ 206 h 249"/>
                <a:gd name="T74" fmla="*/ 26 w 156"/>
                <a:gd name="T75" fmla="*/ 233 h 249"/>
                <a:gd name="T76" fmla="*/ 28 w 156"/>
                <a:gd name="T77" fmla="*/ 249 h 249"/>
                <a:gd name="T78" fmla="*/ 38 w 156"/>
                <a:gd name="T79" fmla="*/ 249 h 249"/>
                <a:gd name="T80" fmla="*/ 39 w 156"/>
                <a:gd name="T81" fmla="*/ 241 h 249"/>
                <a:gd name="T82" fmla="*/ 33 w 156"/>
                <a:gd name="T83" fmla="*/ 236 h 249"/>
                <a:gd name="T84" fmla="*/ 56 w 156"/>
                <a:gd name="T85" fmla="*/ 219 h 249"/>
                <a:gd name="T86" fmla="*/ 74 w 156"/>
                <a:gd name="T87" fmla="*/ 208 h 249"/>
                <a:gd name="T88" fmla="*/ 76 w 156"/>
                <a:gd name="T89" fmla="*/ 187 h 249"/>
                <a:gd name="T90" fmla="*/ 73 w 156"/>
                <a:gd name="T91" fmla="*/ 168 h 249"/>
                <a:gd name="T92" fmla="*/ 66 w 156"/>
                <a:gd name="T93" fmla="*/ 150 h 249"/>
                <a:gd name="T94" fmla="*/ 69 w 156"/>
                <a:gd name="T95" fmla="*/ 139 h 249"/>
                <a:gd name="T96" fmla="*/ 75 w 156"/>
                <a:gd name="T97" fmla="*/ 131 h 249"/>
                <a:gd name="T98" fmla="*/ 88 w 156"/>
                <a:gd name="T99" fmla="*/ 123 h 249"/>
                <a:gd name="T100" fmla="*/ 103 w 156"/>
                <a:gd name="T101" fmla="*/ 107 h 249"/>
                <a:gd name="T102" fmla="*/ 131 w 156"/>
                <a:gd name="T103" fmla="*/ 94 h 249"/>
                <a:gd name="T104" fmla="*/ 154 w 156"/>
                <a:gd name="T105" fmla="*/ 64 h 2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249">
                  <a:moveTo>
                    <a:pt x="154" y="64"/>
                  </a:moveTo>
                  <a:cubicBezTo>
                    <a:pt x="153" y="60"/>
                    <a:pt x="150" y="43"/>
                    <a:pt x="151" y="36"/>
                  </a:cubicBezTo>
                  <a:cubicBezTo>
                    <a:pt x="151" y="28"/>
                    <a:pt x="149" y="10"/>
                    <a:pt x="149" y="1"/>
                  </a:cubicBezTo>
                  <a:cubicBezTo>
                    <a:pt x="149" y="0"/>
                    <a:pt x="149" y="0"/>
                    <a:pt x="149" y="0"/>
                  </a:cubicBezTo>
                  <a:cubicBezTo>
                    <a:pt x="142" y="3"/>
                    <a:pt x="134" y="7"/>
                    <a:pt x="134" y="8"/>
                  </a:cubicBezTo>
                  <a:cubicBezTo>
                    <a:pt x="132" y="11"/>
                    <a:pt x="127" y="8"/>
                    <a:pt x="123" y="11"/>
                  </a:cubicBezTo>
                  <a:cubicBezTo>
                    <a:pt x="120" y="14"/>
                    <a:pt x="118" y="11"/>
                    <a:pt x="115" y="11"/>
                  </a:cubicBezTo>
                  <a:cubicBezTo>
                    <a:pt x="112" y="10"/>
                    <a:pt x="111" y="14"/>
                    <a:pt x="110" y="16"/>
                  </a:cubicBezTo>
                  <a:cubicBezTo>
                    <a:pt x="110" y="19"/>
                    <a:pt x="104" y="17"/>
                    <a:pt x="102" y="17"/>
                  </a:cubicBezTo>
                  <a:cubicBezTo>
                    <a:pt x="99" y="17"/>
                    <a:pt x="92" y="19"/>
                    <a:pt x="89" y="19"/>
                  </a:cubicBezTo>
                  <a:cubicBezTo>
                    <a:pt x="86" y="19"/>
                    <a:pt x="88" y="16"/>
                    <a:pt x="84" y="14"/>
                  </a:cubicBezTo>
                  <a:cubicBezTo>
                    <a:pt x="80" y="13"/>
                    <a:pt x="78" y="16"/>
                    <a:pt x="76" y="16"/>
                  </a:cubicBezTo>
                  <a:cubicBezTo>
                    <a:pt x="74" y="16"/>
                    <a:pt x="70" y="16"/>
                    <a:pt x="67" y="15"/>
                  </a:cubicBezTo>
                  <a:cubicBezTo>
                    <a:pt x="67" y="17"/>
                    <a:pt x="67" y="19"/>
                    <a:pt x="67" y="20"/>
                  </a:cubicBezTo>
                  <a:cubicBezTo>
                    <a:pt x="64" y="28"/>
                    <a:pt x="72" y="44"/>
                    <a:pt x="73" y="51"/>
                  </a:cubicBezTo>
                  <a:cubicBezTo>
                    <a:pt x="76" y="54"/>
                    <a:pt x="80" y="57"/>
                    <a:pt x="82" y="60"/>
                  </a:cubicBezTo>
                  <a:cubicBezTo>
                    <a:pt x="86" y="64"/>
                    <a:pt x="82" y="64"/>
                    <a:pt x="82" y="74"/>
                  </a:cubicBezTo>
                  <a:cubicBezTo>
                    <a:pt x="83" y="85"/>
                    <a:pt x="78" y="80"/>
                    <a:pt x="74" y="84"/>
                  </a:cubicBezTo>
                  <a:cubicBezTo>
                    <a:pt x="70" y="87"/>
                    <a:pt x="74" y="95"/>
                    <a:pt x="73" y="97"/>
                  </a:cubicBezTo>
                  <a:cubicBezTo>
                    <a:pt x="72" y="99"/>
                    <a:pt x="60" y="82"/>
                    <a:pt x="59" y="79"/>
                  </a:cubicBezTo>
                  <a:cubicBezTo>
                    <a:pt x="58" y="77"/>
                    <a:pt x="64" y="67"/>
                    <a:pt x="62" y="60"/>
                  </a:cubicBezTo>
                  <a:cubicBezTo>
                    <a:pt x="61" y="54"/>
                    <a:pt x="53" y="58"/>
                    <a:pt x="51" y="59"/>
                  </a:cubicBezTo>
                  <a:cubicBezTo>
                    <a:pt x="48" y="59"/>
                    <a:pt x="42" y="52"/>
                    <a:pt x="41" y="52"/>
                  </a:cubicBezTo>
                  <a:cubicBezTo>
                    <a:pt x="40" y="52"/>
                    <a:pt x="0" y="67"/>
                    <a:pt x="0" y="67"/>
                  </a:cubicBezTo>
                  <a:cubicBezTo>
                    <a:pt x="3" y="77"/>
                    <a:pt x="3" y="77"/>
                    <a:pt x="3" y="77"/>
                  </a:cubicBezTo>
                  <a:cubicBezTo>
                    <a:pt x="3" y="77"/>
                    <a:pt x="3" y="77"/>
                    <a:pt x="3" y="77"/>
                  </a:cubicBezTo>
                  <a:cubicBezTo>
                    <a:pt x="5" y="82"/>
                    <a:pt x="5" y="82"/>
                    <a:pt x="5" y="82"/>
                  </a:cubicBezTo>
                  <a:cubicBezTo>
                    <a:pt x="5" y="82"/>
                    <a:pt x="18" y="83"/>
                    <a:pt x="23" y="87"/>
                  </a:cubicBezTo>
                  <a:cubicBezTo>
                    <a:pt x="29" y="90"/>
                    <a:pt x="38" y="91"/>
                    <a:pt x="40" y="92"/>
                  </a:cubicBezTo>
                  <a:cubicBezTo>
                    <a:pt x="42" y="94"/>
                    <a:pt x="40" y="108"/>
                    <a:pt x="41" y="115"/>
                  </a:cubicBezTo>
                  <a:cubicBezTo>
                    <a:pt x="42" y="122"/>
                    <a:pt x="33" y="124"/>
                    <a:pt x="37" y="128"/>
                  </a:cubicBezTo>
                  <a:cubicBezTo>
                    <a:pt x="41" y="132"/>
                    <a:pt x="39" y="138"/>
                    <a:pt x="42" y="139"/>
                  </a:cubicBezTo>
                  <a:cubicBezTo>
                    <a:pt x="44" y="139"/>
                    <a:pt x="37" y="148"/>
                    <a:pt x="34" y="150"/>
                  </a:cubicBezTo>
                  <a:cubicBezTo>
                    <a:pt x="31" y="152"/>
                    <a:pt x="34" y="159"/>
                    <a:pt x="30" y="164"/>
                  </a:cubicBezTo>
                  <a:cubicBezTo>
                    <a:pt x="27" y="167"/>
                    <a:pt x="20" y="174"/>
                    <a:pt x="15" y="179"/>
                  </a:cubicBezTo>
                  <a:cubicBezTo>
                    <a:pt x="16" y="179"/>
                    <a:pt x="16" y="179"/>
                    <a:pt x="16" y="179"/>
                  </a:cubicBezTo>
                  <a:cubicBezTo>
                    <a:pt x="17" y="181"/>
                    <a:pt x="21" y="204"/>
                    <a:pt x="25" y="206"/>
                  </a:cubicBezTo>
                  <a:cubicBezTo>
                    <a:pt x="29" y="208"/>
                    <a:pt x="26" y="231"/>
                    <a:pt x="26" y="233"/>
                  </a:cubicBezTo>
                  <a:cubicBezTo>
                    <a:pt x="26" y="235"/>
                    <a:pt x="28" y="249"/>
                    <a:pt x="28" y="249"/>
                  </a:cubicBezTo>
                  <a:cubicBezTo>
                    <a:pt x="28" y="249"/>
                    <a:pt x="33" y="249"/>
                    <a:pt x="38" y="249"/>
                  </a:cubicBezTo>
                  <a:cubicBezTo>
                    <a:pt x="39" y="246"/>
                    <a:pt x="39" y="243"/>
                    <a:pt x="39" y="241"/>
                  </a:cubicBezTo>
                  <a:cubicBezTo>
                    <a:pt x="40" y="234"/>
                    <a:pt x="35" y="240"/>
                    <a:pt x="33" y="236"/>
                  </a:cubicBezTo>
                  <a:cubicBezTo>
                    <a:pt x="32" y="231"/>
                    <a:pt x="44" y="224"/>
                    <a:pt x="56" y="219"/>
                  </a:cubicBezTo>
                  <a:cubicBezTo>
                    <a:pt x="68" y="214"/>
                    <a:pt x="73" y="212"/>
                    <a:pt x="74" y="208"/>
                  </a:cubicBezTo>
                  <a:cubicBezTo>
                    <a:pt x="76" y="203"/>
                    <a:pt x="74" y="191"/>
                    <a:pt x="76" y="187"/>
                  </a:cubicBezTo>
                  <a:cubicBezTo>
                    <a:pt x="78" y="182"/>
                    <a:pt x="75" y="179"/>
                    <a:pt x="73" y="168"/>
                  </a:cubicBezTo>
                  <a:cubicBezTo>
                    <a:pt x="72" y="157"/>
                    <a:pt x="68" y="156"/>
                    <a:pt x="66" y="150"/>
                  </a:cubicBezTo>
                  <a:cubicBezTo>
                    <a:pt x="65" y="144"/>
                    <a:pt x="65" y="139"/>
                    <a:pt x="69" y="139"/>
                  </a:cubicBezTo>
                  <a:cubicBezTo>
                    <a:pt x="72" y="139"/>
                    <a:pt x="72" y="137"/>
                    <a:pt x="75" y="131"/>
                  </a:cubicBezTo>
                  <a:cubicBezTo>
                    <a:pt x="78" y="125"/>
                    <a:pt x="82" y="128"/>
                    <a:pt x="88" y="123"/>
                  </a:cubicBezTo>
                  <a:cubicBezTo>
                    <a:pt x="93" y="119"/>
                    <a:pt x="94" y="114"/>
                    <a:pt x="103" y="107"/>
                  </a:cubicBezTo>
                  <a:cubicBezTo>
                    <a:pt x="112" y="99"/>
                    <a:pt x="122" y="100"/>
                    <a:pt x="131" y="94"/>
                  </a:cubicBezTo>
                  <a:cubicBezTo>
                    <a:pt x="140" y="89"/>
                    <a:pt x="156" y="68"/>
                    <a:pt x="154" y="6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2" name="Freeform 350"/>
            <p:cNvSpPr/>
            <p:nvPr/>
          </p:nvSpPr>
          <p:spPr>
            <a:xfrm>
              <a:off x="5492751" y="3830638"/>
              <a:ext cx="268288" cy="274638"/>
            </a:xfrm>
            <a:custGeom>
              <a:gdLst>
                <a:gd name="T0" fmla="*/ 148 w 158"/>
                <a:gd name="T1" fmla="*/ 129 h 161"/>
                <a:gd name="T2" fmla="*/ 143 w 158"/>
                <a:gd name="T3" fmla="*/ 114 h 161"/>
                <a:gd name="T4" fmla="*/ 141 w 158"/>
                <a:gd name="T5" fmla="*/ 102 h 161"/>
                <a:gd name="T6" fmla="*/ 144 w 158"/>
                <a:gd name="T7" fmla="*/ 91 h 161"/>
                <a:gd name="T8" fmla="*/ 136 w 158"/>
                <a:gd name="T9" fmla="*/ 79 h 161"/>
                <a:gd name="T10" fmla="*/ 142 w 158"/>
                <a:gd name="T11" fmla="*/ 57 h 161"/>
                <a:gd name="T12" fmla="*/ 118 w 158"/>
                <a:gd name="T13" fmla="*/ 39 h 161"/>
                <a:gd name="T14" fmla="*/ 119 w 158"/>
                <a:gd name="T15" fmla="*/ 30 h 161"/>
                <a:gd name="T16" fmla="*/ 64 w 158"/>
                <a:gd name="T17" fmla="*/ 1 h 161"/>
                <a:gd name="T18" fmla="*/ 57 w 158"/>
                <a:gd name="T19" fmla="*/ 15 h 161"/>
                <a:gd name="T20" fmla="*/ 58 w 158"/>
                <a:gd name="T21" fmla="*/ 24 h 161"/>
                <a:gd name="T22" fmla="*/ 34 w 158"/>
                <a:gd name="T23" fmla="*/ 23 h 161"/>
                <a:gd name="T24" fmla="*/ 34 w 158"/>
                <a:gd name="T25" fmla="*/ 0 h 161"/>
                <a:gd name="T26" fmla="*/ 22 w 158"/>
                <a:gd name="T27" fmla="*/ 1 h 161"/>
                <a:gd name="T28" fmla="*/ 15 w 158"/>
                <a:gd name="T29" fmla="*/ 3 h 161"/>
                <a:gd name="T30" fmla="*/ 17 w 158"/>
                <a:gd name="T31" fmla="*/ 10 h 161"/>
                <a:gd name="T32" fmla="*/ 20 w 158"/>
                <a:gd name="T33" fmla="*/ 19 h 161"/>
                <a:gd name="T34" fmla="*/ 14 w 158"/>
                <a:gd name="T35" fmla="*/ 22 h 161"/>
                <a:gd name="T36" fmla="*/ 14 w 158"/>
                <a:gd name="T37" fmla="*/ 30 h 161"/>
                <a:gd name="T38" fmla="*/ 18 w 158"/>
                <a:gd name="T39" fmla="*/ 32 h 161"/>
                <a:gd name="T40" fmla="*/ 6 w 158"/>
                <a:gd name="T41" fmla="*/ 49 h 161"/>
                <a:gd name="T42" fmla="*/ 0 w 158"/>
                <a:gd name="T43" fmla="*/ 53 h 161"/>
                <a:gd name="T44" fmla="*/ 9 w 158"/>
                <a:gd name="T45" fmla="*/ 80 h 161"/>
                <a:gd name="T46" fmla="*/ 17 w 158"/>
                <a:gd name="T47" fmla="*/ 99 h 161"/>
                <a:gd name="T48" fmla="*/ 20 w 158"/>
                <a:gd name="T49" fmla="*/ 111 h 161"/>
                <a:gd name="T50" fmla="*/ 12 w 158"/>
                <a:gd name="T51" fmla="*/ 105 h 161"/>
                <a:gd name="T52" fmla="*/ 11 w 158"/>
                <a:gd name="T53" fmla="*/ 107 h 161"/>
                <a:gd name="T54" fmla="*/ 11 w 158"/>
                <a:gd name="T55" fmla="*/ 108 h 161"/>
                <a:gd name="T56" fmla="*/ 21 w 158"/>
                <a:gd name="T57" fmla="*/ 114 h 161"/>
                <a:gd name="T58" fmla="*/ 34 w 158"/>
                <a:gd name="T59" fmla="*/ 119 h 161"/>
                <a:gd name="T60" fmla="*/ 53 w 158"/>
                <a:gd name="T61" fmla="*/ 127 h 161"/>
                <a:gd name="T62" fmla="*/ 54 w 158"/>
                <a:gd name="T63" fmla="*/ 129 h 161"/>
                <a:gd name="T64" fmla="*/ 64 w 158"/>
                <a:gd name="T65" fmla="*/ 129 h 161"/>
                <a:gd name="T66" fmla="*/ 66 w 158"/>
                <a:gd name="T67" fmla="*/ 128 h 161"/>
                <a:gd name="T68" fmla="*/ 76 w 158"/>
                <a:gd name="T69" fmla="*/ 157 h 161"/>
                <a:gd name="T70" fmla="*/ 85 w 158"/>
                <a:gd name="T71" fmla="*/ 158 h 161"/>
                <a:gd name="T72" fmla="*/ 93 w 158"/>
                <a:gd name="T73" fmla="*/ 156 h 161"/>
                <a:gd name="T74" fmla="*/ 98 w 158"/>
                <a:gd name="T75" fmla="*/ 161 h 161"/>
                <a:gd name="T76" fmla="*/ 111 w 158"/>
                <a:gd name="T77" fmla="*/ 159 h 161"/>
                <a:gd name="T78" fmla="*/ 119 w 158"/>
                <a:gd name="T79" fmla="*/ 158 h 161"/>
                <a:gd name="T80" fmla="*/ 124 w 158"/>
                <a:gd name="T81" fmla="*/ 153 h 161"/>
                <a:gd name="T82" fmla="*/ 132 w 158"/>
                <a:gd name="T83" fmla="*/ 153 h 161"/>
                <a:gd name="T84" fmla="*/ 143 w 158"/>
                <a:gd name="T85" fmla="*/ 150 h 161"/>
                <a:gd name="T86" fmla="*/ 158 w 158"/>
                <a:gd name="T87" fmla="*/ 142 h 161"/>
                <a:gd name="T88" fmla="*/ 148 w 158"/>
                <a:gd name="T89" fmla="*/ 129 h 1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61">
                  <a:moveTo>
                    <a:pt x="148" y="129"/>
                  </a:moveTo>
                  <a:cubicBezTo>
                    <a:pt x="147" y="120"/>
                    <a:pt x="142" y="120"/>
                    <a:pt x="143" y="114"/>
                  </a:cubicBezTo>
                  <a:cubicBezTo>
                    <a:pt x="143" y="108"/>
                    <a:pt x="143" y="103"/>
                    <a:pt x="141" y="102"/>
                  </a:cubicBezTo>
                  <a:cubicBezTo>
                    <a:pt x="139" y="101"/>
                    <a:pt x="140" y="96"/>
                    <a:pt x="144" y="91"/>
                  </a:cubicBezTo>
                  <a:cubicBezTo>
                    <a:pt x="147" y="86"/>
                    <a:pt x="137" y="85"/>
                    <a:pt x="136" y="79"/>
                  </a:cubicBezTo>
                  <a:cubicBezTo>
                    <a:pt x="135" y="76"/>
                    <a:pt x="138" y="67"/>
                    <a:pt x="142" y="57"/>
                  </a:cubicBezTo>
                  <a:cubicBezTo>
                    <a:pt x="130" y="48"/>
                    <a:pt x="118" y="39"/>
                    <a:pt x="118" y="39"/>
                  </a:cubicBezTo>
                  <a:cubicBezTo>
                    <a:pt x="119" y="30"/>
                    <a:pt x="119" y="30"/>
                    <a:pt x="119" y="30"/>
                  </a:cubicBezTo>
                  <a:cubicBezTo>
                    <a:pt x="64" y="1"/>
                    <a:pt x="64" y="1"/>
                    <a:pt x="64" y="1"/>
                  </a:cubicBezTo>
                  <a:cubicBezTo>
                    <a:pt x="63" y="8"/>
                    <a:pt x="61" y="13"/>
                    <a:pt x="57" y="15"/>
                  </a:cubicBezTo>
                  <a:cubicBezTo>
                    <a:pt x="52" y="17"/>
                    <a:pt x="62" y="23"/>
                    <a:pt x="58" y="24"/>
                  </a:cubicBezTo>
                  <a:cubicBezTo>
                    <a:pt x="53" y="25"/>
                    <a:pt x="42" y="19"/>
                    <a:pt x="34" y="23"/>
                  </a:cubicBezTo>
                  <a:cubicBezTo>
                    <a:pt x="29" y="25"/>
                    <a:pt x="30" y="12"/>
                    <a:pt x="34" y="0"/>
                  </a:cubicBezTo>
                  <a:cubicBezTo>
                    <a:pt x="22" y="1"/>
                    <a:pt x="22" y="1"/>
                    <a:pt x="22" y="1"/>
                  </a:cubicBezTo>
                  <a:cubicBezTo>
                    <a:pt x="22" y="1"/>
                    <a:pt x="19" y="2"/>
                    <a:pt x="15" y="3"/>
                  </a:cubicBezTo>
                  <a:cubicBezTo>
                    <a:pt x="17" y="10"/>
                    <a:pt x="17" y="10"/>
                    <a:pt x="17" y="10"/>
                  </a:cubicBezTo>
                  <a:cubicBezTo>
                    <a:pt x="17" y="10"/>
                    <a:pt x="20" y="16"/>
                    <a:pt x="20" y="19"/>
                  </a:cubicBezTo>
                  <a:cubicBezTo>
                    <a:pt x="19" y="21"/>
                    <a:pt x="17" y="22"/>
                    <a:pt x="14" y="22"/>
                  </a:cubicBezTo>
                  <a:cubicBezTo>
                    <a:pt x="15" y="26"/>
                    <a:pt x="14" y="30"/>
                    <a:pt x="14" y="30"/>
                  </a:cubicBezTo>
                  <a:cubicBezTo>
                    <a:pt x="18" y="32"/>
                    <a:pt x="18" y="32"/>
                    <a:pt x="18" y="32"/>
                  </a:cubicBezTo>
                  <a:cubicBezTo>
                    <a:pt x="18" y="32"/>
                    <a:pt x="10" y="48"/>
                    <a:pt x="6" y="49"/>
                  </a:cubicBezTo>
                  <a:cubicBezTo>
                    <a:pt x="5" y="49"/>
                    <a:pt x="3" y="51"/>
                    <a:pt x="0" y="53"/>
                  </a:cubicBezTo>
                  <a:cubicBezTo>
                    <a:pt x="2" y="64"/>
                    <a:pt x="5" y="77"/>
                    <a:pt x="9" y="80"/>
                  </a:cubicBezTo>
                  <a:cubicBezTo>
                    <a:pt x="16" y="87"/>
                    <a:pt x="15" y="95"/>
                    <a:pt x="17" y="99"/>
                  </a:cubicBezTo>
                  <a:cubicBezTo>
                    <a:pt x="18" y="104"/>
                    <a:pt x="25" y="109"/>
                    <a:pt x="20" y="111"/>
                  </a:cubicBezTo>
                  <a:cubicBezTo>
                    <a:pt x="17" y="112"/>
                    <a:pt x="15" y="109"/>
                    <a:pt x="12" y="105"/>
                  </a:cubicBezTo>
                  <a:cubicBezTo>
                    <a:pt x="12" y="106"/>
                    <a:pt x="12" y="106"/>
                    <a:pt x="11" y="107"/>
                  </a:cubicBezTo>
                  <a:cubicBezTo>
                    <a:pt x="11" y="108"/>
                    <a:pt x="11" y="108"/>
                    <a:pt x="11" y="108"/>
                  </a:cubicBezTo>
                  <a:cubicBezTo>
                    <a:pt x="15" y="111"/>
                    <a:pt x="19" y="114"/>
                    <a:pt x="21" y="114"/>
                  </a:cubicBezTo>
                  <a:cubicBezTo>
                    <a:pt x="25" y="114"/>
                    <a:pt x="31" y="118"/>
                    <a:pt x="34" y="119"/>
                  </a:cubicBezTo>
                  <a:cubicBezTo>
                    <a:pt x="38" y="120"/>
                    <a:pt x="51" y="125"/>
                    <a:pt x="53" y="127"/>
                  </a:cubicBezTo>
                  <a:cubicBezTo>
                    <a:pt x="53" y="128"/>
                    <a:pt x="54" y="128"/>
                    <a:pt x="54" y="129"/>
                  </a:cubicBezTo>
                  <a:cubicBezTo>
                    <a:pt x="57" y="129"/>
                    <a:pt x="61" y="128"/>
                    <a:pt x="64" y="129"/>
                  </a:cubicBezTo>
                  <a:cubicBezTo>
                    <a:pt x="64" y="128"/>
                    <a:pt x="65" y="128"/>
                    <a:pt x="66" y="128"/>
                  </a:cubicBezTo>
                  <a:cubicBezTo>
                    <a:pt x="71" y="128"/>
                    <a:pt x="77" y="146"/>
                    <a:pt x="76" y="157"/>
                  </a:cubicBezTo>
                  <a:cubicBezTo>
                    <a:pt x="79" y="158"/>
                    <a:pt x="83" y="158"/>
                    <a:pt x="85" y="158"/>
                  </a:cubicBezTo>
                  <a:cubicBezTo>
                    <a:pt x="87" y="158"/>
                    <a:pt x="89" y="155"/>
                    <a:pt x="93" y="156"/>
                  </a:cubicBezTo>
                  <a:cubicBezTo>
                    <a:pt x="97" y="158"/>
                    <a:pt x="95" y="161"/>
                    <a:pt x="98" y="161"/>
                  </a:cubicBezTo>
                  <a:cubicBezTo>
                    <a:pt x="101" y="161"/>
                    <a:pt x="108" y="159"/>
                    <a:pt x="111" y="159"/>
                  </a:cubicBezTo>
                  <a:cubicBezTo>
                    <a:pt x="113" y="159"/>
                    <a:pt x="119" y="161"/>
                    <a:pt x="119" y="158"/>
                  </a:cubicBezTo>
                  <a:cubicBezTo>
                    <a:pt x="120" y="156"/>
                    <a:pt x="121" y="152"/>
                    <a:pt x="124" y="153"/>
                  </a:cubicBezTo>
                  <a:cubicBezTo>
                    <a:pt x="127" y="153"/>
                    <a:pt x="129" y="156"/>
                    <a:pt x="132" y="153"/>
                  </a:cubicBezTo>
                  <a:cubicBezTo>
                    <a:pt x="136" y="150"/>
                    <a:pt x="141" y="153"/>
                    <a:pt x="143" y="150"/>
                  </a:cubicBezTo>
                  <a:cubicBezTo>
                    <a:pt x="143" y="149"/>
                    <a:pt x="151" y="145"/>
                    <a:pt x="158" y="142"/>
                  </a:cubicBezTo>
                  <a:cubicBezTo>
                    <a:pt x="158" y="134"/>
                    <a:pt x="148" y="138"/>
                    <a:pt x="148" y="12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3" name="Freeform 351"/>
            <p:cNvSpPr/>
            <p:nvPr/>
          </p:nvSpPr>
          <p:spPr>
            <a:xfrm>
              <a:off x="5570538" y="4048125"/>
              <a:ext cx="84138" cy="192088"/>
            </a:xfrm>
            <a:custGeom>
              <a:gdLst>
                <a:gd name="T0" fmla="*/ 45 w 49"/>
                <a:gd name="T1" fmla="*/ 74 h 113"/>
                <a:gd name="T2" fmla="*/ 36 w 49"/>
                <a:gd name="T3" fmla="*/ 65 h 113"/>
                <a:gd name="T4" fmla="*/ 35 w 49"/>
                <a:gd name="T5" fmla="*/ 68 h 113"/>
                <a:gd name="T6" fmla="*/ 20 w 49"/>
                <a:gd name="T7" fmla="*/ 45 h 113"/>
                <a:gd name="T8" fmla="*/ 21 w 49"/>
                <a:gd name="T9" fmla="*/ 20 h 113"/>
                <a:gd name="T10" fmla="*/ 18 w 49"/>
                <a:gd name="T11" fmla="*/ 1 h 113"/>
                <a:gd name="T12" fmla="*/ 8 w 49"/>
                <a:gd name="T13" fmla="*/ 1 h 113"/>
                <a:gd name="T14" fmla="*/ 14 w 49"/>
                <a:gd name="T15" fmla="*/ 15 h 113"/>
                <a:gd name="T16" fmla="*/ 9 w 49"/>
                <a:gd name="T17" fmla="*/ 18 h 113"/>
                <a:gd name="T18" fmla="*/ 9 w 49"/>
                <a:gd name="T19" fmla="*/ 42 h 113"/>
                <a:gd name="T20" fmla="*/ 3 w 49"/>
                <a:gd name="T21" fmla="*/ 45 h 113"/>
                <a:gd name="T22" fmla="*/ 1 w 49"/>
                <a:gd name="T23" fmla="*/ 60 h 113"/>
                <a:gd name="T24" fmla="*/ 4 w 49"/>
                <a:gd name="T25" fmla="*/ 66 h 113"/>
                <a:gd name="T26" fmla="*/ 4 w 49"/>
                <a:gd name="T27" fmla="*/ 66 h 113"/>
                <a:gd name="T28" fmla="*/ 14 w 49"/>
                <a:gd name="T29" fmla="*/ 73 h 113"/>
                <a:gd name="T30" fmla="*/ 25 w 49"/>
                <a:gd name="T31" fmla="*/ 74 h 113"/>
                <a:gd name="T32" fmla="*/ 22 w 49"/>
                <a:gd name="T33" fmla="*/ 93 h 113"/>
                <a:gd name="T34" fmla="*/ 36 w 49"/>
                <a:gd name="T35" fmla="*/ 111 h 113"/>
                <a:gd name="T36" fmla="*/ 37 w 49"/>
                <a:gd name="T37" fmla="*/ 98 h 113"/>
                <a:gd name="T38" fmla="*/ 45 w 49"/>
                <a:gd name="T39" fmla="*/ 88 h 113"/>
                <a:gd name="T40" fmla="*/ 45 w 49"/>
                <a:gd name="T41" fmla="*/ 74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3">
                  <a:moveTo>
                    <a:pt x="45" y="74"/>
                  </a:moveTo>
                  <a:cubicBezTo>
                    <a:pt x="43" y="71"/>
                    <a:pt x="39" y="68"/>
                    <a:pt x="36" y="65"/>
                  </a:cubicBezTo>
                  <a:cubicBezTo>
                    <a:pt x="36" y="66"/>
                    <a:pt x="36" y="67"/>
                    <a:pt x="35" y="68"/>
                  </a:cubicBezTo>
                  <a:cubicBezTo>
                    <a:pt x="32" y="73"/>
                    <a:pt x="21" y="56"/>
                    <a:pt x="20" y="45"/>
                  </a:cubicBezTo>
                  <a:cubicBezTo>
                    <a:pt x="18" y="35"/>
                    <a:pt x="26" y="30"/>
                    <a:pt x="21" y="20"/>
                  </a:cubicBezTo>
                  <a:cubicBezTo>
                    <a:pt x="18" y="11"/>
                    <a:pt x="15" y="3"/>
                    <a:pt x="18" y="1"/>
                  </a:cubicBezTo>
                  <a:cubicBezTo>
                    <a:pt x="15" y="0"/>
                    <a:pt x="11" y="1"/>
                    <a:pt x="8" y="1"/>
                  </a:cubicBezTo>
                  <a:cubicBezTo>
                    <a:pt x="10" y="5"/>
                    <a:pt x="14" y="12"/>
                    <a:pt x="14" y="15"/>
                  </a:cubicBezTo>
                  <a:cubicBezTo>
                    <a:pt x="14" y="18"/>
                    <a:pt x="10" y="14"/>
                    <a:pt x="9" y="18"/>
                  </a:cubicBezTo>
                  <a:cubicBezTo>
                    <a:pt x="7" y="22"/>
                    <a:pt x="6" y="39"/>
                    <a:pt x="9" y="42"/>
                  </a:cubicBezTo>
                  <a:cubicBezTo>
                    <a:pt x="12" y="45"/>
                    <a:pt x="3" y="42"/>
                    <a:pt x="3" y="45"/>
                  </a:cubicBezTo>
                  <a:cubicBezTo>
                    <a:pt x="3" y="48"/>
                    <a:pt x="3" y="59"/>
                    <a:pt x="1" y="60"/>
                  </a:cubicBezTo>
                  <a:cubicBezTo>
                    <a:pt x="0" y="60"/>
                    <a:pt x="2" y="62"/>
                    <a:pt x="4" y="66"/>
                  </a:cubicBezTo>
                  <a:cubicBezTo>
                    <a:pt x="4" y="66"/>
                    <a:pt x="4" y="66"/>
                    <a:pt x="4" y="66"/>
                  </a:cubicBezTo>
                  <a:cubicBezTo>
                    <a:pt x="5" y="66"/>
                    <a:pt x="11" y="73"/>
                    <a:pt x="14" y="73"/>
                  </a:cubicBezTo>
                  <a:cubicBezTo>
                    <a:pt x="16" y="72"/>
                    <a:pt x="24" y="68"/>
                    <a:pt x="25" y="74"/>
                  </a:cubicBezTo>
                  <a:cubicBezTo>
                    <a:pt x="27" y="81"/>
                    <a:pt x="21" y="91"/>
                    <a:pt x="22" y="93"/>
                  </a:cubicBezTo>
                  <a:cubicBezTo>
                    <a:pt x="23" y="96"/>
                    <a:pt x="35" y="113"/>
                    <a:pt x="36" y="111"/>
                  </a:cubicBezTo>
                  <a:cubicBezTo>
                    <a:pt x="37" y="109"/>
                    <a:pt x="33" y="101"/>
                    <a:pt x="37" y="98"/>
                  </a:cubicBezTo>
                  <a:cubicBezTo>
                    <a:pt x="41" y="94"/>
                    <a:pt x="46" y="99"/>
                    <a:pt x="45" y="88"/>
                  </a:cubicBezTo>
                  <a:cubicBezTo>
                    <a:pt x="45" y="78"/>
                    <a:pt x="49" y="78"/>
                    <a:pt x="45" y="7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4" name="Freeform 352"/>
            <p:cNvSpPr/>
            <p:nvPr/>
          </p:nvSpPr>
          <p:spPr>
            <a:xfrm>
              <a:off x="8810626" y="4325938"/>
              <a:ext cx="82550" cy="63500"/>
            </a:xfrm>
            <a:custGeom>
              <a:gdLst>
                <a:gd name="T0" fmla="*/ 1 w 48"/>
                <a:gd name="T1" fmla="*/ 5 h 38"/>
                <a:gd name="T2" fmla="*/ 43 w 48"/>
                <a:gd name="T3" fmla="*/ 35 h 38"/>
                <a:gd name="T4" fmla="*/ 1 w 48"/>
                <a:gd name="T5" fmla="*/ 5 h 38"/>
              </a:gdLst>
              <a:cxnLst>
                <a:cxn ang="0">
                  <a:pos x="T0" y="T1"/>
                </a:cxn>
                <a:cxn ang="0">
                  <a:pos x="T2" y="T3"/>
                </a:cxn>
                <a:cxn ang="0">
                  <a:pos x="T4" y="T5"/>
                </a:cxn>
              </a:cxnLst>
              <a:rect l="0" t="0" r="r" b="b"/>
              <a:pathLst>
                <a:path w="48" h="38">
                  <a:moveTo>
                    <a:pt x="1" y="5"/>
                  </a:moveTo>
                  <a:cubicBezTo>
                    <a:pt x="0" y="0"/>
                    <a:pt x="48" y="31"/>
                    <a:pt x="43" y="35"/>
                  </a:cubicBezTo>
                  <a:cubicBezTo>
                    <a:pt x="38" y="38"/>
                    <a:pt x="1" y="11"/>
                    <a:pt x="1" y="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5" name="Freeform 353"/>
            <p:cNvSpPr/>
            <p:nvPr/>
          </p:nvSpPr>
          <p:spPr>
            <a:xfrm>
              <a:off x="6448426" y="2733675"/>
              <a:ext cx="190500" cy="127000"/>
            </a:xfrm>
            <a:custGeom>
              <a:gdLst>
                <a:gd name="T0" fmla="*/ 91 w 112"/>
                <a:gd name="T1" fmla="*/ 61 h 75"/>
                <a:gd name="T2" fmla="*/ 97 w 112"/>
                <a:gd name="T3" fmla="*/ 65 h 75"/>
                <a:gd name="T4" fmla="*/ 107 w 112"/>
                <a:gd name="T5" fmla="*/ 68 h 75"/>
                <a:gd name="T6" fmla="*/ 112 w 112"/>
                <a:gd name="T7" fmla="*/ 67 h 75"/>
                <a:gd name="T8" fmla="*/ 109 w 112"/>
                <a:gd name="T9" fmla="*/ 47 h 75"/>
                <a:gd name="T10" fmla="*/ 95 w 112"/>
                <a:gd name="T11" fmla="*/ 38 h 75"/>
                <a:gd name="T12" fmla="*/ 92 w 112"/>
                <a:gd name="T13" fmla="*/ 26 h 75"/>
                <a:gd name="T14" fmla="*/ 73 w 112"/>
                <a:gd name="T15" fmla="*/ 27 h 75"/>
                <a:gd name="T16" fmla="*/ 61 w 112"/>
                <a:gd name="T17" fmla="*/ 24 h 75"/>
                <a:gd name="T18" fmla="*/ 48 w 112"/>
                <a:gd name="T19" fmla="*/ 24 h 75"/>
                <a:gd name="T20" fmla="*/ 27 w 112"/>
                <a:gd name="T21" fmla="*/ 22 h 75"/>
                <a:gd name="T22" fmla="*/ 38 w 112"/>
                <a:gd name="T23" fmla="*/ 14 h 75"/>
                <a:gd name="T24" fmla="*/ 42 w 112"/>
                <a:gd name="T25" fmla="*/ 14 h 75"/>
                <a:gd name="T26" fmla="*/ 47 w 112"/>
                <a:gd name="T27" fmla="*/ 2 h 75"/>
                <a:gd name="T28" fmla="*/ 37 w 112"/>
                <a:gd name="T29" fmla="*/ 4 h 75"/>
                <a:gd name="T30" fmla="*/ 26 w 112"/>
                <a:gd name="T31" fmla="*/ 6 h 75"/>
                <a:gd name="T32" fmla="*/ 19 w 112"/>
                <a:gd name="T33" fmla="*/ 14 h 75"/>
                <a:gd name="T34" fmla="*/ 15 w 112"/>
                <a:gd name="T35" fmla="*/ 22 h 75"/>
                <a:gd name="T36" fmla="*/ 1 w 112"/>
                <a:gd name="T37" fmla="*/ 28 h 75"/>
                <a:gd name="T38" fmla="*/ 10 w 112"/>
                <a:gd name="T39" fmla="*/ 39 h 75"/>
                <a:gd name="T40" fmla="*/ 12 w 112"/>
                <a:gd name="T41" fmla="*/ 52 h 75"/>
                <a:gd name="T42" fmla="*/ 6 w 112"/>
                <a:gd name="T43" fmla="*/ 67 h 75"/>
                <a:gd name="T44" fmla="*/ 12 w 112"/>
                <a:gd name="T45" fmla="*/ 68 h 75"/>
                <a:gd name="T46" fmla="*/ 27 w 112"/>
                <a:gd name="T47" fmla="*/ 63 h 75"/>
                <a:gd name="T48" fmla="*/ 41 w 112"/>
                <a:gd name="T49" fmla="*/ 57 h 75"/>
                <a:gd name="T50" fmla="*/ 54 w 112"/>
                <a:gd name="T51" fmla="*/ 44 h 75"/>
                <a:gd name="T52" fmla="*/ 60 w 112"/>
                <a:gd name="T53" fmla="*/ 56 h 75"/>
                <a:gd name="T54" fmla="*/ 61 w 112"/>
                <a:gd name="T55" fmla="*/ 73 h 75"/>
                <a:gd name="T56" fmla="*/ 68 w 112"/>
                <a:gd name="T57" fmla="*/ 74 h 75"/>
                <a:gd name="T58" fmla="*/ 75 w 112"/>
                <a:gd name="T59" fmla="*/ 71 h 75"/>
                <a:gd name="T60" fmla="*/ 91 w 112"/>
                <a:gd name="T61" fmla="*/ 61 h 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75">
                  <a:moveTo>
                    <a:pt x="91" y="61"/>
                  </a:moveTo>
                  <a:cubicBezTo>
                    <a:pt x="94" y="62"/>
                    <a:pt x="94" y="65"/>
                    <a:pt x="97" y="65"/>
                  </a:cubicBezTo>
                  <a:cubicBezTo>
                    <a:pt x="99" y="64"/>
                    <a:pt x="104" y="65"/>
                    <a:pt x="107" y="68"/>
                  </a:cubicBezTo>
                  <a:cubicBezTo>
                    <a:pt x="110" y="67"/>
                    <a:pt x="112" y="67"/>
                    <a:pt x="112" y="67"/>
                  </a:cubicBezTo>
                  <a:cubicBezTo>
                    <a:pt x="112" y="67"/>
                    <a:pt x="109" y="52"/>
                    <a:pt x="109" y="47"/>
                  </a:cubicBezTo>
                  <a:cubicBezTo>
                    <a:pt x="108" y="43"/>
                    <a:pt x="95" y="38"/>
                    <a:pt x="95" y="38"/>
                  </a:cubicBezTo>
                  <a:cubicBezTo>
                    <a:pt x="92" y="26"/>
                    <a:pt x="92" y="26"/>
                    <a:pt x="92" y="26"/>
                  </a:cubicBezTo>
                  <a:cubicBezTo>
                    <a:pt x="92" y="26"/>
                    <a:pt x="76" y="28"/>
                    <a:pt x="73" y="27"/>
                  </a:cubicBezTo>
                  <a:cubicBezTo>
                    <a:pt x="70" y="26"/>
                    <a:pt x="64" y="28"/>
                    <a:pt x="61" y="24"/>
                  </a:cubicBezTo>
                  <a:cubicBezTo>
                    <a:pt x="58" y="20"/>
                    <a:pt x="53" y="27"/>
                    <a:pt x="48" y="24"/>
                  </a:cubicBezTo>
                  <a:cubicBezTo>
                    <a:pt x="43" y="20"/>
                    <a:pt x="28" y="25"/>
                    <a:pt x="27" y="22"/>
                  </a:cubicBezTo>
                  <a:cubicBezTo>
                    <a:pt x="27" y="19"/>
                    <a:pt x="34" y="13"/>
                    <a:pt x="38" y="14"/>
                  </a:cubicBezTo>
                  <a:cubicBezTo>
                    <a:pt x="39" y="14"/>
                    <a:pt x="40" y="14"/>
                    <a:pt x="42" y="14"/>
                  </a:cubicBezTo>
                  <a:cubicBezTo>
                    <a:pt x="44" y="11"/>
                    <a:pt x="48" y="3"/>
                    <a:pt x="47" y="2"/>
                  </a:cubicBezTo>
                  <a:cubicBezTo>
                    <a:pt x="46" y="0"/>
                    <a:pt x="41" y="1"/>
                    <a:pt x="37" y="4"/>
                  </a:cubicBezTo>
                  <a:cubicBezTo>
                    <a:pt x="34" y="6"/>
                    <a:pt x="28" y="3"/>
                    <a:pt x="26" y="6"/>
                  </a:cubicBezTo>
                  <a:cubicBezTo>
                    <a:pt x="25" y="10"/>
                    <a:pt x="23" y="14"/>
                    <a:pt x="19" y="14"/>
                  </a:cubicBezTo>
                  <a:cubicBezTo>
                    <a:pt x="15" y="14"/>
                    <a:pt x="18" y="21"/>
                    <a:pt x="15" y="22"/>
                  </a:cubicBezTo>
                  <a:cubicBezTo>
                    <a:pt x="11" y="24"/>
                    <a:pt x="2" y="24"/>
                    <a:pt x="1" y="28"/>
                  </a:cubicBezTo>
                  <a:cubicBezTo>
                    <a:pt x="0" y="31"/>
                    <a:pt x="11" y="34"/>
                    <a:pt x="10" y="39"/>
                  </a:cubicBezTo>
                  <a:cubicBezTo>
                    <a:pt x="9" y="43"/>
                    <a:pt x="15" y="49"/>
                    <a:pt x="12" y="52"/>
                  </a:cubicBezTo>
                  <a:cubicBezTo>
                    <a:pt x="8" y="54"/>
                    <a:pt x="5" y="58"/>
                    <a:pt x="6" y="67"/>
                  </a:cubicBezTo>
                  <a:cubicBezTo>
                    <a:pt x="8" y="69"/>
                    <a:pt x="11" y="70"/>
                    <a:pt x="12" y="68"/>
                  </a:cubicBezTo>
                  <a:cubicBezTo>
                    <a:pt x="15" y="63"/>
                    <a:pt x="27" y="68"/>
                    <a:pt x="27" y="63"/>
                  </a:cubicBezTo>
                  <a:cubicBezTo>
                    <a:pt x="27" y="59"/>
                    <a:pt x="41" y="61"/>
                    <a:pt x="41" y="57"/>
                  </a:cubicBezTo>
                  <a:cubicBezTo>
                    <a:pt x="41" y="53"/>
                    <a:pt x="49" y="43"/>
                    <a:pt x="54" y="44"/>
                  </a:cubicBezTo>
                  <a:cubicBezTo>
                    <a:pt x="60" y="45"/>
                    <a:pt x="54" y="53"/>
                    <a:pt x="60" y="56"/>
                  </a:cubicBezTo>
                  <a:cubicBezTo>
                    <a:pt x="66" y="59"/>
                    <a:pt x="57" y="69"/>
                    <a:pt x="61" y="73"/>
                  </a:cubicBezTo>
                  <a:cubicBezTo>
                    <a:pt x="62" y="75"/>
                    <a:pt x="64" y="74"/>
                    <a:pt x="68" y="74"/>
                  </a:cubicBezTo>
                  <a:cubicBezTo>
                    <a:pt x="70" y="73"/>
                    <a:pt x="73" y="72"/>
                    <a:pt x="75" y="71"/>
                  </a:cubicBezTo>
                  <a:cubicBezTo>
                    <a:pt x="81" y="66"/>
                    <a:pt x="89" y="59"/>
                    <a:pt x="91" y="6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6" name="Freeform 354"/>
            <p:cNvSpPr/>
            <p:nvPr/>
          </p:nvSpPr>
          <p:spPr>
            <a:xfrm>
              <a:off x="2832101" y="3165475"/>
              <a:ext cx="22225" cy="44450"/>
            </a:xfrm>
            <a:custGeom>
              <a:gdLst>
                <a:gd name="T0" fmla="*/ 11 w 13"/>
                <a:gd name="T1" fmla="*/ 25 h 26"/>
                <a:gd name="T2" fmla="*/ 5 w 13"/>
                <a:gd name="T3" fmla="*/ 19 h 26"/>
                <a:gd name="T4" fmla="*/ 0 w 13"/>
                <a:gd name="T5" fmla="*/ 9 h 26"/>
                <a:gd name="T6" fmla="*/ 6 w 13"/>
                <a:gd name="T7" fmla="*/ 5 h 26"/>
                <a:gd name="T8" fmla="*/ 7 w 13"/>
                <a:gd name="T9" fmla="*/ 16 h 26"/>
                <a:gd name="T10" fmla="*/ 11 w 13"/>
                <a:gd name="T11" fmla="*/ 25 h 26"/>
              </a:gdLst>
              <a:cxnLst>
                <a:cxn ang="0">
                  <a:pos x="T0" y="T1"/>
                </a:cxn>
                <a:cxn ang="0">
                  <a:pos x="T2" y="T3"/>
                </a:cxn>
                <a:cxn ang="0">
                  <a:pos x="T4" y="T5"/>
                </a:cxn>
                <a:cxn ang="0">
                  <a:pos x="T6" y="T7"/>
                </a:cxn>
                <a:cxn ang="0">
                  <a:pos x="T8" y="T9"/>
                </a:cxn>
                <a:cxn ang="0">
                  <a:pos x="T10" y="T11"/>
                </a:cxn>
              </a:cxnLst>
              <a:rect l="0" t="0" r="r" b="b"/>
              <a:pathLst>
                <a:path w="13" h="26">
                  <a:moveTo>
                    <a:pt x="11" y="25"/>
                  </a:moveTo>
                  <a:cubicBezTo>
                    <a:pt x="10" y="26"/>
                    <a:pt x="5" y="22"/>
                    <a:pt x="5" y="19"/>
                  </a:cubicBezTo>
                  <a:cubicBezTo>
                    <a:pt x="5" y="15"/>
                    <a:pt x="0" y="15"/>
                    <a:pt x="0" y="9"/>
                  </a:cubicBezTo>
                  <a:cubicBezTo>
                    <a:pt x="0" y="3"/>
                    <a:pt x="3" y="0"/>
                    <a:pt x="6" y="5"/>
                  </a:cubicBezTo>
                  <a:cubicBezTo>
                    <a:pt x="9" y="10"/>
                    <a:pt x="7" y="13"/>
                    <a:pt x="7" y="16"/>
                  </a:cubicBezTo>
                  <a:cubicBezTo>
                    <a:pt x="8" y="18"/>
                    <a:pt x="13" y="21"/>
                    <a:pt x="11" y="25"/>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7" name="Freeform 355"/>
            <p:cNvSpPr/>
            <p:nvPr/>
          </p:nvSpPr>
          <p:spPr>
            <a:xfrm>
              <a:off x="3238501" y="3540125"/>
              <a:ext cx="30163" cy="22225"/>
            </a:xfrm>
            <a:custGeom>
              <a:gdLst>
                <a:gd name="T0" fmla="*/ 4 w 18"/>
                <a:gd name="T1" fmla="*/ 13 h 14"/>
                <a:gd name="T2" fmla="*/ 3 w 18"/>
                <a:gd name="T3" fmla="*/ 6 h 14"/>
                <a:gd name="T4" fmla="*/ 14 w 18"/>
                <a:gd name="T5" fmla="*/ 3 h 14"/>
                <a:gd name="T6" fmla="*/ 15 w 18"/>
                <a:gd name="T7" fmla="*/ 11 h 14"/>
                <a:gd name="T8" fmla="*/ 4 w 18"/>
                <a:gd name="T9" fmla="*/ 13 h 14"/>
              </a:gdLst>
              <a:cxnLst>
                <a:cxn ang="0">
                  <a:pos x="T0" y="T1"/>
                </a:cxn>
                <a:cxn ang="0">
                  <a:pos x="T2" y="T3"/>
                </a:cxn>
                <a:cxn ang="0">
                  <a:pos x="T4" y="T5"/>
                </a:cxn>
                <a:cxn ang="0">
                  <a:pos x="T6" y="T7"/>
                </a:cxn>
                <a:cxn ang="0">
                  <a:pos x="T8" y="T9"/>
                </a:cxn>
              </a:cxnLst>
              <a:rect l="0" t="0" r="r" b="b"/>
              <a:pathLst>
                <a:path w="18" h="14">
                  <a:moveTo>
                    <a:pt x="4" y="13"/>
                  </a:moveTo>
                  <a:cubicBezTo>
                    <a:pt x="2" y="11"/>
                    <a:pt x="6" y="7"/>
                    <a:pt x="3" y="6"/>
                  </a:cubicBezTo>
                  <a:cubicBezTo>
                    <a:pt x="0" y="4"/>
                    <a:pt x="11" y="0"/>
                    <a:pt x="14" y="3"/>
                  </a:cubicBezTo>
                  <a:cubicBezTo>
                    <a:pt x="17" y="6"/>
                    <a:pt x="18" y="10"/>
                    <a:pt x="15" y="11"/>
                  </a:cubicBezTo>
                  <a:cubicBezTo>
                    <a:pt x="12" y="13"/>
                    <a:pt x="5" y="14"/>
                    <a:pt x="4" y="1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8" name="Freeform 356"/>
            <p:cNvSpPr/>
            <p:nvPr/>
          </p:nvSpPr>
          <p:spPr>
            <a:xfrm>
              <a:off x="5840413" y="2719388"/>
              <a:ext cx="84138" cy="71438"/>
            </a:xfrm>
            <a:custGeom>
              <a:gdLst>
                <a:gd name="T0" fmla="*/ 46 w 49"/>
                <a:gd name="T1" fmla="*/ 32 h 42"/>
                <a:gd name="T2" fmla="*/ 37 w 49"/>
                <a:gd name="T3" fmla="*/ 22 h 42"/>
                <a:gd name="T4" fmla="*/ 32 w 49"/>
                <a:gd name="T5" fmla="*/ 10 h 42"/>
                <a:gd name="T6" fmla="*/ 28 w 49"/>
                <a:gd name="T7" fmla="*/ 2 h 42"/>
                <a:gd name="T8" fmla="*/ 15 w 49"/>
                <a:gd name="T9" fmla="*/ 0 h 42"/>
                <a:gd name="T10" fmla="*/ 0 w 49"/>
                <a:gd name="T11" fmla="*/ 3 h 42"/>
                <a:gd name="T12" fmla="*/ 3 w 49"/>
                <a:gd name="T13" fmla="*/ 15 h 42"/>
                <a:gd name="T14" fmla="*/ 14 w 49"/>
                <a:gd name="T15" fmla="*/ 20 h 42"/>
                <a:gd name="T16" fmla="*/ 17 w 49"/>
                <a:gd name="T17" fmla="*/ 25 h 42"/>
                <a:gd name="T18" fmla="*/ 18 w 49"/>
                <a:gd name="T19" fmla="*/ 25 h 42"/>
                <a:gd name="T20" fmla="*/ 22 w 49"/>
                <a:gd name="T21" fmla="*/ 28 h 42"/>
                <a:gd name="T22" fmla="*/ 29 w 49"/>
                <a:gd name="T23" fmla="*/ 32 h 42"/>
                <a:gd name="T24" fmla="*/ 36 w 49"/>
                <a:gd name="T25" fmla="*/ 34 h 42"/>
                <a:gd name="T26" fmla="*/ 39 w 49"/>
                <a:gd name="T27" fmla="*/ 42 h 42"/>
                <a:gd name="T28" fmla="*/ 49 w 49"/>
                <a:gd name="T29" fmla="*/ 40 h 42"/>
                <a:gd name="T30" fmla="*/ 46 w 49"/>
                <a:gd name="T31" fmla="*/ 32 h 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42">
                  <a:moveTo>
                    <a:pt x="46" y="32"/>
                  </a:moveTo>
                  <a:cubicBezTo>
                    <a:pt x="46" y="29"/>
                    <a:pt x="37" y="26"/>
                    <a:pt x="37" y="22"/>
                  </a:cubicBezTo>
                  <a:cubicBezTo>
                    <a:pt x="37" y="17"/>
                    <a:pt x="31" y="14"/>
                    <a:pt x="32" y="10"/>
                  </a:cubicBezTo>
                  <a:cubicBezTo>
                    <a:pt x="32" y="8"/>
                    <a:pt x="29" y="4"/>
                    <a:pt x="28" y="2"/>
                  </a:cubicBezTo>
                  <a:cubicBezTo>
                    <a:pt x="24" y="1"/>
                    <a:pt x="19" y="0"/>
                    <a:pt x="15" y="0"/>
                  </a:cubicBezTo>
                  <a:cubicBezTo>
                    <a:pt x="9" y="1"/>
                    <a:pt x="5" y="3"/>
                    <a:pt x="0" y="3"/>
                  </a:cubicBezTo>
                  <a:cubicBezTo>
                    <a:pt x="3" y="8"/>
                    <a:pt x="1" y="9"/>
                    <a:pt x="3" y="15"/>
                  </a:cubicBezTo>
                  <a:cubicBezTo>
                    <a:pt x="6" y="21"/>
                    <a:pt x="12" y="18"/>
                    <a:pt x="14" y="20"/>
                  </a:cubicBezTo>
                  <a:cubicBezTo>
                    <a:pt x="15" y="20"/>
                    <a:pt x="16" y="22"/>
                    <a:pt x="17" y="25"/>
                  </a:cubicBezTo>
                  <a:cubicBezTo>
                    <a:pt x="18" y="25"/>
                    <a:pt x="18" y="25"/>
                    <a:pt x="18" y="25"/>
                  </a:cubicBezTo>
                  <a:cubicBezTo>
                    <a:pt x="21" y="25"/>
                    <a:pt x="22" y="27"/>
                    <a:pt x="22" y="28"/>
                  </a:cubicBezTo>
                  <a:cubicBezTo>
                    <a:pt x="25" y="29"/>
                    <a:pt x="28" y="31"/>
                    <a:pt x="29" y="32"/>
                  </a:cubicBezTo>
                  <a:cubicBezTo>
                    <a:pt x="31" y="32"/>
                    <a:pt x="32" y="30"/>
                    <a:pt x="36" y="34"/>
                  </a:cubicBezTo>
                  <a:cubicBezTo>
                    <a:pt x="39" y="38"/>
                    <a:pt x="40" y="39"/>
                    <a:pt x="39" y="42"/>
                  </a:cubicBezTo>
                  <a:cubicBezTo>
                    <a:pt x="43" y="42"/>
                    <a:pt x="46" y="41"/>
                    <a:pt x="49" y="40"/>
                  </a:cubicBezTo>
                  <a:cubicBezTo>
                    <a:pt x="47" y="37"/>
                    <a:pt x="46" y="34"/>
                    <a:pt x="46" y="3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29" name="Freeform 357"/>
            <p:cNvSpPr>
              <a:spLocks noEditPoints="1"/>
            </p:cNvSpPr>
            <p:nvPr/>
          </p:nvSpPr>
          <p:spPr>
            <a:xfrm>
              <a:off x="5878513" y="2703513"/>
              <a:ext cx="123825" cy="101600"/>
            </a:xfrm>
            <a:custGeom>
              <a:gdLst>
                <a:gd name="T0" fmla="*/ 68 w 73"/>
                <a:gd name="T1" fmla="*/ 19 h 59"/>
                <a:gd name="T2" fmla="*/ 55 w 73"/>
                <a:gd name="T3" fmla="*/ 2 h 59"/>
                <a:gd name="T4" fmla="*/ 46 w 73"/>
                <a:gd name="T5" fmla="*/ 9 h 59"/>
                <a:gd name="T6" fmla="*/ 40 w 73"/>
                <a:gd name="T7" fmla="*/ 9 h 59"/>
                <a:gd name="T8" fmla="*/ 29 w 73"/>
                <a:gd name="T9" fmla="*/ 1 h 59"/>
                <a:gd name="T10" fmla="*/ 24 w 73"/>
                <a:gd name="T11" fmla="*/ 0 h 59"/>
                <a:gd name="T12" fmla="*/ 21 w 73"/>
                <a:gd name="T13" fmla="*/ 5 h 59"/>
                <a:gd name="T14" fmla="*/ 26 w 73"/>
                <a:gd name="T15" fmla="*/ 11 h 59"/>
                <a:gd name="T16" fmla="*/ 15 w 73"/>
                <a:gd name="T17" fmla="*/ 11 h 59"/>
                <a:gd name="T18" fmla="*/ 5 w 73"/>
                <a:gd name="T19" fmla="*/ 8 h 59"/>
                <a:gd name="T20" fmla="*/ 10 w 73"/>
                <a:gd name="T21" fmla="*/ 19 h 59"/>
                <a:gd name="T22" fmla="*/ 15 w 73"/>
                <a:gd name="T23" fmla="*/ 31 h 59"/>
                <a:gd name="T24" fmla="*/ 24 w 73"/>
                <a:gd name="T25" fmla="*/ 41 h 59"/>
                <a:gd name="T26" fmla="*/ 27 w 73"/>
                <a:gd name="T27" fmla="*/ 49 h 59"/>
                <a:gd name="T28" fmla="*/ 44 w 73"/>
                <a:gd name="T29" fmla="*/ 38 h 59"/>
                <a:gd name="T30" fmla="*/ 47 w 73"/>
                <a:gd name="T31" fmla="*/ 51 h 59"/>
                <a:gd name="T32" fmla="*/ 57 w 73"/>
                <a:gd name="T33" fmla="*/ 59 h 59"/>
                <a:gd name="T34" fmla="*/ 60 w 73"/>
                <a:gd name="T35" fmla="*/ 50 h 59"/>
                <a:gd name="T36" fmla="*/ 68 w 73"/>
                <a:gd name="T37" fmla="*/ 19 h 59"/>
                <a:gd name="T38" fmla="*/ 7 w 73"/>
                <a:gd name="T39" fmla="*/ 41 h 59"/>
                <a:gd name="T40" fmla="*/ 0 w 73"/>
                <a:gd name="T41" fmla="*/ 37 h 59"/>
                <a:gd name="T42" fmla="*/ 5 w 73"/>
                <a:gd name="T43" fmla="*/ 45 h 59"/>
                <a:gd name="T44" fmla="*/ 15 w 73"/>
                <a:gd name="T45" fmla="*/ 51 h 59"/>
                <a:gd name="T46" fmla="*/ 17 w 73"/>
                <a:gd name="T47" fmla="*/ 51 h 59"/>
                <a:gd name="T48" fmla="*/ 14 w 73"/>
                <a:gd name="T49" fmla="*/ 43 h 59"/>
                <a:gd name="T50" fmla="*/ 7 w 73"/>
                <a:gd name="T51" fmla="*/ 41 h 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59">
                  <a:moveTo>
                    <a:pt x="68" y="19"/>
                  </a:moveTo>
                  <a:cubicBezTo>
                    <a:pt x="67" y="16"/>
                    <a:pt x="61" y="9"/>
                    <a:pt x="55" y="2"/>
                  </a:cubicBezTo>
                  <a:cubicBezTo>
                    <a:pt x="54" y="8"/>
                    <a:pt x="47" y="6"/>
                    <a:pt x="46" y="9"/>
                  </a:cubicBezTo>
                  <a:cubicBezTo>
                    <a:pt x="45" y="12"/>
                    <a:pt x="42" y="9"/>
                    <a:pt x="40" y="9"/>
                  </a:cubicBezTo>
                  <a:cubicBezTo>
                    <a:pt x="38" y="10"/>
                    <a:pt x="33" y="2"/>
                    <a:pt x="29" y="1"/>
                  </a:cubicBezTo>
                  <a:cubicBezTo>
                    <a:pt x="27" y="1"/>
                    <a:pt x="26" y="1"/>
                    <a:pt x="24" y="0"/>
                  </a:cubicBezTo>
                  <a:cubicBezTo>
                    <a:pt x="22" y="2"/>
                    <a:pt x="21" y="4"/>
                    <a:pt x="21" y="5"/>
                  </a:cubicBezTo>
                  <a:cubicBezTo>
                    <a:pt x="22" y="7"/>
                    <a:pt x="28" y="9"/>
                    <a:pt x="26" y="11"/>
                  </a:cubicBezTo>
                  <a:cubicBezTo>
                    <a:pt x="24" y="14"/>
                    <a:pt x="17" y="13"/>
                    <a:pt x="15" y="11"/>
                  </a:cubicBezTo>
                  <a:cubicBezTo>
                    <a:pt x="13" y="8"/>
                    <a:pt x="6" y="5"/>
                    <a:pt x="5" y="8"/>
                  </a:cubicBezTo>
                  <a:cubicBezTo>
                    <a:pt x="4" y="10"/>
                    <a:pt x="10" y="16"/>
                    <a:pt x="10" y="19"/>
                  </a:cubicBezTo>
                  <a:cubicBezTo>
                    <a:pt x="9" y="23"/>
                    <a:pt x="15" y="26"/>
                    <a:pt x="15" y="31"/>
                  </a:cubicBezTo>
                  <a:cubicBezTo>
                    <a:pt x="15" y="35"/>
                    <a:pt x="24" y="38"/>
                    <a:pt x="24" y="41"/>
                  </a:cubicBezTo>
                  <a:cubicBezTo>
                    <a:pt x="24" y="43"/>
                    <a:pt x="25" y="46"/>
                    <a:pt x="27" y="49"/>
                  </a:cubicBezTo>
                  <a:cubicBezTo>
                    <a:pt x="34" y="46"/>
                    <a:pt x="39" y="40"/>
                    <a:pt x="44" y="38"/>
                  </a:cubicBezTo>
                  <a:cubicBezTo>
                    <a:pt x="51" y="35"/>
                    <a:pt x="48" y="49"/>
                    <a:pt x="47" y="51"/>
                  </a:cubicBezTo>
                  <a:cubicBezTo>
                    <a:pt x="46" y="53"/>
                    <a:pt x="52" y="57"/>
                    <a:pt x="57" y="59"/>
                  </a:cubicBezTo>
                  <a:cubicBezTo>
                    <a:pt x="57" y="56"/>
                    <a:pt x="58" y="53"/>
                    <a:pt x="60" y="50"/>
                  </a:cubicBezTo>
                  <a:cubicBezTo>
                    <a:pt x="67" y="41"/>
                    <a:pt x="73" y="27"/>
                    <a:pt x="68" y="19"/>
                  </a:cubicBezTo>
                  <a:close/>
                  <a:moveTo>
                    <a:pt x="7" y="41"/>
                  </a:moveTo>
                  <a:cubicBezTo>
                    <a:pt x="6" y="40"/>
                    <a:pt x="3" y="38"/>
                    <a:pt x="0" y="37"/>
                  </a:cubicBezTo>
                  <a:cubicBezTo>
                    <a:pt x="1" y="40"/>
                    <a:pt x="1" y="43"/>
                    <a:pt x="5" y="45"/>
                  </a:cubicBezTo>
                  <a:cubicBezTo>
                    <a:pt x="11" y="48"/>
                    <a:pt x="2" y="49"/>
                    <a:pt x="15" y="51"/>
                  </a:cubicBezTo>
                  <a:cubicBezTo>
                    <a:pt x="16" y="51"/>
                    <a:pt x="16" y="51"/>
                    <a:pt x="17" y="51"/>
                  </a:cubicBezTo>
                  <a:cubicBezTo>
                    <a:pt x="18" y="48"/>
                    <a:pt x="17" y="47"/>
                    <a:pt x="14" y="43"/>
                  </a:cubicBezTo>
                  <a:cubicBezTo>
                    <a:pt x="10" y="39"/>
                    <a:pt x="9" y="41"/>
                    <a:pt x="7" y="41"/>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0" name="Freeform 358"/>
            <p:cNvSpPr/>
            <p:nvPr/>
          </p:nvSpPr>
          <p:spPr>
            <a:xfrm>
              <a:off x="6270626" y="2806700"/>
              <a:ext cx="354013" cy="254000"/>
            </a:xfrm>
            <a:custGeom>
              <a:gdLst>
                <a:gd name="T0" fmla="*/ 202 w 209"/>
                <a:gd name="T1" fmla="*/ 22 h 150"/>
                <a:gd name="T2" fmla="*/ 196 w 209"/>
                <a:gd name="T3" fmla="*/ 18 h 150"/>
                <a:gd name="T4" fmla="*/ 180 w 209"/>
                <a:gd name="T5" fmla="*/ 28 h 150"/>
                <a:gd name="T6" fmla="*/ 173 w 209"/>
                <a:gd name="T7" fmla="*/ 31 h 150"/>
                <a:gd name="T8" fmla="*/ 166 w 209"/>
                <a:gd name="T9" fmla="*/ 30 h 150"/>
                <a:gd name="T10" fmla="*/ 165 w 209"/>
                <a:gd name="T11" fmla="*/ 13 h 150"/>
                <a:gd name="T12" fmla="*/ 159 w 209"/>
                <a:gd name="T13" fmla="*/ 1 h 150"/>
                <a:gd name="T14" fmla="*/ 146 w 209"/>
                <a:gd name="T15" fmla="*/ 14 h 150"/>
                <a:gd name="T16" fmla="*/ 132 w 209"/>
                <a:gd name="T17" fmla="*/ 20 h 150"/>
                <a:gd name="T18" fmla="*/ 117 w 209"/>
                <a:gd name="T19" fmla="*/ 25 h 150"/>
                <a:gd name="T20" fmla="*/ 105 w 209"/>
                <a:gd name="T21" fmla="*/ 21 h 150"/>
                <a:gd name="T22" fmla="*/ 93 w 209"/>
                <a:gd name="T23" fmla="*/ 17 h 150"/>
                <a:gd name="T24" fmla="*/ 81 w 209"/>
                <a:gd name="T25" fmla="*/ 15 h 150"/>
                <a:gd name="T26" fmla="*/ 69 w 209"/>
                <a:gd name="T27" fmla="*/ 22 h 150"/>
                <a:gd name="T28" fmla="*/ 61 w 209"/>
                <a:gd name="T29" fmla="*/ 36 h 150"/>
                <a:gd name="T30" fmla="*/ 40 w 209"/>
                <a:gd name="T31" fmla="*/ 48 h 150"/>
                <a:gd name="T32" fmla="*/ 27 w 209"/>
                <a:gd name="T33" fmla="*/ 53 h 150"/>
                <a:gd name="T34" fmla="*/ 17 w 209"/>
                <a:gd name="T35" fmla="*/ 50 h 150"/>
                <a:gd name="T36" fmla="*/ 11 w 209"/>
                <a:gd name="T37" fmla="*/ 57 h 150"/>
                <a:gd name="T38" fmla="*/ 5 w 209"/>
                <a:gd name="T39" fmla="*/ 68 h 150"/>
                <a:gd name="T40" fmla="*/ 3 w 209"/>
                <a:gd name="T41" fmla="*/ 81 h 150"/>
                <a:gd name="T42" fmla="*/ 3 w 209"/>
                <a:gd name="T43" fmla="*/ 96 h 150"/>
                <a:gd name="T44" fmla="*/ 5 w 209"/>
                <a:gd name="T45" fmla="*/ 113 h 150"/>
                <a:gd name="T46" fmla="*/ 20 w 209"/>
                <a:gd name="T47" fmla="*/ 120 h 150"/>
                <a:gd name="T48" fmla="*/ 5 w 209"/>
                <a:gd name="T49" fmla="*/ 141 h 150"/>
                <a:gd name="T50" fmla="*/ 8 w 209"/>
                <a:gd name="T51" fmla="*/ 146 h 150"/>
                <a:gd name="T52" fmla="*/ 30 w 209"/>
                <a:gd name="T53" fmla="*/ 148 h 150"/>
                <a:gd name="T54" fmla="*/ 89 w 209"/>
                <a:gd name="T55" fmla="*/ 141 h 150"/>
                <a:gd name="T56" fmla="*/ 87 w 209"/>
                <a:gd name="T57" fmla="*/ 126 h 150"/>
                <a:gd name="T58" fmla="*/ 99 w 209"/>
                <a:gd name="T59" fmla="*/ 120 h 150"/>
                <a:gd name="T60" fmla="*/ 109 w 209"/>
                <a:gd name="T61" fmla="*/ 117 h 150"/>
                <a:gd name="T62" fmla="*/ 124 w 209"/>
                <a:gd name="T63" fmla="*/ 112 h 150"/>
                <a:gd name="T64" fmla="*/ 131 w 209"/>
                <a:gd name="T65" fmla="*/ 105 h 150"/>
                <a:gd name="T66" fmla="*/ 136 w 209"/>
                <a:gd name="T67" fmla="*/ 90 h 150"/>
                <a:gd name="T68" fmla="*/ 146 w 209"/>
                <a:gd name="T69" fmla="*/ 84 h 150"/>
                <a:gd name="T70" fmla="*/ 141 w 209"/>
                <a:gd name="T71" fmla="*/ 74 h 150"/>
                <a:gd name="T72" fmla="*/ 157 w 209"/>
                <a:gd name="T73" fmla="*/ 75 h 150"/>
                <a:gd name="T74" fmla="*/ 159 w 209"/>
                <a:gd name="T75" fmla="*/ 63 h 150"/>
                <a:gd name="T76" fmla="*/ 166 w 209"/>
                <a:gd name="T77" fmla="*/ 53 h 150"/>
                <a:gd name="T78" fmla="*/ 163 w 209"/>
                <a:gd name="T79" fmla="*/ 44 h 150"/>
                <a:gd name="T80" fmla="*/ 165 w 209"/>
                <a:gd name="T81" fmla="*/ 37 h 150"/>
                <a:gd name="T82" fmla="*/ 167 w 209"/>
                <a:gd name="T83" fmla="*/ 36 h 150"/>
                <a:gd name="T84" fmla="*/ 175 w 209"/>
                <a:gd name="T85" fmla="*/ 33 h 150"/>
                <a:gd name="T86" fmla="*/ 195 w 209"/>
                <a:gd name="T87" fmla="*/ 28 h 150"/>
                <a:gd name="T88" fmla="*/ 209 w 209"/>
                <a:gd name="T89" fmla="*/ 23 h 150"/>
                <a:gd name="T90" fmla="*/ 202 w 209"/>
                <a:gd name="T91" fmla="*/ 22 h 1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9" h="150">
                  <a:moveTo>
                    <a:pt x="202" y="22"/>
                  </a:moveTo>
                  <a:cubicBezTo>
                    <a:pt x="199" y="22"/>
                    <a:pt x="199" y="19"/>
                    <a:pt x="196" y="18"/>
                  </a:cubicBezTo>
                  <a:cubicBezTo>
                    <a:pt x="194" y="16"/>
                    <a:pt x="186" y="23"/>
                    <a:pt x="180" y="28"/>
                  </a:cubicBezTo>
                  <a:cubicBezTo>
                    <a:pt x="178" y="29"/>
                    <a:pt x="175" y="30"/>
                    <a:pt x="173" y="31"/>
                  </a:cubicBezTo>
                  <a:cubicBezTo>
                    <a:pt x="170" y="31"/>
                    <a:pt x="167" y="32"/>
                    <a:pt x="166" y="30"/>
                  </a:cubicBezTo>
                  <a:cubicBezTo>
                    <a:pt x="162" y="26"/>
                    <a:pt x="171" y="16"/>
                    <a:pt x="165" y="13"/>
                  </a:cubicBezTo>
                  <a:cubicBezTo>
                    <a:pt x="159" y="10"/>
                    <a:pt x="165" y="2"/>
                    <a:pt x="159" y="1"/>
                  </a:cubicBezTo>
                  <a:cubicBezTo>
                    <a:pt x="154" y="0"/>
                    <a:pt x="146" y="10"/>
                    <a:pt x="146" y="14"/>
                  </a:cubicBezTo>
                  <a:cubicBezTo>
                    <a:pt x="146" y="18"/>
                    <a:pt x="132" y="16"/>
                    <a:pt x="132" y="20"/>
                  </a:cubicBezTo>
                  <a:cubicBezTo>
                    <a:pt x="132" y="25"/>
                    <a:pt x="120" y="20"/>
                    <a:pt x="117" y="25"/>
                  </a:cubicBezTo>
                  <a:cubicBezTo>
                    <a:pt x="115" y="29"/>
                    <a:pt x="109" y="21"/>
                    <a:pt x="105" y="21"/>
                  </a:cubicBezTo>
                  <a:cubicBezTo>
                    <a:pt x="101" y="21"/>
                    <a:pt x="98" y="15"/>
                    <a:pt x="93" y="17"/>
                  </a:cubicBezTo>
                  <a:cubicBezTo>
                    <a:pt x="88" y="19"/>
                    <a:pt x="85" y="15"/>
                    <a:pt x="81" y="15"/>
                  </a:cubicBezTo>
                  <a:cubicBezTo>
                    <a:pt x="77" y="14"/>
                    <a:pt x="74" y="23"/>
                    <a:pt x="69" y="22"/>
                  </a:cubicBezTo>
                  <a:cubicBezTo>
                    <a:pt x="65" y="20"/>
                    <a:pt x="62" y="30"/>
                    <a:pt x="61" y="36"/>
                  </a:cubicBezTo>
                  <a:cubicBezTo>
                    <a:pt x="59" y="42"/>
                    <a:pt x="39" y="42"/>
                    <a:pt x="40" y="48"/>
                  </a:cubicBezTo>
                  <a:cubicBezTo>
                    <a:pt x="40" y="54"/>
                    <a:pt x="28" y="57"/>
                    <a:pt x="27" y="53"/>
                  </a:cubicBezTo>
                  <a:cubicBezTo>
                    <a:pt x="26" y="49"/>
                    <a:pt x="19" y="51"/>
                    <a:pt x="17" y="50"/>
                  </a:cubicBezTo>
                  <a:cubicBezTo>
                    <a:pt x="15" y="49"/>
                    <a:pt x="10" y="51"/>
                    <a:pt x="11" y="57"/>
                  </a:cubicBezTo>
                  <a:cubicBezTo>
                    <a:pt x="11" y="62"/>
                    <a:pt x="5" y="66"/>
                    <a:pt x="5" y="68"/>
                  </a:cubicBezTo>
                  <a:cubicBezTo>
                    <a:pt x="4" y="70"/>
                    <a:pt x="1" y="77"/>
                    <a:pt x="3" y="81"/>
                  </a:cubicBezTo>
                  <a:cubicBezTo>
                    <a:pt x="5" y="84"/>
                    <a:pt x="0" y="90"/>
                    <a:pt x="3" y="96"/>
                  </a:cubicBezTo>
                  <a:cubicBezTo>
                    <a:pt x="6" y="103"/>
                    <a:pt x="4" y="111"/>
                    <a:pt x="5" y="113"/>
                  </a:cubicBezTo>
                  <a:cubicBezTo>
                    <a:pt x="7" y="115"/>
                    <a:pt x="17" y="114"/>
                    <a:pt x="20" y="120"/>
                  </a:cubicBezTo>
                  <a:cubicBezTo>
                    <a:pt x="22" y="127"/>
                    <a:pt x="5" y="138"/>
                    <a:pt x="5" y="141"/>
                  </a:cubicBezTo>
                  <a:cubicBezTo>
                    <a:pt x="5" y="143"/>
                    <a:pt x="6" y="144"/>
                    <a:pt x="8" y="146"/>
                  </a:cubicBezTo>
                  <a:cubicBezTo>
                    <a:pt x="14" y="146"/>
                    <a:pt x="23" y="147"/>
                    <a:pt x="30" y="148"/>
                  </a:cubicBezTo>
                  <a:cubicBezTo>
                    <a:pt x="40" y="150"/>
                    <a:pt x="88" y="143"/>
                    <a:pt x="89" y="141"/>
                  </a:cubicBezTo>
                  <a:cubicBezTo>
                    <a:pt x="90" y="139"/>
                    <a:pt x="87" y="129"/>
                    <a:pt x="87" y="126"/>
                  </a:cubicBezTo>
                  <a:cubicBezTo>
                    <a:pt x="88" y="124"/>
                    <a:pt x="94" y="119"/>
                    <a:pt x="99" y="120"/>
                  </a:cubicBezTo>
                  <a:cubicBezTo>
                    <a:pt x="104" y="120"/>
                    <a:pt x="109" y="121"/>
                    <a:pt x="109" y="117"/>
                  </a:cubicBezTo>
                  <a:cubicBezTo>
                    <a:pt x="109" y="113"/>
                    <a:pt x="123" y="108"/>
                    <a:pt x="124" y="112"/>
                  </a:cubicBezTo>
                  <a:cubicBezTo>
                    <a:pt x="126" y="115"/>
                    <a:pt x="131" y="114"/>
                    <a:pt x="131" y="105"/>
                  </a:cubicBezTo>
                  <a:cubicBezTo>
                    <a:pt x="132" y="97"/>
                    <a:pt x="131" y="90"/>
                    <a:pt x="136" y="90"/>
                  </a:cubicBezTo>
                  <a:cubicBezTo>
                    <a:pt x="141" y="89"/>
                    <a:pt x="146" y="86"/>
                    <a:pt x="146" y="84"/>
                  </a:cubicBezTo>
                  <a:cubicBezTo>
                    <a:pt x="145" y="81"/>
                    <a:pt x="139" y="76"/>
                    <a:pt x="141" y="74"/>
                  </a:cubicBezTo>
                  <a:cubicBezTo>
                    <a:pt x="143" y="73"/>
                    <a:pt x="156" y="79"/>
                    <a:pt x="157" y="75"/>
                  </a:cubicBezTo>
                  <a:cubicBezTo>
                    <a:pt x="159" y="71"/>
                    <a:pt x="157" y="67"/>
                    <a:pt x="159" y="63"/>
                  </a:cubicBezTo>
                  <a:cubicBezTo>
                    <a:pt x="161" y="60"/>
                    <a:pt x="166" y="56"/>
                    <a:pt x="166" y="53"/>
                  </a:cubicBezTo>
                  <a:cubicBezTo>
                    <a:pt x="165" y="49"/>
                    <a:pt x="166" y="47"/>
                    <a:pt x="163" y="44"/>
                  </a:cubicBezTo>
                  <a:cubicBezTo>
                    <a:pt x="160" y="41"/>
                    <a:pt x="161" y="37"/>
                    <a:pt x="165" y="37"/>
                  </a:cubicBezTo>
                  <a:cubicBezTo>
                    <a:pt x="166" y="37"/>
                    <a:pt x="167" y="37"/>
                    <a:pt x="167" y="36"/>
                  </a:cubicBezTo>
                  <a:cubicBezTo>
                    <a:pt x="170" y="35"/>
                    <a:pt x="173" y="35"/>
                    <a:pt x="175" y="33"/>
                  </a:cubicBezTo>
                  <a:cubicBezTo>
                    <a:pt x="180" y="29"/>
                    <a:pt x="191" y="26"/>
                    <a:pt x="195" y="28"/>
                  </a:cubicBezTo>
                  <a:cubicBezTo>
                    <a:pt x="198" y="29"/>
                    <a:pt x="205" y="28"/>
                    <a:pt x="209" y="23"/>
                  </a:cubicBezTo>
                  <a:cubicBezTo>
                    <a:pt x="207" y="22"/>
                    <a:pt x="204" y="21"/>
                    <a:pt x="202" y="22"/>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1" name="Freeform 359"/>
            <p:cNvSpPr/>
            <p:nvPr/>
          </p:nvSpPr>
          <p:spPr>
            <a:xfrm>
              <a:off x="6283326" y="2844800"/>
              <a:ext cx="407988" cy="368300"/>
            </a:xfrm>
            <a:custGeom>
              <a:gdLst>
                <a:gd name="T0" fmla="*/ 222 w 240"/>
                <a:gd name="T1" fmla="*/ 12 h 217"/>
                <a:gd name="T2" fmla="*/ 204 w 240"/>
                <a:gd name="T3" fmla="*/ 2 h 217"/>
                <a:gd name="T4" fmla="*/ 187 w 240"/>
                <a:gd name="T5" fmla="*/ 5 h 217"/>
                <a:gd name="T6" fmla="*/ 159 w 240"/>
                <a:gd name="T7" fmla="*/ 13 h 217"/>
                <a:gd name="T8" fmla="*/ 155 w 240"/>
                <a:gd name="T9" fmla="*/ 21 h 217"/>
                <a:gd name="T10" fmla="*/ 151 w 240"/>
                <a:gd name="T11" fmla="*/ 40 h 217"/>
                <a:gd name="T12" fmla="*/ 133 w 240"/>
                <a:gd name="T13" fmla="*/ 51 h 217"/>
                <a:gd name="T14" fmla="*/ 128 w 240"/>
                <a:gd name="T15" fmla="*/ 67 h 217"/>
                <a:gd name="T16" fmla="*/ 116 w 240"/>
                <a:gd name="T17" fmla="*/ 89 h 217"/>
                <a:gd name="T18" fmla="*/ 91 w 240"/>
                <a:gd name="T19" fmla="*/ 97 h 217"/>
                <a:gd name="T20" fmla="*/ 81 w 240"/>
                <a:gd name="T21" fmla="*/ 118 h 217"/>
                <a:gd name="T22" fmla="*/ 0 w 240"/>
                <a:gd name="T23" fmla="*/ 123 h 217"/>
                <a:gd name="T24" fmla="*/ 22 w 240"/>
                <a:gd name="T25" fmla="*/ 143 h 217"/>
                <a:gd name="T26" fmla="*/ 32 w 240"/>
                <a:gd name="T27" fmla="*/ 170 h 217"/>
                <a:gd name="T28" fmla="*/ 9 w 240"/>
                <a:gd name="T29" fmla="*/ 189 h 217"/>
                <a:gd name="T30" fmla="*/ 37 w 240"/>
                <a:gd name="T31" fmla="*/ 191 h 217"/>
                <a:gd name="T32" fmla="*/ 72 w 240"/>
                <a:gd name="T33" fmla="*/ 189 h 217"/>
                <a:gd name="T34" fmla="*/ 90 w 240"/>
                <a:gd name="T35" fmla="*/ 200 h 217"/>
                <a:gd name="T36" fmla="*/ 106 w 240"/>
                <a:gd name="T37" fmla="*/ 216 h 217"/>
                <a:gd name="T38" fmla="*/ 109 w 240"/>
                <a:gd name="T39" fmla="*/ 216 h 217"/>
                <a:gd name="T40" fmla="*/ 136 w 240"/>
                <a:gd name="T41" fmla="*/ 207 h 217"/>
                <a:gd name="T42" fmla="*/ 142 w 240"/>
                <a:gd name="T43" fmla="*/ 190 h 217"/>
                <a:gd name="T44" fmla="*/ 126 w 240"/>
                <a:gd name="T45" fmla="*/ 165 h 217"/>
                <a:gd name="T46" fmla="*/ 148 w 240"/>
                <a:gd name="T47" fmla="*/ 153 h 217"/>
                <a:gd name="T48" fmla="*/ 166 w 240"/>
                <a:gd name="T49" fmla="*/ 141 h 217"/>
                <a:gd name="T50" fmla="*/ 184 w 240"/>
                <a:gd name="T51" fmla="*/ 118 h 217"/>
                <a:gd name="T52" fmla="*/ 199 w 240"/>
                <a:gd name="T53" fmla="*/ 103 h 217"/>
                <a:gd name="T54" fmla="*/ 209 w 240"/>
                <a:gd name="T55" fmla="*/ 81 h 217"/>
                <a:gd name="T56" fmla="*/ 194 w 240"/>
                <a:gd name="T57" fmla="*/ 61 h 217"/>
                <a:gd name="T58" fmla="*/ 199 w 240"/>
                <a:gd name="T59" fmla="*/ 39 h 217"/>
                <a:gd name="T60" fmla="*/ 235 w 240"/>
                <a:gd name="T61" fmla="*/ 38 h 217"/>
                <a:gd name="T62" fmla="*/ 229 w 240"/>
                <a:gd name="T63" fmla="*/ 23 h 2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17">
                  <a:moveTo>
                    <a:pt x="229" y="23"/>
                  </a:moveTo>
                  <a:cubicBezTo>
                    <a:pt x="222" y="19"/>
                    <a:pt x="222" y="14"/>
                    <a:pt x="222" y="12"/>
                  </a:cubicBezTo>
                  <a:cubicBezTo>
                    <a:pt x="222" y="10"/>
                    <a:pt x="214" y="5"/>
                    <a:pt x="208" y="1"/>
                  </a:cubicBezTo>
                  <a:cubicBezTo>
                    <a:pt x="208" y="1"/>
                    <a:pt x="206" y="1"/>
                    <a:pt x="204" y="2"/>
                  </a:cubicBezTo>
                  <a:cubicBezTo>
                    <a:pt x="203" y="1"/>
                    <a:pt x="202" y="1"/>
                    <a:pt x="201" y="0"/>
                  </a:cubicBezTo>
                  <a:cubicBezTo>
                    <a:pt x="197" y="5"/>
                    <a:pt x="190" y="6"/>
                    <a:pt x="187" y="5"/>
                  </a:cubicBezTo>
                  <a:cubicBezTo>
                    <a:pt x="183" y="3"/>
                    <a:pt x="172" y="6"/>
                    <a:pt x="167" y="10"/>
                  </a:cubicBezTo>
                  <a:cubicBezTo>
                    <a:pt x="165" y="12"/>
                    <a:pt x="162" y="12"/>
                    <a:pt x="159" y="13"/>
                  </a:cubicBezTo>
                  <a:cubicBezTo>
                    <a:pt x="159" y="14"/>
                    <a:pt x="158" y="14"/>
                    <a:pt x="157" y="14"/>
                  </a:cubicBezTo>
                  <a:cubicBezTo>
                    <a:pt x="153" y="14"/>
                    <a:pt x="152" y="18"/>
                    <a:pt x="155" y="21"/>
                  </a:cubicBezTo>
                  <a:cubicBezTo>
                    <a:pt x="158" y="24"/>
                    <a:pt x="157" y="26"/>
                    <a:pt x="158" y="30"/>
                  </a:cubicBezTo>
                  <a:cubicBezTo>
                    <a:pt x="158" y="33"/>
                    <a:pt x="153" y="37"/>
                    <a:pt x="151" y="40"/>
                  </a:cubicBezTo>
                  <a:cubicBezTo>
                    <a:pt x="149" y="44"/>
                    <a:pt x="151" y="48"/>
                    <a:pt x="149" y="52"/>
                  </a:cubicBezTo>
                  <a:cubicBezTo>
                    <a:pt x="148" y="56"/>
                    <a:pt x="135" y="50"/>
                    <a:pt x="133" y="51"/>
                  </a:cubicBezTo>
                  <a:cubicBezTo>
                    <a:pt x="131" y="53"/>
                    <a:pt x="137" y="58"/>
                    <a:pt x="138" y="61"/>
                  </a:cubicBezTo>
                  <a:cubicBezTo>
                    <a:pt x="138" y="63"/>
                    <a:pt x="133" y="66"/>
                    <a:pt x="128" y="67"/>
                  </a:cubicBezTo>
                  <a:cubicBezTo>
                    <a:pt x="123" y="67"/>
                    <a:pt x="124" y="74"/>
                    <a:pt x="123" y="82"/>
                  </a:cubicBezTo>
                  <a:cubicBezTo>
                    <a:pt x="123" y="91"/>
                    <a:pt x="118" y="92"/>
                    <a:pt x="116" y="89"/>
                  </a:cubicBezTo>
                  <a:cubicBezTo>
                    <a:pt x="115" y="85"/>
                    <a:pt x="101" y="90"/>
                    <a:pt x="101" y="94"/>
                  </a:cubicBezTo>
                  <a:cubicBezTo>
                    <a:pt x="101" y="98"/>
                    <a:pt x="96" y="97"/>
                    <a:pt x="91" y="97"/>
                  </a:cubicBezTo>
                  <a:cubicBezTo>
                    <a:pt x="86" y="96"/>
                    <a:pt x="80" y="101"/>
                    <a:pt x="79" y="103"/>
                  </a:cubicBezTo>
                  <a:cubicBezTo>
                    <a:pt x="79" y="106"/>
                    <a:pt x="82" y="116"/>
                    <a:pt x="81" y="118"/>
                  </a:cubicBezTo>
                  <a:cubicBezTo>
                    <a:pt x="80" y="120"/>
                    <a:pt x="32" y="127"/>
                    <a:pt x="22" y="125"/>
                  </a:cubicBezTo>
                  <a:cubicBezTo>
                    <a:pt x="15" y="124"/>
                    <a:pt x="6" y="123"/>
                    <a:pt x="0" y="123"/>
                  </a:cubicBezTo>
                  <a:cubicBezTo>
                    <a:pt x="2" y="125"/>
                    <a:pt x="6" y="128"/>
                    <a:pt x="7" y="131"/>
                  </a:cubicBezTo>
                  <a:cubicBezTo>
                    <a:pt x="9" y="136"/>
                    <a:pt x="15" y="140"/>
                    <a:pt x="22" y="143"/>
                  </a:cubicBezTo>
                  <a:cubicBezTo>
                    <a:pt x="28" y="146"/>
                    <a:pt x="25" y="158"/>
                    <a:pt x="28" y="159"/>
                  </a:cubicBezTo>
                  <a:cubicBezTo>
                    <a:pt x="32" y="161"/>
                    <a:pt x="36" y="170"/>
                    <a:pt x="32" y="170"/>
                  </a:cubicBezTo>
                  <a:cubicBezTo>
                    <a:pt x="27" y="171"/>
                    <a:pt x="23" y="172"/>
                    <a:pt x="19" y="174"/>
                  </a:cubicBezTo>
                  <a:cubicBezTo>
                    <a:pt x="14" y="177"/>
                    <a:pt x="9" y="182"/>
                    <a:pt x="9" y="189"/>
                  </a:cubicBezTo>
                  <a:cubicBezTo>
                    <a:pt x="10" y="190"/>
                    <a:pt x="10" y="191"/>
                    <a:pt x="10" y="193"/>
                  </a:cubicBezTo>
                  <a:cubicBezTo>
                    <a:pt x="22" y="193"/>
                    <a:pt x="35" y="193"/>
                    <a:pt x="37" y="191"/>
                  </a:cubicBezTo>
                  <a:cubicBezTo>
                    <a:pt x="39" y="188"/>
                    <a:pt x="45" y="187"/>
                    <a:pt x="48" y="189"/>
                  </a:cubicBezTo>
                  <a:cubicBezTo>
                    <a:pt x="51" y="191"/>
                    <a:pt x="66" y="192"/>
                    <a:pt x="72" y="189"/>
                  </a:cubicBezTo>
                  <a:cubicBezTo>
                    <a:pt x="79" y="185"/>
                    <a:pt x="83" y="189"/>
                    <a:pt x="83" y="192"/>
                  </a:cubicBezTo>
                  <a:cubicBezTo>
                    <a:pt x="83" y="196"/>
                    <a:pt x="87" y="197"/>
                    <a:pt x="90" y="200"/>
                  </a:cubicBezTo>
                  <a:cubicBezTo>
                    <a:pt x="93" y="203"/>
                    <a:pt x="91" y="207"/>
                    <a:pt x="93" y="210"/>
                  </a:cubicBezTo>
                  <a:cubicBezTo>
                    <a:pt x="95" y="214"/>
                    <a:pt x="99" y="213"/>
                    <a:pt x="106" y="216"/>
                  </a:cubicBezTo>
                  <a:cubicBezTo>
                    <a:pt x="106" y="216"/>
                    <a:pt x="107" y="217"/>
                    <a:pt x="108" y="217"/>
                  </a:cubicBezTo>
                  <a:cubicBezTo>
                    <a:pt x="108" y="217"/>
                    <a:pt x="109" y="217"/>
                    <a:pt x="109" y="216"/>
                  </a:cubicBezTo>
                  <a:cubicBezTo>
                    <a:pt x="112" y="212"/>
                    <a:pt x="113" y="205"/>
                    <a:pt x="122" y="207"/>
                  </a:cubicBezTo>
                  <a:cubicBezTo>
                    <a:pt x="131" y="209"/>
                    <a:pt x="131" y="205"/>
                    <a:pt x="136" y="207"/>
                  </a:cubicBezTo>
                  <a:cubicBezTo>
                    <a:pt x="141" y="208"/>
                    <a:pt x="144" y="207"/>
                    <a:pt x="147" y="204"/>
                  </a:cubicBezTo>
                  <a:cubicBezTo>
                    <a:pt x="149" y="200"/>
                    <a:pt x="144" y="193"/>
                    <a:pt x="142" y="190"/>
                  </a:cubicBezTo>
                  <a:cubicBezTo>
                    <a:pt x="139" y="188"/>
                    <a:pt x="135" y="181"/>
                    <a:pt x="135" y="176"/>
                  </a:cubicBezTo>
                  <a:cubicBezTo>
                    <a:pt x="136" y="170"/>
                    <a:pt x="126" y="170"/>
                    <a:pt x="126" y="165"/>
                  </a:cubicBezTo>
                  <a:cubicBezTo>
                    <a:pt x="126" y="161"/>
                    <a:pt x="135" y="153"/>
                    <a:pt x="137" y="151"/>
                  </a:cubicBezTo>
                  <a:cubicBezTo>
                    <a:pt x="139" y="150"/>
                    <a:pt x="146" y="156"/>
                    <a:pt x="148" y="153"/>
                  </a:cubicBezTo>
                  <a:cubicBezTo>
                    <a:pt x="150" y="149"/>
                    <a:pt x="155" y="151"/>
                    <a:pt x="158" y="152"/>
                  </a:cubicBezTo>
                  <a:cubicBezTo>
                    <a:pt x="161" y="153"/>
                    <a:pt x="165" y="146"/>
                    <a:pt x="166" y="141"/>
                  </a:cubicBezTo>
                  <a:cubicBezTo>
                    <a:pt x="166" y="136"/>
                    <a:pt x="176" y="135"/>
                    <a:pt x="178" y="134"/>
                  </a:cubicBezTo>
                  <a:cubicBezTo>
                    <a:pt x="179" y="132"/>
                    <a:pt x="182" y="120"/>
                    <a:pt x="184" y="118"/>
                  </a:cubicBezTo>
                  <a:cubicBezTo>
                    <a:pt x="185" y="116"/>
                    <a:pt x="192" y="118"/>
                    <a:pt x="192" y="111"/>
                  </a:cubicBezTo>
                  <a:cubicBezTo>
                    <a:pt x="192" y="105"/>
                    <a:pt x="196" y="104"/>
                    <a:pt x="199" y="103"/>
                  </a:cubicBezTo>
                  <a:cubicBezTo>
                    <a:pt x="202" y="103"/>
                    <a:pt x="201" y="97"/>
                    <a:pt x="202" y="92"/>
                  </a:cubicBezTo>
                  <a:cubicBezTo>
                    <a:pt x="202" y="88"/>
                    <a:pt x="205" y="82"/>
                    <a:pt x="209" y="81"/>
                  </a:cubicBezTo>
                  <a:cubicBezTo>
                    <a:pt x="214" y="80"/>
                    <a:pt x="208" y="74"/>
                    <a:pt x="202" y="75"/>
                  </a:cubicBezTo>
                  <a:cubicBezTo>
                    <a:pt x="197" y="76"/>
                    <a:pt x="194" y="61"/>
                    <a:pt x="194" y="61"/>
                  </a:cubicBezTo>
                  <a:cubicBezTo>
                    <a:pt x="194" y="61"/>
                    <a:pt x="194" y="49"/>
                    <a:pt x="192" y="47"/>
                  </a:cubicBezTo>
                  <a:cubicBezTo>
                    <a:pt x="189" y="46"/>
                    <a:pt x="193" y="39"/>
                    <a:pt x="199" y="39"/>
                  </a:cubicBezTo>
                  <a:cubicBezTo>
                    <a:pt x="205" y="39"/>
                    <a:pt x="217" y="46"/>
                    <a:pt x="221" y="43"/>
                  </a:cubicBezTo>
                  <a:cubicBezTo>
                    <a:pt x="225" y="41"/>
                    <a:pt x="233" y="39"/>
                    <a:pt x="235" y="38"/>
                  </a:cubicBezTo>
                  <a:cubicBezTo>
                    <a:pt x="237" y="37"/>
                    <a:pt x="239" y="31"/>
                    <a:pt x="240" y="29"/>
                  </a:cubicBezTo>
                  <a:cubicBezTo>
                    <a:pt x="238" y="27"/>
                    <a:pt x="233" y="25"/>
                    <a:pt x="229" y="2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2" name="Freeform 360"/>
            <p:cNvSpPr>
              <a:spLocks noEditPoints="1"/>
            </p:cNvSpPr>
            <p:nvPr/>
          </p:nvSpPr>
          <p:spPr>
            <a:xfrm>
              <a:off x="7099301" y="3667125"/>
              <a:ext cx="1136650" cy="414338"/>
            </a:xfrm>
            <a:custGeom>
              <a:gdLst>
                <a:gd name="T0" fmla="*/ 50 w 670"/>
                <a:gd name="T1" fmla="*/ 104 h 244"/>
                <a:gd name="T2" fmla="*/ 190 w 670"/>
                <a:gd name="T3" fmla="*/ 130 h 244"/>
                <a:gd name="T4" fmla="*/ 28 w 670"/>
                <a:gd name="T5" fmla="*/ 67 h 244"/>
                <a:gd name="T6" fmla="*/ 359 w 670"/>
                <a:gd name="T7" fmla="*/ 173 h 244"/>
                <a:gd name="T8" fmla="*/ 374 w 670"/>
                <a:gd name="T9" fmla="*/ 138 h 244"/>
                <a:gd name="T10" fmla="*/ 396 w 670"/>
                <a:gd name="T11" fmla="*/ 143 h 244"/>
                <a:gd name="T12" fmla="*/ 410 w 670"/>
                <a:gd name="T13" fmla="*/ 98 h 244"/>
                <a:gd name="T14" fmla="*/ 410 w 670"/>
                <a:gd name="T15" fmla="*/ 82 h 244"/>
                <a:gd name="T16" fmla="*/ 384 w 670"/>
                <a:gd name="T17" fmla="*/ 69 h 244"/>
                <a:gd name="T18" fmla="*/ 344 w 670"/>
                <a:gd name="T19" fmla="*/ 126 h 244"/>
                <a:gd name="T20" fmla="*/ 159 w 670"/>
                <a:gd name="T21" fmla="*/ 136 h 244"/>
                <a:gd name="T22" fmla="*/ 153 w 670"/>
                <a:gd name="T23" fmla="*/ 112 h 244"/>
                <a:gd name="T24" fmla="*/ 148 w 670"/>
                <a:gd name="T25" fmla="*/ 123 h 244"/>
                <a:gd name="T26" fmla="*/ 123 w 670"/>
                <a:gd name="T27" fmla="*/ 92 h 244"/>
                <a:gd name="T28" fmla="*/ 101 w 670"/>
                <a:gd name="T29" fmla="*/ 65 h 244"/>
                <a:gd name="T30" fmla="*/ 68 w 670"/>
                <a:gd name="T31" fmla="*/ 44 h 244"/>
                <a:gd name="T32" fmla="*/ 4 w 670"/>
                <a:gd name="T33" fmla="*/ 6 h 244"/>
                <a:gd name="T34" fmla="*/ 59 w 670"/>
                <a:gd name="T35" fmla="*/ 84 h 244"/>
                <a:gd name="T36" fmla="*/ 129 w 670"/>
                <a:gd name="T37" fmla="*/ 165 h 244"/>
                <a:gd name="T38" fmla="*/ 157 w 670"/>
                <a:gd name="T39" fmla="*/ 152 h 244"/>
                <a:gd name="T40" fmla="*/ 482 w 670"/>
                <a:gd name="T41" fmla="*/ 68 h 244"/>
                <a:gd name="T42" fmla="*/ 485 w 670"/>
                <a:gd name="T43" fmla="*/ 83 h 244"/>
                <a:gd name="T44" fmla="*/ 450 w 670"/>
                <a:gd name="T45" fmla="*/ 136 h 244"/>
                <a:gd name="T46" fmla="*/ 358 w 670"/>
                <a:gd name="T47" fmla="*/ 216 h 244"/>
                <a:gd name="T48" fmla="*/ 416 w 670"/>
                <a:gd name="T49" fmla="*/ 209 h 244"/>
                <a:gd name="T50" fmla="*/ 499 w 670"/>
                <a:gd name="T51" fmla="*/ 139 h 244"/>
                <a:gd name="T52" fmla="*/ 281 w 670"/>
                <a:gd name="T53" fmla="*/ 204 h 244"/>
                <a:gd name="T54" fmla="*/ 253 w 670"/>
                <a:gd name="T55" fmla="*/ 190 h 244"/>
                <a:gd name="T56" fmla="*/ 158 w 670"/>
                <a:gd name="T57" fmla="*/ 178 h 244"/>
                <a:gd name="T58" fmla="*/ 170 w 670"/>
                <a:gd name="T59" fmla="*/ 197 h 244"/>
                <a:gd name="T60" fmla="*/ 259 w 670"/>
                <a:gd name="T61" fmla="*/ 212 h 244"/>
                <a:gd name="T62" fmla="*/ 281 w 670"/>
                <a:gd name="T63" fmla="*/ 204 h 244"/>
                <a:gd name="T64" fmla="*/ 583 w 670"/>
                <a:gd name="T65" fmla="*/ 137 h 244"/>
                <a:gd name="T66" fmla="*/ 522 w 670"/>
                <a:gd name="T67" fmla="*/ 106 h 244"/>
                <a:gd name="T68" fmla="*/ 561 w 670"/>
                <a:gd name="T69" fmla="*/ 121 h 244"/>
                <a:gd name="T70" fmla="*/ 539 w 670"/>
                <a:gd name="T71" fmla="*/ 130 h 244"/>
                <a:gd name="T72" fmla="*/ 573 w 670"/>
                <a:gd name="T73" fmla="*/ 147 h 244"/>
                <a:gd name="T74" fmla="*/ 635 w 670"/>
                <a:gd name="T75" fmla="*/ 185 h 244"/>
                <a:gd name="T76" fmla="*/ 654 w 670"/>
                <a:gd name="T77" fmla="*/ 208 h 244"/>
                <a:gd name="T78" fmla="*/ 620 w 670"/>
                <a:gd name="T79" fmla="*/ 111 h 244"/>
                <a:gd name="T80" fmla="*/ 427 w 670"/>
                <a:gd name="T81" fmla="*/ 226 h 244"/>
                <a:gd name="T82" fmla="*/ 433 w 670"/>
                <a:gd name="T83" fmla="*/ 229 h 244"/>
                <a:gd name="T84" fmla="*/ 438 w 670"/>
                <a:gd name="T85" fmla="*/ 225 h 244"/>
                <a:gd name="T86" fmla="*/ 323 w 670"/>
                <a:gd name="T87" fmla="*/ 87 h 244"/>
                <a:gd name="T88" fmla="*/ 330 w 670"/>
                <a:gd name="T89" fmla="*/ 51 h 244"/>
                <a:gd name="T90" fmla="*/ 328 w 670"/>
                <a:gd name="T91" fmla="*/ 26 h 244"/>
                <a:gd name="T92" fmla="*/ 290 w 670"/>
                <a:gd name="T93" fmla="*/ 46 h 244"/>
                <a:gd name="T94" fmla="*/ 259 w 670"/>
                <a:gd name="T95" fmla="*/ 66 h 244"/>
                <a:gd name="T96" fmla="*/ 214 w 670"/>
                <a:gd name="T97" fmla="*/ 68 h 244"/>
                <a:gd name="T98" fmla="*/ 198 w 670"/>
                <a:gd name="T99" fmla="*/ 78 h 244"/>
                <a:gd name="T100" fmla="*/ 232 w 670"/>
                <a:gd name="T101" fmla="*/ 133 h 244"/>
                <a:gd name="T102" fmla="*/ 282 w 670"/>
                <a:gd name="T103" fmla="*/ 145 h 244"/>
                <a:gd name="T104" fmla="*/ 346 w 670"/>
                <a:gd name="T105" fmla="*/ 229 h 244"/>
                <a:gd name="T106" fmla="*/ 346 w 670"/>
                <a:gd name="T107" fmla="*/ 229 h 244"/>
                <a:gd name="T108" fmla="*/ 305 w 670"/>
                <a:gd name="T109" fmla="*/ 218 h 244"/>
                <a:gd name="T110" fmla="*/ 325 w 670"/>
                <a:gd name="T111" fmla="*/ 208 h 2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0" h="244">
                  <a:moveTo>
                    <a:pt x="50" y="104"/>
                  </a:moveTo>
                  <a:cubicBezTo>
                    <a:pt x="49" y="106"/>
                    <a:pt x="53" y="115"/>
                    <a:pt x="56" y="112"/>
                  </a:cubicBezTo>
                  <a:cubicBezTo>
                    <a:pt x="59" y="109"/>
                    <a:pt x="52" y="97"/>
                    <a:pt x="50" y="104"/>
                  </a:cubicBezTo>
                  <a:close/>
                  <a:moveTo>
                    <a:pt x="190" y="130"/>
                  </a:moveTo>
                  <a:cubicBezTo>
                    <a:pt x="190" y="126"/>
                    <a:pt x="179" y="128"/>
                    <a:pt x="182" y="133"/>
                  </a:cubicBezTo>
                  <a:cubicBezTo>
                    <a:pt x="186" y="139"/>
                    <a:pt x="190" y="134"/>
                    <a:pt x="190" y="130"/>
                  </a:cubicBezTo>
                  <a:close/>
                  <a:moveTo>
                    <a:pt x="28" y="67"/>
                  </a:moveTo>
                  <a:cubicBezTo>
                    <a:pt x="28" y="71"/>
                    <a:pt x="32" y="84"/>
                    <a:pt x="38" y="78"/>
                  </a:cubicBezTo>
                  <a:cubicBezTo>
                    <a:pt x="43" y="73"/>
                    <a:pt x="29" y="63"/>
                    <a:pt x="28" y="67"/>
                  </a:cubicBezTo>
                  <a:close/>
                  <a:moveTo>
                    <a:pt x="353" y="140"/>
                  </a:moveTo>
                  <a:cubicBezTo>
                    <a:pt x="360" y="141"/>
                    <a:pt x="359" y="150"/>
                    <a:pt x="358" y="156"/>
                  </a:cubicBezTo>
                  <a:cubicBezTo>
                    <a:pt x="356" y="161"/>
                    <a:pt x="354" y="175"/>
                    <a:pt x="359" y="173"/>
                  </a:cubicBezTo>
                  <a:cubicBezTo>
                    <a:pt x="366" y="170"/>
                    <a:pt x="370" y="161"/>
                    <a:pt x="367" y="158"/>
                  </a:cubicBezTo>
                  <a:cubicBezTo>
                    <a:pt x="363" y="155"/>
                    <a:pt x="363" y="136"/>
                    <a:pt x="365" y="132"/>
                  </a:cubicBezTo>
                  <a:cubicBezTo>
                    <a:pt x="367" y="127"/>
                    <a:pt x="378" y="130"/>
                    <a:pt x="374" y="138"/>
                  </a:cubicBezTo>
                  <a:cubicBezTo>
                    <a:pt x="370" y="145"/>
                    <a:pt x="382" y="144"/>
                    <a:pt x="382" y="152"/>
                  </a:cubicBezTo>
                  <a:cubicBezTo>
                    <a:pt x="382" y="161"/>
                    <a:pt x="388" y="156"/>
                    <a:pt x="395" y="154"/>
                  </a:cubicBezTo>
                  <a:cubicBezTo>
                    <a:pt x="402" y="152"/>
                    <a:pt x="401" y="148"/>
                    <a:pt x="396" y="143"/>
                  </a:cubicBezTo>
                  <a:cubicBezTo>
                    <a:pt x="391" y="138"/>
                    <a:pt x="399" y="130"/>
                    <a:pt x="393" y="126"/>
                  </a:cubicBezTo>
                  <a:cubicBezTo>
                    <a:pt x="386" y="122"/>
                    <a:pt x="382" y="115"/>
                    <a:pt x="388" y="114"/>
                  </a:cubicBezTo>
                  <a:cubicBezTo>
                    <a:pt x="394" y="113"/>
                    <a:pt x="412" y="102"/>
                    <a:pt x="410" y="98"/>
                  </a:cubicBezTo>
                  <a:cubicBezTo>
                    <a:pt x="408" y="94"/>
                    <a:pt x="382" y="99"/>
                    <a:pt x="380" y="107"/>
                  </a:cubicBezTo>
                  <a:cubicBezTo>
                    <a:pt x="378" y="115"/>
                    <a:pt x="360" y="106"/>
                    <a:pt x="362" y="93"/>
                  </a:cubicBezTo>
                  <a:cubicBezTo>
                    <a:pt x="364" y="79"/>
                    <a:pt x="400" y="77"/>
                    <a:pt x="410" y="82"/>
                  </a:cubicBezTo>
                  <a:cubicBezTo>
                    <a:pt x="421" y="87"/>
                    <a:pt x="432" y="74"/>
                    <a:pt x="436" y="67"/>
                  </a:cubicBezTo>
                  <a:cubicBezTo>
                    <a:pt x="440" y="59"/>
                    <a:pt x="428" y="68"/>
                    <a:pt x="420" y="73"/>
                  </a:cubicBezTo>
                  <a:cubicBezTo>
                    <a:pt x="413" y="78"/>
                    <a:pt x="394" y="72"/>
                    <a:pt x="384" y="69"/>
                  </a:cubicBezTo>
                  <a:cubicBezTo>
                    <a:pt x="374" y="66"/>
                    <a:pt x="374" y="75"/>
                    <a:pt x="366" y="76"/>
                  </a:cubicBezTo>
                  <a:cubicBezTo>
                    <a:pt x="358" y="78"/>
                    <a:pt x="360" y="96"/>
                    <a:pt x="356" y="98"/>
                  </a:cubicBezTo>
                  <a:cubicBezTo>
                    <a:pt x="352" y="100"/>
                    <a:pt x="352" y="113"/>
                    <a:pt x="344" y="126"/>
                  </a:cubicBezTo>
                  <a:cubicBezTo>
                    <a:pt x="336" y="138"/>
                    <a:pt x="347" y="140"/>
                    <a:pt x="353" y="140"/>
                  </a:cubicBezTo>
                  <a:close/>
                  <a:moveTo>
                    <a:pt x="157" y="152"/>
                  </a:moveTo>
                  <a:cubicBezTo>
                    <a:pt x="156" y="146"/>
                    <a:pt x="159" y="139"/>
                    <a:pt x="159" y="136"/>
                  </a:cubicBezTo>
                  <a:cubicBezTo>
                    <a:pt x="159" y="133"/>
                    <a:pt x="161" y="132"/>
                    <a:pt x="165" y="133"/>
                  </a:cubicBezTo>
                  <a:cubicBezTo>
                    <a:pt x="169" y="134"/>
                    <a:pt x="168" y="125"/>
                    <a:pt x="165" y="124"/>
                  </a:cubicBezTo>
                  <a:cubicBezTo>
                    <a:pt x="162" y="123"/>
                    <a:pt x="161" y="112"/>
                    <a:pt x="153" y="112"/>
                  </a:cubicBezTo>
                  <a:cubicBezTo>
                    <a:pt x="146" y="112"/>
                    <a:pt x="147" y="118"/>
                    <a:pt x="152" y="119"/>
                  </a:cubicBezTo>
                  <a:cubicBezTo>
                    <a:pt x="156" y="119"/>
                    <a:pt x="158" y="123"/>
                    <a:pt x="157" y="126"/>
                  </a:cubicBezTo>
                  <a:cubicBezTo>
                    <a:pt x="156" y="129"/>
                    <a:pt x="154" y="123"/>
                    <a:pt x="148" y="123"/>
                  </a:cubicBezTo>
                  <a:cubicBezTo>
                    <a:pt x="142" y="124"/>
                    <a:pt x="146" y="116"/>
                    <a:pt x="139" y="115"/>
                  </a:cubicBezTo>
                  <a:cubicBezTo>
                    <a:pt x="132" y="115"/>
                    <a:pt x="133" y="102"/>
                    <a:pt x="126" y="102"/>
                  </a:cubicBezTo>
                  <a:cubicBezTo>
                    <a:pt x="119" y="102"/>
                    <a:pt x="118" y="96"/>
                    <a:pt x="123" y="92"/>
                  </a:cubicBezTo>
                  <a:cubicBezTo>
                    <a:pt x="128" y="88"/>
                    <a:pt x="116" y="84"/>
                    <a:pt x="116" y="79"/>
                  </a:cubicBezTo>
                  <a:cubicBezTo>
                    <a:pt x="116" y="74"/>
                    <a:pt x="108" y="77"/>
                    <a:pt x="108" y="72"/>
                  </a:cubicBezTo>
                  <a:cubicBezTo>
                    <a:pt x="108" y="68"/>
                    <a:pt x="105" y="70"/>
                    <a:pt x="101" y="65"/>
                  </a:cubicBezTo>
                  <a:cubicBezTo>
                    <a:pt x="97" y="60"/>
                    <a:pt x="95" y="65"/>
                    <a:pt x="92" y="61"/>
                  </a:cubicBezTo>
                  <a:cubicBezTo>
                    <a:pt x="88" y="57"/>
                    <a:pt x="84" y="55"/>
                    <a:pt x="81" y="56"/>
                  </a:cubicBezTo>
                  <a:cubicBezTo>
                    <a:pt x="78" y="57"/>
                    <a:pt x="71" y="50"/>
                    <a:pt x="68" y="44"/>
                  </a:cubicBezTo>
                  <a:cubicBezTo>
                    <a:pt x="66" y="38"/>
                    <a:pt x="46" y="29"/>
                    <a:pt x="44" y="22"/>
                  </a:cubicBezTo>
                  <a:cubicBezTo>
                    <a:pt x="41" y="14"/>
                    <a:pt x="34" y="11"/>
                    <a:pt x="22" y="12"/>
                  </a:cubicBezTo>
                  <a:cubicBezTo>
                    <a:pt x="11" y="12"/>
                    <a:pt x="6" y="0"/>
                    <a:pt x="4" y="6"/>
                  </a:cubicBezTo>
                  <a:cubicBezTo>
                    <a:pt x="0" y="13"/>
                    <a:pt x="16" y="30"/>
                    <a:pt x="23" y="34"/>
                  </a:cubicBezTo>
                  <a:cubicBezTo>
                    <a:pt x="31" y="38"/>
                    <a:pt x="35" y="54"/>
                    <a:pt x="43" y="55"/>
                  </a:cubicBezTo>
                  <a:cubicBezTo>
                    <a:pt x="52" y="56"/>
                    <a:pt x="53" y="83"/>
                    <a:pt x="59" y="84"/>
                  </a:cubicBezTo>
                  <a:cubicBezTo>
                    <a:pt x="65" y="85"/>
                    <a:pt x="79" y="106"/>
                    <a:pt x="81" y="118"/>
                  </a:cubicBezTo>
                  <a:cubicBezTo>
                    <a:pt x="84" y="129"/>
                    <a:pt x="98" y="134"/>
                    <a:pt x="102" y="142"/>
                  </a:cubicBezTo>
                  <a:cubicBezTo>
                    <a:pt x="107" y="151"/>
                    <a:pt x="126" y="162"/>
                    <a:pt x="129" y="165"/>
                  </a:cubicBezTo>
                  <a:cubicBezTo>
                    <a:pt x="131" y="169"/>
                    <a:pt x="134" y="176"/>
                    <a:pt x="136" y="173"/>
                  </a:cubicBezTo>
                  <a:cubicBezTo>
                    <a:pt x="138" y="169"/>
                    <a:pt x="147" y="173"/>
                    <a:pt x="152" y="173"/>
                  </a:cubicBezTo>
                  <a:cubicBezTo>
                    <a:pt x="156" y="173"/>
                    <a:pt x="157" y="158"/>
                    <a:pt x="157" y="152"/>
                  </a:cubicBezTo>
                  <a:close/>
                  <a:moveTo>
                    <a:pt x="485" y="83"/>
                  </a:moveTo>
                  <a:cubicBezTo>
                    <a:pt x="495" y="84"/>
                    <a:pt x="490" y="78"/>
                    <a:pt x="490" y="72"/>
                  </a:cubicBezTo>
                  <a:cubicBezTo>
                    <a:pt x="490" y="66"/>
                    <a:pt x="482" y="71"/>
                    <a:pt x="482" y="68"/>
                  </a:cubicBezTo>
                  <a:cubicBezTo>
                    <a:pt x="482" y="65"/>
                    <a:pt x="479" y="53"/>
                    <a:pt x="472" y="62"/>
                  </a:cubicBezTo>
                  <a:cubicBezTo>
                    <a:pt x="465" y="72"/>
                    <a:pt x="474" y="95"/>
                    <a:pt x="480" y="94"/>
                  </a:cubicBezTo>
                  <a:cubicBezTo>
                    <a:pt x="484" y="93"/>
                    <a:pt x="476" y="82"/>
                    <a:pt x="485" y="83"/>
                  </a:cubicBezTo>
                  <a:close/>
                  <a:moveTo>
                    <a:pt x="450" y="136"/>
                  </a:moveTo>
                  <a:cubicBezTo>
                    <a:pt x="452" y="143"/>
                    <a:pt x="464" y="147"/>
                    <a:pt x="468" y="141"/>
                  </a:cubicBezTo>
                  <a:cubicBezTo>
                    <a:pt x="471" y="135"/>
                    <a:pt x="448" y="128"/>
                    <a:pt x="450" y="136"/>
                  </a:cubicBezTo>
                  <a:close/>
                  <a:moveTo>
                    <a:pt x="416" y="209"/>
                  </a:moveTo>
                  <a:cubicBezTo>
                    <a:pt x="404" y="207"/>
                    <a:pt x="397" y="216"/>
                    <a:pt x="385" y="212"/>
                  </a:cubicBezTo>
                  <a:cubicBezTo>
                    <a:pt x="373" y="207"/>
                    <a:pt x="356" y="212"/>
                    <a:pt x="358" y="216"/>
                  </a:cubicBezTo>
                  <a:cubicBezTo>
                    <a:pt x="360" y="219"/>
                    <a:pt x="370" y="219"/>
                    <a:pt x="382" y="220"/>
                  </a:cubicBezTo>
                  <a:cubicBezTo>
                    <a:pt x="393" y="220"/>
                    <a:pt x="404" y="214"/>
                    <a:pt x="411" y="213"/>
                  </a:cubicBezTo>
                  <a:cubicBezTo>
                    <a:pt x="419" y="213"/>
                    <a:pt x="428" y="211"/>
                    <a:pt x="416" y="209"/>
                  </a:cubicBezTo>
                  <a:close/>
                  <a:moveTo>
                    <a:pt x="508" y="130"/>
                  </a:moveTo>
                  <a:cubicBezTo>
                    <a:pt x="497" y="127"/>
                    <a:pt x="478" y="130"/>
                    <a:pt x="480" y="136"/>
                  </a:cubicBezTo>
                  <a:cubicBezTo>
                    <a:pt x="481" y="141"/>
                    <a:pt x="490" y="139"/>
                    <a:pt x="499" y="139"/>
                  </a:cubicBezTo>
                  <a:cubicBezTo>
                    <a:pt x="509" y="139"/>
                    <a:pt x="513" y="145"/>
                    <a:pt x="518" y="145"/>
                  </a:cubicBezTo>
                  <a:cubicBezTo>
                    <a:pt x="523" y="145"/>
                    <a:pt x="519" y="134"/>
                    <a:pt x="508" y="130"/>
                  </a:cubicBezTo>
                  <a:close/>
                  <a:moveTo>
                    <a:pt x="281" y="204"/>
                  </a:moveTo>
                  <a:cubicBezTo>
                    <a:pt x="281" y="199"/>
                    <a:pt x="264" y="204"/>
                    <a:pt x="256" y="201"/>
                  </a:cubicBezTo>
                  <a:cubicBezTo>
                    <a:pt x="248" y="197"/>
                    <a:pt x="265" y="194"/>
                    <a:pt x="271" y="191"/>
                  </a:cubicBezTo>
                  <a:cubicBezTo>
                    <a:pt x="276" y="187"/>
                    <a:pt x="267" y="186"/>
                    <a:pt x="253" y="190"/>
                  </a:cubicBezTo>
                  <a:cubicBezTo>
                    <a:pt x="240" y="195"/>
                    <a:pt x="224" y="181"/>
                    <a:pt x="223" y="187"/>
                  </a:cubicBezTo>
                  <a:cubicBezTo>
                    <a:pt x="223" y="193"/>
                    <a:pt x="198" y="184"/>
                    <a:pt x="192" y="180"/>
                  </a:cubicBezTo>
                  <a:cubicBezTo>
                    <a:pt x="186" y="176"/>
                    <a:pt x="163" y="170"/>
                    <a:pt x="158" y="178"/>
                  </a:cubicBezTo>
                  <a:cubicBezTo>
                    <a:pt x="154" y="186"/>
                    <a:pt x="150" y="179"/>
                    <a:pt x="152" y="187"/>
                  </a:cubicBezTo>
                  <a:cubicBezTo>
                    <a:pt x="153" y="192"/>
                    <a:pt x="158" y="189"/>
                    <a:pt x="162" y="189"/>
                  </a:cubicBezTo>
                  <a:cubicBezTo>
                    <a:pt x="166" y="189"/>
                    <a:pt x="164" y="196"/>
                    <a:pt x="170" y="197"/>
                  </a:cubicBezTo>
                  <a:cubicBezTo>
                    <a:pt x="176" y="198"/>
                    <a:pt x="194" y="203"/>
                    <a:pt x="196" y="199"/>
                  </a:cubicBezTo>
                  <a:cubicBezTo>
                    <a:pt x="198" y="195"/>
                    <a:pt x="215" y="199"/>
                    <a:pt x="223" y="206"/>
                  </a:cubicBezTo>
                  <a:cubicBezTo>
                    <a:pt x="232" y="213"/>
                    <a:pt x="252" y="213"/>
                    <a:pt x="259" y="212"/>
                  </a:cubicBezTo>
                  <a:cubicBezTo>
                    <a:pt x="267" y="211"/>
                    <a:pt x="276" y="217"/>
                    <a:pt x="279" y="213"/>
                  </a:cubicBezTo>
                  <a:cubicBezTo>
                    <a:pt x="282" y="209"/>
                    <a:pt x="287" y="220"/>
                    <a:pt x="296" y="213"/>
                  </a:cubicBezTo>
                  <a:cubicBezTo>
                    <a:pt x="305" y="207"/>
                    <a:pt x="282" y="210"/>
                    <a:pt x="281" y="204"/>
                  </a:cubicBezTo>
                  <a:close/>
                  <a:moveTo>
                    <a:pt x="620" y="111"/>
                  </a:moveTo>
                  <a:cubicBezTo>
                    <a:pt x="613" y="111"/>
                    <a:pt x="613" y="122"/>
                    <a:pt x="607" y="122"/>
                  </a:cubicBezTo>
                  <a:cubicBezTo>
                    <a:pt x="601" y="122"/>
                    <a:pt x="594" y="134"/>
                    <a:pt x="583" y="137"/>
                  </a:cubicBezTo>
                  <a:cubicBezTo>
                    <a:pt x="573" y="141"/>
                    <a:pt x="573" y="108"/>
                    <a:pt x="568" y="101"/>
                  </a:cubicBezTo>
                  <a:cubicBezTo>
                    <a:pt x="563" y="95"/>
                    <a:pt x="537" y="90"/>
                    <a:pt x="535" y="97"/>
                  </a:cubicBezTo>
                  <a:cubicBezTo>
                    <a:pt x="532" y="104"/>
                    <a:pt x="523" y="100"/>
                    <a:pt x="522" y="106"/>
                  </a:cubicBezTo>
                  <a:cubicBezTo>
                    <a:pt x="521" y="112"/>
                    <a:pt x="524" y="110"/>
                    <a:pt x="530" y="110"/>
                  </a:cubicBezTo>
                  <a:cubicBezTo>
                    <a:pt x="536" y="110"/>
                    <a:pt x="536" y="115"/>
                    <a:pt x="538" y="120"/>
                  </a:cubicBezTo>
                  <a:cubicBezTo>
                    <a:pt x="541" y="126"/>
                    <a:pt x="556" y="122"/>
                    <a:pt x="561" y="121"/>
                  </a:cubicBezTo>
                  <a:cubicBezTo>
                    <a:pt x="567" y="121"/>
                    <a:pt x="567" y="128"/>
                    <a:pt x="560" y="126"/>
                  </a:cubicBezTo>
                  <a:cubicBezTo>
                    <a:pt x="553" y="123"/>
                    <a:pt x="553" y="129"/>
                    <a:pt x="548" y="128"/>
                  </a:cubicBezTo>
                  <a:cubicBezTo>
                    <a:pt x="543" y="127"/>
                    <a:pt x="536" y="127"/>
                    <a:pt x="539" y="130"/>
                  </a:cubicBezTo>
                  <a:cubicBezTo>
                    <a:pt x="543" y="133"/>
                    <a:pt x="548" y="136"/>
                    <a:pt x="548" y="143"/>
                  </a:cubicBezTo>
                  <a:cubicBezTo>
                    <a:pt x="548" y="150"/>
                    <a:pt x="558" y="149"/>
                    <a:pt x="558" y="143"/>
                  </a:cubicBezTo>
                  <a:cubicBezTo>
                    <a:pt x="558" y="137"/>
                    <a:pt x="563" y="145"/>
                    <a:pt x="573" y="147"/>
                  </a:cubicBezTo>
                  <a:cubicBezTo>
                    <a:pt x="583" y="150"/>
                    <a:pt x="576" y="154"/>
                    <a:pt x="586" y="154"/>
                  </a:cubicBezTo>
                  <a:cubicBezTo>
                    <a:pt x="596" y="155"/>
                    <a:pt x="618" y="162"/>
                    <a:pt x="627" y="168"/>
                  </a:cubicBezTo>
                  <a:cubicBezTo>
                    <a:pt x="635" y="175"/>
                    <a:pt x="629" y="179"/>
                    <a:pt x="635" y="185"/>
                  </a:cubicBezTo>
                  <a:cubicBezTo>
                    <a:pt x="641" y="191"/>
                    <a:pt x="642" y="198"/>
                    <a:pt x="635" y="198"/>
                  </a:cubicBezTo>
                  <a:cubicBezTo>
                    <a:pt x="627" y="198"/>
                    <a:pt x="619" y="206"/>
                    <a:pt x="621" y="210"/>
                  </a:cubicBezTo>
                  <a:cubicBezTo>
                    <a:pt x="623" y="213"/>
                    <a:pt x="648" y="208"/>
                    <a:pt x="654" y="208"/>
                  </a:cubicBezTo>
                  <a:cubicBezTo>
                    <a:pt x="658" y="208"/>
                    <a:pt x="662" y="215"/>
                    <a:pt x="670" y="220"/>
                  </a:cubicBezTo>
                  <a:cubicBezTo>
                    <a:pt x="670" y="128"/>
                    <a:pt x="670" y="128"/>
                    <a:pt x="670" y="128"/>
                  </a:cubicBezTo>
                  <a:cubicBezTo>
                    <a:pt x="651" y="122"/>
                    <a:pt x="625" y="110"/>
                    <a:pt x="620" y="111"/>
                  </a:cubicBezTo>
                  <a:close/>
                  <a:moveTo>
                    <a:pt x="434" y="220"/>
                  </a:moveTo>
                  <a:cubicBezTo>
                    <a:pt x="432" y="221"/>
                    <a:pt x="431" y="221"/>
                    <a:pt x="429" y="222"/>
                  </a:cubicBezTo>
                  <a:cubicBezTo>
                    <a:pt x="428" y="223"/>
                    <a:pt x="428" y="225"/>
                    <a:pt x="427" y="226"/>
                  </a:cubicBezTo>
                  <a:cubicBezTo>
                    <a:pt x="426" y="227"/>
                    <a:pt x="424" y="225"/>
                    <a:pt x="422" y="223"/>
                  </a:cubicBezTo>
                  <a:cubicBezTo>
                    <a:pt x="414" y="227"/>
                    <a:pt x="409" y="237"/>
                    <a:pt x="415" y="240"/>
                  </a:cubicBezTo>
                  <a:cubicBezTo>
                    <a:pt x="421" y="243"/>
                    <a:pt x="429" y="235"/>
                    <a:pt x="433" y="229"/>
                  </a:cubicBezTo>
                  <a:cubicBezTo>
                    <a:pt x="434" y="228"/>
                    <a:pt x="435" y="228"/>
                    <a:pt x="435" y="227"/>
                  </a:cubicBezTo>
                  <a:cubicBezTo>
                    <a:pt x="436" y="226"/>
                    <a:pt x="436" y="226"/>
                    <a:pt x="437" y="225"/>
                  </a:cubicBezTo>
                  <a:cubicBezTo>
                    <a:pt x="438" y="225"/>
                    <a:pt x="438" y="225"/>
                    <a:pt x="438" y="225"/>
                  </a:cubicBezTo>
                  <a:cubicBezTo>
                    <a:pt x="437" y="223"/>
                    <a:pt x="435" y="221"/>
                    <a:pt x="434" y="220"/>
                  </a:cubicBezTo>
                  <a:close/>
                  <a:moveTo>
                    <a:pt x="314" y="109"/>
                  </a:moveTo>
                  <a:cubicBezTo>
                    <a:pt x="322" y="104"/>
                    <a:pt x="324" y="95"/>
                    <a:pt x="323" y="87"/>
                  </a:cubicBezTo>
                  <a:cubicBezTo>
                    <a:pt x="322" y="78"/>
                    <a:pt x="342" y="78"/>
                    <a:pt x="345" y="74"/>
                  </a:cubicBezTo>
                  <a:cubicBezTo>
                    <a:pt x="348" y="71"/>
                    <a:pt x="340" y="65"/>
                    <a:pt x="335" y="62"/>
                  </a:cubicBezTo>
                  <a:cubicBezTo>
                    <a:pt x="329" y="60"/>
                    <a:pt x="334" y="54"/>
                    <a:pt x="330" y="51"/>
                  </a:cubicBezTo>
                  <a:cubicBezTo>
                    <a:pt x="326" y="47"/>
                    <a:pt x="320" y="38"/>
                    <a:pt x="325" y="38"/>
                  </a:cubicBezTo>
                  <a:cubicBezTo>
                    <a:pt x="331" y="38"/>
                    <a:pt x="321" y="30"/>
                    <a:pt x="326" y="27"/>
                  </a:cubicBezTo>
                  <a:cubicBezTo>
                    <a:pt x="327" y="27"/>
                    <a:pt x="328" y="27"/>
                    <a:pt x="328" y="26"/>
                  </a:cubicBezTo>
                  <a:cubicBezTo>
                    <a:pt x="325" y="25"/>
                    <a:pt x="323" y="24"/>
                    <a:pt x="321" y="24"/>
                  </a:cubicBezTo>
                  <a:cubicBezTo>
                    <a:pt x="315" y="24"/>
                    <a:pt x="298" y="22"/>
                    <a:pt x="299" y="33"/>
                  </a:cubicBezTo>
                  <a:cubicBezTo>
                    <a:pt x="300" y="44"/>
                    <a:pt x="290" y="40"/>
                    <a:pt x="290" y="46"/>
                  </a:cubicBezTo>
                  <a:cubicBezTo>
                    <a:pt x="291" y="52"/>
                    <a:pt x="285" y="52"/>
                    <a:pt x="286" y="60"/>
                  </a:cubicBezTo>
                  <a:cubicBezTo>
                    <a:pt x="287" y="68"/>
                    <a:pt x="282" y="64"/>
                    <a:pt x="273" y="69"/>
                  </a:cubicBezTo>
                  <a:cubicBezTo>
                    <a:pt x="265" y="73"/>
                    <a:pt x="268" y="66"/>
                    <a:pt x="259" y="66"/>
                  </a:cubicBezTo>
                  <a:cubicBezTo>
                    <a:pt x="251" y="66"/>
                    <a:pt x="250" y="70"/>
                    <a:pt x="245" y="72"/>
                  </a:cubicBezTo>
                  <a:cubicBezTo>
                    <a:pt x="240" y="74"/>
                    <a:pt x="229" y="71"/>
                    <a:pt x="226" y="74"/>
                  </a:cubicBezTo>
                  <a:cubicBezTo>
                    <a:pt x="222" y="76"/>
                    <a:pt x="217" y="68"/>
                    <a:pt x="214" y="68"/>
                  </a:cubicBezTo>
                  <a:cubicBezTo>
                    <a:pt x="212" y="68"/>
                    <a:pt x="211" y="63"/>
                    <a:pt x="210" y="58"/>
                  </a:cubicBezTo>
                  <a:cubicBezTo>
                    <a:pt x="209" y="58"/>
                    <a:pt x="208" y="58"/>
                    <a:pt x="208" y="58"/>
                  </a:cubicBezTo>
                  <a:cubicBezTo>
                    <a:pt x="202" y="59"/>
                    <a:pt x="193" y="73"/>
                    <a:pt x="198" y="78"/>
                  </a:cubicBezTo>
                  <a:cubicBezTo>
                    <a:pt x="205" y="84"/>
                    <a:pt x="203" y="94"/>
                    <a:pt x="206" y="99"/>
                  </a:cubicBezTo>
                  <a:cubicBezTo>
                    <a:pt x="209" y="103"/>
                    <a:pt x="219" y="104"/>
                    <a:pt x="219" y="113"/>
                  </a:cubicBezTo>
                  <a:cubicBezTo>
                    <a:pt x="219" y="122"/>
                    <a:pt x="227" y="136"/>
                    <a:pt x="232" y="133"/>
                  </a:cubicBezTo>
                  <a:cubicBezTo>
                    <a:pt x="238" y="129"/>
                    <a:pt x="242" y="134"/>
                    <a:pt x="244" y="138"/>
                  </a:cubicBezTo>
                  <a:cubicBezTo>
                    <a:pt x="246" y="142"/>
                    <a:pt x="259" y="135"/>
                    <a:pt x="263" y="136"/>
                  </a:cubicBezTo>
                  <a:cubicBezTo>
                    <a:pt x="268" y="137"/>
                    <a:pt x="281" y="139"/>
                    <a:pt x="282" y="145"/>
                  </a:cubicBezTo>
                  <a:cubicBezTo>
                    <a:pt x="283" y="150"/>
                    <a:pt x="295" y="144"/>
                    <a:pt x="303" y="141"/>
                  </a:cubicBezTo>
                  <a:cubicBezTo>
                    <a:pt x="311" y="138"/>
                    <a:pt x="306" y="114"/>
                    <a:pt x="314" y="109"/>
                  </a:cubicBezTo>
                  <a:close/>
                  <a:moveTo>
                    <a:pt x="346" y="229"/>
                  </a:moveTo>
                  <a:cubicBezTo>
                    <a:pt x="349" y="233"/>
                    <a:pt x="356" y="233"/>
                    <a:pt x="359" y="236"/>
                  </a:cubicBezTo>
                  <a:cubicBezTo>
                    <a:pt x="362" y="238"/>
                    <a:pt x="373" y="244"/>
                    <a:pt x="373" y="237"/>
                  </a:cubicBezTo>
                  <a:cubicBezTo>
                    <a:pt x="373" y="229"/>
                    <a:pt x="343" y="225"/>
                    <a:pt x="346" y="229"/>
                  </a:cubicBezTo>
                  <a:close/>
                  <a:moveTo>
                    <a:pt x="325" y="208"/>
                  </a:moveTo>
                  <a:cubicBezTo>
                    <a:pt x="323" y="212"/>
                    <a:pt x="316" y="213"/>
                    <a:pt x="312" y="210"/>
                  </a:cubicBezTo>
                  <a:cubicBezTo>
                    <a:pt x="307" y="207"/>
                    <a:pt x="302" y="214"/>
                    <a:pt x="305" y="218"/>
                  </a:cubicBezTo>
                  <a:cubicBezTo>
                    <a:pt x="306" y="219"/>
                    <a:pt x="315" y="226"/>
                    <a:pt x="326" y="221"/>
                  </a:cubicBezTo>
                  <a:cubicBezTo>
                    <a:pt x="336" y="216"/>
                    <a:pt x="344" y="221"/>
                    <a:pt x="346" y="215"/>
                  </a:cubicBezTo>
                  <a:cubicBezTo>
                    <a:pt x="349" y="210"/>
                    <a:pt x="327" y="204"/>
                    <a:pt x="325" y="208"/>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3" name="Freeform 361"/>
            <p:cNvSpPr>
              <a:spLocks noEditPoints="1"/>
            </p:cNvSpPr>
            <p:nvPr/>
          </p:nvSpPr>
          <p:spPr>
            <a:xfrm>
              <a:off x="7815263" y="4017963"/>
              <a:ext cx="80963" cy="33338"/>
            </a:xfrm>
            <a:custGeom>
              <a:gdLst>
                <a:gd name="T0" fmla="*/ 5 w 48"/>
                <a:gd name="T1" fmla="*/ 15 h 20"/>
                <a:gd name="T2" fmla="*/ 0 w 48"/>
                <a:gd name="T3" fmla="*/ 16 h 20"/>
                <a:gd name="T4" fmla="*/ 5 w 48"/>
                <a:gd name="T5" fmla="*/ 19 h 20"/>
                <a:gd name="T6" fmla="*/ 7 w 48"/>
                <a:gd name="T7" fmla="*/ 15 h 20"/>
                <a:gd name="T8" fmla="*/ 5 w 48"/>
                <a:gd name="T9" fmla="*/ 15 h 20"/>
                <a:gd name="T10" fmla="*/ 5 w 48"/>
                <a:gd name="T11" fmla="*/ 15 h 20"/>
                <a:gd name="T12" fmla="*/ 25 w 48"/>
                <a:gd name="T13" fmla="*/ 4 h 20"/>
                <a:gd name="T14" fmla="*/ 13 w 48"/>
                <a:gd name="T15" fmla="*/ 12 h 20"/>
                <a:gd name="T16" fmla="*/ 12 w 48"/>
                <a:gd name="T17" fmla="*/ 13 h 20"/>
                <a:gd name="T18" fmla="*/ 16 w 48"/>
                <a:gd name="T19" fmla="*/ 18 h 20"/>
                <a:gd name="T20" fmla="*/ 47 w 48"/>
                <a:gd name="T21" fmla="*/ 3 h 20"/>
                <a:gd name="T22" fmla="*/ 25 w 48"/>
                <a:gd name="T23" fmla="*/ 4 h 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0">
                  <a:moveTo>
                    <a:pt x="5" y="15"/>
                  </a:moveTo>
                  <a:cubicBezTo>
                    <a:pt x="3" y="15"/>
                    <a:pt x="2" y="16"/>
                    <a:pt x="0" y="16"/>
                  </a:cubicBezTo>
                  <a:cubicBezTo>
                    <a:pt x="2" y="18"/>
                    <a:pt x="4" y="20"/>
                    <a:pt x="5" y="19"/>
                  </a:cubicBezTo>
                  <a:cubicBezTo>
                    <a:pt x="6" y="18"/>
                    <a:pt x="6" y="16"/>
                    <a:pt x="7" y="15"/>
                  </a:cubicBezTo>
                  <a:cubicBezTo>
                    <a:pt x="6" y="15"/>
                    <a:pt x="6" y="15"/>
                    <a:pt x="5" y="15"/>
                  </a:cubicBezTo>
                  <a:cubicBezTo>
                    <a:pt x="5" y="15"/>
                    <a:pt x="5" y="15"/>
                    <a:pt x="5" y="15"/>
                  </a:cubicBezTo>
                  <a:close/>
                  <a:moveTo>
                    <a:pt x="25" y="4"/>
                  </a:moveTo>
                  <a:cubicBezTo>
                    <a:pt x="20" y="4"/>
                    <a:pt x="17" y="8"/>
                    <a:pt x="13" y="12"/>
                  </a:cubicBezTo>
                  <a:cubicBezTo>
                    <a:pt x="13" y="12"/>
                    <a:pt x="12" y="12"/>
                    <a:pt x="12" y="13"/>
                  </a:cubicBezTo>
                  <a:cubicBezTo>
                    <a:pt x="13" y="14"/>
                    <a:pt x="15" y="16"/>
                    <a:pt x="16" y="18"/>
                  </a:cubicBezTo>
                  <a:cubicBezTo>
                    <a:pt x="25" y="13"/>
                    <a:pt x="46" y="6"/>
                    <a:pt x="47" y="3"/>
                  </a:cubicBezTo>
                  <a:cubicBezTo>
                    <a:pt x="48" y="0"/>
                    <a:pt x="34" y="4"/>
                    <a:pt x="25" y="4"/>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4" name="Freeform 362"/>
            <p:cNvSpPr>
              <a:spLocks noEditPoints="1"/>
            </p:cNvSpPr>
            <p:nvPr/>
          </p:nvSpPr>
          <p:spPr>
            <a:xfrm>
              <a:off x="4946651" y="2543175"/>
              <a:ext cx="285750" cy="311150"/>
            </a:xfrm>
            <a:custGeom>
              <a:gdLst>
                <a:gd name="T0" fmla="*/ 116 w 168"/>
                <a:gd name="T1" fmla="*/ 158 h 183"/>
                <a:gd name="T2" fmla="*/ 99 w 168"/>
                <a:gd name="T3" fmla="*/ 158 h 183"/>
                <a:gd name="T4" fmla="*/ 86 w 168"/>
                <a:gd name="T5" fmla="*/ 164 h 183"/>
                <a:gd name="T6" fmla="*/ 102 w 168"/>
                <a:gd name="T7" fmla="*/ 172 h 183"/>
                <a:gd name="T8" fmla="*/ 118 w 168"/>
                <a:gd name="T9" fmla="*/ 183 h 183"/>
                <a:gd name="T10" fmla="*/ 122 w 168"/>
                <a:gd name="T11" fmla="*/ 173 h 183"/>
                <a:gd name="T12" fmla="*/ 128 w 168"/>
                <a:gd name="T13" fmla="*/ 159 h 183"/>
                <a:gd name="T14" fmla="*/ 116 w 168"/>
                <a:gd name="T15" fmla="*/ 158 h 183"/>
                <a:gd name="T16" fmla="*/ 33 w 168"/>
                <a:gd name="T17" fmla="*/ 109 h 183"/>
                <a:gd name="T18" fmla="*/ 23 w 168"/>
                <a:gd name="T19" fmla="*/ 112 h 183"/>
                <a:gd name="T20" fmla="*/ 28 w 168"/>
                <a:gd name="T21" fmla="*/ 131 h 183"/>
                <a:gd name="T22" fmla="*/ 34 w 168"/>
                <a:gd name="T23" fmla="*/ 145 h 183"/>
                <a:gd name="T24" fmla="*/ 44 w 168"/>
                <a:gd name="T25" fmla="*/ 138 h 183"/>
                <a:gd name="T26" fmla="*/ 46 w 168"/>
                <a:gd name="T27" fmla="*/ 115 h 183"/>
                <a:gd name="T28" fmla="*/ 33 w 168"/>
                <a:gd name="T29" fmla="*/ 109 h 183"/>
                <a:gd name="T30" fmla="*/ 139 w 168"/>
                <a:gd name="T31" fmla="*/ 103 h 183"/>
                <a:gd name="T32" fmla="*/ 128 w 168"/>
                <a:gd name="T33" fmla="*/ 94 h 183"/>
                <a:gd name="T34" fmla="*/ 105 w 168"/>
                <a:gd name="T35" fmla="*/ 71 h 183"/>
                <a:gd name="T36" fmla="*/ 85 w 168"/>
                <a:gd name="T37" fmla="*/ 50 h 183"/>
                <a:gd name="T38" fmla="*/ 85 w 168"/>
                <a:gd name="T39" fmla="*/ 35 h 183"/>
                <a:gd name="T40" fmla="*/ 91 w 168"/>
                <a:gd name="T41" fmla="*/ 27 h 183"/>
                <a:gd name="T42" fmla="*/ 92 w 168"/>
                <a:gd name="T43" fmla="*/ 8 h 183"/>
                <a:gd name="T44" fmla="*/ 85 w 168"/>
                <a:gd name="T45" fmla="*/ 6 h 183"/>
                <a:gd name="T46" fmla="*/ 82 w 168"/>
                <a:gd name="T47" fmla="*/ 0 h 183"/>
                <a:gd name="T48" fmla="*/ 70 w 168"/>
                <a:gd name="T49" fmla="*/ 2 h 183"/>
                <a:gd name="T50" fmla="*/ 61 w 168"/>
                <a:gd name="T51" fmla="*/ 5 h 183"/>
                <a:gd name="T52" fmla="*/ 59 w 168"/>
                <a:gd name="T53" fmla="*/ 4 h 183"/>
                <a:gd name="T54" fmla="*/ 57 w 168"/>
                <a:gd name="T55" fmla="*/ 6 h 183"/>
                <a:gd name="T56" fmla="*/ 54 w 168"/>
                <a:gd name="T57" fmla="*/ 10 h 183"/>
                <a:gd name="T58" fmla="*/ 50 w 168"/>
                <a:gd name="T59" fmla="*/ 11 h 183"/>
                <a:gd name="T60" fmla="*/ 43 w 168"/>
                <a:gd name="T61" fmla="*/ 13 h 183"/>
                <a:gd name="T62" fmla="*/ 38 w 168"/>
                <a:gd name="T63" fmla="*/ 16 h 183"/>
                <a:gd name="T64" fmla="*/ 34 w 168"/>
                <a:gd name="T65" fmla="*/ 21 h 183"/>
                <a:gd name="T66" fmla="*/ 26 w 168"/>
                <a:gd name="T67" fmla="*/ 11 h 183"/>
                <a:gd name="T68" fmla="*/ 19 w 168"/>
                <a:gd name="T69" fmla="*/ 22 h 183"/>
                <a:gd name="T70" fmla="*/ 6 w 168"/>
                <a:gd name="T71" fmla="*/ 23 h 183"/>
                <a:gd name="T72" fmla="*/ 8 w 168"/>
                <a:gd name="T73" fmla="*/ 29 h 183"/>
                <a:gd name="T74" fmla="*/ 5 w 168"/>
                <a:gd name="T75" fmla="*/ 35 h 183"/>
                <a:gd name="T76" fmla="*/ 2 w 168"/>
                <a:gd name="T77" fmla="*/ 39 h 183"/>
                <a:gd name="T78" fmla="*/ 6 w 168"/>
                <a:gd name="T79" fmla="*/ 46 h 183"/>
                <a:gd name="T80" fmla="*/ 10 w 168"/>
                <a:gd name="T81" fmla="*/ 53 h 183"/>
                <a:gd name="T82" fmla="*/ 16 w 168"/>
                <a:gd name="T83" fmla="*/ 56 h 183"/>
                <a:gd name="T84" fmla="*/ 15 w 168"/>
                <a:gd name="T85" fmla="*/ 60 h 183"/>
                <a:gd name="T86" fmla="*/ 22 w 168"/>
                <a:gd name="T87" fmla="*/ 58 h 183"/>
                <a:gd name="T88" fmla="*/ 32 w 168"/>
                <a:gd name="T89" fmla="*/ 50 h 183"/>
                <a:gd name="T90" fmla="*/ 52 w 168"/>
                <a:gd name="T91" fmla="*/ 58 h 183"/>
                <a:gd name="T92" fmla="*/ 57 w 168"/>
                <a:gd name="T93" fmla="*/ 67 h 183"/>
                <a:gd name="T94" fmla="*/ 71 w 168"/>
                <a:gd name="T95" fmla="*/ 85 h 183"/>
                <a:gd name="T96" fmla="*/ 90 w 168"/>
                <a:gd name="T97" fmla="*/ 102 h 183"/>
                <a:gd name="T98" fmla="*/ 104 w 168"/>
                <a:gd name="T99" fmla="*/ 108 h 183"/>
                <a:gd name="T100" fmla="*/ 117 w 168"/>
                <a:gd name="T101" fmla="*/ 116 h 183"/>
                <a:gd name="T102" fmla="*/ 127 w 168"/>
                <a:gd name="T103" fmla="*/ 125 h 183"/>
                <a:gd name="T104" fmla="*/ 132 w 168"/>
                <a:gd name="T105" fmla="*/ 133 h 183"/>
                <a:gd name="T106" fmla="*/ 133 w 168"/>
                <a:gd name="T107" fmla="*/ 149 h 183"/>
                <a:gd name="T108" fmla="*/ 133 w 168"/>
                <a:gd name="T109" fmla="*/ 161 h 183"/>
                <a:gd name="T110" fmla="*/ 141 w 168"/>
                <a:gd name="T111" fmla="*/ 149 h 183"/>
                <a:gd name="T112" fmla="*/ 149 w 168"/>
                <a:gd name="T113" fmla="*/ 140 h 183"/>
                <a:gd name="T114" fmla="*/ 142 w 168"/>
                <a:gd name="T115" fmla="*/ 129 h 183"/>
                <a:gd name="T116" fmla="*/ 156 w 168"/>
                <a:gd name="T117" fmla="*/ 122 h 183"/>
                <a:gd name="T118" fmla="*/ 167 w 168"/>
                <a:gd name="T119" fmla="*/ 123 h 183"/>
                <a:gd name="T120" fmla="*/ 139 w 168"/>
                <a:gd name="T121" fmla="*/ 103 h 1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 h="183">
                  <a:moveTo>
                    <a:pt x="116" y="158"/>
                  </a:moveTo>
                  <a:cubicBezTo>
                    <a:pt x="108" y="160"/>
                    <a:pt x="104" y="161"/>
                    <a:pt x="99" y="158"/>
                  </a:cubicBezTo>
                  <a:cubicBezTo>
                    <a:pt x="94" y="156"/>
                    <a:pt x="85" y="161"/>
                    <a:pt x="86" y="164"/>
                  </a:cubicBezTo>
                  <a:cubicBezTo>
                    <a:pt x="87" y="166"/>
                    <a:pt x="91" y="169"/>
                    <a:pt x="102" y="172"/>
                  </a:cubicBezTo>
                  <a:cubicBezTo>
                    <a:pt x="112" y="175"/>
                    <a:pt x="114" y="182"/>
                    <a:pt x="118" y="183"/>
                  </a:cubicBezTo>
                  <a:cubicBezTo>
                    <a:pt x="123" y="183"/>
                    <a:pt x="123" y="178"/>
                    <a:pt x="122" y="173"/>
                  </a:cubicBezTo>
                  <a:cubicBezTo>
                    <a:pt x="121" y="167"/>
                    <a:pt x="127" y="160"/>
                    <a:pt x="128" y="159"/>
                  </a:cubicBezTo>
                  <a:cubicBezTo>
                    <a:pt x="129" y="158"/>
                    <a:pt x="125" y="156"/>
                    <a:pt x="116" y="158"/>
                  </a:cubicBezTo>
                  <a:close/>
                  <a:moveTo>
                    <a:pt x="33" y="109"/>
                  </a:moveTo>
                  <a:cubicBezTo>
                    <a:pt x="28" y="113"/>
                    <a:pt x="25" y="109"/>
                    <a:pt x="23" y="112"/>
                  </a:cubicBezTo>
                  <a:cubicBezTo>
                    <a:pt x="20" y="116"/>
                    <a:pt x="30" y="122"/>
                    <a:pt x="28" y="131"/>
                  </a:cubicBezTo>
                  <a:cubicBezTo>
                    <a:pt x="26" y="139"/>
                    <a:pt x="29" y="150"/>
                    <a:pt x="34" y="145"/>
                  </a:cubicBezTo>
                  <a:cubicBezTo>
                    <a:pt x="39" y="140"/>
                    <a:pt x="41" y="142"/>
                    <a:pt x="44" y="138"/>
                  </a:cubicBezTo>
                  <a:cubicBezTo>
                    <a:pt x="47" y="135"/>
                    <a:pt x="45" y="121"/>
                    <a:pt x="46" y="115"/>
                  </a:cubicBezTo>
                  <a:cubicBezTo>
                    <a:pt x="48" y="108"/>
                    <a:pt x="38" y="105"/>
                    <a:pt x="33" y="109"/>
                  </a:cubicBezTo>
                  <a:close/>
                  <a:moveTo>
                    <a:pt x="139" y="103"/>
                  </a:moveTo>
                  <a:cubicBezTo>
                    <a:pt x="133" y="99"/>
                    <a:pt x="137" y="93"/>
                    <a:pt x="128" y="94"/>
                  </a:cubicBezTo>
                  <a:cubicBezTo>
                    <a:pt x="119" y="94"/>
                    <a:pt x="108" y="83"/>
                    <a:pt x="105" y="71"/>
                  </a:cubicBezTo>
                  <a:cubicBezTo>
                    <a:pt x="102" y="58"/>
                    <a:pt x="88" y="57"/>
                    <a:pt x="85" y="50"/>
                  </a:cubicBezTo>
                  <a:cubicBezTo>
                    <a:pt x="81" y="42"/>
                    <a:pt x="88" y="41"/>
                    <a:pt x="85" y="35"/>
                  </a:cubicBezTo>
                  <a:cubicBezTo>
                    <a:pt x="83" y="32"/>
                    <a:pt x="87" y="29"/>
                    <a:pt x="91" y="27"/>
                  </a:cubicBezTo>
                  <a:cubicBezTo>
                    <a:pt x="91" y="20"/>
                    <a:pt x="92" y="13"/>
                    <a:pt x="92" y="8"/>
                  </a:cubicBezTo>
                  <a:cubicBezTo>
                    <a:pt x="89" y="7"/>
                    <a:pt x="86" y="7"/>
                    <a:pt x="85" y="6"/>
                  </a:cubicBezTo>
                  <a:cubicBezTo>
                    <a:pt x="83" y="5"/>
                    <a:pt x="83" y="0"/>
                    <a:pt x="82" y="0"/>
                  </a:cubicBezTo>
                  <a:cubicBezTo>
                    <a:pt x="81" y="0"/>
                    <a:pt x="72" y="0"/>
                    <a:pt x="70" y="2"/>
                  </a:cubicBezTo>
                  <a:cubicBezTo>
                    <a:pt x="69" y="3"/>
                    <a:pt x="64" y="6"/>
                    <a:pt x="61" y="5"/>
                  </a:cubicBezTo>
                  <a:cubicBezTo>
                    <a:pt x="61" y="4"/>
                    <a:pt x="60" y="4"/>
                    <a:pt x="59" y="4"/>
                  </a:cubicBezTo>
                  <a:cubicBezTo>
                    <a:pt x="57" y="6"/>
                    <a:pt x="57" y="6"/>
                    <a:pt x="57" y="6"/>
                  </a:cubicBezTo>
                  <a:cubicBezTo>
                    <a:pt x="57" y="6"/>
                    <a:pt x="56" y="10"/>
                    <a:pt x="54" y="10"/>
                  </a:cubicBezTo>
                  <a:cubicBezTo>
                    <a:pt x="53" y="10"/>
                    <a:pt x="50" y="8"/>
                    <a:pt x="50" y="11"/>
                  </a:cubicBezTo>
                  <a:cubicBezTo>
                    <a:pt x="50" y="14"/>
                    <a:pt x="45" y="13"/>
                    <a:pt x="43" y="13"/>
                  </a:cubicBezTo>
                  <a:cubicBezTo>
                    <a:pt x="41" y="13"/>
                    <a:pt x="38" y="13"/>
                    <a:pt x="38" y="16"/>
                  </a:cubicBezTo>
                  <a:cubicBezTo>
                    <a:pt x="38" y="19"/>
                    <a:pt x="38" y="24"/>
                    <a:pt x="34" y="21"/>
                  </a:cubicBezTo>
                  <a:cubicBezTo>
                    <a:pt x="31" y="18"/>
                    <a:pt x="27" y="10"/>
                    <a:pt x="26" y="11"/>
                  </a:cubicBezTo>
                  <a:cubicBezTo>
                    <a:pt x="25" y="12"/>
                    <a:pt x="22" y="22"/>
                    <a:pt x="19" y="22"/>
                  </a:cubicBezTo>
                  <a:cubicBezTo>
                    <a:pt x="17" y="22"/>
                    <a:pt x="11" y="22"/>
                    <a:pt x="6" y="23"/>
                  </a:cubicBezTo>
                  <a:cubicBezTo>
                    <a:pt x="5" y="26"/>
                    <a:pt x="6" y="28"/>
                    <a:pt x="8" y="29"/>
                  </a:cubicBezTo>
                  <a:cubicBezTo>
                    <a:pt x="10" y="30"/>
                    <a:pt x="7" y="34"/>
                    <a:pt x="5" y="35"/>
                  </a:cubicBezTo>
                  <a:cubicBezTo>
                    <a:pt x="3" y="36"/>
                    <a:pt x="0" y="35"/>
                    <a:pt x="2" y="39"/>
                  </a:cubicBezTo>
                  <a:cubicBezTo>
                    <a:pt x="4" y="42"/>
                    <a:pt x="9" y="43"/>
                    <a:pt x="6" y="46"/>
                  </a:cubicBezTo>
                  <a:cubicBezTo>
                    <a:pt x="4" y="50"/>
                    <a:pt x="6" y="53"/>
                    <a:pt x="10" y="53"/>
                  </a:cubicBezTo>
                  <a:cubicBezTo>
                    <a:pt x="13" y="54"/>
                    <a:pt x="17" y="53"/>
                    <a:pt x="16" y="56"/>
                  </a:cubicBezTo>
                  <a:cubicBezTo>
                    <a:pt x="16" y="57"/>
                    <a:pt x="15" y="59"/>
                    <a:pt x="15" y="60"/>
                  </a:cubicBezTo>
                  <a:cubicBezTo>
                    <a:pt x="17" y="60"/>
                    <a:pt x="20" y="60"/>
                    <a:pt x="22" y="58"/>
                  </a:cubicBezTo>
                  <a:cubicBezTo>
                    <a:pt x="26" y="56"/>
                    <a:pt x="24" y="52"/>
                    <a:pt x="32" y="50"/>
                  </a:cubicBezTo>
                  <a:cubicBezTo>
                    <a:pt x="39" y="48"/>
                    <a:pt x="49" y="54"/>
                    <a:pt x="52" y="58"/>
                  </a:cubicBezTo>
                  <a:cubicBezTo>
                    <a:pt x="55" y="63"/>
                    <a:pt x="56" y="63"/>
                    <a:pt x="57" y="67"/>
                  </a:cubicBezTo>
                  <a:cubicBezTo>
                    <a:pt x="57" y="71"/>
                    <a:pt x="60" y="78"/>
                    <a:pt x="71" y="85"/>
                  </a:cubicBezTo>
                  <a:cubicBezTo>
                    <a:pt x="81" y="91"/>
                    <a:pt x="85" y="99"/>
                    <a:pt x="90" y="102"/>
                  </a:cubicBezTo>
                  <a:cubicBezTo>
                    <a:pt x="96" y="104"/>
                    <a:pt x="101" y="104"/>
                    <a:pt x="104" y="108"/>
                  </a:cubicBezTo>
                  <a:cubicBezTo>
                    <a:pt x="108" y="112"/>
                    <a:pt x="112" y="114"/>
                    <a:pt x="117" y="116"/>
                  </a:cubicBezTo>
                  <a:cubicBezTo>
                    <a:pt x="122" y="118"/>
                    <a:pt x="122" y="124"/>
                    <a:pt x="127" y="125"/>
                  </a:cubicBezTo>
                  <a:cubicBezTo>
                    <a:pt x="132" y="125"/>
                    <a:pt x="129" y="130"/>
                    <a:pt x="132" y="133"/>
                  </a:cubicBezTo>
                  <a:cubicBezTo>
                    <a:pt x="135" y="137"/>
                    <a:pt x="136" y="145"/>
                    <a:pt x="133" y="149"/>
                  </a:cubicBezTo>
                  <a:cubicBezTo>
                    <a:pt x="129" y="153"/>
                    <a:pt x="131" y="161"/>
                    <a:pt x="133" y="161"/>
                  </a:cubicBezTo>
                  <a:cubicBezTo>
                    <a:pt x="136" y="161"/>
                    <a:pt x="140" y="153"/>
                    <a:pt x="141" y="149"/>
                  </a:cubicBezTo>
                  <a:cubicBezTo>
                    <a:pt x="141" y="144"/>
                    <a:pt x="146" y="144"/>
                    <a:pt x="149" y="140"/>
                  </a:cubicBezTo>
                  <a:cubicBezTo>
                    <a:pt x="152" y="135"/>
                    <a:pt x="144" y="134"/>
                    <a:pt x="142" y="129"/>
                  </a:cubicBezTo>
                  <a:cubicBezTo>
                    <a:pt x="141" y="123"/>
                    <a:pt x="149" y="118"/>
                    <a:pt x="156" y="122"/>
                  </a:cubicBezTo>
                  <a:cubicBezTo>
                    <a:pt x="164" y="127"/>
                    <a:pt x="167" y="130"/>
                    <a:pt x="167" y="123"/>
                  </a:cubicBezTo>
                  <a:cubicBezTo>
                    <a:pt x="168" y="116"/>
                    <a:pt x="144" y="106"/>
                    <a:pt x="139" y="103"/>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5" name="Freeform 363"/>
            <p:cNvSpPr/>
            <p:nvPr/>
          </p:nvSpPr>
          <p:spPr>
            <a:xfrm>
              <a:off x="5232401" y="2657475"/>
              <a:ext cx="28575" cy="38100"/>
            </a:xfrm>
            <a:custGeom>
              <a:gdLst>
                <a:gd name="T0" fmla="*/ 6 w 17"/>
                <a:gd name="T1" fmla="*/ 0 h 23"/>
                <a:gd name="T2" fmla="*/ 0 w 17"/>
                <a:gd name="T3" fmla="*/ 11 h 23"/>
                <a:gd name="T4" fmla="*/ 0 w 17"/>
                <a:gd name="T5" fmla="*/ 15 h 23"/>
                <a:gd name="T6" fmla="*/ 10 w 17"/>
                <a:gd name="T7" fmla="*/ 23 h 23"/>
                <a:gd name="T8" fmla="*/ 11 w 17"/>
                <a:gd name="T9" fmla="*/ 23 h 23"/>
                <a:gd name="T10" fmla="*/ 17 w 17"/>
                <a:gd name="T11" fmla="*/ 13 h 23"/>
                <a:gd name="T12" fmla="*/ 6 w 17"/>
                <a:gd name="T13" fmla="*/ 0 h 23"/>
              </a:gdLst>
              <a:cxnLst>
                <a:cxn ang="0">
                  <a:pos x="T0" y="T1"/>
                </a:cxn>
                <a:cxn ang="0">
                  <a:pos x="T2" y="T3"/>
                </a:cxn>
                <a:cxn ang="0">
                  <a:pos x="T4" y="T5"/>
                </a:cxn>
                <a:cxn ang="0">
                  <a:pos x="T6" y="T7"/>
                </a:cxn>
                <a:cxn ang="0">
                  <a:pos x="T8" y="T9"/>
                </a:cxn>
                <a:cxn ang="0">
                  <a:pos x="T10" y="T11"/>
                </a:cxn>
                <a:cxn ang="0">
                  <a:pos x="T12" y="T13"/>
                </a:cxn>
              </a:cxnLst>
              <a:rect l="0" t="0" r="r" b="b"/>
              <a:pathLst>
                <a:path w="17" h="23">
                  <a:moveTo>
                    <a:pt x="6" y="0"/>
                  </a:moveTo>
                  <a:cubicBezTo>
                    <a:pt x="3" y="4"/>
                    <a:pt x="0" y="9"/>
                    <a:pt x="0" y="11"/>
                  </a:cubicBezTo>
                  <a:cubicBezTo>
                    <a:pt x="0" y="12"/>
                    <a:pt x="0" y="13"/>
                    <a:pt x="0" y="15"/>
                  </a:cubicBezTo>
                  <a:cubicBezTo>
                    <a:pt x="3" y="19"/>
                    <a:pt x="7" y="22"/>
                    <a:pt x="10" y="23"/>
                  </a:cubicBezTo>
                  <a:cubicBezTo>
                    <a:pt x="10" y="23"/>
                    <a:pt x="10" y="23"/>
                    <a:pt x="11" y="23"/>
                  </a:cubicBezTo>
                  <a:cubicBezTo>
                    <a:pt x="11" y="19"/>
                    <a:pt x="15" y="14"/>
                    <a:pt x="17" y="13"/>
                  </a:cubicBezTo>
                  <a:cubicBezTo>
                    <a:pt x="14" y="9"/>
                    <a:pt x="9" y="3"/>
                    <a:pt x="6" y="0"/>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sp>
          <p:nvSpPr>
            <p:cNvPr id="1136" name="Freeform 364"/>
            <p:cNvSpPr/>
            <p:nvPr/>
          </p:nvSpPr>
          <p:spPr>
            <a:xfrm>
              <a:off x="5238751" y="2568575"/>
              <a:ext cx="101600" cy="123825"/>
            </a:xfrm>
            <a:custGeom>
              <a:gdLst>
                <a:gd name="T0" fmla="*/ 53 w 60"/>
                <a:gd name="T1" fmla="*/ 49 h 73"/>
                <a:gd name="T2" fmla="*/ 53 w 60"/>
                <a:gd name="T3" fmla="*/ 39 h 73"/>
                <a:gd name="T4" fmla="*/ 53 w 60"/>
                <a:gd name="T5" fmla="*/ 31 h 73"/>
                <a:gd name="T6" fmla="*/ 37 w 60"/>
                <a:gd name="T7" fmla="*/ 26 h 73"/>
                <a:gd name="T8" fmla="*/ 35 w 60"/>
                <a:gd name="T9" fmla="*/ 17 h 73"/>
                <a:gd name="T10" fmla="*/ 30 w 60"/>
                <a:gd name="T11" fmla="*/ 12 h 73"/>
                <a:gd name="T12" fmla="*/ 25 w 60"/>
                <a:gd name="T13" fmla="*/ 3 h 73"/>
                <a:gd name="T14" fmla="*/ 25 w 60"/>
                <a:gd name="T15" fmla="*/ 3 h 73"/>
                <a:gd name="T16" fmla="*/ 21 w 60"/>
                <a:gd name="T17" fmla="*/ 2 h 73"/>
                <a:gd name="T18" fmla="*/ 15 w 60"/>
                <a:gd name="T19" fmla="*/ 0 h 73"/>
                <a:gd name="T20" fmla="*/ 0 w 60"/>
                <a:gd name="T21" fmla="*/ 5 h 73"/>
                <a:gd name="T22" fmla="*/ 4 w 60"/>
                <a:gd name="T23" fmla="*/ 14 h 73"/>
                <a:gd name="T24" fmla="*/ 8 w 60"/>
                <a:gd name="T25" fmla="*/ 24 h 73"/>
                <a:gd name="T26" fmla="*/ 7 w 60"/>
                <a:gd name="T27" fmla="*/ 47 h 73"/>
                <a:gd name="T28" fmla="*/ 2 w 60"/>
                <a:gd name="T29" fmla="*/ 52 h 73"/>
                <a:gd name="T30" fmla="*/ 13 w 60"/>
                <a:gd name="T31" fmla="*/ 65 h 73"/>
                <a:gd name="T32" fmla="*/ 14 w 60"/>
                <a:gd name="T33" fmla="*/ 65 h 73"/>
                <a:gd name="T34" fmla="*/ 27 w 60"/>
                <a:gd name="T35" fmla="*/ 73 h 73"/>
                <a:gd name="T36" fmla="*/ 52 w 60"/>
                <a:gd name="T37" fmla="*/ 68 h 73"/>
                <a:gd name="T38" fmla="*/ 52 w 60"/>
                <a:gd name="T39" fmla="*/ 64 h 73"/>
                <a:gd name="T40" fmla="*/ 57 w 60"/>
                <a:gd name="T41" fmla="*/ 58 h 73"/>
                <a:gd name="T42" fmla="*/ 53 w 60"/>
                <a:gd name="T43" fmla="*/ 49 h 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73">
                  <a:moveTo>
                    <a:pt x="53" y="49"/>
                  </a:moveTo>
                  <a:cubicBezTo>
                    <a:pt x="50" y="46"/>
                    <a:pt x="50" y="41"/>
                    <a:pt x="53" y="39"/>
                  </a:cubicBezTo>
                  <a:cubicBezTo>
                    <a:pt x="56" y="37"/>
                    <a:pt x="53" y="34"/>
                    <a:pt x="53" y="31"/>
                  </a:cubicBezTo>
                  <a:cubicBezTo>
                    <a:pt x="53" y="28"/>
                    <a:pt x="39" y="27"/>
                    <a:pt x="37" y="26"/>
                  </a:cubicBezTo>
                  <a:cubicBezTo>
                    <a:pt x="35" y="25"/>
                    <a:pt x="39" y="17"/>
                    <a:pt x="35" y="17"/>
                  </a:cubicBezTo>
                  <a:cubicBezTo>
                    <a:pt x="31" y="17"/>
                    <a:pt x="30" y="14"/>
                    <a:pt x="30" y="12"/>
                  </a:cubicBezTo>
                  <a:cubicBezTo>
                    <a:pt x="30" y="9"/>
                    <a:pt x="25" y="5"/>
                    <a:pt x="25" y="3"/>
                  </a:cubicBezTo>
                  <a:cubicBezTo>
                    <a:pt x="25" y="3"/>
                    <a:pt x="25" y="3"/>
                    <a:pt x="25" y="3"/>
                  </a:cubicBezTo>
                  <a:cubicBezTo>
                    <a:pt x="23" y="2"/>
                    <a:pt x="22" y="2"/>
                    <a:pt x="21" y="2"/>
                  </a:cubicBezTo>
                  <a:cubicBezTo>
                    <a:pt x="19" y="2"/>
                    <a:pt x="15" y="0"/>
                    <a:pt x="15" y="0"/>
                  </a:cubicBezTo>
                  <a:cubicBezTo>
                    <a:pt x="15" y="0"/>
                    <a:pt x="6" y="3"/>
                    <a:pt x="0" y="5"/>
                  </a:cubicBezTo>
                  <a:cubicBezTo>
                    <a:pt x="0" y="9"/>
                    <a:pt x="1" y="13"/>
                    <a:pt x="4" y="14"/>
                  </a:cubicBezTo>
                  <a:cubicBezTo>
                    <a:pt x="8" y="16"/>
                    <a:pt x="7" y="20"/>
                    <a:pt x="8" y="24"/>
                  </a:cubicBezTo>
                  <a:cubicBezTo>
                    <a:pt x="10" y="28"/>
                    <a:pt x="9" y="47"/>
                    <a:pt x="7" y="47"/>
                  </a:cubicBezTo>
                  <a:cubicBezTo>
                    <a:pt x="6" y="47"/>
                    <a:pt x="4" y="49"/>
                    <a:pt x="2" y="52"/>
                  </a:cubicBezTo>
                  <a:cubicBezTo>
                    <a:pt x="5" y="55"/>
                    <a:pt x="10" y="61"/>
                    <a:pt x="13" y="65"/>
                  </a:cubicBezTo>
                  <a:cubicBezTo>
                    <a:pt x="13" y="65"/>
                    <a:pt x="13" y="65"/>
                    <a:pt x="14" y="65"/>
                  </a:cubicBezTo>
                  <a:cubicBezTo>
                    <a:pt x="17" y="65"/>
                    <a:pt x="27" y="73"/>
                    <a:pt x="27" y="73"/>
                  </a:cubicBezTo>
                  <a:cubicBezTo>
                    <a:pt x="27" y="73"/>
                    <a:pt x="42" y="70"/>
                    <a:pt x="52" y="68"/>
                  </a:cubicBezTo>
                  <a:cubicBezTo>
                    <a:pt x="52" y="67"/>
                    <a:pt x="53" y="65"/>
                    <a:pt x="52" y="64"/>
                  </a:cubicBezTo>
                  <a:cubicBezTo>
                    <a:pt x="52" y="62"/>
                    <a:pt x="54" y="58"/>
                    <a:pt x="57" y="58"/>
                  </a:cubicBezTo>
                  <a:cubicBezTo>
                    <a:pt x="60" y="58"/>
                    <a:pt x="56" y="51"/>
                    <a:pt x="53" y="49"/>
                  </a:cubicBezTo>
                  <a:close/>
                </a:path>
              </a:pathLst>
            </a:custGeom>
            <a:ln>
              <a:noFill/>
            </a:ln>
            <a:extLst>
              <a:ext uri="{91240B29-F687-4f45-9708-019B960494DF}">
                <a14:hiddenLine xmlns:a14="http://schemas.microsoft.com/office/drawing/2010/main" xmlns=""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bodyPr>
            <a:lstStyle/>
            <a:p>
              <a:endParaRPr lang="en-US"/>
            </a:p>
          </p:txBody>
        </p:sp>
      </p:grpSp>
      <p:cxnSp>
        <p:nvCxnSpPr>
          <p:cNvPr id="1137" name="Straight Connector 1136"/>
          <p:cNvCxnSpPr/>
          <p:nvPr userDrawn="1"/>
        </p:nvCxnSpPr>
        <p:spPr>
          <a:xfrm>
            <a:off x="352942" y="3452951"/>
            <a:ext cx="8448158" cy="0"/>
          </a:xfrm>
          <a:prstGeom prst="line"/>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38" name="TextBox 1137"/>
          <p:cNvSpPr txBox="1"/>
          <p:nvPr userDrawn="1"/>
        </p:nvSpPr>
        <p:spPr>
          <a:xfrm>
            <a:off x="429141" y="3642138"/>
            <a:ext cx="708527" cy="1092607"/>
          </a:xfrm>
          <a:prstGeom prst="rect"/>
          <a:noFill/>
        </p:spPr>
        <p:txBody>
          <a:bodyPr wrap="none" lIns="0" tIns="0" rIns="0" bIns="0" rtlCol="0">
            <a:spAutoFit/>
          </a:bodyPr>
          <a:lstStyle/>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Austin</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Bay Area</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Beijing</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Boston</a:t>
            </a:r>
            <a:endParaRPr kumimoji="0" lang="en-US" sz="1400" b="0" i="0" u="none" strike="noStrike" kern="500" cap="none" spc="0" normalizeH="0" baseline="0" noProof="0">
              <a:ln>
                <a:noFill/>
              </a:ln>
              <a:solidFill>
                <a:schemeClr val="accent1"/>
              </a:solidFill>
              <a:effectLst/>
              <a:uLnTx/>
              <a:uFillTx/>
              <a:latin typeface="Georgia" panose="02040502050405020303" pitchFamily="18" charset="0"/>
            </a:endParaRPr>
          </a:p>
        </p:txBody>
      </p:sp>
      <p:sp>
        <p:nvSpPr>
          <p:cNvPr id="1139" name="TextBox 1138"/>
          <p:cNvSpPr txBox="1"/>
          <p:nvPr userDrawn="1"/>
        </p:nvSpPr>
        <p:spPr>
          <a:xfrm>
            <a:off x="1766554" y="3642138"/>
            <a:ext cx="900888" cy="1092607"/>
          </a:xfrm>
          <a:prstGeom prst="rect"/>
          <a:noFill/>
        </p:spPr>
        <p:txBody>
          <a:bodyPr wrap="none" lIns="0" tIns="0" rIns="0" bIns="0" rtlCol="0">
            <a:spAutoFit/>
          </a:bodyPr>
          <a:lstStyle/>
          <a:p>
            <a:pPr marL="0" marR="0" lvl="0" indent="0" algn="l" defTabSz="914400" fontAlgn="auto" rtl="0"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Brussels</a:t>
            </a:r>
          </a:p>
          <a:p>
            <a:pPr marL="0" marR="0" lvl="0" indent="0" algn="l" defTabSz="914400" fontAlgn="auto" rtl="0"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Chicago</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Dallas</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Hong Kong</a:t>
            </a:r>
          </a:p>
        </p:txBody>
      </p:sp>
      <p:sp>
        <p:nvSpPr>
          <p:cNvPr id="1140" name="TextBox 1139"/>
          <p:cNvSpPr txBox="1"/>
          <p:nvPr userDrawn="1"/>
        </p:nvSpPr>
        <p:spPr>
          <a:xfrm>
            <a:off x="3296328" y="3642138"/>
            <a:ext cx="944169" cy="1092607"/>
          </a:xfrm>
          <a:prstGeom prst="rect"/>
          <a:noFill/>
        </p:spPr>
        <p:txBody>
          <a:bodyPr wrap="none" lIns="0" tIns="0" rIns="0" bIns="0" rtlCol="0">
            <a:spAutoFit/>
          </a:bodyPr>
          <a:lstStyle/>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Houston </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London</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Los Angeles</a:t>
            </a:r>
          </a:p>
          <a:p>
            <a:pPr marL="0" marR="0" lvl="0" indent="0" defTabSz="914400" fontAlgn="auto" eaLnBrk="1" latinLnBrk="0" hangingPunct="1">
              <a:lnSpc>
                <a:spcPct val="100000"/>
              </a:lnSpc>
              <a:spcBef>
                <a:spcPct val="0"/>
              </a:spcBef>
              <a:spcAft>
                <a:spcPts val="600"/>
              </a:spcAft>
              <a:buClrTx/>
              <a:buSzTx/>
              <a:buFontTx/>
              <a:buNone/>
              <a:defRPr/>
            </a:pPr>
            <a:r>
              <a:rPr kumimoji="0" lang="en-US" sz="1400" b="0" i="0" u="none" strike="noStrike" kern="500" cap="none" spc="0" normalizeH="0" baseline="0" noProof="0" dirty="1" smtClean="0">
                <a:ln>
                  <a:noFill/>
                </a:ln>
                <a:solidFill>
                  <a:schemeClr val="accent1"/>
                </a:solidFill>
                <a:effectLst/>
                <a:uLnTx/>
                <a:uFillTx/>
                <a:latin typeface="Georgia" panose="02040502050405020303" pitchFamily="18" charset="0"/>
              </a:rPr>
              <a:t>Munich</a:t>
            </a:r>
          </a:p>
        </p:txBody>
      </p:sp>
      <p:sp>
        <p:nvSpPr>
          <p:cNvPr id="1141" name="TextBox 1140"/>
          <p:cNvSpPr txBox="1"/>
          <p:nvPr userDrawn="1"/>
        </p:nvSpPr>
        <p:spPr>
          <a:xfrm>
            <a:off x="4869384" y="3642138"/>
            <a:ext cx="1091646" cy="1092607"/>
          </a:xfrm>
          <a:prstGeom prst="rect"/>
          <a:noFill/>
        </p:spPr>
        <p:txBody>
          <a:bodyPr wrap="none" lIns="0" tIns="0" rIns="0" bIns="0" rtlCol="0">
            <a:spAutoFit/>
          </a:bodyPr>
          <a:lstStyle/>
          <a:p>
            <a:pPr marL="0" marR="0" lvl="0" indent="0" defTabSz="914400" fontAlgn="auto" eaLnBrk="1" latinLnBrk="0" hangingPunct="1">
              <a:lnSpc>
                <a:spcPct val="100000"/>
              </a:lnSpc>
              <a:spcBef>
                <a:spcPct val="0"/>
              </a:spcBef>
              <a:spcAft>
                <a:spcPts val="600"/>
              </a:spcAft>
              <a:buClrTx/>
              <a:buSzTx/>
              <a:buFontTx/>
              <a:buNone/>
              <a:defRPr/>
            </a:pPr>
            <a:r>
              <a:rPr lang="it-IT" sz="1400" kern="500" dirty="1" smtClean="0">
                <a:solidFill>
                  <a:schemeClr val="accent1"/>
                </a:solidFill>
                <a:latin typeface="Georgia" panose="02040502050405020303" pitchFamily="18" charset="0"/>
              </a:rPr>
              <a:t>New York</a:t>
            </a:r>
          </a:p>
          <a:p>
            <a:pPr marL="0" marR="0" lvl="0" indent="0" defTabSz="914400" fontAlgn="auto" eaLnBrk="1" latinLnBrk="0" hangingPunct="1">
              <a:lnSpc>
                <a:spcPct val="100000"/>
              </a:lnSpc>
              <a:spcBef>
                <a:spcPct val="0"/>
              </a:spcBef>
              <a:spcAft>
                <a:spcPts val="600"/>
              </a:spcAft>
              <a:buClrTx/>
              <a:buSzTx/>
              <a:buFontTx/>
              <a:buNone/>
              <a:defRPr/>
            </a:pPr>
            <a:r>
              <a:rPr lang="it-IT" sz="1400" kern="500" dirty="1" smtClean="0">
                <a:solidFill>
                  <a:schemeClr val="accent1"/>
                </a:solidFill>
                <a:latin typeface="Georgia" panose="02040502050405020303" pitchFamily="18" charset="0"/>
              </a:rPr>
              <a:t>Paris</a:t>
            </a:r>
          </a:p>
          <a:p>
            <a:pPr marL="0" marR="0" lvl="0" indent="0" defTabSz="914400" fontAlgn="auto" eaLnBrk="1" latinLnBrk="0" hangingPunct="1">
              <a:lnSpc>
                <a:spcPct val="100000"/>
              </a:lnSpc>
              <a:spcBef>
                <a:spcPct val="0"/>
              </a:spcBef>
              <a:spcAft>
                <a:spcPts val="600"/>
              </a:spcAft>
              <a:buClrTx/>
              <a:buSzTx/>
              <a:buFontTx/>
              <a:buNone/>
              <a:defRPr/>
            </a:pPr>
            <a:r>
              <a:rPr kumimoji="0" lang="it-IT" sz="1400" b="0" i="0" u="none" strike="noStrike" kern="500" cap="none" spc="0" normalizeH="0" baseline="0" noProof="0" dirty="1" smtClean="0">
                <a:ln>
                  <a:noFill/>
                </a:ln>
                <a:solidFill>
                  <a:schemeClr val="accent1"/>
                </a:solidFill>
                <a:effectLst/>
                <a:uLnTx/>
                <a:uFillTx/>
                <a:latin typeface="Georgia" panose="02040502050405020303" pitchFamily="18" charset="0"/>
              </a:rPr>
              <a:t>Salt Lake City</a:t>
            </a:r>
          </a:p>
          <a:p>
            <a:pPr marL="0" marR="0" lvl="0" indent="0" defTabSz="914400" fontAlgn="auto" eaLnBrk="1" latinLnBrk="0" hangingPunct="1">
              <a:lnSpc>
                <a:spcPct val="100000"/>
              </a:lnSpc>
              <a:spcBef>
                <a:spcPct val="0"/>
              </a:spcBef>
              <a:spcAft>
                <a:spcPts val="600"/>
              </a:spcAft>
              <a:buClrTx/>
              <a:buSzTx/>
              <a:buFontTx/>
              <a:buNone/>
              <a:defRPr/>
            </a:pPr>
            <a:r>
              <a:rPr kumimoji="0" lang="it-IT" sz="1400" b="0" i="0" u="none" strike="noStrike" kern="500" cap="none" spc="0" normalizeH="0" baseline="0" noProof="0" dirty="1" smtClean="0">
                <a:ln>
                  <a:noFill/>
                </a:ln>
                <a:solidFill>
                  <a:schemeClr val="accent1"/>
                </a:solidFill>
                <a:effectLst/>
                <a:uLnTx/>
                <a:uFillTx/>
                <a:latin typeface="Georgia" panose="02040502050405020303" pitchFamily="18" charset="0"/>
              </a:rPr>
              <a:t>Shanghai</a:t>
            </a:r>
          </a:p>
        </p:txBody>
      </p:sp>
      <p:cxnSp>
        <p:nvCxnSpPr>
          <p:cNvPr id="1142" name="Straight Connector 1141"/>
          <p:cNvCxnSpPr/>
          <p:nvPr userDrawn="1"/>
        </p:nvCxnSpPr>
        <p:spPr>
          <a:xfrm>
            <a:off x="352942" y="3452951"/>
            <a:ext cx="8448158" cy="0"/>
          </a:xfrm>
          <a:prstGeom prst="line"/>
          <a:noFill/>
          <a:ln w="1270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43" name="TextBox 1142"/>
          <p:cNvSpPr txBox="1"/>
          <p:nvPr userDrawn="1"/>
        </p:nvSpPr>
        <p:spPr>
          <a:xfrm>
            <a:off x="6716737" y="3642138"/>
            <a:ext cx="1397819" cy="215444"/>
          </a:xfrm>
          <a:prstGeom prst="rect"/>
          <a:noFill/>
        </p:spPr>
        <p:txBody>
          <a:bodyPr wrap="none" lIns="0" tIns="0" rIns="0" bIns="0" rtlCol="0">
            <a:spAutoFit/>
          </a:bodyPr>
          <a:lstStyle/>
          <a:p>
            <a:pPr marL="0" marR="0" lvl="0" indent="0" defTabSz="914400" fontAlgn="auto" eaLnBrk="1" latinLnBrk="0" hangingPunct="1">
              <a:lnSpc>
                <a:spcPct val="100000"/>
              </a:lnSpc>
              <a:spcBef>
                <a:spcPct val="0"/>
              </a:spcBef>
              <a:spcAft>
                <a:spcPts val="600"/>
              </a:spcAft>
              <a:buClrTx/>
              <a:buSzTx/>
              <a:buFontTx/>
              <a:buNone/>
              <a:defRPr/>
            </a:pPr>
            <a:r>
              <a:rPr kumimoji="0" lang="it-IT" sz="1400" b="0" i="0" u="none" strike="noStrike" kern="500" cap="none" spc="0" normalizeH="0" baseline="0" noProof="0" dirty="1" smtClean="0">
                <a:ln>
                  <a:noFill/>
                </a:ln>
                <a:solidFill>
                  <a:schemeClr val="accent1"/>
                </a:solidFill>
                <a:effectLst/>
                <a:uLnTx/>
                <a:uFillTx/>
                <a:latin typeface="Georgia" panose="02040502050405020303" pitchFamily="18" charset="0"/>
              </a:rPr>
              <a:t>Washington, D.C.</a:t>
            </a:r>
          </a:p>
        </p:txBody>
      </p:sp>
      <p:grpSp>
        <p:nvGrpSpPr>
          <p:cNvPr id="1144" name="Group 1143"/>
          <p:cNvGrpSpPr/>
          <p:nvPr userDrawn="1"/>
        </p:nvGrpSpPr>
        <p:grpSpPr>
          <a:xfrm>
            <a:off x="1653723" y="2092532"/>
            <a:ext cx="5037705" cy="776611"/>
            <a:chOff x="1653723" y="2092532"/>
            <a:chExt cx="5037705" cy="776611"/>
          </a:xfrm>
        </p:grpSpPr>
        <p:sp>
          <p:nvSpPr>
            <p:cNvPr id="1145" name="Freeform 365"/>
            <p:cNvSpPr/>
            <p:nvPr/>
          </p:nvSpPr>
          <p:spPr>
            <a:xfrm>
              <a:off x="1653723" y="2453740"/>
              <a:ext cx="54864" cy="73152"/>
            </a:xfrm>
            <a:custGeom>
              <a:gdLst>
                <a:gd name="T0" fmla="*/ 15 w 30"/>
                <a:gd name="T1" fmla="*/ 40 h 40"/>
                <a:gd name="T2" fmla="*/ 15 w 30"/>
                <a:gd name="T3" fmla="*/ 40 h 40"/>
                <a:gd name="T4" fmla="*/ 4 w 30"/>
                <a:gd name="T5" fmla="*/ 26 h 40"/>
                <a:gd name="T6" fmla="*/ 1 w 30"/>
                <a:gd name="T7" fmla="*/ 18 h 40"/>
                <a:gd name="T8" fmla="*/ 13 w 30"/>
                <a:gd name="T9" fmla="*/ 2 h 40"/>
                <a:gd name="T10" fmla="*/ 29 w 30"/>
                <a:gd name="T11" fmla="*/ 13 h 40"/>
                <a:gd name="T12" fmla="*/ 28 w 30"/>
                <a:gd name="T13" fmla="*/ 21 h 40"/>
                <a:gd name="T14" fmla="*/ 24 w 30"/>
                <a:gd name="T15" fmla="*/ 28 h 40"/>
                <a:gd name="T16" fmla="*/ 16 w 30"/>
                <a:gd name="T17" fmla="*/ 40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4"/>
                    <a:pt x="1" y="21"/>
                    <a:pt x="1" y="18"/>
                  </a:cubicBezTo>
                  <a:cubicBezTo>
                    <a:pt x="0" y="10"/>
                    <a:pt x="5" y="3"/>
                    <a:pt x="13" y="2"/>
                  </a:cubicBezTo>
                  <a:cubicBezTo>
                    <a:pt x="21" y="0"/>
                    <a:pt x="27" y="5"/>
                    <a:pt x="29" y="13"/>
                  </a:cubicBezTo>
                  <a:cubicBezTo>
                    <a:pt x="30" y="16"/>
                    <a:pt x="29" y="18"/>
                    <a:pt x="28" y="21"/>
                  </a:cubicBezTo>
                  <a:cubicBezTo>
                    <a:pt x="27" y="23"/>
                    <a:pt x="26" y="26"/>
                    <a:pt x="24" y="28"/>
                  </a:cubicBezTo>
                  <a:cubicBezTo>
                    <a:pt x="21" y="32"/>
                    <a:pt x="18" y="36"/>
                    <a:pt x="16" y="40"/>
                  </a:cubicBezTo>
                  <a:cubicBezTo>
                    <a:pt x="15" y="40"/>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46" name="Freeform 366"/>
            <p:cNvSpPr/>
            <p:nvPr/>
          </p:nvSpPr>
          <p:spPr>
            <a:xfrm>
              <a:off x="1672237" y="2477493"/>
              <a:ext cx="54864" cy="73152"/>
            </a:xfrm>
            <a:custGeom>
              <a:gdLst>
                <a:gd name="T0" fmla="*/ 16 w 31"/>
                <a:gd name="T1" fmla="*/ 40 h 40"/>
                <a:gd name="T2" fmla="*/ 16 w 31"/>
                <a:gd name="T3" fmla="*/ 40 h 40"/>
                <a:gd name="T4" fmla="*/ 5 w 31"/>
                <a:gd name="T5" fmla="*/ 26 h 40"/>
                <a:gd name="T6" fmla="*/ 2 w 31"/>
                <a:gd name="T7" fmla="*/ 18 h 40"/>
                <a:gd name="T8" fmla="*/ 13 w 31"/>
                <a:gd name="T9" fmla="*/ 2 h 40"/>
                <a:gd name="T10" fmla="*/ 30 w 31"/>
                <a:gd name="T11" fmla="*/ 13 h 40"/>
                <a:gd name="T12" fmla="*/ 29 w 31"/>
                <a:gd name="T13" fmla="*/ 21 h 40"/>
                <a:gd name="T14" fmla="*/ 25 w 31"/>
                <a:gd name="T15" fmla="*/ 28 h 40"/>
                <a:gd name="T16" fmla="*/ 16 w 31"/>
                <a:gd name="T17" fmla="*/ 40 h 40"/>
                <a:gd name="T18" fmla="*/ 16 w 31"/>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0">
                  <a:moveTo>
                    <a:pt x="16" y="40"/>
                  </a:moveTo>
                  <a:cubicBezTo>
                    <a:pt x="16" y="40"/>
                    <a:pt x="16" y="40"/>
                    <a:pt x="16" y="40"/>
                  </a:cubicBezTo>
                  <a:cubicBezTo>
                    <a:pt x="12" y="36"/>
                    <a:pt x="8" y="31"/>
                    <a:pt x="5" y="26"/>
                  </a:cubicBezTo>
                  <a:cubicBezTo>
                    <a:pt x="4" y="24"/>
                    <a:pt x="2" y="21"/>
                    <a:pt x="2" y="18"/>
                  </a:cubicBezTo>
                  <a:cubicBezTo>
                    <a:pt x="0" y="10"/>
                    <a:pt x="6" y="3"/>
                    <a:pt x="13" y="2"/>
                  </a:cubicBezTo>
                  <a:cubicBezTo>
                    <a:pt x="21" y="0"/>
                    <a:pt x="28" y="5"/>
                    <a:pt x="30" y="13"/>
                  </a:cubicBezTo>
                  <a:cubicBezTo>
                    <a:pt x="31" y="16"/>
                    <a:pt x="30" y="18"/>
                    <a:pt x="29" y="21"/>
                  </a:cubicBezTo>
                  <a:cubicBezTo>
                    <a:pt x="28" y="24"/>
                    <a:pt x="27" y="26"/>
                    <a:pt x="25" y="28"/>
                  </a:cubicBezTo>
                  <a:cubicBezTo>
                    <a:pt x="22" y="32"/>
                    <a:pt x="19" y="36"/>
                    <a:pt x="16" y="40"/>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47" name="Freeform 367"/>
            <p:cNvSpPr/>
            <p:nvPr/>
          </p:nvSpPr>
          <p:spPr>
            <a:xfrm>
              <a:off x="1727136" y="2539130"/>
              <a:ext cx="54864" cy="73152"/>
            </a:xfrm>
            <a:custGeom>
              <a:gdLst>
                <a:gd name="T0" fmla="*/ 15 w 30"/>
                <a:gd name="T1" fmla="*/ 40 h 40"/>
                <a:gd name="T2" fmla="*/ 15 w 30"/>
                <a:gd name="T3" fmla="*/ 39 h 40"/>
                <a:gd name="T4" fmla="*/ 5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8" y="30"/>
                    <a:pt x="5" y="25"/>
                  </a:cubicBezTo>
                  <a:cubicBezTo>
                    <a:pt x="3" y="23"/>
                    <a:pt x="2" y="20"/>
                    <a:pt x="1" y="18"/>
                  </a:cubicBezTo>
                  <a:cubicBezTo>
                    <a:pt x="0" y="10"/>
                    <a:pt x="5" y="2"/>
                    <a:pt x="13" y="1"/>
                  </a:cubicBezTo>
                  <a:cubicBezTo>
                    <a:pt x="21" y="0"/>
                    <a:pt x="28" y="4"/>
                    <a:pt x="29" y="12"/>
                  </a:cubicBezTo>
                  <a:cubicBezTo>
                    <a:pt x="30" y="15"/>
                    <a:pt x="29" y="17"/>
                    <a:pt x="28" y="20"/>
                  </a:cubicBezTo>
                  <a:cubicBezTo>
                    <a:pt x="28" y="23"/>
                    <a:pt x="26" y="25"/>
                    <a:pt x="24" y="27"/>
                  </a:cubicBezTo>
                  <a:cubicBezTo>
                    <a:pt x="22" y="31"/>
                    <a:pt x="19" y="35"/>
                    <a:pt x="16" y="39"/>
                  </a:cubicBezTo>
                  <a:cubicBezTo>
                    <a:pt x="16" y="39"/>
                    <a:pt x="16" y="39"/>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48" name="Freeform 368"/>
            <p:cNvSpPr/>
            <p:nvPr/>
          </p:nvSpPr>
          <p:spPr>
            <a:xfrm>
              <a:off x="2164476" y="2600031"/>
              <a:ext cx="54864" cy="73152"/>
            </a:xfrm>
            <a:custGeom>
              <a:gdLst>
                <a:gd name="T0" fmla="*/ 15 w 30"/>
                <a:gd name="T1" fmla="*/ 40 h 40"/>
                <a:gd name="T2" fmla="*/ 15 w 30"/>
                <a:gd name="T3" fmla="*/ 40 h 40"/>
                <a:gd name="T4" fmla="*/ 4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3"/>
                    <a:pt x="1" y="21"/>
                    <a:pt x="1" y="18"/>
                  </a:cubicBezTo>
                  <a:cubicBezTo>
                    <a:pt x="0" y="10"/>
                    <a:pt x="5" y="2"/>
                    <a:pt x="13" y="1"/>
                  </a:cubicBezTo>
                  <a:cubicBezTo>
                    <a:pt x="21" y="0"/>
                    <a:pt x="27" y="5"/>
                    <a:pt x="29" y="12"/>
                  </a:cubicBezTo>
                  <a:cubicBezTo>
                    <a:pt x="30" y="15"/>
                    <a:pt x="29" y="18"/>
                    <a:pt x="28" y="20"/>
                  </a:cubicBezTo>
                  <a:cubicBezTo>
                    <a:pt x="27" y="23"/>
                    <a:pt x="26" y="25"/>
                    <a:pt x="24" y="28"/>
                  </a:cubicBezTo>
                  <a:cubicBezTo>
                    <a:pt x="21" y="32"/>
                    <a:pt x="18" y="35"/>
                    <a:pt x="16" y="39"/>
                  </a:cubicBezTo>
                  <a:cubicBezTo>
                    <a:pt x="15" y="39"/>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49" name="Freeform 369"/>
            <p:cNvSpPr/>
            <p:nvPr/>
          </p:nvSpPr>
          <p:spPr>
            <a:xfrm>
              <a:off x="2216921" y="2636489"/>
              <a:ext cx="54864" cy="73152"/>
            </a:xfrm>
            <a:custGeom>
              <a:gdLst>
                <a:gd name="T0" fmla="*/ 16 w 30"/>
                <a:gd name="T1" fmla="*/ 40 h 40"/>
                <a:gd name="T2" fmla="*/ 15 w 30"/>
                <a:gd name="T3" fmla="*/ 40 h 40"/>
                <a:gd name="T4" fmla="*/ 5 w 30"/>
                <a:gd name="T5" fmla="*/ 26 h 40"/>
                <a:gd name="T6" fmla="*/ 2 w 30"/>
                <a:gd name="T7" fmla="*/ 18 h 40"/>
                <a:gd name="T8" fmla="*/ 13 w 30"/>
                <a:gd name="T9" fmla="*/ 2 h 40"/>
                <a:gd name="T10" fmla="*/ 30 w 30"/>
                <a:gd name="T11" fmla="*/ 13 h 40"/>
                <a:gd name="T12" fmla="*/ 29 w 30"/>
                <a:gd name="T13" fmla="*/ 21 h 40"/>
                <a:gd name="T14" fmla="*/ 25 w 30"/>
                <a:gd name="T15" fmla="*/ 28 h 40"/>
                <a:gd name="T16" fmla="*/ 16 w 30"/>
                <a:gd name="T17" fmla="*/ 40 h 40"/>
                <a:gd name="T18" fmla="*/ 16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5" y="40"/>
                    <a:pt x="15" y="40"/>
                    <a:pt x="15" y="40"/>
                  </a:cubicBezTo>
                  <a:cubicBezTo>
                    <a:pt x="12" y="35"/>
                    <a:pt x="8" y="31"/>
                    <a:pt x="5" y="26"/>
                  </a:cubicBezTo>
                  <a:cubicBezTo>
                    <a:pt x="3" y="24"/>
                    <a:pt x="2" y="21"/>
                    <a:pt x="2" y="18"/>
                  </a:cubicBezTo>
                  <a:cubicBezTo>
                    <a:pt x="0" y="10"/>
                    <a:pt x="6" y="3"/>
                    <a:pt x="13" y="2"/>
                  </a:cubicBezTo>
                  <a:cubicBezTo>
                    <a:pt x="21" y="0"/>
                    <a:pt x="28" y="5"/>
                    <a:pt x="30" y="13"/>
                  </a:cubicBezTo>
                  <a:cubicBezTo>
                    <a:pt x="30" y="16"/>
                    <a:pt x="30" y="18"/>
                    <a:pt x="29" y="21"/>
                  </a:cubicBezTo>
                  <a:cubicBezTo>
                    <a:pt x="28" y="23"/>
                    <a:pt x="26" y="26"/>
                    <a:pt x="25" y="28"/>
                  </a:cubicBezTo>
                  <a:cubicBezTo>
                    <a:pt x="22" y="32"/>
                    <a:pt x="19" y="36"/>
                    <a:pt x="16" y="40"/>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0" name="Freeform 370"/>
            <p:cNvSpPr/>
            <p:nvPr/>
          </p:nvSpPr>
          <p:spPr>
            <a:xfrm>
              <a:off x="2363090" y="2355429"/>
              <a:ext cx="54864" cy="73152"/>
            </a:xfrm>
            <a:custGeom>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1" name="Freeform 371"/>
            <p:cNvSpPr/>
            <p:nvPr/>
          </p:nvSpPr>
          <p:spPr>
            <a:xfrm>
              <a:off x="2584802" y="2441714"/>
              <a:ext cx="54864" cy="73152"/>
            </a:xfrm>
            <a:custGeom>
              <a:gdLst>
                <a:gd name="T0" fmla="*/ 15 w 30"/>
                <a:gd name="T1" fmla="*/ 40 h 40"/>
                <a:gd name="T2" fmla="*/ 15 w 30"/>
                <a:gd name="T3" fmla="*/ 40 h 40"/>
                <a:gd name="T4" fmla="*/ 4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3"/>
                    <a:pt x="1" y="21"/>
                    <a:pt x="1" y="18"/>
                  </a:cubicBezTo>
                  <a:cubicBezTo>
                    <a:pt x="0" y="10"/>
                    <a:pt x="5" y="2"/>
                    <a:pt x="13" y="1"/>
                  </a:cubicBezTo>
                  <a:cubicBezTo>
                    <a:pt x="21" y="0"/>
                    <a:pt x="27" y="5"/>
                    <a:pt x="29" y="12"/>
                  </a:cubicBezTo>
                  <a:cubicBezTo>
                    <a:pt x="30" y="15"/>
                    <a:pt x="29" y="18"/>
                    <a:pt x="28" y="20"/>
                  </a:cubicBezTo>
                  <a:cubicBezTo>
                    <a:pt x="27" y="23"/>
                    <a:pt x="26" y="25"/>
                    <a:pt x="24" y="28"/>
                  </a:cubicBezTo>
                  <a:cubicBezTo>
                    <a:pt x="21" y="32"/>
                    <a:pt x="18" y="35"/>
                    <a:pt x="16" y="39"/>
                  </a:cubicBezTo>
                  <a:cubicBezTo>
                    <a:pt x="15" y="39"/>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2" name="Freeform 372"/>
            <p:cNvSpPr/>
            <p:nvPr/>
          </p:nvSpPr>
          <p:spPr>
            <a:xfrm>
              <a:off x="2645658" y="2384925"/>
              <a:ext cx="54864" cy="73152"/>
            </a:xfrm>
            <a:custGeom>
              <a:gdLst>
                <a:gd name="T0" fmla="*/ 15 w 30"/>
                <a:gd name="T1" fmla="*/ 40 h 40"/>
                <a:gd name="T2" fmla="*/ 15 w 30"/>
                <a:gd name="T3" fmla="*/ 39 h 40"/>
                <a:gd name="T4" fmla="*/ 5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8" y="30"/>
                    <a:pt x="5" y="25"/>
                  </a:cubicBezTo>
                  <a:cubicBezTo>
                    <a:pt x="3" y="23"/>
                    <a:pt x="2" y="20"/>
                    <a:pt x="1" y="18"/>
                  </a:cubicBezTo>
                  <a:cubicBezTo>
                    <a:pt x="0" y="10"/>
                    <a:pt x="5" y="2"/>
                    <a:pt x="13" y="1"/>
                  </a:cubicBezTo>
                  <a:cubicBezTo>
                    <a:pt x="21" y="0"/>
                    <a:pt x="28" y="4"/>
                    <a:pt x="29" y="12"/>
                  </a:cubicBezTo>
                  <a:cubicBezTo>
                    <a:pt x="30" y="15"/>
                    <a:pt x="29" y="17"/>
                    <a:pt x="28" y="20"/>
                  </a:cubicBezTo>
                  <a:cubicBezTo>
                    <a:pt x="28" y="23"/>
                    <a:pt x="26" y="25"/>
                    <a:pt x="24" y="27"/>
                  </a:cubicBezTo>
                  <a:cubicBezTo>
                    <a:pt x="22" y="31"/>
                    <a:pt x="19" y="35"/>
                    <a:pt x="16" y="39"/>
                  </a:cubicBezTo>
                  <a:cubicBezTo>
                    <a:pt x="16" y="39"/>
                    <a:pt x="16" y="39"/>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3" name="Freeform 373"/>
            <p:cNvSpPr/>
            <p:nvPr/>
          </p:nvSpPr>
          <p:spPr>
            <a:xfrm>
              <a:off x="2709562" y="2339535"/>
              <a:ext cx="54864" cy="73152"/>
            </a:xfrm>
            <a:custGeom>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4" name="Freeform 374"/>
            <p:cNvSpPr/>
            <p:nvPr/>
          </p:nvSpPr>
          <p:spPr>
            <a:xfrm>
              <a:off x="4188337" y="2092532"/>
              <a:ext cx="54864" cy="73152"/>
            </a:xfrm>
            <a:custGeom>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5" name="Freeform 375"/>
            <p:cNvSpPr/>
            <p:nvPr/>
          </p:nvSpPr>
          <p:spPr>
            <a:xfrm>
              <a:off x="4403022" y="2207718"/>
              <a:ext cx="54864" cy="73152"/>
            </a:xfrm>
            <a:custGeom>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2 h 40"/>
                <a:gd name="T12" fmla="*/ 29 w 30"/>
                <a:gd name="T13" fmla="*/ 20 h 40"/>
                <a:gd name="T14" fmla="*/ 25 w 30"/>
                <a:gd name="T15" fmla="*/ 28 h 40"/>
                <a:gd name="T16" fmla="*/ 16 w 30"/>
                <a:gd name="T17" fmla="*/ 39 h 40"/>
                <a:gd name="T18" fmla="*/ 16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3"/>
                    <a:pt x="2" y="21"/>
                    <a:pt x="2" y="18"/>
                  </a:cubicBezTo>
                  <a:cubicBezTo>
                    <a:pt x="0" y="10"/>
                    <a:pt x="6" y="2"/>
                    <a:pt x="13" y="1"/>
                  </a:cubicBezTo>
                  <a:cubicBezTo>
                    <a:pt x="21" y="0"/>
                    <a:pt x="28" y="5"/>
                    <a:pt x="30" y="12"/>
                  </a:cubicBezTo>
                  <a:cubicBezTo>
                    <a:pt x="30" y="15"/>
                    <a:pt x="30" y="18"/>
                    <a:pt x="29" y="20"/>
                  </a:cubicBezTo>
                  <a:cubicBezTo>
                    <a:pt x="28" y="23"/>
                    <a:pt x="26" y="25"/>
                    <a:pt x="25"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6" name="Freeform 376"/>
            <p:cNvSpPr/>
            <p:nvPr/>
          </p:nvSpPr>
          <p:spPr>
            <a:xfrm>
              <a:off x="6555896" y="2449553"/>
              <a:ext cx="54864" cy="73152"/>
            </a:xfrm>
            <a:custGeom>
              <a:gdLst>
                <a:gd name="T0" fmla="*/ 15 w 30"/>
                <a:gd name="T1" fmla="*/ 40 h 40"/>
                <a:gd name="T2" fmla="*/ 15 w 30"/>
                <a:gd name="T3" fmla="*/ 40 h 40"/>
                <a:gd name="T4" fmla="*/ 4 w 30"/>
                <a:gd name="T5" fmla="*/ 26 h 40"/>
                <a:gd name="T6" fmla="*/ 1 w 30"/>
                <a:gd name="T7" fmla="*/ 18 h 40"/>
                <a:gd name="T8" fmla="*/ 13 w 30"/>
                <a:gd name="T9" fmla="*/ 2 h 40"/>
                <a:gd name="T10" fmla="*/ 29 w 30"/>
                <a:gd name="T11" fmla="*/ 13 h 40"/>
                <a:gd name="T12" fmla="*/ 28 w 30"/>
                <a:gd name="T13" fmla="*/ 21 h 40"/>
                <a:gd name="T14" fmla="*/ 24 w 30"/>
                <a:gd name="T15" fmla="*/ 28 h 40"/>
                <a:gd name="T16" fmla="*/ 16 w 30"/>
                <a:gd name="T17" fmla="*/ 40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4"/>
                    <a:pt x="2" y="21"/>
                    <a:pt x="1" y="18"/>
                  </a:cubicBezTo>
                  <a:cubicBezTo>
                    <a:pt x="0" y="10"/>
                    <a:pt x="5" y="3"/>
                    <a:pt x="13" y="2"/>
                  </a:cubicBezTo>
                  <a:cubicBezTo>
                    <a:pt x="21" y="0"/>
                    <a:pt x="27" y="5"/>
                    <a:pt x="29" y="13"/>
                  </a:cubicBezTo>
                  <a:cubicBezTo>
                    <a:pt x="30" y="16"/>
                    <a:pt x="29" y="18"/>
                    <a:pt x="28" y="21"/>
                  </a:cubicBezTo>
                  <a:cubicBezTo>
                    <a:pt x="27" y="23"/>
                    <a:pt x="26" y="26"/>
                    <a:pt x="24" y="28"/>
                  </a:cubicBezTo>
                  <a:cubicBezTo>
                    <a:pt x="21" y="32"/>
                    <a:pt x="19" y="36"/>
                    <a:pt x="16" y="40"/>
                  </a:cubicBezTo>
                  <a:cubicBezTo>
                    <a:pt x="15" y="40"/>
                    <a:pt x="15"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7" name="Freeform 377"/>
            <p:cNvSpPr/>
            <p:nvPr/>
          </p:nvSpPr>
          <p:spPr>
            <a:xfrm>
              <a:off x="6636564" y="2605604"/>
              <a:ext cx="54864" cy="73152"/>
            </a:xfrm>
            <a:custGeom>
              <a:gdLst>
                <a:gd name="T0" fmla="*/ 16 w 30"/>
                <a:gd name="T1" fmla="*/ 40 h 40"/>
                <a:gd name="T2" fmla="*/ 15 w 30"/>
                <a:gd name="T3" fmla="*/ 40 h 40"/>
                <a:gd name="T4" fmla="*/ 5 w 30"/>
                <a:gd name="T5" fmla="*/ 26 h 40"/>
                <a:gd name="T6" fmla="*/ 1 w 30"/>
                <a:gd name="T7" fmla="*/ 18 h 40"/>
                <a:gd name="T8" fmla="*/ 13 w 30"/>
                <a:gd name="T9" fmla="*/ 1 h 40"/>
                <a:gd name="T10" fmla="*/ 30 w 30"/>
                <a:gd name="T11" fmla="*/ 12 h 40"/>
                <a:gd name="T12" fmla="*/ 29 w 30"/>
                <a:gd name="T13" fmla="*/ 20 h 40"/>
                <a:gd name="T14" fmla="*/ 24 w 30"/>
                <a:gd name="T15" fmla="*/ 28 h 40"/>
                <a:gd name="T16" fmla="*/ 16 w 30"/>
                <a:gd name="T17" fmla="*/ 39 h 40"/>
                <a:gd name="T18" fmla="*/ 16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30" y="12"/>
                  </a:cubicBezTo>
                  <a:cubicBezTo>
                    <a:pt x="30" y="15"/>
                    <a:pt x="30" y="18"/>
                    <a:pt x="29" y="20"/>
                  </a:cubicBezTo>
                  <a:cubicBezTo>
                    <a:pt x="28" y="23"/>
                    <a:pt x="26" y="25"/>
                    <a:pt x="24"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8" name="Freeform 378"/>
            <p:cNvSpPr/>
            <p:nvPr/>
          </p:nvSpPr>
          <p:spPr>
            <a:xfrm>
              <a:off x="6513589" y="2795991"/>
              <a:ext cx="54864" cy="73152"/>
            </a:xfrm>
            <a:custGeom>
              <a:gdLst>
                <a:gd name="T0" fmla="*/ 15 w 30"/>
                <a:gd name="T1" fmla="*/ 40 h 40"/>
                <a:gd name="T2" fmla="*/ 15 w 30"/>
                <a:gd name="T3" fmla="*/ 39 h 40"/>
                <a:gd name="T4" fmla="*/ 4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7" y="30"/>
                    <a:pt x="4" y="25"/>
                  </a:cubicBezTo>
                  <a:cubicBezTo>
                    <a:pt x="3" y="23"/>
                    <a:pt x="2" y="20"/>
                    <a:pt x="1" y="18"/>
                  </a:cubicBezTo>
                  <a:cubicBezTo>
                    <a:pt x="0" y="10"/>
                    <a:pt x="5" y="2"/>
                    <a:pt x="13" y="1"/>
                  </a:cubicBezTo>
                  <a:cubicBezTo>
                    <a:pt x="21" y="0"/>
                    <a:pt x="27" y="4"/>
                    <a:pt x="29" y="12"/>
                  </a:cubicBezTo>
                  <a:cubicBezTo>
                    <a:pt x="30" y="15"/>
                    <a:pt x="29" y="17"/>
                    <a:pt x="28" y="20"/>
                  </a:cubicBezTo>
                  <a:cubicBezTo>
                    <a:pt x="27" y="23"/>
                    <a:pt x="26" y="25"/>
                    <a:pt x="24" y="27"/>
                  </a:cubicBezTo>
                  <a:cubicBezTo>
                    <a:pt x="21" y="31"/>
                    <a:pt x="19" y="35"/>
                    <a:pt x="16" y="39"/>
                  </a:cubicBezTo>
                  <a:cubicBezTo>
                    <a:pt x="16" y="39"/>
                    <a:pt x="15" y="39"/>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59" name="Freeform 374"/>
            <p:cNvSpPr/>
            <p:nvPr/>
          </p:nvSpPr>
          <p:spPr>
            <a:xfrm>
              <a:off x="4245302" y="2176825"/>
              <a:ext cx="54864" cy="73152"/>
            </a:xfrm>
            <a:custGeom>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60" name="Freeform 370"/>
            <p:cNvSpPr/>
            <p:nvPr/>
          </p:nvSpPr>
          <p:spPr>
            <a:xfrm>
              <a:off x="2152269" y="2632933"/>
              <a:ext cx="54864" cy="73152"/>
            </a:xfrm>
            <a:custGeom>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61" name="Freeform 374"/>
            <p:cNvSpPr/>
            <p:nvPr/>
          </p:nvSpPr>
          <p:spPr>
            <a:xfrm>
              <a:off x="4296328" y="2111211"/>
              <a:ext cx="54864" cy="73152"/>
            </a:xfrm>
            <a:custGeom>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sp>
          <p:nvSpPr>
            <p:cNvPr id="1162" name="Freeform 370"/>
            <p:cNvSpPr/>
            <p:nvPr/>
          </p:nvSpPr>
          <p:spPr>
            <a:xfrm>
              <a:off x="1875712" y="2389600"/>
              <a:ext cx="54864" cy="73152"/>
            </a:xfrm>
            <a:custGeom>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bodyPr>
            <a:lstStyle/>
            <a:p>
              <a:endParaRPr lang="en-US"/>
            </a:p>
          </p:txBody>
        </p:sp>
      </p:grpSp>
    </p:spTree>
    <p:extLst>
      <p:ext uri="{BB962C8B-B14F-4D97-AF65-F5344CB8AC3E}">
        <p14:creationId xmlns:p14="http://schemas.microsoft.com/office/powerpoint/2010/main" val="15959117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rospective Client 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2">
                  <p:embed/>
                </p:oleObj>
              </mc:Choice>
              <mc:Fallback>
                <p:oleObj name="think-cell Slide" progId="TCLayout.ActiveDocument.1" r:id="rId7" spid="_x0000_s1042">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10" name="Rectangle 9"/>
          <p:cNvSpPr/>
          <p:nvPr userDrawn="1"/>
        </p:nvSpPr>
        <p:spPr>
          <a:xfrm>
            <a:off x="2557218" y="4229928"/>
            <a:ext cx="6358181" cy="844847"/>
          </a:xfrm>
          <a:prstGeom prst="rect"/>
        </p:spPr>
        <p:txBody>
          <a:bodyPr wrap="square" lIns="0" tIns="18288" rIns="0" bIns="18288">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1" smtClean="0">
                <a:solidFill>
                  <a:schemeClr val="bg1">
                    <a:lumMod val="50000"/>
                  </a:schemeClr>
                </a:solidFill>
              </a:rPr>
              <a:t>This presentation is being made based on the understanding that an attorney-client relationship does not exist between you and Kirkland &amp; Ellis and will not exist unless and until we execute an engagement letter. Additionally, nothing that occurs (including if you provide us with information) before the execution of an engagement letter will preclude Kirkland &amp; Ellis from representing others with interests adverse to you in this or any other matter. Any representative matters and other experience included herein may date from periods before an individual lawyer joined Kirkland &amp; Ellis, may contain incomplete or colloquial client or entity name references, and should not imply current or former client status. None of these materials is offered, nor should be construed, as legal advice. Prior results do not guarantee a similar outcome.</a:t>
            </a:r>
            <a:r>
              <a:rPr lang="en-US" sz="800" baseline="0" dirty="1" smtClean="0">
                <a:solidFill>
                  <a:schemeClr val="bg1">
                    <a:lumMod val="50000"/>
                  </a:schemeClr>
                </a:solidFill>
              </a:rPr>
              <a:t> </a:t>
            </a:r>
            <a:r>
              <a:rPr lang="en-US" sz="800" dirty="1" smtClean="0">
                <a:solidFill>
                  <a:schemeClr val="bg1">
                    <a:lumMod val="50000"/>
                  </a:schemeClr>
                </a:solidFill>
              </a:rPr>
              <a:t>© 2022 Kirkland &amp; Ellis. All rights reserved. www.kirkland.com</a:t>
            </a:r>
          </a:p>
        </p:txBody>
      </p:sp>
      <p:sp>
        <p:nvSpPr>
          <p:cNvPr id="12" name="Freeform 6"/>
          <p:cNvSpPr>
            <a:spLocks noEditPoints="1"/>
          </p:cNvSpPr>
          <p:nvPr userDrawn="1"/>
        </p:nvSpPr>
        <p:spPr>
          <a:xfrm>
            <a:off x="6562641" y="301345"/>
            <a:ext cx="2216555" cy="192380"/>
          </a:xfrm>
          <a:custGeom>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91440" tIns="45720" rIns="91440" bIns="45720" numCol="1" anchor="t" anchorCtr="0" compatLnSpc="1">
            <a:prstTxWarp prst="textNoShape"/>
          </a:bodyPr>
          <a:lstStyle/>
          <a:p>
            <a:endParaRPr lang="en-US"/>
          </a:p>
        </p:txBody>
      </p:sp>
      <p:sp>
        <p:nvSpPr>
          <p:cNvPr id="15" name="Title 1"/>
          <p:cNvSpPr>
            <a:spLocks noGrp="1"/>
          </p:cNvSpPr>
          <p:nvPr>
            <p:ph type="ctrTitle"/>
          </p:nvPr>
        </p:nvSpPr>
        <p:spPr>
          <a:xfrm>
            <a:off x="2557218" y="1965363"/>
            <a:ext cx="6244825" cy="1488186"/>
          </a:xfrm>
        </p:spPr>
        <p:txBody>
          <a:bodyPr lIns="0" rIns="0" anchor="t">
            <a:noAutofit/>
          </a:bodyPr>
          <a:lstStyle>
            <a:lvl1pPr>
              <a:defRPr sz="3200">
                <a:solidFill>
                  <a:schemeClr val="tx1"/>
                </a:solidFill>
              </a:defRPr>
            </a:lvl1pPr>
          </a:lstStyle>
          <a:p>
            <a:r>
              <a:rPr lang="en-US" dirty="1" smtClean="0"/>
              <a:t>Click to edit Master title style</a:t>
            </a:r>
            <a:endParaRPr lang="en-US"/>
          </a:p>
        </p:txBody>
      </p:sp>
      <p:sp>
        <p:nvSpPr>
          <p:cNvPr id="17" name="Text Placeholder 7"/>
          <p:cNvSpPr>
            <a:spLocks noGrp="1"/>
          </p:cNvSpPr>
          <p:nvPr>
            <p:ph type="body" sz="quarter" idx="17" hasCustomPrompt="1"/>
          </p:nvPr>
        </p:nvSpPr>
        <p:spPr>
          <a:xfrm>
            <a:off x="2557218" y="1584521"/>
            <a:ext cx="6244825" cy="374617"/>
          </a:xfrm>
        </p:spPr>
        <p:txBody>
          <a:bodyPr lIns="0" rIns="0" anchor="ctr"/>
          <a:lstStyle>
            <a:lvl1pPr marL="0" indent="0">
              <a:buFontTx/>
              <a:buNone/>
              <a:defRPr sz="1200" b="1" cap="all" spc="100" baseline="0">
                <a:solidFill>
                  <a:schemeClr val="accent1"/>
                </a:solidFill>
              </a:defRPr>
            </a:lvl1pPr>
            <a:lvl2pPr marL="339725" indent="0">
              <a:buFontTx/>
              <a:buNone/>
              <a:defRPr sz="1600">
                <a:solidFill>
                  <a:schemeClr val="accent2"/>
                </a:solidFill>
              </a:defRPr>
            </a:lvl2pPr>
            <a:lvl3pPr marL="690562" indent="0">
              <a:buFontTx/>
              <a:buNone/>
              <a:defRPr sz="1400">
                <a:solidFill>
                  <a:schemeClr val="accent2"/>
                </a:solidFill>
              </a:defRPr>
            </a:lvl3pPr>
            <a:lvl4pPr marL="1031875" indent="0">
              <a:buFontTx/>
              <a:buNone/>
              <a:defRPr sz="1200">
                <a:solidFill>
                  <a:schemeClr val="accent2"/>
                </a:solidFill>
              </a:defRPr>
            </a:lvl4pPr>
            <a:lvl5pPr marL="1319212" indent="0">
              <a:buFontTx/>
              <a:buNone/>
              <a:defRPr sz="1100">
                <a:solidFill>
                  <a:schemeClr val="accent2"/>
                </a:solidFill>
              </a:defRPr>
            </a:lvl5pPr>
          </a:lstStyle>
          <a:p>
            <a:pPr lvl="0"/>
            <a:r>
              <a:rPr lang="en-US" dirty="1" smtClean="0"/>
              <a:t>Presentation to:</a:t>
            </a:r>
          </a:p>
        </p:txBody>
      </p:sp>
      <p:sp>
        <p:nvSpPr>
          <p:cNvPr id="20" name="Freeform 11"/>
          <p:cNvSpPr/>
          <p:nvPr userDrawn="1"/>
        </p:nvSpPr>
        <p:spPr>
          <a:xfrm>
            <a:off x="751568" y="-10553"/>
            <a:ext cx="1212112" cy="5169358"/>
          </a:xfrm>
          <a:custGeom>
            <a:gdLst>
              <a:gd name="T0" fmla="*/ 0 w 1152"/>
              <a:gd name="T1" fmla="*/ 4913 h 4913"/>
              <a:gd name="T2" fmla="*/ 1152 w 1152"/>
              <a:gd name="T3" fmla="*/ 875 h 4913"/>
              <a:gd name="T4" fmla="*/ 903 w 1152"/>
              <a:gd name="T5" fmla="*/ 0 h 4913"/>
            </a:gd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bodyPr>
          <a:lstStyle/>
          <a:p>
            <a:endParaRPr lang="en-US"/>
          </a:p>
        </p:txBody>
      </p:sp>
      <p:sp>
        <p:nvSpPr>
          <p:cNvPr id="11" name="Picture Placeholder 6"/>
          <p:cNvSpPr>
            <a:spLocks noGrp="1"/>
          </p:cNvSpPr>
          <p:nvPr>
            <p:ph type="pic" sz="quarter" idx="19" hasCustomPrompt="1"/>
          </p:nvPr>
        </p:nvSpPr>
        <p:spPr>
          <a:xfrm>
            <a:off x="0" y="-7263"/>
            <a:ext cx="1772230" cy="5158026"/>
          </a:xfrm>
          <a:custGeom>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dup0" fmla="*/ 0 w 914400"/>
              <a:gd name="connsiteY0dup0" fmla="*/ 0 h 7799388"/>
              <a:gd name="connsiteX1dup0" fmla="*/ 914400 w 914400"/>
              <a:gd name="connsiteY1dup0" fmla="*/ 0 h 7799388"/>
              <a:gd name="connsiteX2dup0" fmla="*/ 898358 w 914400"/>
              <a:gd name="connsiteY2dup0" fmla="*/ 972051 h 7799388"/>
              <a:gd name="connsiteX3dup0" fmla="*/ 914400 w 914400"/>
              <a:gd name="connsiteY3dup0" fmla="*/ 7799388 h 7799388"/>
              <a:gd name="connsiteX4dup0" fmla="*/ 0 w 914400"/>
              <a:gd name="connsiteY4dup0" fmla="*/ 7799388 h 7799388"/>
              <a:gd name="connsiteX5" fmla="*/ 0 w 914400"/>
              <a:gd name="connsiteY5" fmla="*/ 0 h 7799388"/>
              <a:gd name="connsiteX0dup0dup1" fmla="*/ 0 w 2486539"/>
              <a:gd name="connsiteY0dup0dup1" fmla="*/ 0 h 7799388"/>
              <a:gd name="connsiteX1dup0dup1" fmla="*/ 914400 w 2486539"/>
              <a:gd name="connsiteY1dup0dup1" fmla="*/ 0 h 7799388"/>
              <a:gd name="connsiteX2dup0dup1" fmla="*/ 2486526 w 2486539"/>
              <a:gd name="connsiteY2dup0dup1" fmla="*/ 1373104 h 7799388"/>
              <a:gd name="connsiteX3dup0dup1" fmla="*/ 914400 w 2486539"/>
              <a:gd name="connsiteY3dup0dup1" fmla="*/ 7799388 h 7799388"/>
              <a:gd name="connsiteX4dup0dup1" fmla="*/ 0 w 2486539"/>
              <a:gd name="connsiteY4dup0dup1" fmla="*/ 7799388 h 7799388"/>
              <a:gd name="connsiteX5dup0" fmla="*/ 0 w 2486539"/>
              <a:gd name="connsiteY5dup0" fmla="*/ 0 h 7799388"/>
              <a:gd name="connsiteX0dup0dup1dup2" fmla="*/ 0 w 2486547"/>
              <a:gd name="connsiteY0dup0dup1dup2" fmla="*/ 0 h 7799388"/>
              <a:gd name="connsiteX1dup0dup1dup2" fmla="*/ 914400 w 2486547"/>
              <a:gd name="connsiteY1dup0dup1dup2" fmla="*/ 0 h 7799388"/>
              <a:gd name="connsiteX2dup0dup1dup2" fmla="*/ 2486526 w 2486547"/>
              <a:gd name="connsiteY2dup0dup1dup2" fmla="*/ 1373104 h 7799388"/>
              <a:gd name="connsiteX3dup0dup1dup2" fmla="*/ 914400 w 2486547"/>
              <a:gd name="connsiteY3dup0dup1dup2" fmla="*/ 7799388 h 7799388"/>
              <a:gd name="connsiteX4dup0dup1dup2" fmla="*/ 0 w 2486547"/>
              <a:gd name="connsiteY4dup0dup1dup2" fmla="*/ 7799388 h 7799388"/>
              <a:gd name="connsiteX5dup0dup1" fmla="*/ 0 w 2486547"/>
              <a:gd name="connsiteY5dup0dup1" fmla="*/ 0 h 7799388"/>
              <a:gd name="connsiteX0dup0dup1dup2dup3" fmla="*/ 0 w 2550713"/>
              <a:gd name="connsiteY0dup0dup1dup2dup3" fmla="*/ 0 h 7799388"/>
              <a:gd name="connsiteX1dup0dup1dup2dup3" fmla="*/ 914400 w 2550713"/>
              <a:gd name="connsiteY1dup0dup1dup2dup3" fmla="*/ 0 h 7799388"/>
              <a:gd name="connsiteX2dup0dup1dup2dup3" fmla="*/ 2550694 w 2550713"/>
              <a:gd name="connsiteY2dup0dup1dup2dup3" fmla="*/ 1405188 h 7799388"/>
              <a:gd name="connsiteX3dup0dup1dup2dup3" fmla="*/ 914400 w 2550713"/>
              <a:gd name="connsiteY3dup0dup1dup2dup3" fmla="*/ 7799388 h 7799388"/>
              <a:gd name="connsiteX4dup0dup1dup2dup3" fmla="*/ 0 w 2550713"/>
              <a:gd name="connsiteY4dup0dup1dup2dup3" fmla="*/ 7799388 h 7799388"/>
              <a:gd name="connsiteX5dup0dup1dup2" fmla="*/ 0 w 2550713"/>
              <a:gd name="connsiteY5dup0dup1dup2" fmla="*/ 0 h 7799388"/>
              <a:gd name="connsiteX0dup0dup1dup2dup3dup4" fmla="*/ 0 w 2550694"/>
              <a:gd name="connsiteY0dup0dup1dup2dup3dup4" fmla="*/ 0 h 7799388"/>
              <a:gd name="connsiteX1dup0dup1dup2dup3dup4" fmla="*/ 914400 w 2550694"/>
              <a:gd name="connsiteY1dup0dup1dup2dup3dup4" fmla="*/ 0 h 7799388"/>
              <a:gd name="connsiteX2dup0dup1dup2dup3dup4" fmla="*/ 2550694 w 2550694"/>
              <a:gd name="connsiteY2dup0dup1dup2dup3dup4" fmla="*/ 1405188 h 7799388"/>
              <a:gd name="connsiteX3dup0dup1dup2dup3dup4" fmla="*/ 914400 w 2550694"/>
              <a:gd name="connsiteY3dup0dup1dup2dup3dup4" fmla="*/ 7799388 h 7799388"/>
              <a:gd name="connsiteX4dup0dup1dup2dup3dup4" fmla="*/ 0 w 2550694"/>
              <a:gd name="connsiteY4dup0dup1dup2dup3dup4" fmla="*/ 7799388 h 7799388"/>
              <a:gd name="connsiteX5dup0dup1dup2dup3" fmla="*/ 0 w 2550694"/>
              <a:gd name="connsiteY5dup0dup1dup2dup3" fmla="*/ 0 h 7799388"/>
              <a:gd name="connsiteX0dup0dup1dup2dup3dup4dup5" fmla="*/ 0 w 2550694"/>
              <a:gd name="connsiteY0dup0dup1dup2dup3dup4dup5" fmla="*/ 0 h 7799388"/>
              <a:gd name="connsiteX1dup0dup1dup2dup3dup4dup5" fmla="*/ 914400 w 2550694"/>
              <a:gd name="connsiteY1dup0dup1dup2dup3dup4dup5" fmla="*/ 0 h 7799388"/>
              <a:gd name="connsiteX2dup0dup1dup2dup3dup4dup5" fmla="*/ 2550694 w 2550694"/>
              <a:gd name="connsiteY2dup0dup1dup2dup3dup4dup5" fmla="*/ 1405188 h 7799388"/>
              <a:gd name="connsiteX3dup0dup1dup2dup3dup4dup5" fmla="*/ 914400 w 2550694"/>
              <a:gd name="connsiteY3dup0dup1dup2dup3dup4dup5" fmla="*/ 7799388 h 7799388"/>
              <a:gd name="connsiteX4dup0dup1dup2dup3dup4dup5" fmla="*/ 0 w 2550694"/>
              <a:gd name="connsiteY4dup0dup1dup2dup3dup4dup5" fmla="*/ 7799388 h 7799388"/>
              <a:gd name="connsiteX5dup0dup1dup2dup3dup4" fmla="*/ 0 w 2550694"/>
              <a:gd name="connsiteY5dup0dup1dup2dup3dup4" fmla="*/ 0 h 7799388"/>
              <a:gd name="connsiteX0dup0dup1dup2dup3dup4dup5dup6" fmla="*/ 0 w 2550694"/>
              <a:gd name="connsiteY0dup0dup1dup2dup3dup4dup5dup6" fmla="*/ 0 h 7799388"/>
              <a:gd name="connsiteX1dup0dup1dup2dup3dup4dup5dup6" fmla="*/ 914400 w 2550694"/>
              <a:gd name="connsiteY1dup0dup1dup2dup3dup4dup5dup6" fmla="*/ 0 h 7799388"/>
              <a:gd name="connsiteX2dup0dup1dup2dup3dup4dup5dup6" fmla="*/ 2550694 w 2550694"/>
              <a:gd name="connsiteY2dup0dup1dup2dup3dup4dup5dup6" fmla="*/ 1405188 h 7799388"/>
              <a:gd name="connsiteX3dup0dup1dup2dup3dup4dup5dup6" fmla="*/ 914400 w 2550694"/>
              <a:gd name="connsiteY3dup0dup1dup2dup3dup4dup5dup6" fmla="*/ 7799388 h 7799388"/>
              <a:gd name="connsiteX4dup0dup1dup2dup3dup4dup5dup6" fmla="*/ 0 w 2550694"/>
              <a:gd name="connsiteY4dup0dup1dup2dup3dup4dup5dup6" fmla="*/ 7799388 h 7799388"/>
              <a:gd name="connsiteX5dup0dup1dup2dup3dup4dup5" fmla="*/ 0 w 2550694"/>
              <a:gd name="connsiteY5dup0dup1dup2dup3dup4dup5" fmla="*/ 0 h 7799388"/>
              <a:gd name="connsiteX0dup0dup1dup2dup3dup4dup5dup6dup7" fmla="*/ 0 w 2550694"/>
              <a:gd name="connsiteY0dup0dup1dup2dup3dup4dup5dup6dup7" fmla="*/ 0 h 7799388"/>
              <a:gd name="connsiteX1dup0dup1dup2dup3dup4dup5dup6dup7" fmla="*/ 914400 w 2550694"/>
              <a:gd name="connsiteY1dup0dup1dup2dup3dup4dup5dup6dup7" fmla="*/ 0 h 7799388"/>
              <a:gd name="connsiteX2dup0dup1dup2dup3dup4dup5dup6dup7" fmla="*/ 2550694 w 2550694"/>
              <a:gd name="connsiteY2dup0dup1dup2dup3dup4dup5dup6dup7" fmla="*/ 1405188 h 7799388"/>
              <a:gd name="connsiteX3dup0dup1dup2dup3dup4dup5dup6dup7" fmla="*/ 914400 w 2550694"/>
              <a:gd name="connsiteY3dup0dup1dup2dup3dup4dup5dup6dup7" fmla="*/ 7799388 h 7799388"/>
              <a:gd name="connsiteX4dup0dup1dup2dup3dup4dup5dup6dup7" fmla="*/ 0 w 2550694"/>
              <a:gd name="connsiteY4dup0dup1dup2dup3dup4dup5dup6dup7" fmla="*/ 7799388 h 7799388"/>
              <a:gd name="connsiteX5dup0dup1dup2dup3dup4dup5dup6" fmla="*/ 0 w 2550694"/>
              <a:gd name="connsiteY5dup0dup1dup2dup3dup4dup5dup6" fmla="*/ 0 h 7799388"/>
              <a:gd name="connsiteX0dup0dup1dup2dup3dup4dup5dup6dup7dup8" fmla="*/ 2550694 w 2642134"/>
              <a:gd name="connsiteY0dup0dup1dup2dup3dup4dup5dup6dup7dup8" fmla="*/ 1405188 h 7799388"/>
              <a:gd name="connsiteX1dup0dup1dup2dup3dup4dup5dup6dup7dup8" fmla="*/ 914400 w 2642134"/>
              <a:gd name="connsiteY1dup0dup1dup2dup3dup4dup5dup6dup7dup8" fmla="*/ 7799388 h 7799388"/>
              <a:gd name="connsiteX2dup0dup1dup2dup3dup4dup5dup6dup7dup8" fmla="*/ 0 w 2642134"/>
              <a:gd name="connsiteY2dup0dup1dup2dup3dup4dup5dup6dup7dup8" fmla="*/ 7799388 h 7799388"/>
              <a:gd name="connsiteX3dup0dup1dup2dup3dup4dup5dup6dup7dup8" fmla="*/ 0 w 2642134"/>
              <a:gd name="connsiteY3dup0dup1dup2dup3dup4dup5dup6dup7dup8" fmla="*/ 0 h 7799388"/>
              <a:gd name="connsiteX4dup0dup1dup2dup3dup4dup5dup6dup7dup8" fmla="*/ 914400 w 2642134"/>
              <a:gd name="connsiteY4dup0dup1dup2dup3dup4dup5dup6dup7dup8" fmla="*/ 0 h 7799388"/>
              <a:gd name="connsiteX5dup0dup1dup2dup3dup4dup5dup6dup7" fmla="*/ 2642134 w 2642134"/>
              <a:gd name="connsiteY5dup0dup1dup2dup3dup4dup5dup6dup7" fmla="*/ 1496628 h 7799388"/>
              <a:gd name="connsiteX0dup0dup1dup2dup3dup4dup5dup6dup7dup8dup9" fmla="*/ 2550694 w 2642134"/>
              <a:gd name="connsiteY0dup0dup1dup2dup3dup4dup5dup6dup7dup8dup9" fmla="*/ 1405188 h 7799388"/>
              <a:gd name="connsiteX1dup0dup1dup2dup3dup4dup5dup6dup7dup8dup9" fmla="*/ 914400 w 2642134"/>
              <a:gd name="connsiteY1dup0dup1dup2dup3dup4dup5dup6dup7dup8dup9" fmla="*/ 7799388 h 7799388"/>
              <a:gd name="connsiteX2dup0dup1dup2dup3dup4dup5dup6dup7dup8dup9" fmla="*/ 0 w 2642134"/>
              <a:gd name="connsiteY2dup0dup1dup2dup3dup4dup5dup6dup7dup8dup9" fmla="*/ 7799388 h 7799388"/>
              <a:gd name="connsiteX3dup0dup1dup2dup3dup4dup5dup6dup7dup8dup9" fmla="*/ 0 w 2642134"/>
              <a:gd name="connsiteY3dup0dup1dup2dup3dup4dup5dup6dup7dup8dup9" fmla="*/ 0 h 7799388"/>
              <a:gd name="connsiteX4dup0dup1dup2dup3dup4dup5dup6dup7dup8dup9" fmla="*/ 914400 w 2642134"/>
              <a:gd name="connsiteY4dup0dup1dup2dup3dup4dup5dup6dup7dup8dup9" fmla="*/ 0 h 7799388"/>
              <a:gd name="connsiteX5dup0dup1dup2dup3dup4dup5dup6dup7dup8" fmla="*/ 2642134 w 2642134"/>
              <a:gd name="connsiteY5dup0dup1dup2dup3dup4dup5dup6dup7dup8" fmla="*/ 1496628 h 7799388"/>
              <a:gd name="connsiteX6" fmla="*/ 2550694 w 2642134"/>
              <a:gd name="connsiteY6" fmla="*/ 1405188 h 7799388"/>
              <a:gd name="connsiteX0dup0dup1dup2dup3dup4dup5dup6dup7dup8dup9dup10" fmla="*/ 2550694 w 2642134"/>
              <a:gd name="connsiteY0dup0dup1dup2dup3dup4dup5dup6dup7dup8dup9dup10" fmla="*/ 1405188 h 7799388"/>
              <a:gd name="connsiteX1dup0dup1dup2dup3dup4dup5dup6dup7dup8dup9dup10" fmla="*/ 914400 w 2642134"/>
              <a:gd name="connsiteY1dup0dup1dup2dup3dup4dup5dup6dup7dup8dup9dup10" fmla="*/ 7799388 h 7799388"/>
              <a:gd name="connsiteX2dup0dup1dup2dup3dup4dup5dup6dup7dup8dup9dup10" fmla="*/ 0 w 2642134"/>
              <a:gd name="connsiteY2dup0dup1dup2dup3dup4dup5dup6dup7dup8dup9dup10" fmla="*/ 7799388 h 7799388"/>
              <a:gd name="connsiteX3dup0dup1dup2dup3dup4dup5dup6dup7dup8dup9dup10" fmla="*/ 0 w 2642134"/>
              <a:gd name="connsiteY3dup0dup1dup2dup3dup4dup5dup6dup7dup8dup9dup10" fmla="*/ 0 h 7799388"/>
              <a:gd name="connsiteX4dup0dup1dup2dup3dup4dup5dup6dup7dup8dup9dup10" fmla="*/ 914400 w 2642134"/>
              <a:gd name="connsiteY4dup0dup1dup2dup3dup4dup5dup6dup7dup8dup9dup10" fmla="*/ 0 h 7799388"/>
              <a:gd name="connsiteX5dup0dup1dup2dup3dup4dup5dup6dup7dup8dup9" fmla="*/ 2642134 w 2642134"/>
              <a:gd name="connsiteY5dup0dup1dup2dup3dup4dup5dup6dup7dup8dup9" fmla="*/ 1496628 h 7799388"/>
              <a:gd name="connsiteX6dup0" fmla="*/ 2550694 w 2642134"/>
              <a:gd name="connsiteY6dup0" fmla="*/ 1405188 h 7799388"/>
              <a:gd name="connsiteX0dup0dup1dup2dup3dup4dup5dup6dup7dup8dup9dup10dup11" fmla="*/ 2550694 w 2642134"/>
              <a:gd name="connsiteY0dup0dup1dup2dup3dup4dup5dup6dup7dup8dup9dup10dup11" fmla="*/ 1405188 h 7799388"/>
              <a:gd name="connsiteX1dup0dup1dup2dup3dup4dup5dup6dup7dup8dup9dup10dup11" fmla="*/ 914400 w 2642134"/>
              <a:gd name="connsiteY1dup0dup1dup2dup3dup4dup5dup6dup7dup8dup9dup10dup11" fmla="*/ 7799388 h 7799388"/>
              <a:gd name="connsiteX2dup0dup1dup2dup3dup4dup5dup6dup7dup8dup9dup10dup11" fmla="*/ 0 w 2642134"/>
              <a:gd name="connsiteY2dup0dup1dup2dup3dup4dup5dup6dup7dup8dup9dup10dup11" fmla="*/ 7799388 h 7799388"/>
              <a:gd name="connsiteX3dup0dup1dup2dup3dup4dup5dup6dup7dup8dup9dup10dup11" fmla="*/ 0 w 2642134"/>
              <a:gd name="connsiteY3dup0dup1dup2dup3dup4dup5dup6dup7dup8dup9dup10dup11" fmla="*/ 0 h 7799388"/>
              <a:gd name="connsiteX4dup0dup1dup2dup3dup4dup5dup6dup7dup8dup9dup10dup11" fmla="*/ 914400 w 2642134"/>
              <a:gd name="connsiteY4dup0dup1dup2dup3dup4dup5dup6dup7dup8dup9dup10dup11" fmla="*/ 0 h 7799388"/>
              <a:gd name="connsiteX5dup0dup1dup2dup3dup4dup5dup6dup7dup8dup9dup10" fmla="*/ 2642134 w 2642134"/>
              <a:gd name="connsiteY5dup0dup1dup2dup3dup4dup5dup6dup7dup8dup9dup10" fmla="*/ 1496628 h 7799388"/>
              <a:gd name="connsiteX6dup0dup1" fmla="*/ 2550694 w 2642134"/>
              <a:gd name="connsiteY6dup0dup1" fmla="*/ 1405188 h 7799388"/>
              <a:gd name="connsiteX0dup0dup1dup2dup3dup4dup5dup6dup7dup8dup9dup10dup11dup12" fmla="*/ 2550694 w 2642134"/>
              <a:gd name="connsiteY0dup0dup1dup2dup3dup4dup5dup6dup7dup8dup9dup10dup11dup12" fmla="*/ 1405188 h 7799388"/>
              <a:gd name="connsiteX1dup0dup1dup2dup3dup4dup5dup6dup7dup8dup9dup10dup11dup12" fmla="*/ 914400 w 2642134"/>
              <a:gd name="connsiteY1dup0dup1dup2dup3dup4dup5dup6dup7dup8dup9dup10dup11dup12" fmla="*/ 7799388 h 7799388"/>
              <a:gd name="connsiteX2dup0dup1dup2dup3dup4dup5dup6dup7dup8dup9dup10dup11dup12" fmla="*/ 0 w 2642134"/>
              <a:gd name="connsiteY2dup0dup1dup2dup3dup4dup5dup6dup7dup8dup9dup10dup11dup12" fmla="*/ 7799388 h 7799388"/>
              <a:gd name="connsiteX3dup0dup1dup2dup3dup4dup5dup6dup7dup8dup9dup10dup11dup12" fmla="*/ 0 w 2642134"/>
              <a:gd name="connsiteY3dup0dup1dup2dup3dup4dup5dup6dup7dup8dup9dup10dup11dup12" fmla="*/ 0 h 7799388"/>
              <a:gd name="connsiteX4dup0dup1dup2dup3dup4dup5dup6dup7dup8dup9dup10dup11dup12" fmla="*/ 914400 w 2642134"/>
              <a:gd name="connsiteY4dup0dup1dup2dup3dup4dup5dup6dup7dup8dup9dup10dup11dup12" fmla="*/ 0 h 7799388"/>
              <a:gd name="connsiteX5dup0dup1dup2dup3dup4dup5dup6dup7dup8dup9dup10dup11" fmla="*/ 2642134 w 2642134"/>
              <a:gd name="connsiteY5dup0dup1dup2dup3dup4dup5dup6dup7dup8dup9dup10dup11" fmla="*/ 1496628 h 7799388"/>
              <a:gd name="connsiteX6dup0dup1dup2" fmla="*/ 2550694 w 2642134"/>
              <a:gd name="connsiteY6dup0dup1dup2" fmla="*/ 1405188 h 7799388"/>
              <a:gd name="connsiteX0dup0dup1dup2dup3dup4dup5dup6dup7dup8dup9dup10dup11dup12dup13" fmla="*/ 2550694 w 2642134"/>
              <a:gd name="connsiteY0dup0dup1dup2dup3dup4dup5dup6dup7dup8dup9dup10dup11dup12dup13" fmla="*/ 1405188 h 7799388"/>
              <a:gd name="connsiteX1dup0dup1dup2dup3dup4dup5dup6dup7dup8dup9dup10dup11dup12dup13" fmla="*/ 914400 w 2642134"/>
              <a:gd name="connsiteY1dup0dup1dup2dup3dup4dup5dup6dup7dup8dup9dup10dup11dup12dup13" fmla="*/ 7799388 h 7799388"/>
              <a:gd name="connsiteX2dup0dup1dup2dup3dup4dup5dup6dup7dup8dup9dup10dup11dup12dup13" fmla="*/ 0 w 2642134"/>
              <a:gd name="connsiteY2dup0dup1dup2dup3dup4dup5dup6dup7dup8dup9dup10dup11dup12dup13" fmla="*/ 7799388 h 7799388"/>
              <a:gd name="connsiteX3dup0dup1dup2dup3dup4dup5dup6dup7dup8dup9dup10dup11dup12dup13" fmla="*/ 0 w 2642134"/>
              <a:gd name="connsiteY3dup0dup1dup2dup3dup4dup5dup6dup7dup8dup9dup10dup11dup12dup13" fmla="*/ 0 h 7799388"/>
              <a:gd name="connsiteX4dup0dup1dup2dup3dup4dup5dup6dup7dup8dup9dup10dup11dup12dup13" fmla="*/ 914400 w 2642134"/>
              <a:gd name="connsiteY4dup0dup1dup2dup3dup4dup5dup6dup7dup8dup9dup10dup11dup12dup13" fmla="*/ 0 h 7799388"/>
              <a:gd name="connsiteX5dup0dup1dup2dup3dup4dup5dup6dup7dup8dup9dup10dup11dup12" fmla="*/ 2642134 w 2642134"/>
              <a:gd name="connsiteY5dup0dup1dup2dup3dup4dup5dup6dup7dup8dup9dup10dup11dup12" fmla="*/ 1496628 h 7799388"/>
              <a:gd name="connsiteX6dup0dup1dup2dup3" fmla="*/ 2550694 w 2642134"/>
              <a:gd name="connsiteY6dup0dup1dup2dup3" fmla="*/ 1405188 h 7799388"/>
              <a:gd name="connsiteX0dup0dup1dup2dup3dup4dup5dup6dup7dup8dup9dup10dup11dup12dup13dup14" fmla="*/ 3242070 w 3242070"/>
              <a:gd name="connsiteY0dup0dup1dup2dup3dup4dup5dup6dup7dup8dup9dup10dup11dup12dup13dup14" fmla="*/ 1706271 h 7799388"/>
              <a:gd name="connsiteX1dup0dup1dup2dup3dup4dup5dup6dup7dup8dup9dup10dup11dup12dup13dup14" fmla="*/ 914400 w 3242070"/>
              <a:gd name="connsiteY1dup0dup1dup2dup3dup4dup5dup6dup7dup8dup9dup10dup11dup12dup13dup14" fmla="*/ 7799388 h 7799388"/>
              <a:gd name="connsiteX2dup0dup1dup2dup3dup4dup5dup6dup7dup8dup9dup10dup11dup12dup13dup14" fmla="*/ 0 w 3242070"/>
              <a:gd name="connsiteY2dup0dup1dup2dup3dup4dup5dup6dup7dup8dup9dup10dup11dup12dup13dup14" fmla="*/ 7799388 h 7799388"/>
              <a:gd name="connsiteX3dup0dup1dup2dup3dup4dup5dup6dup7dup8dup9dup10dup11dup12dup13dup14" fmla="*/ 0 w 3242070"/>
              <a:gd name="connsiteY3dup0dup1dup2dup3dup4dup5dup6dup7dup8dup9dup10dup11dup12dup13dup14" fmla="*/ 0 h 7799388"/>
              <a:gd name="connsiteX4dup0dup1dup2dup3dup4dup5dup6dup7dup8dup9dup10dup11dup12dup13dup14" fmla="*/ 914400 w 3242070"/>
              <a:gd name="connsiteY4dup0dup1dup2dup3dup4dup5dup6dup7dup8dup9dup10dup11dup12dup13dup14" fmla="*/ 0 h 7799388"/>
              <a:gd name="connsiteX5dup0dup1dup2dup3dup4dup5dup6dup7dup8dup9dup10dup11dup12dup13" fmla="*/ 2642134 w 3242070"/>
              <a:gd name="connsiteY5dup0dup1dup2dup3dup4dup5dup6dup7dup8dup9dup10dup11dup12dup13" fmla="*/ 1496628 h 7799388"/>
              <a:gd name="connsiteX6dup0dup1dup2dup3dup4" fmla="*/ 3242070 w 3242070"/>
              <a:gd name="connsiteY6dup0dup1dup2dup3dup4" fmla="*/ 1706271 h 7799388"/>
              <a:gd name="connsiteX0dup0dup1dup2dup3dup4dup5dup6dup7dup8dup9dup10dup11dup12dup13dup14dup15" fmla="*/ 3242070 w 3242070"/>
              <a:gd name="connsiteY0dup0dup1dup2dup3dup4dup5dup6dup7dup8dup9dup10dup11dup12dup13dup14dup15" fmla="*/ 1706271 h 7799388"/>
              <a:gd name="connsiteX1dup0dup1dup2dup3dup4dup5dup6dup7dup8dup9dup10dup11dup12dup13dup14dup15" fmla="*/ 914400 w 3242070"/>
              <a:gd name="connsiteY1dup0dup1dup2dup3dup4dup5dup6dup7dup8dup9dup10dup11dup12dup13dup14dup15" fmla="*/ 7799388 h 7799388"/>
              <a:gd name="connsiteX2dup0dup1dup2dup3dup4dup5dup6dup7dup8dup9dup10dup11dup12dup13dup14dup15" fmla="*/ 0 w 3242070"/>
              <a:gd name="connsiteY2dup0dup1dup2dup3dup4dup5dup6dup7dup8dup9dup10dup11dup12dup13dup14dup15" fmla="*/ 7799388 h 7799388"/>
              <a:gd name="connsiteX3dup0dup1dup2dup3dup4dup5dup6dup7dup8dup9dup10dup11dup12dup13dup14dup15" fmla="*/ 0 w 3242070"/>
              <a:gd name="connsiteY3dup0dup1dup2dup3dup4dup5dup6dup7dup8dup9dup10dup11dup12dup13dup14dup15" fmla="*/ 0 h 7799388"/>
              <a:gd name="connsiteX4dup0dup1dup2dup3dup4dup5dup6dup7dup8dup9dup10dup11dup12dup13dup14dup15" fmla="*/ 914400 w 3242070"/>
              <a:gd name="connsiteY4dup0dup1dup2dup3dup4dup5dup6dup7dup8dup9dup10dup11dup12dup13dup14dup15" fmla="*/ 0 h 7799388"/>
              <a:gd name="connsiteX5dup0dup1dup2dup3dup4dup5dup6dup7dup8dup9dup10dup11dup12dup13dup14" fmla="*/ 3242070 w 3242070"/>
              <a:gd name="connsiteY5dup0dup1dup2dup3dup4dup5dup6dup7dup8dup9dup10dup11dup12dup13dup14" fmla="*/ 1706271 h 7799388"/>
              <a:gd name="connsiteX0dup0dup1dup2dup3dup4dup5dup6dup7dup8dup9dup10dup11dup12dup13dup14dup15dup16" fmla="*/ 2506089 w 2506089"/>
              <a:gd name="connsiteY0dup0dup1dup2dup3dup4dup5dup6dup7dup8dup9dup10dup11dup12dup13dup14dup15dup16" fmla="*/ 1494398 h 7799388"/>
              <a:gd name="connsiteX1dup0dup1dup2dup3dup4dup5dup6dup7dup8dup9dup10dup11dup12dup13dup14dup15dup16" fmla="*/ 914400 w 2506089"/>
              <a:gd name="connsiteY1dup0dup1dup2dup3dup4dup5dup6dup7dup8dup9dup10dup11dup12dup13dup14dup15dup16" fmla="*/ 7799388 h 7799388"/>
              <a:gd name="connsiteX2dup0dup1dup2dup3dup4dup5dup6dup7dup8dup9dup10dup11dup12dup13dup14dup15dup16" fmla="*/ 0 w 2506089"/>
              <a:gd name="connsiteY2dup0dup1dup2dup3dup4dup5dup6dup7dup8dup9dup10dup11dup12dup13dup14dup15dup16" fmla="*/ 7799388 h 7799388"/>
              <a:gd name="connsiteX3dup0dup1dup2dup3dup4dup5dup6dup7dup8dup9dup10dup11dup12dup13dup14dup15dup16" fmla="*/ 0 w 2506089"/>
              <a:gd name="connsiteY3dup0dup1dup2dup3dup4dup5dup6dup7dup8dup9dup10dup11dup12dup13dup14dup15dup16" fmla="*/ 0 h 7799388"/>
              <a:gd name="connsiteX4dup0dup1dup2dup3dup4dup5dup6dup7dup8dup9dup10dup11dup12dup13dup14dup15dup16" fmla="*/ 914400 w 2506089"/>
              <a:gd name="connsiteY4dup0dup1dup2dup3dup4dup5dup6dup7dup8dup9dup10dup11dup12dup13dup14dup15dup16" fmla="*/ 0 h 7799388"/>
              <a:gd name="connsiteX5dup0dup1dup2dup3dup4dup5dup6dup7dup8dup9dup10dup11dup12dup13dup14dup15" fmla="*/ 2506089 w 2506089"/>
              <a:gd name="connsiteY5dup0dup1dup2dup3dup4dup5dup6dup7dup8dup9dup10dup11dup12dup13dup14dup15" fmla="*/ 1494398 h 7799388"/>
              <a:gd name="connsiteX0dup0dup1dup2dup3dup4dup5dup6dup7dup8dup9dup10dup11dup12dup13dup14dup15dup16dup17" fmla="*/ 2584148 w 2584148"/>
              <a:gd name="connsiteY0dup0dup1dup2dup3dup4dup5dup6dup7dup8dup9dup10dup11dup12dup13dup14dup15dup16dup17" fmla="*/ 1494398 h 7799388"/>
              <a:gd name="connsiteX1dup0dup1dup2dup3dup4dup5dup6dup7dup8dup9dup10dup11dup12dup13dup14dup15dup16dup17" fmla="*/ 914400 w 2584148"/>
              <a:gd name="connsiteY1dup0dup1dup2dup3dup4dup5dup6dup7dup8dup9dup10dup11dup12dup13dup14dup15dup16dup17" fmla="*/ 7799388 h 7799388"/>
              <a:gd name="connsiteX2dup0dup1dup2dup3dup4dup5dup6dup7dup8dup9dup10dup11dup12dup13dup14dup15dup16dup17" fmla="*/ 0 w 2584148"/>
              <a:gd name="connsiteY2dup0dup1dup2dup3dup4dup5dup6dup7dup8dup9dup10dup11dup12dup13dup14dup15dup16dup17" fmla="*/ 7799388 h 7799388"/>
              <a:gd name="connsiteX3dup0dup1dup2dup3dup4dup5dup6dup7dup8dup9dup10dup11dup12dup13dup14dup15dup16dup17" fmla="*/ 0 w 2584148"/>
              <a:gd name="connsiteY3dup0dup1dup2dup3dup4dup5dup6dup7dup8dup9dup10dup11dup12dup13dup14dup15dup16dup17" fmla="*/ 0 h 7799388"/>
              <a:gd name="connsiteX4dup0dup1dup2dup3dup4dup5dup6dup7dup8dup9dup10dup11dup12dup13dup14dup15dup16dup17" fmla="*/ 914400 w 2584148"/>
              <a:gd name="connsiteY4dup0dup1dup2dup3dup4dup5dup6dup7dup8dup9dup10dup11dup12dup13dup14dup15dup16dup17" fmla="*/ 0 h 7799388"/>
              <a:gd name="connsiteX5dup0dup1dup2dup3dup4dup5dup6dup7dup8dup9dup10dup11dup12dup13dup14dup15dup16" fmla="*/ 2584148 w 2584148"/>
              <a:gd name="connsiteY5dup0dup1dup2dup3dup4dup5dup6dup7dup8dup9dup10dup11dup12dup13dup14dup15dup16" fmla="*/ 1494398 h 7799388"/>
              <a:gd name="connsiteX0dup0dup1dup2dup3dup4dup5dup6dup7dup8dup9dup10dup11dup12dup13dup14dup15dup16dup17dup18" fmla="*/ 2584148 w 2584148"/>
              <a:gd name="connsiteY0dup0dup1dup2dup3dup4dup5dup6dup7dup8dup9dup10dup11dup12dup13dup14dup15dup16dup17dup18" fmla="*/ 1494398 h 7799388"/>
              <a:gd name="connsiteX1dup0dup1dup2dup3dup4dup5dup6dup7dup8dup9dup10dup11dup12dup13dup14dup15dup16dup17dup18" fmla="*/ 914400 w 2584148"/>
              <a:gd name="connsiteY1dup0dup1dup2dup3dup4dup5dup6dup7dup8dup9dup10dup11dup12dup13dup14dup15dup16dup17dup18" fmla="*/ 7799388 h 7799388"/>
              <a:gd name="connsiteX2dup0dup1dup2dup3dup4dup5dup6dup7dup8dup9dup10dup11dup12dup13dup14dup15dup16dup17dup18" fmla="*/ 0 w 2584148"/>
              <a:gd name="connsiteY2dup0dup1dup2dup3dup4dup5dup6dup7dup8dup9dup10dup11dup12dup13dup14dup15dup16dup17dup18" fmla="*/ 7799388 h 7799388"/>
              <a:gd name="connsiteX3dup0dup1dup2dup3dup4dup5dup6dup7dup8dup9dup10dup11dup12dup13dup14dup15dup16dup17dup18" fmla="*/ 0 w 2584148"/>
              <a:gd name="connsiteY3dup0dup1dup2dup3dup4dup5dup6dup7dup8dup9dup10dup11dup12dup13dup14dup15dup16dup17dup18" fmla="*/ 0 h 7799388"/>
              <a:gd name="connsiteX4dup0dup1dup2dup3dup4dup5dup6dup7dup8dup9dup10dup11dup12dup13dup14dup15dup16dup17dup18" fmla="*/ 914400 w 2584148"/>
              <a:gd name="connsiteY4dup0dup1dup2dup3dup4dup5dup6dup7dup8dup9dup10dup11dup12dup13dup14dup15dup16dup17dup18" fmla="*/ 0 h 7799388"/>
              <a:gd name="connsiteX5dup0dup1dup2dup3dup4dup5dup6dup7dup8dup9dup10dup11dup12dup13dup14dup15dup16dup17" fmla="*/ 2584148 w 2584148"/>
              <a:gd name="connsiteY5dup0dup1dup2dup3dup4dup5dup6dup7dup8dup9dup10dup11dup12dup13dup14dup15dup16dup17" fmla="*/ 1494398 h 7799388"/>
              <a:gd name="connsiteX0dup0dup1dup2dup3dup4dup5dup6dup7dup8dup9dup10dup11dup12dup13dup14dup15dup16dup17dup18dup19" fmla="*/ 2584148 w 2584148"/>
              <a:gd name="connsiteY0dup0dup1dup2dup3dup4dup5dup6dup7dup8dup9dup10dup11dup12dup13dup14dup15dup16dup17dup18dup19" fmla="*/ 1494398 h 7799388"/>
              <a:gd name="connsiteX1dup0dup1dup2dup3dup4dup5dup6dup7dup8dup9dup10dup11dup12dup13dup14dup15dup16dup17dup18dup19" fmla="*/ 914400 w 2584148"/>
              <a:gd name="connsiteY1dup0dup1dup2dup3dup4dup5dup6dup7dup8dup9dup10dup11dup12dup13dup14dup15dup16dup17dup18dup19" fmla="*/ 7799388 h 7799388"/>
              <a:gd name="connsiteX2dup0dup1dup2dup3dup4dup5dup6dup7dup8dup9dup10dup11dup12dup13dup14dup15dup16dup17dup18dup19" fmla="*/ 0 w 2584148"/>
              <a:gd name="connsiteY2dup0dup1dup2dup3dup4dup5dup6dup7dup8dup9dup10dup11dup12dup13dup14dup15dup16dup17dup18dup19" fmla="*/ 7799388 h 7799388"/>
              <a:gd name="connsiteX3dup0dup1dup2dup3dup4dup5dup6dup7dup8dup9dup10dup11dup12dup13dup14dup15dup16dup17dup18dup19" fmla="*/ 0 w 2584148"/>
              <a:gd name="connsiteY3dup0dup1dup2dup3dup4dup5dup6dup7dup8dup9dup10dup11dup12dup13dup14dup15dup16dup17dup18dup19" fmla="*/ 0 h 7799388"/>
              <a:gd name="connsiteX4dup0dup1dup2dup3dup4dup5dup6dup7dup8dup9dup10dup11dup12dup13dup14dup15dup16dup17dup18dup19" fmla="*/ 914400 w 2584148"/>
              <a:gd name="connsiteY4dup0dup1dup2dup3dup4dup5dup6dup7dup8dup9dup10dup11dup12dup13dup14dup15dup16dup17dup18dup19" fmla="*/ 0 h 7799388"/>
              <a:gd name="connsiteX5dup0dup1dup2dup3dup4dup5dup6dup7dup8dup9dup10dup11dup12dup13dup14dup15dup16dup17dup18" fmla="*/ 2584148 w 2584148"/>
              <a:gd name="connsiteY5dup0dup1dup2dup3dup4dup5dup6dup7dup8dup9dup10dup11dup12dup13dup14dup15dup16dup17dup18" fmla="*/ 1494398 h 7799388"/>
              <a:gd name="connsiteX0dup0dup1dup2dup3dup4dup5dup6dup7dup8dup9dup10dup11dup12dup13dup14dup15dup16dup17dup18dup19dup20" fmla="*/ 2584148 w 2584148"/>
              <a:gd name="connsiteY0dup0dup1dup2dup3dup4dup5dup6dup7dup8dup9dup10dup11dup12dup13dup14dup15dup16dup17dup18dup19dup20" fmla="*/ 1494398 h 7799388"/>
              <a:gd name="connsiteX1dup0dup1dup2dup3dup4dup5dup6dup7dup8dup9dup10dup11dup12dup13dup14dup15dup16dup17dup18dup19dup20" fmla="*/ 914400 w 2584148"/>
              <a:gd name="connsiteY1dup0dup1dup2dup3dup4dup5dup6dup7dup8dup9dup10dup11dup12dup13dup14dup15dup16dup17dup18dup19dup20" fmla="*/ 7799388 h 7799388"/>
              <a:gd name="connsiteX2dup0dup1dup2dup3dup4dup5dup6dup7dup8dup9dup10dup11dup12dup13dup14dup15dup16dup17dup18dup19dup20" fmla="*/ 0 w 2584148"/>
              <a:gd name="connsiteY2dup0dup1dup2dup3dup4dup5dup6dup7dup8dup9dup10dup11dup12dup13dup14dup15dup16dup17dup18dup19dup20" fmla="*/ 7799388 h 7799388"/>
              <a:gd name="connsiteX3dup0dup1dup2dup3dup4dup5dup6dup7dup8dup9dup10dup11dup12dup13dup14dup15dup16dup17dup18dup19dup20" fmla="*/ 0 w 2584148"/>
              <a:gd name="connsiteY3dup0dup1dup2dup3dup4dup5dup6dup7dup8dup9dup10dup11dup12dup13dup14dup15dup16dup17dup18dup19dup20" fmla="*/ 0 h 7799388"/>
              <a:gd name="connsiteX4dup0dup1dup2dup3dup4dup5dup6dup7dup8dup9dup10dup11dup12dup13dup14dup15dup16dup17dup18dup19dup20" fmla="*/ 2230244 w 2584148"/>
              <a:gd name="connsiteY4dup0dup1dup2dup3dup4dup5dup6dup7dup8dup9dup10dup11dup12dup13dup14dup15dup16dup17dup18dup19dup20" fmla="*/ 11151 h 7799388"/>
              <a:gd name="connsiteX5dup0dup1dup2dup3dup4dup5dup6dup7dup8dup9dup10dup11dup12dup13dup14dup15dup16dup17dup18dup19" fmla="*/ 2584148 w 2584148"/>
              <a:gd name="connsiteY5dup0dup1dup2dup3dup4dup5dup6dup7dup8dup9dup10dup11dup12dup13dup14dup15dup16dup17dup18dup19" fmla="*/ 1494398 h 7799388"/>
              <a:gd name="connsiteX0dup0dup1dup2dup3dup4dup5dup6dup7dup8dup9dup10dup11dup12dup13dup14dup15dup16dup17dup18dup19dup20dup21" fmla="*/ 2673357 w 2673357"/>
              <a:gd name="connsiteY0dup0dup1dup2dup3dup4dup5dup6dup7dup8dup9dup10dup11dup12dup13dup14dup15dup16dup17dup18dup19dup20dup21" fmla="*/ 1394037 h 7799388"/>
              <a:gd name="connsiteX1dup0dup1dup2dup3dup4dup5dup6dup7dup8dup9dup10dup11dup12dup13dup14dup15dup16dup17dup18dup19dup20dup21" fmla="*/ 914400 w 2673357"/>
              <a:gd name="connsiteY1dup0dup1dup2dup3dup4dup5dup6dup7dup8dup9dup10dup11dup12dup13dup14dup15dup16dup17dup18dup19dup20dup21" fmla="*/ 7799388 h 7799388"/>
              <a:gd name="connsiteX2dup0dup1dup2dup3dup4dup5dup6dup7dup8dup9dup10dup11dup12dup13dup14dup15dup16dup17dup18dup19dup20dup21" fmla="*/ 0 w 2673357"/>
              <a:gd name="connsiteY2dup0dup1dup2dup3dup4dup5dup6dup7dup8dup9dup10dup11dup12dup13dup14dup15dup16dup17dup18dup19dup20dup21" fmla="*/ 7799388 h 7799388"/>
              <a:gd name="connsiteX3dup0dup1dup2dup3dup4dup5dup6dup7dup8dup9dup10dup11dup12dup13dup14dup15dup16dup17dup18dup19dup20dup21" fmla="*/ 0 w 2673357"/>
              <a:gd name="connsiteY3dup0dup1dup2dup3dup4dup5dup6dup7dup8dup9dup10dup11dup12dup13dup14dup15dup16dup17dup18dup19dup20dup21" fmla="*/ 0 h 7799388"/>
              <a:gd name="connsiteX4dup0dup1dup2dup3dup4dup5dup6dup7dup8dup9dup10dup11dup12dup13dup14dup15dup16dup17dup18dup19dup20dup21" fmla="*/ 2230244 w 2673357"/>
              <a:gd name="connsiteY4dup0dup1dup2dup3dup4dup5dup6dup7dup8dup9dup10dup11dup12dup13dup14dup15dup16dup17dup18dup19dup20dup21" fmla="*/ 11151 h 7799388"/>
              <a:gd name="connsiteX5dup0dup1dup2dup3dup4dup5dup6dup7dup8dup9dup10dup11dup12dup13dup14dup15dup16dup17dup18dup19dup20" fmla="*/ 2673357 w 2673357"/>
              <a:gd name="connsiteY5dup0dup1dup2dup3dup4dup5dup6dup7dup8dup9dup10dup11dup12dup13dup14dup15dup16dup17dup18dup19dup20" fmla="*/ 1394037 h 7799388"/>
              <a:gd name="connsiteX0dup0dup1dup2dup3dup4dup5dup6dup7dup8dup9dup10dup11dup12dup13dup14dup15dup16dup17dup18dup19dup20dup21dup22" fmla="*/ 2673357 w 2673357"/>
              <a:gd name="connsiteY0dup0dup1dup2dup3dup4dup5dup6dup7dup8dup9dup10dup11dup12dup13dup14dup15dup16dup17dup18dup19dup20dup21dup22" fmla="*/ 1394037 h 7799388"/>
              <a:gd name="connsiteX1dup0dup1dup2dup3dup4dup5dup6dup7dup8dup9dup10dup11dup12dup13dup14dup15dup16dup17dup18dup19dup20dup21dup22" fmla="*/ 914400 w 2673357"/>
              <a:gd name="connsiteY1dup0dup1dup2dup3dup4dup5dup6dup7dup8dup9dup10dup11dup12dup13dup14dup15dup16dup17dup18dup19dup20dup21dup22" fmla="*/ 7799388 h 7799388"/>
              <a:gd name="connsiteX2dup0dup1dup2dup3dup4dup5dup6dup7dup8dup9dup10dup11dup12dup13dup14dup15dup16dup17dup18dup19dup20dup21dup22" fmla="*/ 0 w 2673357"/>
              <a:gd name="connsiteY2dup0dup1dup2dup3dup4dup5dup6dup7dup8dup9dup10dup11dup12dup13dup14dup15dup16dup17dup18dup19dup20dup21dup22" fmla="*/ 7799388 h 7799388"/>
              <a:gd name="connsiteX3dup0dup1dup2dup3dup4dup5dup6dup7dup8dup9dup10dup11dup12dup13dup14dup15dup16dup17dup18dup19dup20dup21dup22" fmla="*/ 0 w 2673357"/>
              <a:gd name="connsiteY3dup0dup1dup2dup3dup4dup5dup6dup7dup8dup9dup10dup11dup12dup13dup14dup15dup16dup17dup18dup19dup20dup21dup22" fmla="*/ 0 h 7799388"/>
              <a:gd name="connsiteX4dup0dup1dup2dup3dup4dup5dup6dup7dup8dup9dup10dup11dup12dup13dup14dup15dup16dup17dup18dup19dup20dup21dup22" fmla="*/ 2252546 w 2673357"/>
              <a:gd name="connsiteY4dup0dup1dup2dup3dup4dup5dup6dup7dup8dup9dup10dup11dup12dup13dup14dup15dup16dup17dup18dup19dup20dup21dup22" fmla="*/ 11151 h 7799388"/>
              <a:gd name="connsiteX5dup0dup1dup2dup3dup4dup5dup6dup7dup8dup9dup10dup11dup12dup13dup14dup15dup16dup17dup18dup19dup20dup21" fmla="*/ 2673357 w 2673357"/>
              <a:gd name="connsiteY5dup0dup1dup2dup3dup4dup5dup6dup7dup8dup9dup10dup11dup12dup13dup14dup15dup16dup17dup18dup19dup20dup21" fmla="*/ 1394037 h 7799388"/>
              <a:gd name="connsiteX0dup0dup1dup2dup3dup4dup5dup6dup7dup8dup9dup10dup11dup12dup13dup14dup15dup16dup17dup18dup19dup20dup21dup22dup23" fmla="*/ 2673357 w 2673357"/>
              <a:gd name="connsiteY0dup0dup1dup2dup3dup4dup5dup6dup7dup8dup9dup10dup11dup12dup13dup14dup15dup16dup17dup18dup19dup20dup21dup22dup23" fmla="*/ 1394037 h 7799388"/>
              <a:gd name="connsiteX1dup0dup1dup2dup3dup4dup5dup6dup7dup8dup9dup10dup11dup12dup13dup14dup15dup16dup17dup18dup19dup20dup21dup22dup23" fmla="*/ 914400 w 2673357"/>
              <a:gd name="connsiteY1dup0dup1dup2dup3dup4dup5dup6dup7dup8dup9dup10dup11dup12dup13dup14dup15dup16dup17dup18dup19dup20dup21dup22dup23" fmla="*/ 7799388 h 7799388"/>
              <a:gd name="connsiteX2dup0dup1dup2dup3dup4dup5dup6dup7dup8dup9dup10dup11dup12dup13dup14dup15dup16dup17dup18dup19dup20dup21dup22dup23" fmla="*/ 0 w 2673357"/>
              <a:gd name="connsiteY2dup0dup1dup2dup3dup4dup5dup6dup7dup8dup9dup10dup11dup12dup13dup14dup15dup16dup17dup18dup19dup20dup21dup22dup23" fmla="*/ 7799388 h 7799388"/>
              <a:gd name="connsiteX3dup0dup1dup2dup3dup4dup5dup6dup7dup8dup9dup10dup11dup12dup13dup14dup15dup16dup17dup18dup19dup20dup21dup22dup23" fmla="*/ 0 w 2673357"/>
              <a:gd name="connsiteY3dup0dup1dup2dup3dup4dup5dup6dup7dup8dup9dup10dup11dup12dup13dup14dup15dup16dup17dup18dup19dup20dup21dup22dup23" fmla="*/ 0 h 7799388"/>
              <a:gd name="connsiteX4dup0dup1dup2dup3dup4dup5dup6dup7dup8dup9dup10dup11dup12dup13dup14dup15dup16dup17dup18dup19dup20dup21dup22dup23" fmla="*/ 2280682 w 2673357"/>
              <a:gd name="connsiteY4dup0dup1dup2dup3dup4dup5dup6dup7dup8dup9dup10dup11dup12dup13dup14dup15dup16dup17dup18dup19dup20dup21dup22dup23" fmla="*/ 11151 h 7799388"/>
              <a:gd name="connsiteX5dup0dup1dup2dup3dup4dup5dup6dup7dup8dup9dup10dup11dup12dup13dup14dup15dup16dup17dup18dup19dup20dup21dup22" fmla="*/ 2673357 w 2673357"/>
              <a:gd name="connsiteY5dup0dup1dup2dup3dup4dup5dup6dup7dup8dup9dup10dup11dup12dup13dup14dup15dup16dup17dup18dup19dup20dup21dup22" fmla="*/ 1394037 h 7799388"/>
              <a:gd name="connsiteX0dup0dup1dup2dup3dup4dup5dup6dup7dup8dup9dup10dup11dup12dup13dup14dup15dup16dup17dup18dup19dup20dup21dup22dup23dup24" fmla="*/ 2673357 w 2673357"/>
              <a:gd name="connsiteY0dup0dup1dup2dup3dup4dup5dup6dup7dup8dup9dup10dup11dup12dup13dup14dup15dup16dup17dup18dup19dup20dup21dup22dup23dup24" fmla="*/ 1394037 h 7799388"/>
              <a:gd name="connsiteX1dup0dup1dup2dup3dup4dup5dup6dup7dup8dup9dup10dup11dup12dup13dup14dup15dup16dup17dup18dup19dup20dup21dup22dup23dup24" fmla="*/ 914400 w 2673357"/>
              <a:gd name="connsiteY1dup0dup1dup2dup3dup4dup5dup6dup7dup8dup9dup10dup11dup12dup13dup14dup15dup16dup17dup18dup19dup20dup21dup22dup23dup24" fmla="*/ 7799388 h 7799388"/>
              <a:gd name="connsiteX2dup0dup1dup2dup3dup4dup5dup6dup7dup8dup9dup10dup11dup12dup13dup14dup15dup16dup17dup18dup19dup20dup21dup22dup23dup24" fmla="*/ 0 w 2673357"/>
              <a:gd name="connsiteY2dup0dup1dup2dup3dup4dup5dup6dup7dup8dup9dup10dup11dup12dup13dup14dup15dup16dup17dup18dup19dup20dup21dup22dup23dup24" fmla="*/ 7799388 h 7799388"/>
              <a:gd name="connsiteX3dup0dup1dup2dup3dup4dup5dup6dup7dup8dup9dup10dup11dup12dup13dup14dup15dup16dup17dup18dup19dup20dup21dup22dup23dup24" fmla="*/ 0 w 2673357"/>
              <a:gd name="connsiteY3dup0dup1dup2dup3dup4dup5dup6dup7dup8dup9dup10dup11dup12dup13dup14dup15dup16dup17dup18dup19dup20dup21dup22dup23dup24" fmla="*/ 0 h 7799388"/>
              <a:gd name="connsiteX4dup0dup1dup2dup3dup4dup5dup6dup7dup8dup9dup10dup11dup12dup13dup14dup15dup16dup17dup18dup19dup20dup21dup22dup23dup24" fmla="*/ 2280682 w 2673357"/>
              <a:gd name="connsiteY4dup0dup1dup2dup3dup4dup5dup6dup7dup8dup9dup10dup11dup12dup13dup14dup15dup16dup17dup18dup19dup20dup21dup22dup23dup24" fmla="*/ 11151 h 7799388"/>
              <a:gd name="connsiteX5dup0dup1dup2dup3dup4dup5dup6dup7dup8dup9dup10dup11dup12dup13dup14dup15dup16dup17dup18dup19dup20dup21dup22dup23" fmla="*/ 2673357 w 2673357"/>
              <a:gd name="connsiteY5dup0dup1dup2dup3dup4dup5dup6dup7dup8dup9dup10dup11dup12dup13dup14dup15dup16dup17dup18dup19dup20dup21dup22dup23" fmla="*/ 1394037 h 7799388"/>
              <a:gd name="connsiteX0dup0dup1dup2dup3dup4dup5dup6dup7dup8dup9dup10dup11dup12dup13dup14dup15dup16dup17dup18dup19dup20dup21dup22dup23dup24dup25" fmla="*/ 2673357 w 2673357"/>
              <a:gd name="connsiteY0dup0dup1dup2dup3dup4dup5dup6dup7dup8dup9dup10dup11dup12dup13dup14dup15dup16dup17dup18dup19dup20dup21dup22dup23dup24dup25" fmla="*/ 1382886 h 7788237"/>
              <a:gd name="connsiteX1dup0dup1dup2dup3dup4dup5dup6dup7dup8dup9dup10dup11dup12dup13dup14dup15dup16dup17dup18dup19dup20dup21dup22dup23dup24dup25" fmla="*/ 914400 w 2673357"/>
              <a:gd name="connsiteY1dup0dup1dup2dup3dup4dup5dup6dup7dup8dup9dup10dup11dup12dup13dup14dup15dup16dup17dup18dup19dup20dup21dup22dup23dup24dup25" fmla="*/ 7788237 h 7788237"/>
              <a:gd name="connsiteX2dup0dup1dup2dup3dup4dup5dup6dup7dup8dup9dup10dup11dup12dup13dup14dup15dup16dup17dup18dup19dup20dup21dup22dup23dup24dup25" fmla="*/ 0 w 2673357"/>
              <a:gd name="connsiteY2dup0dup1dup2dup3dup4dup5dup6dup7dup8dup9dup10dup11dup12dup13dup14dup15dup16dup17dup18dup19dup20dup21dup22dup23dup24dup25" fmla="*/ 7788237 h 7788237"/>
              <a:gd name="connsiteX3dup0dup1dup2dup3dup4dup5dup6dup7dup8dup9dup10dup11dup12dup13dup14dup15dup16dup17dup18dup19dup20dup21dup22dup23dup24dup25" fmla="*/ 0 w 2673357"/>
              <a:gd name="connsiteY3dup0dup1dup2dup3dup4dup5dup6dup7dup8dup9dup10dup11dup12dup13dup14dup15dup16dup17dup18dup19dup20dup21dup22dup23dup24dup25" fmla="*/ 2917 h 7788237"/>
              <a:gd name="connsiteX4dup0dup1dup2dup3dup4dup5dup6dup7dup8dup9dup10dup11dup12dup13dup14dup15dup16dup17dup18dup19dup20dup21dup22dup23dup24dup25" fmla="*/ 2280682 w 2673357"/>
              <a:gd name="connsiteY4dup0dup1dup2dup3dup4dup5dup6dup7dup8dup9dup10dup11dup12dup13dup14dup15dup16dup17dup18dup19dup20dup21dup22dup23dup24dup25" fmla="*/ 0 h 7788237"/>
              <a:gd name="connsiteX5dup0dup1dup2dup3dup4dup5dup6dup7dup8dup9dup10dup11dup12dup13dup14dup15dup16dup17dup18dup19dup20dup21dup22dup23dup24" fmla="*/ 2673357 w 2673357"/>
              <a:gd name="connsiteY5dup0dup1dup2dup3dup4dup5dup6dup7dup8dup9dup10dup11dup12dup13dup14dup15dup16dup17dup18dup19dup20dup21dup22dup23dup24" fmla="*/ 1382886 h 7788237"/>
              <a:gd name="connsiteX0dup0dup1dup2dup3dup4dup5dup6dup7dup8dup9dup10dup11dup12dup13dup14dup15dup16dup17dup18dup19dup20dup21dup22dup23dup24dup25dup26" fmla="*/ 2673357 w 2673357"/>
              <a:gd name="connsiteY0dup0dup1dup2dup3dup4dup5dup6dup7dup8dup9dup10dup11dup12dup13dup14dup15dup16dup17dup18dup19dup20dup21dup22dup23dup24dup25dup26" fmla="*/ 1382886 h 7788237"/>
              <a:gd name="connsiteX1dup0dup1dup2dup3dup4dup5dup6dup7dup8dup9dup10dup11dup12dup13dup14dup15dup16dup17dup18dup19dup20dup21dup22dup23dup24dup25dup26" fmla="*/ 872197 w 2673357"/>
              <a:gd name="connsiteY1dup0dup1dup2dup3dup4dup5dup6dup7dup8dup9dup10dup11dup12dup13dup14dup15dup16dup17dup18dup19dup20dup21dup22dup23dup24dup25dup26" fmla="*/ 7788237 h 7788237"/>
              <a:gd name="connsiteX2dup0dup1dup2dup3dup4dup5dup6dup7dup8dup9dup10dup11dup12dup13dup14dup15dup16dup17dup18dup19dup20dup21dup22dup23dup24dup25dup26" fmla="*/ 0 w 2673357"/>
              <a:gd name="connsiteY2dup0dup1dup2dup3dup4dup5dup6dup7dup8dup9dup10dup11dup12dup13dup14dup15dup16dup17dup18dup19dup20dup21dup22dup23dup24dup25dup26" fmla="*/ 7788237 h 7788237"/>
              <a:gd name="connsiteX3dup0dup1dup2dup3dup4dup5dup6dup7dup8dup9dup10dup11dup12dup13dup14dup15dup16dup17dup18dup19dup20dup21dup22dup23dup24dup25dup26" fmla="*/ 0 w 2673357"/>
              <a:gd name="connsiteY3dup0dup1dup2dup3dup4dup5dup6dup7dup8dup9dup10dup11dup12dup13dup14dup15dup16dup17dup18dup19dup20dup21dup22dup23dup24dup25dup26" fmla="*/ 2917 h 7788237"/>
              <a:gd name="connsiteX4dup0dup1dup2dup3dup4dup5dup6dup7dup8dup9dup10dup11dup12dup13dup14dup15dup16dup17dup18dup19dup20dup21dup22dup23dup24dup25dup26" fmla="*/ 2280682 w 2673357"/>
              <a:gd name="connsiteY4dup0dup1dup2dup3dup4dup5dup6dup7dup8dup9dup10dup11dup12dup13dup14dup15dup16dup17dup18dup19dup20dup21dup22dup23dup24dup25dup26" fmla="*/ 0 h 7788237"/>
              <a:gd name="connsiteX5dup0dup1dup2dup3dup4dup5dup6dup7dup8dup9dup10dup11dup12dup13dup14dup15dup16dup17dup18dup19dup20dup21dup22dup23dup24dup25" fmla="*/ 2673357 w 2673357"/>
              <a:gd name="connsiteY5dup0dup1dup2dup3dup4dup5dup6dup7dup8dup9dup10dup11dup12dup13dup14dup15dup16dup17dup18dup19dup20dup21dup22dup23dup24dup25" fmla="*/ 1382886 h 7788237"/>
              <a:gd name="connsiteX0dup0dup1dup2dup3dup4dup5dup6dup7dup8dup9dup10dup11dup12dup13dup14dup15dup16dup17dup18dup19dup20dup21dup22dup23dup24dup25dup26dup27" fmla="*/ 2677367 w 2677367"/>
              <a:gd name="connsiteY0dup0dup1dup2dup3dup4dup5dup6dup7dup8dup9dup10dup11dup12dup13dup14dup15dup16dup17dup18dup19dup20dup21dup22dup23dup24dup25dup26dup27" fmla="*/ 1378876 h 7788237"/>
              <a:gd name="connsiteX1dup0dup1dup2dup3dup4dup5dup6dup7dup8dup9dup10dup11dup12dup13dup14dup15dup16dup17dup18dup19dup20dup21dup22dup23dup24dup25dup26dup27" fmla="*/ 872197 w 2677367"/>
              <a:gd name="connsiteY1dup0dup1dup2dup3dup4dup5dup6dup7dup8dup9dup10dup11dup12dup13dup14dup15dup16dup17dup18dup19dup20dup21dup22dup23dup24dup25dup26dup27" fmla="*/ 7788237 h 7788237"/>
              <a:gd name="connsiteX2dup0dup1dup2dup3dup4dup5dup6dup7dup8dup9dup10dup11dup12dup13dup14dup15dup16dup17dup18dup19dup20dup21dup22dup23dup24dup25dup26dup27" fmla="*/ 0 w 2677367"/>
              <a:gd name="connsiteY2dup0dup1dup2dup3dup4dup5dup6dup7dup8dup9dup10dup11dup12dup13dup14dup15dup16dup17dup18dup19dup20dup21dup22dup23dup24dup25dup26dup27" fmla="*/ 7788237 h 7788237"/>
              <a:gd name="connsiteX3dup0dup1dup2dup3dup4dup5dup6dup7dup8dup9dup10dup11dup12dup13dup14dup15dup16dup17dup18dup19dup20dup21dup22dup23dup24dup25dup26dup27" fmla="*/ 0 w 2677367"/>
              <a:gd name="connsiteY3dup0dup1dup2dup3dup4dup5dup6dup7dup8dup9dup10dup11dup12dup13dup14dup15dup16dup17dup18dup19dup20dup21dup22dup23dup24dup25dup26dup27" fmla="*/ 2917 h 7788237"/>
              <a:gd name="connsiteX4dup0dup1dup2dup3dup4dup5dup6dup7dup8dup9dup10dup11dup12dup13dup14dup15dup16dup17dup18dup19dup20dup21dup22dup23dup24dup25dup26dup27" fmla="*/ 2280682 w 2677367"/>
              <a:gd name="connsiteY4dup0dup1dup2dup3dup4dup5dup6dup7dup8dup9dup10dup11dup12dup13dup14dup15dup16dup17dup18dup19dup20dup21dup22dup23dup24dup25dup26dup27" fmla="*/ 0 h 7788237"/>
              <a:gd name="connsiteX5dup0dup1dup2dup3dup4dup5dup6dup7dup8dup9dup10dup11dup12dup13dup14dup15dup16dup17dup18dup19dup20dup21dup22dup23dup24dup25dup26" fmla="*/ 2677367 w 2677367"/>
              <a:gd name="connsiteY5dup0dup1dup2dup3dup4dup5dup6dup7dup8dup9dup10dup11dup12dup13dup14dup15dup16dup17dup18dup19dup20dup21dup22dup23dup24dup25dup26" fmla="*/ 1378876 h 7788237"/>
              <a:gd name="connsiteX0dup0dup1dup2dup3dup4dup5dup6dup7dup8dup9dup10dup11dup12dup13dup14dup15dup16dup17dup18dup19dup20dup21dup22dup23dup24dup25dup26dup27dup28" fmla="*/ 2677367 w 2677367"/>
              <a:gd name="connsiteY0dup0dup1dup2dup3dup4dup5dup6dup7dup8dup9dup10dup11dup12dup13dup14dup15dup16dup17dup18dup19dup20dup21dup22dup23dup24dup25dup26dup27dup28" fmla="*/ 1378876 h 7788237"/>
              <a:gd name="connsiteX1dup0dup1dup2dup3dup4dup5dup6dup7dup8dup9dup10dup11dup12dup13dup14dup15dup16dup17dup18dup19dup20dup21dup22dup23dup24dup25dup26dup27dup28" fmla="*/ 852144 w 2677367"/>
              <a:gd name="connsiteY1dup0dup1dup2dup3dup4dup5dup6dup7dup8dup9dup10dup11dup12dup13dup14dup15dup16dup17dup18dup19dup20dup21dup22dup23dup24dup25dup26dup27dup28" fmla="*/ 7788237 h 7788237"/>
              <a:gd name="connsiteX2dup0dup1dup2dup3dup4dup5dup6dup7dup8dup9dup10dup11dup12dup13dup14dup15dup16dup17dup18dup19dup20dup21dup22dup23dup24dup25dup26dup27dup28" fmla="*/ 0 w 2677367"/>
              <a:gd name="connsiteY2dup0dup1dup2dup3dup4dup5dup6dup7dup8dup9dup10dup11dup12dup13dup14dup15dup16dup17dup18dup19dup20dup21dup22dup23dup24dup25dup26dup27dup28" fmla="*/ 7788237 h 7788237"/>
              <a:gd name="connsiteX3dup0dup1dup2dup3dup4dup5dup6dup7dup8dup9dup10dup11dup12dup13dup14dup15dup16dup17dup18dup19dup20dup21dup22dup23dup24dup25dup26dup27dup28" fmla="*/ 0 w 2677367"/>
              <a:gd name="connsiteY3dup0dup1dup2dup3dup4dup5dup6dup7dup8dup9dup10dup11dup12dup13dup14dup15dup16dup17dup18dup19dup20dup21dup22dup23dup24dup25dup26dup27dup28" fmla="*/ 2917 h 7788237"/>
              <a:gd name="connsiteX4dup0dup1dup2dup3dup4dup5dup6dup7dup8dup9dup10dup11dup12dup13dup14dup15dup16dup17dup18dup19dup20dup21dup22dup23dup24dup25dup26dup27dup28" fmla="*/ 2280682 w 2677367"/>
              <a:gd name="connsiteY4dup0dup1dup2dup3dup4dup5dup6dup7dup8dup9dup10dup11dup12dup13dup14dup15dup16dup17dup18dup19dup20dup21dup22dup23dup24dup25dup26dup27dup28" fmla="*/ 0 h 7788237"/>
              <a:gd name="connsiteX5dup0dup1dup2dup3dup4dup5dup6dup7dup8dup9dup10dup11dup12dup13dup14dup15dup16dup17dup18dup19dup20dup21dup22dup23dup24dup25dup26dup27" fmla="*/ 2677367 w 2677367"/>
              <a:gd name="connsiteY5dup0dup1dup2dup3dup4dup5dup6dup7dup8dup9dup10dup11dup12dup13dup14dup15dup16dup17dup18dup19dup20dup21dup22dup23dup24dup25dup26dup27" fmla="*/ 1378876 h 7788237"/>
              <a:gd name="connsiteX0dup0dup1dup2dup3dup4dup5dup6dup7dup8dup9dup10dup11dup12dup13dup14dup15dup16dup17dup18dup19dup20dup21dup22dup23dup24dup25dup26dup27dup28dup29" fmla="*/ 2677367 w 2677367"/>
              <a:gd name="connsiteY0dup0dup1dup2dup3dup4dup5dup6dup7dup8dup9dup10dup11dup12dup13dup14dup15dup16dup17dup18dup19dup20dup21dup22dup23dup24dup25dup26dup27dup28dup29" fmla="*/ 1378876 h 7788237"/>
              <a:gd name="connsiteX1dup0dup1dup2dup3dup4dup5dup6dup7dup8dup9dup10dup11dup12dup13dup14dup15dup16dup17dup18dup19dup20dup21dup22dup23dup24dup25dup26dup27dup28dup29" fmla="*/ 856378 w 2677367"/>
              <a:gd name="connsiteY1dup0dup1dup2dup3dup4dup5dup6dup7dup8dup9dup10dup11dup12dup13dup14dup15dup16dup17dup18dup19dup20dup21dup22dup23dup24dup25dup26dup27dup28dup29" fmla="*/ 7771303 h 7788237"/>
              <a:gd name="connsiteX2dup0dup1dup2dup3dup4dup5dup6dup7dup8dup9dup10dup11dup12dup13dup14dup15dup16dup17dup18dup19dup20dup21dup22dup23dup24dup25dup26dup27dup28dup29" fmla="*/ 0 w 2677367"/>
              <a:gd name="connsiteY2dup0dup1dup2dup3dup4dup5dup6dup7dup8dup9dup10dup11dup12dup13dup14dup15dup16dup17dup18dup19dup20dup21dup22dup23dup24dup25dup26dup27dup28dup29" fmla="*/ 7788237 h 7788237"/>
              <a:gd name="connsiteX3dup0dup1dup2dup3dup4dup5dup6dup7dup8dup9dup10dup11dup12dup13dup14dup15dup16dup17dup18dup19dup20dup21dup22dup23dup24dup25dup26dup27dup28dup29" fmla="*/ 0 w 2677367"/>
              <a:gd name="connsiteY3dup0dup1dup2dup3dup4dup5dup6dup7dup8dup9dup10dup11dup12dup13dup14dup15dup16dup17dup18dup19dup20dup21dup22dup23dup24dup25dup26dup27dup28dup29" fmla="*/ 2917 h 7788237"/>
              <a:gd name="connsiteX4dup0dup1dup2dup3dup4dup5dup6dup7dup8dup9dup10dup11dup12dup13dup14dup15dup16dup17dup18dup19dup20dup21dup22dup23dup24dup25dup26dup27dup28dup29" fmla="*/ 2280682 w 2677367"/>
              <a:gd name="connsiteY4dup0dup1dup2dup3dup4dup5dup6dup7dup8dup9dup10dup11dup12dup13dup14dup15dup16dup17dup18dup19dup20dup21dup22dup23dup24dup25dup26dup27dup28dup29" fmla="*/ 0 h 7788237"/>
              <a:gd name="connsiteX5dup0dup1dup2dup3dup4dup5dup6dup7dup8dup9dup10dup11dup12dup13dup14dup15dup16dup17dup18dup19dup20dup21dup22dup23dup24dup25dup26dup27dup28" fmla="*/ 2677367 w 2677367"/>
              <a:gd name="connsiteY5dup0dup1dup2dup3dup4dup5dup6dup7dup8dup9dup10dup11dup12dup13dup14dup15dup16dup17dup18dup19dup20dup21dup22dup23dup24dup25dup26dup27dup28" fmla="*/ 1378876 h 7788237"/>
              <a:gd name="connsiteX0dup0dup1dup2dup3dup4dup5dup6dup7dup8dup9dup10dup11dup12dup13dup14dup15dup16dup17dup18dup19dup20dup21dup22dup23dup24dup25dup26dup27dup28dup29dup30" fmla="*/ 2677367 w 2677367"/>
              <a:gd name="connsiteY0dup0dup1dup2dup3dup4dup5dup6dup7dup8dup9dup10dup11dup12dup13dup14dup15dup16dup17dup18dup19dup20dup21dup22dup23dup24dup25dup26dup27dup28dup29dup30" fmla="*/ 1378876 h 7771303"/>
              <a:gd name="connsiteX1dup0dup1dup2dup3dup4dup5dup6dup7dup8dup9dup10dup11dup12dup13dup14dup15dup16dup17dup18dup19dup20dup21dup22dup23dup24dup25dup26dup27dup28dup29dup30" fmla="*/ 856378 w 2677367"/>
              <a:gd name="connsiteY1dup0dup1dup2dup3dup4dup5dup6dup7dup8dup9dup10dup11dup12dup13dup14dup15dup16dup17dup18dup19dup20dup21dup22dup23dup24dup25dup26dup27dup28dup29dup30" fmla="*/ 7771303 h 7771303"/>
              <a:gd name="connsiteX2dup0dup1dup2dup3dup4dup5dup6dup7dup8dup9dup10dup11dup12dup13dup14dup15dup16dup17dup18dup19dup20dup21dup22dup23dup24dup25dup26dup27dup28dup29dup30" fmla="*/ 0 w 2677367"/>
              <a:gd name="connsiteY2dup0dup1dup2dup3dup4dup5dup6dup7dup8dup9dup10dup11dup12dup13dup14dup15dup16dup17dup18dup19dup20dup21dup22dup23dup24dup25dup26dup27dup28dup29dup30" fmla="*/ 7767071 h 7771303"/>
              <a:gd name="connsiteX3dup0dup1dup2dup3dup4dup5dup6dup7dup8dup9dup10dup11dup12dup13dup14dup15dup16dup17dup18dup19dup20dup21dup22dup23dup24dup25dup26dup27dup28dup29dup30" fmla="*/ 0 w 2677367"/>
              <a:gd name="connsiteY3dup0dup1dup2dup3dup4dup5dup6dup7dup8dup9dup10dup11dup12dup13dup14dup15dup16dup17dup18dup19dup20dup21dup22dup23dup24dup25dup26dup27dup28dup29dup30" fmla="*/ 2917 h 7771303"/>
              <a:gd name="connsiteX4dup0dup1dup2dup3dup4dup5dup6dup7dup8dup9dup10dup11dup12dup13dup14dup15dup16dup17dup18dup19dup20dup21dup22dup23dup24dup25dup26dup27dup28dup29dup30" fmla="*/ 2280682 w 2677367"/>
              <a:gd name="connsiteY4dup0dup1dup2dup3dup4dup5dup6dup7dup8dup9dup10dup11dup12dup13dup14dup15dup16dup17dup18dup19dup20dup21dup22dup23dup24dup25dup26dup27dup28dup29dup30" fmla="*/ 0 h 7771303"/>
              <a:gd name="connsiteX5dup0dup1dup2dup3dup4dup5dup6dup7dup8dup9dup10dup11dup12dup13dup14dup15dup16dup17dup18dup19dup20dup21dup22dup23dup24dup25dup26dup27dup28dup29" fmla="*/ 2677367 w 2677367"/>
              <a:gd name="connsiteY5dup0dup1dup2dup3dup4dup5dup6dup7dup8dup9dup10dup11dup12dup13dup14dup15dup16dup17dup18dup19dup20dup21dup22dup23dup24dup25dup26dup27dup28dup29" fmla="*/ 1378876 h 7771303"/>
              <a:gd name="connsiteX0dup0dup1dup2dup3dup4dup5dup6dup7dup8dup9dup10dup11dup12dup13dup14dup15dup16dup17dup18dup19dup20dup21dup22dup23dup24dup25dup26dup27dup28dup29dup30dup31" fmla="*/ 2677367 w 2677367"/>
              <a:gd name="connsiteY0dup0dup1dup2dup3dup4dup5dup6dup7dup8dup9dup10dup11dup12dup13dup14dup15dup16dup17dup18dup19dup20dup21dup22dup23dup24dup25dup26dup27dup28dup29dup30dup31" fmla="*/ 1378876 h 7771303"/>
              <a:gd name="connsiteX1dup0dup1dup2dup3dup4dup5dup6dup7dup8dup9dup10dup11dup12dup13dup14dup15dup16dup17dup18dup19dup20dup21dup22dup23dup24dup25dup26dup27dup28dup29dup30dup31" fmla="*/ 856378 w 2677367"/>
              <a:gd name="connsiteY1dup0dup1dup2dup3dup4dup5dup6dup7dup8dup9dup10dup11dup12dup13dup14dup15dup16dup17dup18dup19dup20dup21dup22dup23dup24dup25dup26dup27dup28dup29dup30dup31" fmla="*/ 7771303 h 7771303"/>
              <a:gd name="connsiteX2dup0dup1dup2dup3dup4dup5dup6dup7dup8dup9dup10dup11dup12dup13dup14dup15dup16dup17dup18dup19dup20dup21dup22dup23dup24dup25dup26dup27dup28dup29dup30dup31" fmla="*/ 0 w 2677367"/>
              <a:gd name="connsiteY2dup0dup1dup2dup3dup4dup5dup6dup7dup8dup9dup10dup11dup12dup13dup14dup15dup16dup17dup18dup19dup20dup21dup22dup23dup24dup25dup26dup27dup28dup29dup30dup31" fmla="*/ 7767071 h 7771303"/>
              <a:gd name="connsiteX3dup0dup1dup2dup3dup4dup5dup6dup7dup8dup9dup10dup11dup12dup13dup14dup15dup16dup17dup18dup19dup20dup21dup22dup23dup24dup25dup26dup27dup28dup29dup30dup31" fmla="*/ 0 w 2677367"/>
              <a:gd name="connsiteY3dup0dup1dup2dup3dup4dup5dup6dup7dup8dup9dup10dup11dup12dup13dup14dup15dup16dup17dup18dup19dup20dup21dup22dup23dup24dup25dup26dup27dup28dup29dup30dup31" fmla="*/ 2917 h 7771303"/>
              <a:gd name="connsiteX4dup0dup1dup2dup3dup4dup5dup6dup7dup8dup9dup10dup11dup12dup13dup14dup15dup16dup17dup18dup19dup20dup21dup22dup23dup24dup25dup26dup27dup28dup29dup30dup31" fmla="*/ 2280682 w 2677367"/>
              <a:gd name="connsiteY4dup0dup1dup2dup3dup4dup5dup6dup7dup8dup9dup10dup11dup12dup13dup14dup15dup16dup17dup18dup19dup20dup21dup22dup23dup24dup25dup26dup27dup28dup29dup30dup31" fmla="*/ 0 h 7771303"/>
              <a:gd name="connsiteX5dup0dup1dup2dup3dup4dup5dup6dup7dup8dup9dup10dup11dup12dup13dup14dup15dup16dup17dup18dup19dup20dup21dup22dup23dup24dup25dup26dup27dup28dup29dup30" fmla="*/ 2677367 w 2677367"/>
              <a:gd name="connsiteY5dup0dup1dup2dup3dup4dup5dup6dup7dup8dup9dup10dup11dup12dup13dup14dup15dup16dup17dup18dup19dup20dup21dup22dup23dup24dup25dup26dup27dup28dup29dup30" fmla="*/ 1378876 h 7771303"/>
              <a:gd name="connsiteX0dup0dup1dup2dup3dup4dup5dup6dup7dup8dup9dup10dup11dup12dup13dup14dup15dup16dup17dup18dup19dup20dup21dup22dup23dup24dup25dup26dup27dup28dup29dup30dup31dup32" fmla="*/ 2677367 w 2677367"/>
              <a:gd name="connsiteY0dup0dup1dup2dup3dup4dup5dup6dup7dup8dup9dup10dup11dup12dup13dup14dup15dup16dup17dup18dup19dup20dup21dup22dup23dup24dup25dup26dup27dup28dup29dup30dup31dup32" fmla="*/ 1378876 h 7771303"/>
              <a:gd name="connsiteX1dup0dup1dup2dup3dup4dup5dup6dup7dup8dup9dup10dup11dup12dup13dup14dup15dup16dup17dup18dup19dup20dup21dup22dup23dup24dup25dup26dup27dup28dup29dup30dup31dup32" fmla="*/ 856378 w 2677367"/>
              <a:gd name="connsiteY1dup0dup1dup2dup3dup4dup5dup6dup7dup8dup9dup10dup11dup12dup13dup14dup15dup16dup17dup18dup19dup20dup21dup22dup23dup24dup25dup26dup27dup28dup29dup30dup31dup32" fmla="*/ 7771303 h 7771303"/>
              <a:gd name="connsiteX2dup0dup1dup2dup3dup4dup5dup6dup7dup8dup9dup10dup11dup12dup13dup14dup15dup16dup17dup18dup19dup20dup21dup22dup23dup24dup25dup26dup27dup28dup29dup30dup31dup32" fmla="*/ 0 w 2677367"/>
              <a:gd name="connsiteY2dup0dup1dup2dup3dup4dup5dup6dup7dup8dup9dup10dup11dup12dup13dup14dup15dup16dup17dup18dup19dup20dup21dup22dup23dup24dup25dup26dup27dup28dup29dup30dup31dup32" fmla="*/ 7767071 h 7771303"/>
              <a:gd name="connsiteX3dup0dup1dup2dup3dup4dup5dup6dup7dup8dup9dup10dup11dup12dup13dup14dup15dup16dup17dup18dup19dup20dup21dup22dup23dup24dup25dup26dup27dup28dup29dup30dup31dup32" fmla="*/ 0 w 2677367"/>
              <a:gd name="connsiteY3dup0dup1dup2dup3dup4dup5dup6dup7dup8dup9dup10dup11dup12dup13dup14dup15dup16dup17dup18dup19dup20dup21dup22dup23dup24dup25dup26dup27dup28dup29dup30dup31dup32" fmla="*/ 2917 h 7771303"/>
              <a:gd name="connsiteX4dup0dup1dup2dup3dup4dup5dup6dup7dup8dup9dup10dup11dup12dup13dup14dup15dup16dup17dup18dup19dup20dup21dup22dup23dup24dup25dup26dup27dup28dup29dup30dup31dup32" fmla="*/ 2280682 w 2677367"/>
              <a:gd name="connsiteY4dup0dup1dup2dup3dup4dup5dup6dup7dup8dup9dup10dup11dup12dup13dup14dup15dup16dup17dup18dup19dup20dup21dup22dup23dup24dup25dup26dup27dup28dup29dup30dup31dup32" fmla="*/ 0 h 7771303"/>
              <a:gd name="connsiteX5dup0dup1dup2dup3dup4dup5dup6dup7dup8dup9dup10dup11dup12dup13dup14dup15dup16dup17dup18dup19dup20dup21dup22dup23dup24dup25dup26dup27dup28dup29dup30dup31" fmla="*/ 2677367 w 2677367"/>
              <a:gd name="connsiteY5dup0dup1dup2dup3dup4dup5dup6dup7dup8dup9dup10dup11dup12dup13dup14dup15dup16dup17dup18dup19dup20dup21dup22dup23dup24dup25dup26dup27dup28dup29dup30dup31" fmla="*/ 1378876 h 7771303"/>
              <a:gd name="connsiteX0dup0dup1dup2dup3dup4dup5dup6dup7dup8dup9dup10dup11dup12dup13dup14dup15dup16dup17dup18dup19dup20dup21dup22dup23dup24dup25dup26dup27dup28dup29dup30dup31dup32dup33" fmla="*/ 2677367 w 2677367"/>
              <a:gd name="connsiteY0dup0dup1dup2dup3dup4dup5dup6dup7dup8dup9dup10dup11dup12dup13dup14dup15dup16dup17dup18dup19dup20dup21dup22dup23dup24dup25dup26dup27dup28dup29dup30dup31dup32dup33" fmla="*/ 1378876 h 7767826"/>
              <a:gd name="connsiteX1dup0dup1dup2dup3dup4dup5dup6dup7dup8dup9dup10dup11dup12dup13dup14dup15dup16dup17dup18dup19dup20dup21dup22dup23dup24dup25dup26dup27dup28dup29dup30dup31dup32dup33" fmla="*/ 856378 w 2677367"/>
              <a:gd name="connsiteY1dup0dup1dup2dup3dup4dup5dup6dup7dup8dup9dup10dup11dup12dup13dup14dup15dup16dup17dup18dup19dup20dup21dup22dup23dup24dup25dup26dup27dup28dup29dup30dup31dup32dup33" fmla="*/ 7767826 h 7767826"/>
              <a:gd name="connsiteX2dup0dup1dup2dup3dup4dup5dup6dup7dup8dup9dup10dup11dup12dup13dup14dup15dup16dup17dup18dup19dup20dup21dup22dup23dup24dup25dup26dup27dup28dup29dup30dup31dup32dup33" fmla="*/ 0 w 2677367"/>
              <a:gd name="connsiteY2dup0dup1dup2dup3dup4dup5dup6dup7dup8dup9dup10dup11dup12dup13dup14dup15dup16dup17dup18dup19dup20dup21dup22dup23dup24dup25dup26dup27dup28dup29dup30dup31dup32dup33" fmla="*/ 7767071 h 7767826"/>
              <a:gd name="connsiteX3dup0dup1dup2dup3dup4dup5dup6dup7dup8dup9dup10dup11dup12dup13dup14dup15dup16dup17dup18dup19dup20dup21dup22dup23dup24dup25dup26dup27dup28dup29dup30dup31dup32dup33" fmla="*/ 0 w 2677367"/>
              <a:gd name="connsiteY3dup0dup1dup2dup3dup4dup5dup6dup7dup8dup9dup10dup11dup12dup13dup14dup15dup16dup17dup18dup19dup20dup21dup22dup23dup24dup25dup26dup27dup28dup29dup30dup31dup32dup33" fmla="*/ 2917 h 7767826"/>
              <a:gd name="connsiteX4dup0dup1dup2dup3dup4dup5dup6dup7dup8dup9dup10dup11dup12dup13dup14dup15dup16dup17dup18dup19dup20dup21dup22dup23dup24dup25dup26dup27dup28dup29dup30dup31dup32dup33" fmla="*/ 2280682 w 2677367"/>
              <a:gd name="connsiteY4dup0dup1dup2dup3dup4dup5dup6dup7dup8dup9dup10dup11dup12dup13dup14dup15dup16dup17dup18dup19dup20dup21dup22dup23dup24dup25dup26dup27dup28dup29dup30dup31dup32dup33" fmla="*/ 0 h 7767826"/>
              <a:gd name="connsiteX5dup0dup1dup2dup3dup4dup5dup6dup7dup8dup9dup10dup11dup12dup13dup14dup15dup16dup17dup18dup19dup20dup21dup22dup23dup24dup25dup26dup27dup28dup29dup30dup31dup32" fmla="*/ 2677367 w 2677367"/>
              <a:gd name="connsiteY5dup0dup1dup2dup3dup4dup5dup6dup7dup8dup9dup10dup11dup12dup13dup14dup15dup16dup17dup18dup19dup20dup21dup22dup23dup24dup25dup26dup27dup28dup29dup30dup31dup32" fmla="*/ 1378876 h 7767826"/>
              <a:gd name="connsiteX0dup0dup1dup2dup3dup4dup5dup6dup7dup8dup9dup10dup11dup12dup13dup14dup15dup16dup17dup18dup19dup20dup21dup22dup23dup24dup25dup26dup27dup28dup29dup30dup31dup32dup33dup34" fmla="*/ 2677367 w 2677367"/>
              <a:gd name="connsiteY0dup0dup1dup2dup3dup4dup5dup6dup7dup8dup9dup10dup11dup12dup13dup14dup15dup16dup17dup18dup19dup20dup21dup22dup23dup24dup25dup26dup27dup28dup29dup30dup31dup32dup33dup34" fmla="*/ 1378876 h 7774780"/>
              <a:gd name="connsiteX1dup0dup1dup2dup3dup4dup5dup6dup7dup8dup9dup10dup11dup12dup13dup14dup15dup16dup17dup18dup19dup20dup21dup22dup23dup24dup25dup26dup27dup28dup29dup30dup31dup32dup33dup34" fmla="*/ 856378 w 2677367"/>
              <a:gd name="connsiteY1dup0dup1dup2dup3dup4dup5dup6dup7dup8dup9dup10dup11dup12dup13dup14dup15dup16dup17dup18dup19dup20dup21dup22dup23dup24dup25dup26dup27dup28dup29dup30dup31dup32dup33dup34" fmla="*/ 7774780 h 7774780"/>
              <a:gd name="connsiteX2dup0dup1dup2dup3dup4dup5dup6dup7dup8dup9dup10dup11dup12dup13dup14dup15dup16dup17dup18dup19dup20dup21dup22dup23dup24dup25dup26dup27dup28dup29dup30dup31dup32dup33dup34" fmla="*/ 0 w 2677367"/>
              <a:gd name="connsiteY2dup0dup1dup2dup3dup4dup5dup6dup7dup8dup9dup10dup11dup12dup13dup14dup15dup16dup17dup18dup19dup20dup21dup22dup23dup24dup25dup26dup27dup28dup29dup30dup31dup32dup33dup34" fmla="*/ 7767071 h 7774780"/>
              <a:gd name="connsiteX3dup0dup1dup2dup3dup4dup5dup6dup7dup8dup9dup10dup11dup12dup13dup14dup15dup16dup17dup18dup19dup20dup21dup22dup23dup24dup25dup26dup27dup28dup29dup30dup31dup32dup33dup34" fmla="*/ 0 w 2677367"/>
              <a:gd name="connsiteY3dup0dup1dup2dup3dup4dup5dup6dup7dup8dup9dup10dup11dup12dup13dup14dup15dup16dup17dup18dup19dup20dup21dup22dup23dup24dup25dup26dup27dup28dup29dup30dup31dup32dup33dup34" fmla="*/ 2917 h 7774780"/>
              <a:gd name="connsiteX4dup0dup1dup2dup3dup4dup5dup6dup7dup8dup9dup10dup11dup12dup13dup14dup15dup16dup17dup18dup19dup20dup21dup22dup23dup24dup25dup26dup27dup28dup29dup30dup31dup32dup33dup34" fmla="*/ 2280682 w 2677367"/>
              <a:gd name="connsiteY4dup0dup1dup2dup3dup4dup5dup6dup7dup8dup9dup10dup11dup12dup13dup14dup15dup16dup17dup18dup19dup20dup21dup22dup23dup24dup25dup26dup27dup28dup29dup30dup31dup32dup33dup34" fmla="*/ 0 h 7774780"/>
              <a:gd name="connsiteX5dup0dup1dup2dup3dup4dup5dup6dup7dup8dup9dup10dup11dup12dup13dup14dup15dup16dup17dup18dup19dup20dup21dup22dup23dup24dup25dup26dup27dup28dup29dup30dup31dup32dup33" fmla="*/ 2677367 w 2677367"/>
              <a:gd name="connsiteY5dup0dup1dup2dup3dup4dup5dup6dup7dup8dup9dup10dup11dup12dup13dup14dup15dup16dup17dup18dup19dup20dup21dup22dup23dup24dup25dup26dup27dup28dup29dup30dup31dup32dup33" fmla="*/ 1378876 h 7774780"/>
              <a:gd name="connsiteX0dup0dup1dup2dup3dup4dup5dup6dup7dup8dup9dup10dup11dup12dup13dup14dup15dup16dup17dup18dup19dup20dup21dup22dup23dup24dup25dup26dup27dup28dup29dup30dup31dup32dup33dup34dup35" fmla="*/ 2677367 w 2677367"/>
              <a:gd name="connsiteY0dup0dup1dup2dup3dup4dup5dup6dup7dup8dup9dup10dup11dup12dup13dup14dup15dup16dup17dup18dup19dup20dup21dup22dup23dup24dup25dup26dup27dup28dup29dup30dup31dup32dup33dup34dup35" fmla="*/ 1378876 h 7777502"/>
              <a:gd name="connsiteX1dup0dup1dup2dup3dup4dup5dup6dup7dup8dup9dup10dup11dup12dup13dup14dup15dup16dup17dup18dup19dup20dup21dup22dup23dup24dup25dup26dup27dup28dup29dup30dup31dup32dup33dup34dup35" fmla="*/ 856378 w 2677367"/>
              <a:gd name="connsiteY1dup0dup1dup2dup3dup4dup5dup6dup7dup8dup9dup10dup11dup12dup13dup14dup15dup16dup17dup18dup19dup20dup21dup22dup23dup24dup25dup26dup27dup28dup29dup30dup31dup32dup33dup34dup35" fmla="*/ 7774780 h 7777502"/>
              <a:gd name="connsiteX2dup0dup1dup2dup3dup4dup5dup6dup7dup8dup9dup10dup11dup12dup13dup14dup15dup16dup17dup18dup19dup20dup21dup22dup23dup24dup25dup26dup27dup28dup29dup30dup31dup32dup33dup34dup35" fmla="*/ 0 w 2677367"/>
              <a:gd name="connsiteY2dup0dup1dup2dup3dup4dup5dup6dup7dup8dup9dup10dup11dup12dup13dup14dup15dup16dup17dup18dup19dup20dup21dup22dup23dup24dup25dup26dup27dup28dup29dup30dup31dup32dup33dup34dup35" fmla="*/ 7777502 h 7777502"/>
              <a:gd name="connsiteX3dup0dup1dup2dup3dup4dup5dup6dup7dup8dup9dup10dup11dup12dup13dup14dup15dup16dup17dup18dup19dup20dup21dup22dup23dup24dup25dup26dup27dup28dup29dup30dup31dup32dup33dup34dup35" fmla="*/ 0 w 2677367"/>
              <a:gd name="connsiteY3dup0dup1dup2dup3dup4dup5dup6dup7dup8dup9dup10dup11dup12dup13dup14dup15dup16dup17dup18dup19dup20dup21dup22dup23dup24dup25dup26dup27dup28dup29dup30dup31dup32dup33dup34dup35" fmla="*/ 2917 h 7777502"/>
              <a:gd name="connsiteX4dup0dup1dup2dup3dup4dup5dup6dup7dup8dup9dup10dup11dup12dup13dup14dup15dup16dup17dup18dup19dup20dup21dup22dup23dup24dup25dup26dup27dup28dup29dup30dup31dup32dup33dup34dup35" fmla="*/ 2280682 w 2677367"/>
              <a:gd name="connsiteY4dup0dup1dup2dup3dup4dup5dup6dup7dup8dup9dup10dup11dup12dup13dup14dup15dup16dup17dup18dup19dup20dup21dup22dup23dup24dup25dup26dup27dup28dup29dup30dup31dup32dup33dup34dup35" fmla="*/ 0 h 7777502"/>
              <a:gd name="connsiteX5dup0dup1dup2dup3dup4dup5dup6dup7dup8dup9dup10dup11dup12dup13dup14dup15dup16dup17dup18dup19dup20dup21dup22dup23dup24dup25dup26dup27dup28dup29dup30dup31dup32dup33dup34" fmla="*/ 2677367 w 2677367"/>
              <a:gd name="connsiteY5dup0dup1dup2dup3dup4dup5dup6dup7dup8dup9dup10dup11dup12dup13dup14dup15dup16dup17dup18dup19dup20dup21dup22dup23dup24dup25dup26dup27dup28dup29dup30dup31dup32dup33dup34" fmla="*/ 1378876 h 7777502"/>
              <a:gd name="connsiteX0dup0dup1dup2dup3dup4dup5dup6dup7dup8dup9dup10dup11dup12dup13dup14dup15dup16dup17dup18dup19dup20dup21dup22dup23dup24dup25dup26dup27dup28dup29dup30dup31dup32dup33dup34dup35dup36" fmla="*/ 2677367 w 2677367"/>
              <a:gd name="connsiteY0dup0dup1dup2dup3dup4dup5dup6dup7dup8dup9dup10dup11dup12dup13dup14dup15dup16dup17dup18dup19dup20dup21dup22dup23dup24dup25dup26dup27dup28dup29dup30dup31dup32dup33dup34dup35dup36" fmla="*/ 1378876 h 7774780"/>
              <a:gd name="connsiteX1dup0dup1dup2dup3dup4dup5dup6dup7dup8dup9dup10dup11dup12dup13dup14dup15dup16dup17dup18dup19dup20dup21dup22dup23dup24dup25dup26dup27dup28dup29dup30dup31dup32dup33dup34dup35dup36" fmla="*/ 856378 w 2677367"/>
              <a:gd name="connsiteY1dup0dup1dup2dup3dup4dup5dup6dup7dup8dup9dup10dup11dup12dup13dup14dup15dup16dup17dup18dup19dup20dup21dup22dup23dup24dup25dup26dup27dup28dup29dup30dup31dup32dup33dup34dup35dup36" fmla="*/ 7774780 h 7774780"/>
              <a:gd name="connsiteX2dup0dup1dup2dup3dup4dup5dup6dup7dup8dup9dup10dup11dup12dup13dup14dup15dup16dup17dup18dup19dup20dup21dup22dup23dup24dup25dup26dup27dup28dup29dup30dup31dup32dup33dup34dup35dup36" fmla="*/ 3477 w 2677367"/>
              <a:gd name="connsiteY2dup0dup1dup2dup3dup4dup5dup6dup7dup8dup9dup10dup11dup12dup13dup14dup15dup16dup17dup18dup19dup20dup21dup22dup23dup24dup25dup26dup27dup28dup29dup30dup31dup32dup33dup34dup35dup36" fmla="*/ 7770548 h 7774780"/>
              <a:gd name="connsiteX3dup0dup1dup2dup3dup4dup5dup6dup7dup8dup9dup10dup11dup12dup13dup14dup15dup16dup17dup18dup19dup20dup21dup22dup23dup24dup25dup26dup27dup28dup29dup30dup31dup32dup33dup34dup35dup36" fmla="*/ 0 w 2677367"/>
              <a:gd name="connsiteY3dup0dup1dup2dup3dup4dup5dup6dup7dup8dup9dup10dup11dup12dup13dup14dup15dup16dup17dup18dup19dup20dup21dup22dup23dup24dup25dup26dup27dup28dup29dup30dup31dup32dup33dup34dup35dup36" fmla="*/ 2917 h 7774780"/>
              <a:gd name="connsiteX4dup0dup1dup2dup3dup4dup5dup6dup7dup8dup9dup10dup11dup12dup13dup14dup15dup16dup17dup18dup19dup20dup21dup22dup23dup24dup25dup26dup27dup28dup29dup30dup31dup32dup33dup34dup35dup36" fmla="*/ 2280682 w 2677367"/>
              <a:gd name="connsiteY4dup0dup1dup2dup3dup4dup5dup6dup7dup8dup9dup10dup11dup12dup13dup14dup15dup16dup17dup18dup19dup20dup21dup22dup23dup24dup25dup26dup27dup28dup29dup30dup31dup32dup33dup34dup35dup36" fmla="*/ 0 h 7774780"/>
              <a:gd name="connsiteX5dup0dup1dup2dup3dup4dup5dup6dup7dup8dup9dup10dup11dup12dup13dup14dup15dup16dup17dup18dup19dup20dup21dup22dup23dup24dup25dup26dup27dup28dup29dup30dup31dup32dup33dup34dup35" fmla="*/ 2677367 w 2677367"/>
              <a:gd name="connsiteY5dup0dup1dup2dup3dup4dup5dup6dup7dup8dup9dup10dup11dup12dup13dup14dup15dup16dup17dup18dup19dup20dup21dup22dup23dup24dup25dup26dup27dup28dup29dup30dup31dup32dup33dup34dup35" fmla="*/ 1378876 h 7774780"/>
              <a:gd name="connsiteX0dup0dup1dup2dup3dup4dup5dup6dup7dup8dup9dup10dup11dup12dup13dup14dup15dup16dup17dup18dup19dup20dup21dup22dup23dup24dup25dup26dup27dup28dup29dup30dup31dup32dup33dup34dup35dup36dup37" fmla="*/ 2677367 w 2677367"/>
              <a:gd name="connsiteY0dup0dup1dup2dup3dup4dup5dup6dup7dup8dup9dup10dup11dup12dup13dup14dup15dup16dup17dup18dup19dup20dup21dup22dup23dup24dup25dup26dup27dup28dup29dup30dup31dup32dup33dup34dup35dup36dup37" fmla="*/ 1378876 h 7774780"/>
              <a:gd name="connsiteX1dup0dup1dup2dup3dup4dup5dup6dup7dup8dup9dup10dup11dup12dup13dup14dup15dup16dup17dup18dup19dup20dup21dup22dup23dup24dup25dup26dup27dup28dup29dup30dup31dup32dup33dup34dup35dup36dup37" fmla="*/ 856378 w 2677367"/>
              <a:gd name="connsiteY1dup0dup1dup2dup3dup4dup5dup6dup7dup8dup9dup10dup11dup12dup13dup14dup15dup16dup17dup18dup19dup20dup21dup22dup23dup24dup25dup26dup27dup28dup29dup30dup31dup32dup33dup34dup35dup36dup37" fmla="*/ 7774780 h 7774780"/>
              <a:gd name="connsiteX2dup0dup1dup2dup3dup4dup5dup6dup7dup8dup9dup10dup11dup12dup13dup14dup15dup16dup17dup18dup19dup20dup21dup22dup23dup24dup25dup26dup27dup28dup29dup30dup31dup32dup33dup34dup35dup36dup37" fmla="*/ 3477 w 2677367"/>
              <a:gd name="connsiteY2dup0dup1dup2dup3dup4dup5dup6dup7dup8dup9dup10dup11dup12dup13dup14dup15dup16dup17dup18dup19dup20dup21dup22dup23dup24dup25dup26dup27dup28dup29dup30dup31dup32dup33dup34dup35dup36dup37" fmla="*/ 7774024 h 7774780"/>
              <a:gd name="connsiteX3dup0dup1dup2dup3dup4dup5dup6dup7dup8dup9dup10dup11dup12dup13dup14dup15dup16dup17dup18dup19dup20dup21dup22dup23dup24dup25dup26dup27dup28dup29dup30dup31dup32dup33dup34dup35dup36dup37" fmla="*/ 0 w 2677367"/>
              <a:gd name="connsiteY3dup0dup1dup2dup3dup4dup5dup6dup7dup8dup9dup10dup11dup12dup13dup14dup15dup16dup17dup18dup19dup20dup21dup22dup23dup24dup25dup26dup27dup28dup29dup30dup31dup32dup33dup34dup35dup36dup37" fmla="*/ 2917 h 7774780"/>
              <a:gd name="connsiteX4dup0dup1dup2dup3dup4dup5dup6dup7dup8dup9dup10dup11dup12dup13dup14dup15dup16dup17dup18dup19dup20dup21dup22dup23dup24dup25dup26dup27dup28dup29dup30dup31dup32dup33dup34dup35dup36dup37" fmla="*/ 2280682 w 2677367"/>
              <a:gd name="connsiteY4dup0dup1dup2dup3dup4dup5dup6dup7dup8dup9dup10dup11dup12dup13dup14dup15dup16dup17dup18dup19dup20dup21dup22dup23dup24dup25dup26dup27dup28dup29dup30dup31dup32dup33dup34dup35dup36dup37" fmla="*/ 0 h 7774780"/>
              <a:gd name="connsiteX5dup0dup1dup2dup3dup4dup5dup6dup7dup8dup9dup10dup11dup12dup13dup14dup15dup16dup17dup18dup19dup20dup21dup22dup23dup24dup25dup26dup27dup28dup29dup30dup31dup32dup33dup34dup35dup36" fmla="*/ 2677367 w 2677367"/>
              <a:gd name="connsiteY5dup0dup1dup2dup3dup4dup5dup6dup7dup8dup9dup10dup11dup12dup13dup14dup15dup16dup17dup18dup19dup20dup21dup22dup23dup24dup25dup26dup27dup28dup29dup30dup31dup32dup33dup34dup35dup36" fmla="*/ 1378876 h 7774780"/>
              <a:gd name="connsiteX0dup0dup1dup2dup3dup4dup5dup6dup7dup8dup9dup10dup11dup12dup13dup14dup15dup16dup17dup18dup19dup20dup21dup22dup23dup24dup25dup26dup27dup28dup29dup30dup31dup32dup33dup34dup35dup36dup37dup38" fmla="*/ 2673890 w 2673890"/>
              <a:gd name="connsiteY0dup0dup1dup2dup3dup4dup5dup6dup7dup8dup9dup10dup11dup12dup13dup14dup15dup16dup17dup18dup19dup20dup21dup22dup23dup24dup25dup26dup27dup28dup29dup30dup31dup32dup33dup34dup35dup36dup37dup38" fmla="*/ 1378876 h 7774780"/>
              <a:gd name="connsiteX1dup0dup1dup2dup3dup4dup5dup6dup7dup8dup9dup10dup11dup12dup13dup14dup15dup16dup17dup18dup19dup20dup21dup22dup23dup24dup25dup26dup27dup28dup29dup30dup31dup32dup33dup34dup35dup36dup37dup38" fmla="*/ 852901 w 2673890"/>
              <a:gd name="connsiteY1dup0dup1dup2dup3dup4dup5dup6dup7dup8dup9dup10dup11dup12dup13dup14dup15dup16dup17dup18dup19dup20dup21dup22dup23dup24dup25dup26dup27dup28dup29dup30dup31dup32dup33dup34dup35dup36dup37dup38" fmla="*/ 7774780 h 7774780"/>
              <a:gd name="connsiteX2dup0dup1dup2dup3dup4dup5dup6dup7dup8dup9dup10dup11dup12dup13dup14dup15dup16dup17dup18dup19dup20dup21dup22dup23dup24dup25dup26dup27dup28dup29dup30dup31dup32dup33dup34dup35dup36dup37dup38" fmla="*/ 0 w 2673890"/>
              <a:gd name="connsiteY2dup0dup1dup2dup3dup4dup5dup6dup7dup8dup9dup10dup11dup12dup13dup14dup15dup16dup17dup18dup19dup20dup21dup22dup23dup24dup25dup26dup27dup28dup29dup30dup31dup32dup33dup34dup35dup36dup37dup38" fmla="*/ 7774024 h 7774780"/>
              <a:gd name="connsiteX3dup0dup1dup2dup3dup4dup5dup6dup7dup8dup9dup10dup11dup12dup13dup14dup15dup16dup17dup18dup19dup20dup21dup22dup23dup24dup25dup26dup27dup28dup29dup30dup31dup32dup33dup34dup35dup36dup37dup38" fmla="*/ 305959 w 2673890"/>
              <a:gd name="connsiteY3dup0dup1dup2dup3dup4dup5dup6dup7dup8dup9dup10dup11dup12dup13dup14dup15dup16dup17dup18dup19dup20dup21dup22dup23dup24dup25dup26dup27dup28dup29dup30dup31dup32dup33dup34dup35dup36dup37dup38" fmla="*/ 298446 h 7774780"/>
              <a:gd name="connsiteX4dup0dup1dup2dup3dup4dup5dup6dup7dup8dup9dup10dup11dup12dup13dup14dup15dup16dup17dup18dup19dup20dup21dup22dup23dup24dup25dup26dup27dup28dup29dup30dup31dup32dup33dup34dup35dup36dup37dup38" fmla="*/ 2277205 w 2673890"/>
              <a:gd name="connsiteY4dup0dup1dup2dup3dup4dup5dup6dup7dup8dup9dup10dup11dup12dup13dup14dup15dup16dup17dup18dup19dup20dup21dup22dup23dup24dup25dup26dup27dup28dup29dup30dup31dup32dup33dup34dup35dup36dup37dup38" fmla="*/ 0 h 7774780"/>
              <a:gd name="connsiteX5dup0dup1dup2dup3dup4dup5dup6dup7dup8dup9dup10dup11dup12dup13dup14dup15dup16dup17dup18dup19dup20dup21dup22dup23dup24dup25dup26dup27dup28dup29dup30dup31dup32dup33dup34dup35dup36dup37" fmla="*/ 2673890 w 2673890"/>
              <a:gd name="connsiteY5dup0dup1dup2dup3dup4dup5dup6dup7dup8dup9dup10dup11dup12dup13dup14dup15dup16dup17dup18dup19dup20dup21dup22dup23dup24dup25dup26dup27dup28dup29dup30dup31dup32dup33dup34dup35dup36dup37" fmla="*/ 1378876 h 7774780"/>
              <a:gd name="connsiteX0dup0dup1dup2dup3dup4dup5dup6dup7dup8dup9dup10dup11dup12dup13dup14dup15dup16dup17dup18dup19dup20dup21dup22dup23dup24dup25dup26dup27dup28dup29dup30dup31dup32dup33dup34dup35dup36dup37dup38dup39" fmla="*/ 2673890 w 2673890"/>
              <a:gd name="connsiteY0dup0dup1dup2dup3dup4dup5dup6dup7dup8dup9dup10dup11dup12dup13dup14dup15dup16dup17dup18dup19dup20dup21dup22dup23dup24dup25dup26dup27dup28dup29dup30dup31dup32dup33dup34dup35dup36dup37dup38dup39" fmla="*/ 1386389 h 7782293"/>
              <a:gd name="connsiteX1dup0dup1dup2dup3dup4dup5dup6dup7dup8dup9dup10dup11dup12dup13dup14dup15dup16dup17dup18dup19dup20dup21dup22dup23dup24dup25dup26dup27dup28dup29dup30dup31dup32dup33dup34dup35dup36dup37dup38dup39" fmla="*/ 852901 w 2673890"/>
              <a:gd name="connsiteY1dup0dup1dup2dup3dup4dup5dup6dup7dup8dup9dup10dup11dup12dup13dup14dup15dup16dup17dup18dup19dup20dup21dup22dup23dup24dup25dup26dup27dup28dup29dup30dup31dup32dup33dup34dup35dup36dup37dup38dup39" fmla="*/ 7782293 h 7782293"/>
              <a:gd name="connsiteX2dup0dup1dup2dup3dup4dup5dup6dup7dup8dup9dup10dup11dup12dup13dup14dup15dup16dup17dup18dup19dup20dup21dup22dup23dup24dup25dup26dup27dup28dup29dup30dup31dup32dup33dup34dup35dup36dup37dup38dup39" fmla="*/ 0 w 2673890"/>
              <a:gd name="connsiteY2dup0dup1dup2dup3dup4dup5dup6dup7dup8dup9dup10dup11dup12dup13dup14dup15dup16dup17dup18dup19dup20dup21dup22dup23dup24dup25dup26dup27dup28dup29dup30dup31dup32dup33dup34dup35dup36dup37dup38dup39" fmla="*/ 7781537 h 7782293"/>
              <a:gd name="connsiteX3dup0dup1dup2dup3dup4dup5dup6dup7dup8dup9dup10dup11dup12dup13dup14dup15dup16dup17dup18dup19dup20dup21dup22dup23dup24dup25dup26dup27dup28dup29dup30dup31dup32dup33dup34dup35dup36dup37dup38dup39" fmla="*/ 0 w 2673890"/>
              <a:gd name="connsiteY3dup0dup1dup2dup3dup4dup5dup6dup7dup8dup9dup10dup11dup12dup13dup14dup15dup16dup17dup18dup19dup20dup21dup22dup23dup24dup25dup26dup27dup28dup29dup30dup31dup32dup33dup34dup35dup36dup37dup38dup39" fmla="*/ 0 h 7782293"/>
              <a:gd name="connsiteX4dup0dup1dup2dup3dup4dup5dup6dup7dup8dup9dup10dup11dup12dup13dup14dup15dup16dup17dup18dup19dup20dup21dup22dup23dup24dup25dup26dup27dup28dup29dup30dup31dup32dup33dup34dup35dup36dup37dup38dup39" fmla="*/ 2277205 w 2673890"/>
              <a:gd name="connsiteY4dup0dup1dup2dup3dup4dup5dup6dup7dup8dup9dup10dup11dup12dup13dup14dup15dup16dup17dup18dup19dup20dup21dup22dup23dup24dup25dup26dup27dup28dup29dup30dup31dup32dup33dup34dup35dup36dup37dup38dup39" fmla="*/ 7513 h 7782293"/>
              <a:gd name="connsiteX5dup0dup1dup2dup3dup4dup5dup6dup7dup8dup9dup10dup11dup12dup13dup14dup15dup16dup17dup18dup19dup20dup21dup22dup23dup24dup25dup26dup27dup28dup29dup30dup31dup32dup33dup34dup35dup36dup37dup38" fmla="*/ 2673890 w 2673890"/>
              <a:gd name="connsiteY5dup0dup1dup2dup3dup4dup5dup6dup7dup8dup9dup10dup11dup12dup13dup14dup15dup16dup17dup18dup19dup20dup21dup22dup23dup24dup25dup26dup27dup28dup29dup30dup31dup32dup33dup34dup35dup36dup37dup38" fmla="*/ 1386389 h 7782293"/>
            </a:gdLst>
            <a:cxnLst>
              <a:cxn ang="0">
                <a:pos x="connsiteX0dup0dup1dup2dup3dup4dup5dup6dup7dup8dup9dup10dup11dup12dup13dup14dup15dup16dup17dup18dup19dup20dup21dup22dup23dup24dup25dup26dup27dup28dup29dup30dup31dup32dup33dup34dup35dup36dup37dup38dup39" y="connsiteY0dup0dup1dup2dup3dup4dup5dup6dup7dup8dup9dup10dup11dup12dup13dup14dup15dup16dup17dup18dup19dup20dup21dup22dup23dup24dup25dup26dup27dup28dup29dup30dup31dup32dup33dup34dup35dup36dup37dup38dup39"/>
              </a:cxn>
              <a:cxn ang="0">
                <a:pos x="connsiteX1dup0dup1dup2dup3dup4dup5dup6dup7dup8dup9dup10dup11dup12dup13dup14dup15dup16dup17dup18dup19dup20dup21dup22dup23dup24dup25dup26dup27dup28dup29dup30dup31dup32dup33dup34dup35dup36dup37dup38dup39" y="connsiteY1dup0dup1dup2dup3dup4dup5dup6dup7dup8dup9dup10dup11dup12dup13dup14dup15dup16dup17dup18dup19dup20dup21dup22dup23dup24dup25dup26dup27dup28dup29dup30dup31dup32dup33dup34dup35dup36dup37dup38dup39"/>
              </a:cxn>
              <a:cxn ang="0">
                <a:pos x="connsiteX2dup0dup1dup2dup3dup4dup5dup6dup7dup8dup9dup10dup11dup12dup13dup14dup15dup16dup17dup18dup19dup20dup21dup22dup23dup24dup25dup26dup27dup28dup29dup30dup31dup32dup33dup34dup35dup36dup37dup38dup39" y="connsiteY2dup0dup1dup2dup3dup4dup5dup6dup7dup8dup9dup10dup11dup12dup13dup14dup15dup16dup17dup18dup19dup20dup21dup22dup23dup24dup25dup26dup27dup28dup29dup30dup31dup32dup33dup34dup35dup36dup37dup38dup39"/>
              </a:cxn>
              <a:cxn ang="0">
                <a:pos x="connsiteX3dup0dup1dup2dup3dup4dup5dup6dup7dup8dup9dup10dup11dup12dup13dup14dup15dup16dup17dup18dup19dup20dup21dup22dup23dup24dup25dup26dup27dup28dup29dup30dup31dup32dup33dup34dup35dup36dup37dup38dup39" y="connsiteY3dup0dup1dup2dup3dup4dup5dup6dup7dup8dup9dup10dup11dup12dup13dup14dup15dup16dup17dup18dup19dup20dup21dup22dup23dup24dup25dup26dup27dup28dup29dup30dup31dup32dup33dup34dup35dup36dup37dup38dup39"/>
              </a:cxn>
              <a:cxn ang="0">
                <a:pos x="connsiteX4dup0dup1dup2dup3dup4dup5dup6dup7dup8dup9dup10dup11dup12dup13dup14dup15dup16dup17dup18dup19dup20dup21dup22dup23dup24dup25dup26dup27dup28dup29dup30dup31dup32dup33dup34dup35dup36dup37dup38dup39" y="connsiteY4dup0dup1dup2dup3dup4dup5dup6dup7dup8dup9dup10dup11dup12dup13dup14dup15dup16dup17dup18dup19dup20dup21dup22dup23dup24dup25dup26dup27dup28dup29dup30dup31dup32dup33dup34dup35dup36dup37dup38dup39"/>
              </a:cxn>
              <a:cxn ang="0">
                <a:pos x="connsiteX5dup0dup1dup2dup3dup4dup5dup6dup7dup8dup9dup10dup11dup12dup13dup14dup15dup16dup17dup18dup19dup20dup21dup22dup23dup24dup25dup26dup27dup28dup29dup30dup31dup32dup33dup34dup35dup36dup37dup38" y="connsiteY5dup0dup1dup2dup3dup4dup5dup6dup7dup8dup9dup10dup11dup12dup13dup14dup15dup16dup17dup18dup19dup20dup21dup22dup23dup24dup25dup26dup27dup28dup29dup30dup31dup32dup33dup34dup35dup36dup37dup38"/>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ln>
        </p:spPr>
        <p:txBody>
          <a:bodyPr anchor="ctr"/>
          <a:lstStyle>
            <a:lvl1pPr marL="91440" indent="0" algn="l">
              <a:spcBef>
                <a:spcPct val="0"/>
              </a:spcBef>
              <a:buFontTx/>
              <a:buNone/>
              <a:defRPr sz="1100" b="1" baseline="0">
                <a:solidFill>
                  <a:schemeClr val="bg1"/>
                </a:solidFill>
              </a:defRPr>
            </a:lvl1pPr>
          </a:lstStyle>
          <a:p>
            <a:r>
              <a:rPr lang="en-US" dirty="1" smtClean="0"/>
              <a:t>Click icon to </a:t>
            </a:r>
            <a:br>
              <a:rPr lang="en-US" dirty="1" smtClean="0"/>
            </a:br>
            <a:r>
              <a:rPr lang="en-US" dirty="1" smtClean="0"/>
              <a:t>insert picture</a:t>
            </a:r>
            <a:endParaRPr lang="en-US"/>
          </a:p>
        </p:txBody>
      </p:sp>
      <p:sp>
        <p:nvSpPr>
          <p:cNvPr id="13" name="Subtitle 2"/>
          <p:cNvSpPr>
            <a:spLocks noGrp="1"/>
          </p:cNvSpPr>
          <p:nvPr>
            <p:ph type="subTitle" idx="1" hasCustomPrompt="1"/>
          </p:nvPr>
        </p:nvSpPr>
        <p:spPr>
          <a:xfrm>
            <a:off x="2557219" y="3742661"/>
            <a:ext cx="6244825" cy="355851"/>
          </a:xfrm>
        </p:spPr>
        <p:txBody>
          <a:bodyPr lIns="0" rIns="0">
            <a:noAutofit/>
          </a:bodyPr>
          <a:lstStyle>
            <a:lvl1pPr marL="0" indent="0" algn="l">
              <a:buNone/>
              <a:defRPr sz="14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dirty="1" smtClean="0"/>
              <a:t>Date | Presenters</a:t>
            </a:r>
            <a:endParaRPr lang="en-US"/>
          </a:p>
        </p:txBody>
      </p:sp>
    </p:spTree>
    <p:extLst>
      <p:ext uri="{BB962C8B-B14F-4D97-AF65-F5344CB8AC3E}">
        <p14:creationId xmlns:p14="http://schemas.microsoft.com/office/powerpoint/2010/main" val="2617919902"/>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1608" userDrawn="1">
          <p15:clr>
            <a:srgbClr val="FBAE40"/>
          </p15:clr>
        </p15:guide>
        <p15:guide id="2" pos="561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xisting Client Title Slide ">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3">
                  <p:embed/>
                </p:oleObj>
              </mc:Choice>
              <mc:Fallback>
                <p:oleObj name="think-cell Slide" progId="TCLayout.ActiveDocument.1" r:id="rId7" spid="_x0000_s1043">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10" name="Rectangle 9"/>
          <p:cNvSpPr/>
          <p:nvPr userDrawn="1"/>
        </p:nvSpPr>
        <p:spPr>
          <a:xfrm>
            <a:off x="2557219" y="4344228"/>
            <a:ext cx="6358180" cy="729430"/>
          </a:xfrm>
          <a:prstGeom prst="rect"/>
        </p:spPr>
        <p:txBody>
          <a:bodyPr wrap="square" lIns="0" tIns="18288" rIns="0" bIns="18288">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1" smtClean="0">
                <a:solidFill>
                  <a:schemeClr val="bg1">
                    <a:lumMod val="50000"/>
                  </a:schemeClr>
                </a:solidFill>
              </a:rPr>
              <a:t>This presentation is being made based on the understanding that you have not yet decided whether to retain Kirkland &amp; Ellis for this matter. Accordingly, nothing that occurs (including if you provide us with information) during this process will preclude Kirkland &amp; Ellis from representing others with interests adverse to you in this or any other matter.</a:t>
            </a:r>
            <a:r>
              <a:rPr lang="en-US" sz="800" baseline="0" dirty="1" smtClean="0">
                <a:solidFill>
                  <a:schemeClr val="bg1">
                    <a:lumMod val="50000"/>
                  </a:schemeClr>
                </a:solidFill>
              </a:rPr>
              <a:t> </a:t>
            </a:r>
            <a:r>
              <a:rPr lang="en-US" sz="800" dirty="1" smtClean="0">
                <a:solidFill>
                  <a:schemeClr val="bg1">
                    <a:lumMod val="50000"/>
                  </a:schemeClr>
                </a:solidFill>
              </a:rPr>
              <a:t>Any representative matters and other experience included herein may date from periods before an individual lawyer joined Kirkland &amp; Ellis, may contain incomplete or colloquial client or entity name references, and should not imply current or former client status. None of these materials is offered, nor should be construed, as legal advice. Prior results do not guarantee a similar outcome</a:t>
            </a:r>
            <a:r>
              <a:rPr lang="en-US" sz="800" baseline="0" dirty="1" smtClean="0">
                <a:solidFill>
                  <a:schemeClr val="bg1">
                    <a:lumMod val="50000"/>
                  </a:schemeClr>
                </a:solidFill>
              </a:rPr>
              <a:t>. </a:t>
            </a:r>
            <a:r>
              <a:rPr lang="en-US" sz="800" dirty="1" smtClean="0">
                <a:solidFill>
                  <a:schemeClr val="bg1">
                    <a:lumMod val="50000"/>
                  </a:schemeClr>
                </a:solidFill>
              </a:rPr>
              <a:t>© 2022 Kirkland &amp; Ellis. All rights reserved. www.kirkland.com</a:t>
            </a:r>
          </a:p>
        </p:txBody>
      </p:sp>
      <p:sp>
        <p:nvSpPr>
          <p:cNvPr id="12" name="Freeform 6"/>
          <p:cNvSpPr>
            <a:spLocks noEditPoints="1"/>
          </p:cNvSpPr>
          <p:nvPr userDrawn="1"/>
        </p:nvSpPr>
        <p:spPr>
          <a:xfrm>
            <a:off x="6562641" y="301345"/>
            <a:ext cx="2216555" cy="192380"/>
          </a:xfrm>
          <a:custGeom>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91440" tIns="45720" rIns="91440" bIns="45720" numCol="1" anchor="t" anchorCtr="0" compatLnSpc="1">
            <a:prstTxWarp prst="textNoShape"/>
          </a:bodyPr>
          <a:lstStyle/>
          <a:p>
            <a:endParaRPr lang="en-US"/>
          </a:p>
        </p:txBody>
      </p:sp>
      <p:sp>
        <p:nvSpPr>
          <p:cNvPr id="15" name="Title 1"/>
          <p:cNvSpPr>
            <a:spLocks noGrp="1"/>
          </p:cNvSpPr>
          <p:nvPr>
            <p:ph type="ctrTitle"/>
          </p:nvPr>
        </p:nvSpPr>
        <p:spPr>
          <a:xfrm>
            <a:off x="2557219" y="1965363"/>
            <a:ext cx="6244825" cy="1488186"/>
          </a:xfrm>
        </p:spPr>
        <p:txBody>
          <a:bodyPr lIns="0" rIns="0" anchor="t">
            <a:noAutofit/>
          </a:bodyPr>
          <a:lstStyle>
            <a:lvl1pPr>
              <a:defRPr sz="3200">
                <a:solidFill>
                  <a:schemeClr val="tx1"/>
                </a:solidFill>
              </a:defRPr>
            </a:lvl1pPr>
          </a:lstStyle>
          <a:p>
            <a:r>
              <a:rPr lang="en-US" dirty="1" smtClean="0"/>
              <a:t>Click to edit Master title style</a:t>
            </a:r>
            <a:endParaRPr lang="en-US"/>
          </a:p>
        </p:txBody>
      </p:sp>
      <p:sp>
        <p:nvSpPr>
          <p:cNvPr id="17" name="Text Placeholder 7"/>
          <p:cNvSpPr>
            <a:spLocks noGrp="1"/>
          </p:cNvSpPr>
          <p:nvPr>
            <p:ph type="body" sz="quarter" idx="17" hasCustomPrompt="1"/>
          </p:nvPr>
        </p:nvSpPr>
        <p:spPr>
          <a:xfrm>
            <a:off x="2557219" y="1584521"/>
            <a:ext cx="6244825" cy="374617"/>
          </a:xfrm>
        </p:spPr>
        <p:txBody>
          <a:bodyPr lIns="0" rIns="0" anchor="ctr"/>
          <a:lstStyle>
            <a:lvl1pPr marL="0" indent="0">
              <a:buFontTx/>
              <a:buNone/>
              <a:defRPr sz="1200" b="1" cap="all" spc="100" baseline="0">
                <a:solidFill>
                  <a:schemeClr val="accent1"/>
                </a:solidFill>
              </a:defRPr>
            </a:lvl1pPr>
            <a:lvl2pPr marL="339725" indent="0">
              <a:buFontTx/>
              <a:buNone/>
              <a:defRPr sz="1600">
                <a:solidFill>
                  <a:schemeClr val="accent2"/>
                </a:solidFill>
              </a:defRPr>
            </a:lvl2pPr>
            <a:lvl3pPr marL="690562" indent="0">
              <a:buFontTx/>
              <a:buNone/>
              <a:defRPr sz="1400">
                <a:solidFill>
                  <a:schemeClr val="accent2"/>
                </a:solidFill>
              </a:defRPr>
            </a:lvl3pPr>
            <a:lvl4pPr marL="1031875" indent="0">
              <a:buFontTx/>
              <a:buNone/>
              <a:defRPr sz="1200">
                <a:solidFill>
                  <a:schemeClr val="accent2"/>
                </a:solidFill>
              </a:defRPr>
            </a:lvl4pPr>
            <a:lvl5pPr marL="1319212" indent="0">
              <a:buFontTx/>
              <a:buNone/>
              <a:defRPr sz="1100">
                <a:solidFill>
                  <a:schemeClr val="accent2"/>
                </a:solidFill>
              </a:defRPr>
            </a:lvl5pPr>
          </a:lstStyle>
          <a:p>
            <a:pPr lvl="0"/>
            <a:r>
              <a:rPr lang="en-US" dirty="1" smtClean="0"/>
              <a:t>Presentation to:</a:t>
            </a:r>
          </a:p>
        </p:txBody>
      </p:sp>
      <p:sp>
        <p:nvSpPr>
          <p:cNvPr id="20" name="Freeform 11"/>
          <p:cNvSpPr/>
          <p:nvPr userDrawn="1"/>
        </p:nvSpPr>
        <p:spPr>
          <a:xfrm>
            <a:off x="751568" y="-10553"/>
            <a:ext cx="1212112" cy="5169358"/>
          </a:xfrm>
          <a:custGeom>
            <a:gdLst>
              <a:gd name="T0" fmla="*/ 0 w 1152"/>
              <a:gd name="T1" fmla="*/ 4913 h 4913"/>
              <a:gd name="T2" fmla="*/ 1152 w 1152"/>
              <a:gd name="T3" fmla="*/ 875 h 4913"/>
              <a:gd name="T4" fmla="*/ 903 w 1152"/>
              <a:gd name="T5" fmla="*/ 0 h 4913"/>
            </a:gd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bodyPr>
          <a:lstStyle/>
          <a:p>
            <a:endParaRPr lang="en-US"/>
          </a:p>
        </p:txBody>
      </p:sp>
      <p:sp>
        <p:nvSpPr>
          <p:cNvPr id="11" name="Picture Placeholder 6"/>
          <p:cNvSpPr>
            <a:spLocks noGrp="1"/>
          </p:cNvSpPr>
          <p:nvPr>
            <p:ph type="pic" sz="quarter" idx="19" hasCustomPrompt="1"/>
          </p:nvPr>
        </p:nvSpPr>
        <p:spPr>
          <a:xfrm>
            <a:off x="0" y="-7263"/>
            <a:ext cx="1772230" cy="5158026"/>
          </a:xfrm>
          <a:custGeom>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dup0" fmla="*/ 0 w 914400"/>
              <a:gd name="connsiteY0dup0" fmla="*/ 0 h 7799388"/>
              <a:gd name="connsiteX1dup0" fmla="*/ 914400 w 914400"/>
              <a:gd name="connsiteY1dup0" fmla="*/ 0 h 7799388"/>
              <a:gd name="connsiteX2dup0" fmla="*/ 898358 w 914400"/>
              <a:gd name="connsiteY2dup0" fmla="*/ 972051 h 7799388"/>
              <a:gd name="connsiteX3dup0" fmla="*/ 914400 w 914400"/>
              <a:gd name="connsiteY3dup0" fmla="*/ 7799388 h 7799388"/>
              <a:gd name="connsiteX4dup0" fmla="*/ 0 w 914400"/>
              <a:gd name="connsiteY4dup0" fmla="*/ 7799388 h 7799388"/>
              <a:gd name="connsiteX5" fmla="*/ 0 w 914400"/>
              <a:gd name="connsiteY5" fmla="*/ 0 h 7799388"/>
              <a:gd name="connsiteX0dup0dup1" fmla="*/ 0 w 2486539"/>
              <a:gd name="connsiteY0dup0dup1" fmla="*/ 0 h 7799388"/>
              <a:gd name="connsiteX1dup0dup1" fmla="*/ 914400 w 2486539"/>
              <a:gd name="connsiteY1dup0dup1" fmla="*/ 0 h 7799388"/>
              <a:gd name="connsiteX2dup0dup1" fmla="*/ 2486526 w 2486539"/>
              <a:gd name="connsiteY2dup0dup1" fmla="*/ 1373104 h 7799388"/>
              <a:gd name="connsiteX3dup0dup1" fmla="*/ 914400 w 2486539"/>
              <a:gd name="connsiteY3dup0dup1" fmla="*/ 7799388 h 7799388"/>
              <a:gd name="connsiteX4dup0dup1" fmla="*/ 0 w 2486539"/>
              <a:gd name="connsiteY4dup0dup1" fmla="*/ 7799388 h 7799388"/>
              <a:gd name="connsiteX5dup0" fmla="*/ 0 w 2486539"/>
              <a:gd name="connsiteY5dup0" fmla="*/ 0 h 7799388"/>
              <a:gd name="connsiteX0dup0dup1dup2" fmla="*/ 0 w 2486547"/>
              <a:gd name="connsiteY0dup0dup1dup2" fmla="*/ 0 h 7799388"/>
              <a:gd name="connsiteX1dup0dup1dup2" fmla="*/ 914400 w 2486547"/>
              <a:gd name="connsiteY1dup0dup1dup2" fmla="*/ 0 h 7799388"/>
              <a:gd name="connsiteX2dup0dup1dup2" fmla="*/ 2486526 w 2486547"/>
              <a:gd name="connsiteY2dup0dup1dup2" fmla="*/ 1373104 h 7799388"/>
              <a:gd name="connsiteX3dup0dup1dup2" fmla="*/ 914400 w 2486547"/>
              <a:gd name="connsiteY3dup0dup1dup2" fmla="*/ 7799388 h 7799388"/>
              <a:gd name="connsiteX4dup0dup1dup2" fmla="*/ 0 w 2486547"/>
              <a:gd name="connsiteY4dup0dup1dup2" fmla="*/ 7799388 h 7799388"/>
              <a:gd name="connsiteX5dup0dup1" fmla="*/ 0 w 2486547"/>
              <a:gd name="connsiteY5dup0dup1" fmla="*/ 0 h 7799388"/>
              <a:gd name="connsiteX0dup0dup1dup2dup3" fmla="*/ 0 w 2550713"/>
              <a:gd name="connsiteY0dup0dup1dup2dup3" fmla="*/ 0 h 7799388"/>
              <a:gd name="connsiteX1dup0dup1dup2dup3" fmla="*/ 914400 w 2550713"/>
              <a:gd name="connsiteY1dup0dup1dup2dup3" fmla="*/ 0 h 7799388"/>
              <a:gd name="connsiteX2dup0dup1dup2dup3" fmla="*/ 2550694 w 2550713"/>
              <a:gd name="connsiteY2dup0dup1dup2dup3" fmla="*/ 1405188 h 7799388"/>
              <a:gd name="connsiteX3dup0dup1dup2dup3" fmla="*/ 914400 w 2550713"/>
              <a:gd name="connsiteY3dup0dup1dup2dup3" fmla="*/ 7799388 h 7799388"/>
              <a:gd name="connsiteX4dup0dup1dup2dup3" fmla="*/ 0 w 2550713"/>
              <a:gd name="connsiteY4dup0dup1dup2dup3" fmla="*/ 7799388 h 7799388"/>
              <a:gd name="connsiteX5dup0dup1dup2" fmla="*/ 0 w 2550713"/>
              <a:gd name="connsiteY5dup0dup1dup2" fmla="*/ 0 h 7799388"/>
              <a:gd name="connsiteX0dup0dup1dup2dup3dup4" fmla="*/ 0 w 2550694"/>
              <a:gd name="connsiteY0dup0dup1dup2dup3dup4" fmla="*/ 0 h 7799388"/>
              <a:gd name="connsiteX1dup0dup1dup2dup3dup4" fmla="*/ 914400 w 2550694"/>
              <a:gd name="connsiteY1dup0dup1dup2dup3dup4" fmla="*/ 0 h 7799388"/>
              <a:gd name="connsiteX2dup0dup1dup2dup3dup4" fmla="*/ 2550694 w 2550694"/>
              <a:gd name="connsiteY2dup0dup1dup2dup3dup4" fmla="*/ 1405188 h 7799388"/>
              <a:gd name="connsiteX3dup0dup1dup2dup3dup4" fmla="*/ 914400 w 2550694"/>
              <a:gd name="connsiteY3dup0dup1dup2dup3dup4" fmla="*/ 7799388 h 7799388"/>
              <a:gd name="connsiteX4dup0dup1dup2dup3dup4" fmla="*/ 0 w 2550694"/>
              <a:gd name="connsiteY4dup0dup1dup2dup3dup4" fmla="*/ 7799388 h 7799388"/>
              <a:gd name="connsiteX5dup0dup1dup2dup3" fmla="*/ 0 w 2550694"/>
              <a:gd name="connsiteY5dup0dup1dup2dup3" fmla="*/ 0 h 7799388"/>
              <a:gd name="connsiteX0dup0dup1dup2dup3dup4dup5" fmla="*/ 0 w 2550694"/>
              <a:gd name="connsiteY0dup0dup1dup2dup3dup4dup5" fmla="*/ 0 h 7799388"/>
              <a:gd name="connsiteX1dup0dup1dup2dup3dup4dup5" fmla="*/ 914400 w 2550694"/>
              <a:gd name="connsiteY1dup0dup1dup2dup3dup4dup5" fmla="*/ 0 h 7799388"/>
              <a:gd name="connsiteX2dup0dup1dup2dup3dup4dup5" fmla="*/ 2550694 w 2550694"/>
              <a:gd name="connsiteY2dup0dup1dup2dup3dup4dup5" fmla="*/ 1405188 h 7799388"/>
              <a:gd name="connsiteX3dup0dup1dup2dup3dup4dup5" fmla="*/ 914400 w 2550694"/>
              <a:gd name="connsiteY3dup0dup1dup2dup3dup4dup5" fmla="*/ 7799388 h 7799388"/>
              <a:gd name="connsiteX4dup0dup1dup2dup3dup4dup5" fmla="*/ 0 w 2550694"/>
              <a:gd name="connsiteY4dup0dup1dup2dup3dup4dup5" fmla="*/ 7799388 h 7799388"/>
              <a:gd name="connsiteX5dup0dup1dup2dup3dup4" fmla="*/ 0 w 2550694"/>
              <a:gd name="connsiteY5dup0dup1dup2dup3dup4" fmla="*/ 0 h 7799388"/>
              <a:gd name="connsiteX0dup0dup1dup2dup3dup4dup5dup6" fmla="*/ 0 w 2550694"/>
              <a:gd name="connsiteY0dup0dup1dup2dup3dup4dup5dup6" fmla="*/ 0 h 7799388"/>
              <a:gd name="connsiteX1dup0dup1dup2dup3dup4dup5dup6" fmla="*/ 914400 w 2550694"/>
              <a:gd name="connsiteY1dup0dup1dup2dup3dup4dup5dup6" fmla="*/ 0 h 7799388"/>
              <a:gd name="connsiteX2dup0dup1dup2dup3dup4dup5dup6" fmla="*/ 2550694 w 2550694"/>
              <a:gd name="connsiteY2dup0dup1dup2dup3dup4dup5dup6" fmla="*/ 1405188 h 7799388"/>
              <a:gd name="connsiteX3dup0dup1dup2dup3dup4dup5dup6" fmla="*/ 914400 w 2550694"/>
              <a:gd name="connsiteY3dup0dup1dup2dup3dup4dup5dup6" fmla="*/ 7799388 h 7799388"/>
              <a:gd name="connsiteX4dup0dup1dup2dup3dup4dup5dup6" fmla="*/ 0 w 2550694"/>
              <a:gd name="connsiteY4dup0dup1dup2dup3dup4dup5dup6" fmla="*/ 7799388 h 7799388"/>
              <a:gd name="connsiteX5dup0dup1dup2dup3dup4dup5" fmla="*/ 0 w 2550694"/>
              <a:gd name="connsiteY5dup0dup1dup2dup3dup4dup5" fmla="*/ 0 h 7799388"/>
              <a:gd name="connsiteX0dup0dup1dup2dup3dup4dup5dup6dup7" fmla="*/ 0 w 2550694"/>
              <a:gd name="connsiteY0dup0dup1dup2dup3dup4dup5dup6dup7" fmla="*/ 0 h 7799388"/>
              <a:gd name="connsiteX1dup0dup1dup2dup3dup4dup5dup6dup7" fmla="*/ 914400 w 2550694"/>
              <a:gd name="connsiteY1dup0dup1dup2dup3dup4dup5dup6dup7" fmla="*/ 0 h 7799388"/>
              <a:gd name="connsiteX2dup0dup1dup2dup3dup4dup5dup6dup7" fmla="*/ 2550694 w 2550694"/>
              <a:gd name="connsiteY2dup0dup1dup2dup3dup4dup5dup6dup7" fmla="*/ 1405188 h 7799388"/>
              <a:gd name="connsiteX3dup0dup1dup2dup3dup4dup5dup6dup7" fmla="*/ 914400 w 2550694"/>
              <a:gd name="connsiteY3dup0dup1dup2dup3dup4dup5dup6dup7" fmla="*/ 7799388 h 7799388"/>
              <a:gd name="connsiteX4dup0dup1dup2dup3dup4dup5dup6dup7" fmla="*/ 0 w 2550694"/>
              <a:gd name="connsiteY4dup0dup1dup2dup3dup4dup5dup6dup7" fmla="*/ 7799388 h 7799388"/>
              <a:gd name="connsiteX5dup0dup1dup2dup3dup4dup5dup6" fmla="*/ 0 w 2550694"/>
              <a:gd name="connsiteY5dup0dup1dup2dup3dup4dup5dup6" fmla="*/ 0 h 7799388"/>
              <a:gd name="connsiteX0dup0dup1dup2dup3dup4dup5dup6dup7dup8" fmla="*/ 2550694 w 2642134"/>
              <a:gd name="connsiteY0dup0dup1dup2dup3dup4dup5dup6dup7dup8" fmla="*/ 1405188 h 7799388"/>
              <a:gd name="connsiteX1dup0dup1dup2dup3dup4dup5dup6dup7dup8" fmla="*/ 914400 w 2642134"/>
              <a:gd name="connsiteY1dup0dup1dup2dup3dup4dup5dup6dup7dup8" fmla="*/ 7799388 h 7799388"/>
              <a:gd name="connsiteX2dup0dup1dup2dup3dup4dup5dup6dup7dup8" fmla="*/ 0 w 2642134"/>
              <a:gd name="connsiteY2dup0dup1dup2dup3dup4dup5dup6dup7dup8" fmla="*/ 7799388 h 7799388"/>
              <a:gd name="connsiteX3dup0dup1dup2dup3dup4dup5dup6dup7dup8" fmla="*/ 0 w 2642134"/>
              <a:gd name="connsiteY3dup0dup1dup2dup3dup4dup5dup6dup7dup8" fmla="*/ 0 h 7799388"/>
              <a:gd name="connsiteX4dup0dup1dup2dup3dup4dup5dup6dup7dup8" fmla="*/ 914400 w 2642134"/>
              <a:gd name="connsiteY4dup0dup1dup2dup3dup4dup5dup6dup7dup8" fmla="*/ 0 h 7799388"/>
              <a:gd name="connsiteX5dup0dup1dup2dup3dup4dup5dup6dup7" fmla="*/ 2642134 w 2642134"/>
              <a:gd name="connsiteY5dup0dup1dup2dup3dup4dup5dup6dup7" fmla="*/ 1496628 h 7799388"/>
              <a:gd name="connsiteX0dup0dup1dup2dup3dup4dup5dup6dup7dup8dup9" fmla="*/ 2550694 w 2642134"/>
              <a:gd name="connsiteY0dup0dup1dup2dup3dup4dup5dup6dup7dup8dup9" fmla="*/ 1405188 h 7799388"/>
              <a:gd name="connsiteX1dup0dup1dup2dup3dup4dup5dup6dup7dup8dup9" fmla="*/ 914400 w 2642134"/>
              <a:gd name="connsiteY1dup0dup1dup2dup3dup4dup5dup6dup7dup8dup9" fmla="*/ 7799388 h 7799388"/>
              <a:gd name="connsiteX2dup0dup1dup2dup3dup4dup5dup6dup7dup8dup9" fmla="*/ 0 w 2642134"/>
              <a:gd name="connsiteY2dup0dup1dup2dup3dup4dup5dup6dup7dup8dup9" fmla="*/ 7799388 h 7799388"/>
              <a:gd name="connsiteX3dup0dup1dup2dup3dup4dup5dup6dup7dup8dup9" fmla="*/ 0 w 2642134"/>
              <a:gd name="connsiteY3dup0dup1dup2dup3dup4dup5dup6dup7dup8dup9" fmla="*/ 0 h 7799388"/>
              <a:gd name="connsiteX4dup0dup1dup2dup3dup4dup5dup6dup7dup8dup9" fmla="*/ 914400 w 2642134"/>
              <a:gd name="connsiteY4dup0dup1dup2dup3dup4dup5dup6dup7dup8dup9" fmla="*/ 0 h 7799388"/>
              <a:gd name="connsiteX5dup0dup1dup2dup3dup4dup5dup6dup7dup8" fmla="*/ 2642134 w 2642134"/>
              <a:gd name="connsiteY5dup0dup1dup2dup3dup4dup5dup6dup7dup8" fmla="*/ 1496628 h 7799388"/>
              <a:gd name="connsiteX6" fmla="*/ 2550694 w 2642134"/>
              <a:gd name="connsiteY6" fmla="*/ 1405188 h 7799388"/>
              <a:gd name="connsiteX0dup0dup1dup2dup3dup4dup5dup6dup7dup8dup9dup10" fmla="*/ 2550694 w 2642134"/>
              <a:gd name="connsiteY0dup0dup1dup2dup3dup4dup5dup6dup7dup8dup9dup10" fmla="*/ 1405188 h 7799388"/>
              <a:gd name="connsiteX1dup0dup1dup2dup3dup4dup5dup6dup7dup8dup9dup10" fmla="*/ 914400 w 2642134"/>
              <a:gd name="connsiteY1dup0dup1dup2dup3dup4dup5dup6dup7dup8dup9dup10" fmla="*/ 7799388 h 7799388"/>
              <a:gd name="connsiteX2dup0dup1dup2dup3dup4dup5dup6dup7dup8dup9dup10" fmla="*/ 0 w 2642134"/>
              <a:gd name="connsiteY2dup0dup1dup2dup3dup4dup5dup6dup7dup8dup9dup10" fmla="*/ 7799388 h 7799388"/>
              <a:gd name="connsiteX3dup0dup1dup2dup3dup4dup5dup6dup7dup8dup9dup10" fmla="*/ 0 w 2642134"/>
              <a:gd name="connsiteY3dup0dup1dup2dup3dup4dup5dup6dup7dup8dup9dup10" fmla="*/ 0 h 7799388"/>
              <a:gd name="connsiteX4dup0dup1dup2dup3dup4dup5dup6dup7dup8dup9dup10" fmla="*/ 914400 w 2642134"/>
              <a:gd name="connsiteY4dup0dup1dup2dup3dup4dup5dup6dup7dup8dup9dup10" fmla="*/ 0 h 7799388"/>
              <a:gd name="connsiteX5dup0dup1dup2dup3dup4dup5dup6dup7dup8dup9" fmla="*/ 2642134 w 2642134"/>
              <a:gd name="connsiteY5dup0dup1dup2dup3dup4dup5dup6dup7dup8dup9" fmla="*/ 1496628 h 7799388"/>
              <a:gd name="connsiteX6dup0" fmla="*/ 2550694 w 2642134"/>
              <a:gd name="connsiteY6dup0" fmla="*/ 1405188 h 7799388"/>
              <a:gd name="connsiteX0dup0dup1dup2dup3dup4dup5dup6dup7dup8dup9dup10dup11" fmla="*/ 2550694 w 2642134"/>
              <a:gd name="connsiteY0dup0dup1dup2dup3dup4dup5dup6dup7dup8dup9dup10dup11" fmla="*/ 1405188 h 7799388"/>
              <a:gd name="connsiteX1dup0dup1dup2dup3dup4dup5dup6dup7dup8dup9dup10dup11" fmla="*/ 914400 w 2642134"/>
              <a:gd name="connsiteY1dup0dup1dup2dup3dup4dup5dup6dup7dup8dup9dup10dup11" fmla="*/ 7799388 h 7799388"/>
              <a:gd name="connsiteX2dup0dup1dup2dup3dup4dup5dup6dup7dup8dup9dup10dup11" fmla="*/ 0 w 2642134"/>
              <a:gd name="connsiteY2dup0dup1dup2dup3dup4dup5dup6dup7dup8dup9dup10dup11" fmla="*/ 7799388 h 7799388"/>
              <a:gd name="connsiteX3dup0dup1dup2dup3dup4dup5dup6dup7dup8dup9dup10dup11" fmla="*/ 0 w 2642134"/>
              <a:gd name="connsiteY3dup0dup1dup2dup3dup4dup5dup6dup7dup8dup9dup10dup11" fmla="*/ 0 h 7799388"/>
              <a:gd name="connsiteX4dup0dup1dup2dup3dup4dup5dup6dup7dup8dup9dup10dup11" fmla="*/ 914400 w 2642134"/>
              <a:gd name="connsiteY4dup0dup1dup2dup3dup4dup5dup6dup7dup8dup9dup10dup11" fmla="*/ 0 h 7799388"/>
              <a:gd name="connsiteX5dup0dup1dup2dup3dup4dup5dup6dup7dup8dup9dup10" fmla="*/ 2642134 w 2642134"/>
              <a:gd name="connsiteY5dup0dup1dup2dup3dup4dup5dup6dup7dup8dup9dup10" fmla="*/ 1496628 h 7799388"/>
              <a:gd name="connsiteX6dup0dup1" fmla="*/ 2550694 w 2642134"/>
              <a:gd name="connsiteY6dup0dup1" fmla="*/ 1405188 h 7799388"/>
              <a:gd name="connsiteX0dup0dup1dup2dup3dup4dup5dup6dup7dup8dup9dup10dup11dup12" fmla="*/ 2550694 w 2642134"/>
              <a:gd name="connsiteY0dup0dup1dup2dup3dup4dup5dup6dup7dup8dup9dup10dup11dup12" fmla="*/ 1405188 h 7799388"/>
              <a:gd name="connsiteX1dup0dup1dup2dup3dup4dup5dup6dup7dup8dup9dup10dup11dup12" fmla="*/ 914400 w 2642134"/>
              <a:gd name="connsiteY1dup0dup1dup2dup3dup4dup5dup6dup7dup8dup9dup10dup11dup12" fmla="*/ 7799388 h 7799388"/>
              <a:gd name="connsiteX2dup0dup1dup2dup3dup4dup5dup6dup7dup8dup9dup10dup11dup12" fmla="*/ 0 w 2642134"/>
              <a:gd name="connsiteY2dup0dup1dup2dup3dup4dup5dup6dup7dup8dup9dup10dup11dup12" fmla="*/ 7799388 h 7799388"/>
              <a:gd name="connsiteX3dup0dup1dup2dup3dup4dup5dup6dup7dup8dup9dup10dup11dup12" fmla="*/ 0 w 2642134"/>
              <a:gd name="connsiteY3dup0dup1dup2dup3dup4dup5dup6dup7dup8dup9dup10dup11dup12" fmla="*/ 0 h 7799388"/>
              <a:gd name="connsiteX4dup0dup1dup2dup3dup4dup5dup6dup7dup8dup9dup10dup11dup12" fmla="*/ 914400 w 2642134"/>
              <a:gd name="connsiteY4dup0dup1dup2dup3dup4dup5dup6dup7dup8dup9dup10dup11dup12" fmla="*/ 0 h 7799388"/>
              <a:gd name="connsiteX5dup0dup1dup2dup3dup4dup5dup6dup7dup8dup9dup10dup11" fmla="*/ 2642134 w 2642134"/>
              <a:gd name="connsiteY5dup0dup1dup2dup3dup4dup5dup6dup7dup8dup9dup10dup11" fmla="*/ 1496628 h 7799388"/>
              <a:gd name="connsiteX6dup0dup1dup2" fmla="*/ 2550694 w 2642134"/>
              <a:gd name="connsiteY6dup0dup1dup2" fmla="*/ 1405188 h 7799388"/>
              <a:gd name="connsiteX0dup0dup1dup2dup3dup4dup5dup6dup7dup8dup9dup10dup11dup12dup13" fmla="*/ 2550694 w 2642134"/>
              <a:gd name="connsiteY0dup0dup1dup2dup3dup4dup5dup6dup7dup8dup9dup10dup11dup12dup13" fmla="*/ 1405188 h 7799388"/>
              <a:gd name="connsiteX1dup0dup1dup2dup3dup4dup5dup6dup7dup8dup9dup10dup11dup12dup13" fmla="*/ 914400 w 2642134"/>
              <a:gd name="connsiteY1dup0dup1dup2dup3dup4dup5dup6dup7dup8dup9dup10dup11dup12dup13" fmla="*/ 7799388 h 7799388"/>
              <a:gd name="connsiteX2dup0dup1dup2dup3dup4dup5dup6dup7dup8dup9dup10dup11dup12dup13" fmla="*/ 0 w 2642134"/>
              <a:gd name="connsiteY2dup0dup1dup2dup3dup4dup5dup6dup7dup8dup9dup10dup11dup12dup13" fmla="*/ 7799388 h 7799388"/>
              <a:gd name="connsiteX3dup0dup1dup2dup3dup4dup5dup6dup7dup8dup9dup10dup11dup12dup13" fmla="*/ 0 w 2642134"/>
              <a:gd name="connsiteY3dup0dup1dup2dup3dup4dup5dup6dup7dup8dup9dup10dup11dup12dup13" fmla="*/ 0 h 7799388"/>
              <a:gd name="connsiteX4dup0dup1dup2dup3dup4dup5dup6dup7dup8dup9dup10dup11dup12dup13" fmla="*/ 914400 w 2642134"/>
              <a:gd name="connsiteY4dup0dup1dup2dup3dup4dup5dup6dup7dup8dup9dup10dup11dup12dup13" fmla="*/ 0 h 7799388"/>
              <a:gd name="connsiteX5dup0dup1dup2dup3dup4dup5dup6dup7dup8dup9dup10dup11dup12" fmla="*/ 2642134 w 2642134"/>
              <a:gd name="connsiteY5dup0dup1dup2dup3dup4dup5dup6dup7dup8dup9dup10dup11dup12" fmla="*/ 1496628 h 7799388"/>
              <a:gd name="connsiteX6dup0dup1dup2dup3" fmla="*/ 2550694 w 2642134"/>
              <a:gd name="connsiteY6dup0dup1dup2dup3" fmla="*/ 1405188 h 7799388"/>
              <a:gd name="connsiteX0dup0dup1dup2dup3dup4dup5dup6dup7dup8dup9dup10dup11dup12dup13dup14" fmla="*/ 3242070 w 3242070"/>
              <a:gd name="connsiteY0dup0dup1dup2dup3dup4dup5dup6dup7dup8dup9dup10dup11dup12dup13dup14" fmla="*/ 1706271 h 7799388"/>
              <a:gd name="connsiteX1dup0dup1dup2dup3dup4dup5dup6dup7dup8dup9dup10dup11dup12dup13dup14" fmla="*/ 914400 w 3242070"/>
              <a:gd name="connsiteY1dup0dup1dup2dup3dup4dup5dup6dup7dup8dup9dup10dup11dup12dup13dup14" fmla="*/ 7799388 h 7799388"/>
              <a:gd name="connsiteX2dup0dup1dup2dup3dup4dup5dup6dup7dup8dup9dup10dup11dup12dup13dup14" fmla="*/ 0 w 3242070"/>
              <a:gd name="connsiteY2dup0dup1dup2dup3dup4dup5dup6dup7dup8dup9dup10dup11dup12dup13dup14" fmla="*/ 7799388 h 7799388"/>
              <a:gd name="connsiteX3dup0dup1dup2dup3dup4dup5dup6dup7dup8dup9dup10dup11dup12dup13dup14" fmla="*/ 0 w 3242070"/>
              <a:gd name="connsiteY3dup0dup1dup2dup3dup4dup5dup6dup7dup8dup9dup10dup11dup12dup13dup14" fmla="*/ 0 h 7799388"/>
              <a:gd name="connsiteX4dup0dup1dup2dup3dup4dup5dup6dup7dup8dup9dup10dup11dup12dup13dup14" fmla="*/ 914400 w 3242070"/>
              <a:gd name="connsiteY4dup0dup1dup2dup3dup4dup5dup6dup7dup8dup9dup10dup11dup12dup13dup14" fmla="*/ 0 h 7799388"/>
              <a:gd name="connsiteX5dup0dup1dup2dup3dup4dup5dup6dup7dup8dup9dup10dup11dup12dup13" fmla="*/ 2642134 w 3242070"/>
              <a:gd name="connsiteY5dup0dup1dup2dup3dup4dup5dup6dup7dup8dup9dup10dup11dup12dup13" fmla="*/ 1496628 h 7799388"/>
              <a:gd name="connsiteX6dup0dup1dup2dup3dup4" fmla="*/ 3242070 w 3242070"/>
              <a:gd name="connsiteY6dup0dup1dup2dup3dup4" fmla="*/ 1706271 h 7799388"/>
              <a:gd name="connsiteX0dup0dup1dup2dup3dup4dup5dup6dup7dup8dup9dup10dup11dup12dup13dup14dup15" fmla="*/ 3242070 w 3242070"/>
              <a:gd name="connsiteY0dup0dup1dup2dup3dup4dup5dup6dup7dup8dup9dup10dup11dup12dup13dup14dup15" fmla="*/ 1706271 h 7799388"/>
              <a:gd name="connsiteX1dup0dup1dup2dup3dup4dup5dup6dup7dup8dup9dup10dup11dup12dup13dup14dup15" fmla="*/ 914400 w 3242070"/>
              <a:gd name="connsiteY1dup0dup1dup2dup3dup4dup5dup6dup7dup8dup9dup10dup11dup12dup13dup14dup15" fmla="*/ 7799388 h 7799388"/>
              <a:gd name="connsiteX2dup0dup1dup2dup3dup4dup5dup6dup7dup8dup9dup10dup11dup12dup13dup14dup15" fmla="*/ 0 w 3242070"/>
              <a:gd name="connsiteY2dup0dup1dup2dup3dup4dup5dup6dup7dup8dup9dup10dup11dup12dup13dup14dup15" fmla="*/ 7799388 h 7799388"/>
              <a:gd name="connsiteX3dup0dup1dup2dup3dup4dup5dup6dup7dup8dup9dup10dup11dup12dup13dup14dup15" fmla="*/ 0 w 3242070"/>
              <a:gd name="connsiteY3dup0dup1dup2dup3dup4dup5dup6dup7dup8dup9dup10dup11dup12dup13dup14dup15" fmla="*/ 0 h 7799388"/>
              <a:gd name="connsiteX4dup0dup1dup2dup3dup4dup5dup6dup7dup8dup9dup10dup11dup12dup13dup14dup15" fmla="*/ 914400 w 3242070"/>
              <a:gd name="connsiteY4dup0dup1dup2dup3dup4dup5dup6dup7dup8dup9dup10dup11dup12dup13dup14dup15" fmla="*/ 0 h 7799388"/>
              <a:gd name="connsiteX5dup0dup1dup2dup3dup4dup5dup6dup7dup8dup9dup10dup11dup12dup13dup14" fmla="*/ 3242070 w 3242070"/>
              <a:gd name="connsiteY5dup0dup1dup2dup3dup4dup5dup6dup7dup8dup9dup10dup11dup12dup13dup14" fmla="*/ 1706271 h 7799388"/>
              <a:gd name="connsiteX0dup0dup1dup2dup3dup4dup5dup6dup7dup8dup9dup10dup11dup12dup13dup14dup15dup16" fmla="*/ 2506089 w 2506089"/>
              <a:gd name="connsiteY0dup0dup1dup2dup3dup4dup5dup6dup7dup8dup9dup10dup11dup12dup13dup14dup15dup16" fmla="*/ 1494398 h 7799388"/>
              <a:gd name="connsiteX1dup0dup1dup2dup3dup4dup5dup6dup7dup8dup9dup10dup11dup12dup13dup14dup15dup16" fmla="*/ 914400 w 2506089"/>
              <a:gd name="connsiteY1dup0dup1dup2dup3dup4dup5dup6dup7dup8dup9dup10dup11dup12dup13dup14dup15dup16" fmla="*/ 7799388 h 7799388"/>
              <a:gd name="connsiteX2dup0dup1dup2dup3dup4dup5dup6dup7dup8dup9dup10dup11dup12dup13dup14dup15dup16" fmla="*/ 0 w 2506089"/>
              <a:gd name="connsiteY2dup0dup1dup2dup3dup4dup5dup6dup7dup8dup9dup10dup11dup12dup13dup14dup15dup16" fmla="*/ 7799388 h 7799388"/>
              <a:gd name="connsiteX3dup0dup1dup2dup3dup4dup5dup6dup7dup8dup9dup10dup11dup12dup13dup14dup15dup16" fmla="*/ 0 w 2506089"/>
              <a:gd name="connsiteY3dup0dup1dup2dup3dup4dup5dup6dup7dup8dup9dup10dup11dup12dup13dup14dup15dup16" fmla="*/ 0 h 7799388"/>
              <a:gd name="connsiteX4dup0dup1dup2dup3dup4dup5dup6dup7dup8dup9dup10dup11dup12dup13dup14dup15dup16" fmla="*/ 914400 w 2506089"/>
              <a:gd name="connsiteY4dup0dup1dup2dup3dup4dup5dup6dup7dup8dup9dup10dup11dup12dup13dup14dup15dup16" fmla="*/ 0 h 7799388"/>
              <a:gd name="connsiteX5dup0dup1dup2dup3dup4dup5dup6dup7dup8dup9dup10dup11dup12dup13dup14dup15" fmla="*/ 2506089 w 2506089"/>
              <a:gd name="connsiteY5dup0dup1dup2dup3dup4dup5dup6dup7dup8dup9dup10dup11dup12dup13dup14dup15" fmla="*/ 1494398 h 7799388"/>
              <a:gd name="connsiteX0dup0dup1dup2dup3dup4dup5dup6dup7dup8dup9dup10dup11dup12dup13dup14dup15dup16dup17" fmla="*/ 2584148 w 2584148"/>
              <a:gd name="connsiteY0dup0dup1dup2dup3dup4dup5dup6dup7dup8dup9dup10dup11dup12dup13dup14dup15dup16dup17" fmla="*/ 1494398 h 7799388"/>
              <a:gd name="connsiteX1dup0dup1dup2dup3dup4dup5dup6dup7dup8dup9dup10dup11dup12dup13dup14dup15dup16dup17" fmla="*/ 914400 w 2584148"/>
              <a:gd name="connsiteY1dup0dup1dup2dup3dup4dup5dup6dup7dup8dup9dup10dup11dup12dup13dup14dup15dup16dup17" fmla="*/ 7799388 h 7799388"/>
              <a:gd name="connsiteX2dup0dup1dup2dup3dup4dup5dup6dup7dup8dup9dup10dup11dup12dup13dup14dup15dup16dup17" fmla="*/ 0 w 2584148"/>
              <a:gd name="connsiteY2dup0dup1dup2dup3dup4dup5dup6dup7dup8dup9dup10dup11dup12dup13dup14dup15dup16dup17" fmla="*/ 7799388 h 7799388"/>
              <a:gd name="connsiteX3dup0dup1dup2dup3dup4dup5dup6dup7dup8dup9dup10dup11dup12dup13dup14dup15dup16dup17" fmla="*/ 0 w 2584148"/>
              <a:gd name="connsiteY3dup0dup1dup2dup3dup4dup5dup6dup7dup8dup9dup10dup11dup12dup13dup14dup15dup16dup17" fmla="*/ 0 h 7799388"/>
              <a:gd name="connsiteX4dup0dup1dup2dup3dup4dup5dup6dup7dup8dup9dup10dup11dup12dup13dup14dup15dup16dup17" fmla="*/ 914400 w 2584148"/>
              <a:gd name="connsiteY4dup0dup1dup2dup3dup4dup5dup6dup7dup8dup9dup10dup11dup12dup13dup14dup15dup16dup17" fmla="*/ 0 h 7799388"/>
              <a:gd name="connsiteX5dup0dup1dup2dup3dup4dup5dup6dup7dup8dup9dup10dup11dup12dup13dup14dup15dup16" fmla="*/ 2584148 w 2584148"/>
              <a:gd name="connsiteY5dup0dup1dup2dup3dup4dup5dup6dup7dup8dup9dup10dup11dup12dup13dup14dup15dup16" fmla="*/ 1494398 h 7799388"/>
              <a:gd name="connsiteX0dup0dup1dup2dup3dup4dup5dup6dup7dup8dup9dup10dup11dup12dup13dup14dup15dup16dup17dup18" fmla="*/ 2584148 w 2584148"/>
              <a:gd name="connsiteY0dup0dup1dup2dup3dup4dup5dup6dup7dup8dup9dup10dup11dup12dup13dup14dup15dup16dup17dup18" fmla="*/ 1494398 h 7799388"/>
              <a:gd name="connsiteX1dup0dup1dup2dup3dup4dup5dup6dup7dup8dup9dup10dup11dup12dup13dup14dup15dup16dup17dup18" fmla="*/ 914400 w 2584148"/>
              <a:gd name="connsiteY1dup0dup1dup2dup3dup4dup5dup6dup7dup8dup9dup10dup11dup12dup13dup14dup15dup16dup17dup18" fmla="*/ 7799388 h 7799388"/>
              <a:gd name="connsiteX2dup0dup1dup2dup3dup4dup5dup6dup7dup8dup9dup10dup11dup12dup13dup14dup15dup16dup17dup18" fmla="*/ 0 w 2584148"/>
              <a:gd name="connsiteY2dup0dup1dup2dup3dup4dup5dup6dup7dup8dup9dup10dup11dup12dup13dup14dup15dup16dup17dup18" fmla="*/ 7799388 h 7799388"/>
              <a:gd name="connsiteX3dup0dup1dup2dup3dup4dup5dup6dup7dup8dup9dup10dup11dup12dup13dup14dup15dup16dup17dup18" fmla="*/ 0 w 2584148"/>
              <a:gd name="connsiteY3dup0dup1dup2dup3dup4dup5dup6dup7dup8dup9dup10dup11dup12dup13dup14dup15dup16dup17dup18" fmla="*/ 0 h 7799388"/>
              <a:gd name="connsiteX4dup0dup1dup2dup3dup4dup5dup6dup7dup8dup9dup10dup11dup12dup13dup14dup15dup16dup17dup18" fmla="*/ 914400 w 2584148"/>
              <a:gd name="connsiteY4dup0dup1dup2dup3dup4dup5dup6dup7dup8dup9dup10dup11dup12dup13dup14dup15dup16dup17dup18" fmla="*/ 0 h 7799388"/>
              <a:gd name="connsiteX5dup0dup1dup2dup3dup4dup5dup6dup7dup8dup9dup10dup11dup12dup13dup14dup15dup16dup17" fmla="*/ 2584148 w 2584148"/>
              <a:gd name="connsiteY5dup0dup1dup2dup3dup4dup5dup6dup7dup8dup9dup10dup11dup12dup13dup14dup15dup16dup17" fmla="*/ 1494398 h 7799388"/>
              <a:gd name="connsiteX0dup0dup1dup2dup3dup4dup5dup6dup7dup8dup9dup10dup11dup12dup13dup14dup15dup16dup17dup18dup19" fmla="*/ 2584148 w 2584148"/>
              <a:gd name="connsiteY0dup0dup1dup2dup3dup4dup5dup6dup7dup8dup9dup10dup11dup12dup13dup14dup15dup16dup17dup18dup19" fmla="*/ 1494398 h 7799388"/>
              <a:gd name="connsiteX1dup0dup1dup2dup3dup4dup5dup6dup7dup8dup9dup10dup11dup12dup13dup14dup15dup16dup17dup18dup19" fmla="*/ 914400 w 2584148"/>
              <a:gd name="connsiteY1dup0dup1dup2dup3dup4dup5dup6dup7dup8dup9dup10dup11dup12dup13dup14dup15dup16dup17dup18dup19" fmla="*/ 7799388 h 7799388"/>
              <a:gd name="connsiteX2dup0dup1dup2dup3dup4dup5dup6dup7dup8dup9dup10dup11dup12dup13dup14dup15dup16dup17dup18dup19" fmla="*/ 0 w 2584148"/>
              <a:gd name="connsiteY2dup0dup1dup2dup3dup4dup5dup6dup7dup8dup9dup10dup11dup12dup13dup14dup15dup16dup17dup18dup19" fmla="*/ 7799388 h 7799388"/>
              <a:gd name="connsiteX3dup0dup1dup2dup3dup4dup5dup6dup7dup8dup9dup10dup11dup12dup13dup14dup15dup16dup17dup18dup19" fmla="*/ 0 w 2584148"/>
              <a:gd name="connsiteY3dup0dup1dup2dup3dup4dup5dup6dup7dup8dup9dup10dup11dup12dup13dup14dup15dup16dup17dup18dup19" fmla="*/ 0 h 7799388"/>
              <a:gd name="connsiteX4dup0dup1dup2dup3dup4dup5dup6dup7dup8dup9dup10dup11dup12dup13dup14dup15dup16dup17dup18dup19" fmla="*/ 914400 w 2584148"/>
              <a:gd name="connsiteY4dup0dup1dup2dup3dup4dup5dup6dup7dup8dup9dup10dup11dup12dup13dup14dup15dup16dup17dup18dup19" fmla="*/ 0 h 7799388"/>
              <a:gd name="connsiteX5dup0dup1dup2dup3dup4dup5dup6dup7dup8dup9dup10dup11dup12dup13dup14dup15dup16dup17dup18" fmla="*/ 2584148 w 2584148"/>
              <a:gd name="connsiteY5dup0dup1dup2dup3dup4dup5dup6dup7dup8dup9dup10dup11dup12dup13dup14dup15dup16dup17dup18" fmla="*/ 1494398 h 7799388"/>
              <a:gd name="connsiteX0dup0dup1dup2dup3dup4dup5dup6dup7dup8dup9dup10dup11dup12dup13dup14dup15dup16dup17dup18dup19dup20" fmla="*/ 2584148 w 2584148"/>
              <a:gd name="connsiteY0dup0dup1dup2dup3dup4dup5dup6dup7dup8dup9dup10dup11dup12dup13dup14dup15dup16dup17dup18dup19dup20" fmla="*/ 1494398 h 7799388"/>
              <a:gd name="connsiteX1dup0dup1dup2dup3dup4dup5dup6dup7dup8dup9dup10dup11dup12dup13dup14dup15dup16dup17dup18dup19dup20" fmla="*/ 914400 w 2584148"/>
              <a:gd name="connsiteY1dup0dup1dup2dup3dup4dup5dup6dup7dup8dup9dup10dup11dup12dup13dup14dup15dup16dup17dup18dup19dup20" fmla="*/ 7799388 h 7799388"/>
              <a:gd name="connsiteX2dup0dup1dup2dup3dup4dup5dup6dup7dup8dup9dup10dup11dup12dup13dup14dup15dup16dup17dup18dup19dup20" fmla="*/ 0 w 2584148"/>
              <a:gd name="connsiteY2dup0dup1dup2dup3dup4dup5dup6dup7dup8dup9dup10dup11dup12dup13dup14dup15dup16dup17dup18dup19dup20" fmla="*/ 7799388 h 7799388"/>
              <a:gd name="connsiteX3dup0dup1dup2dup3dup4dup5dup6dup7dup8dup9dup10dup11dup12dup13dup14dup15dup16dup17dup18dup19dup20" fmla="*/ 0 w 2584148"/>
              <a:gd name="connsiteY3dup0dup1dup2dup3dup4dup5dup6dup7dup8dup9dup10dup11dup12dup13dup14dup15dup16dup17dup18dup19dup20" fmla="*/ 0 h 7799388"/>
              <a:gd name="connsiteX4dup0dup1dup2dup3dup4dup5dup6dup7dup8dup9dup10dup11dup12dup13dup14dup15dup16dup17dup18dup19dup20" fmla="*/ 2230244 w 2584148"/>
              <a:gd name="connsiteY4dup0dup1dup2dup3dup4dup5dup6dup7dup8dup9dup10dup11dup12dup13dup14dup15dup16dup17dup18dup19dup20" fmla="*/ 11151 h 7799388"/>
              <a:gd name="connsiteX5dup0dup1dup2dup3dup4dup5dup6dup7dup8dup9dup10dup11dup12dup13dup14dup15dup16dup17dup18dup19" fmla="*/ 2584148 w 2584148"/>
              <a:gd name="connsiteY5dup0dup1dup2dup3dup4dup5dup6dup7dup8dup9dup10dup11dup12dup13dup14dup15dup16dup17dup18dup19" fmla="*/ 1494398 h 7799388"/>
              <a:gd name="connsiteX0dup0dup1dup2dup3dup4dup5dup6dup7dup8dup9dup10dup11dup12dup13dup14dup15dup16dup17dup18dup19dup20dup21" fmla="*/ 2673357 w 2673357"/>
              <a:gd name="connsiteY0dup0dup1dup2dup3dup4dup5dup6dup7dup8dup9dup10dup11dup12dup13dup14dup15dup16dup17dup18dup19dup20dup21" fmla="*/ 1394037 h 7799388"/>
              <a:gd name="connsiteX1dup0dup1dup2dup3dup4dup5dup6dup7dup8dup9dup10dup11dup12dup13dup14dup15dup16dup17dup18dup19dup20dup21" fmla="*/ 914400 w 2673357"/>
              <a:gd name="connsiteY1dup0dup1dup2dup3dup4dup5dup6dup7dup8dup9dup10dup11dup12dup13dup14dup15dup16dup17dup18dup19dup20dup21" fmla="*/ 7799388 h 7799388"/>
              <a:gd name="connsiteX2dup0dup1dup2dup3dup4dup5dup6dup7dup8dup9dup10dup11dup12dup13dup14dup15dup16dup17dup18dup19dup20dup21" fmla="*/ 0 w 2673357"/>
              <a:gd name="connsiteY2dup0dup1dup2dup3dup4dup5dup6dup7dup8dup9dup10dup11dup12dup13dup14dup15dup16dup17dup18dup19dup20dup21" fmla="*/ 7799388 h 7799388"/>
              <a:gd name="connsiteX3dup0dup1dup2dup3dup4dup5dup6dup7dup8dup9dup10dup11dup12dup13dup14dup15dup16dup17dup18dup19dup20dup21" fmla="*/ 0 w 2673357"/>
              <a:gd name="connsiteY3dup0dup1dup2dup3dup4dup5dup6dup7dup8dup9dup10dup11dup12dup13dup14dup15dup16dup17dup18dup19dup20dup21" fmla="*/ 0 h 7799388"/>
              <a:gd name="connsiteX4dup0dup1dup2dup3dup4dup5dup6dup7dup8dup9dup10dup11dup12dup13dup14dup15dup16dup17dup18dup19dup20dup21" fmla="*/ 2230244 w 2673357"/>
              <a:gd name="connsiteY4dup0dup1dup2dup3dup4dup5dup6dup7dup8dup9dup10dup11dup12dup13dup14dup15dup16dup17dup18dup19dup20dup21" fmla="*/ 11151 h 7799388"/>
              <a:gd name="connsiteX5dup0dup1dup2dup3dup4dup5dup6dup7dup8dup9dup10dup11dup12dup13dup14dup15dup16dup17dup18dup19dup20" fmla="*/ 2673357 w 2673357"/>
              <a:gd name="connsiteY5dup0dup1dup2dup3dup4dup5dup6dup7dup8dup9dup10dup11dup12dup13dup14dup15dup16dup17dup18dup19dup20" fmla="*/ 1394037 h 7799388"/>
              <a:gd name="connsiteX0dup0dup1dup2dup3dup4dup5dup6dup7dup8dup9dup10dup11dup12dup13dup14dup15dup16dup17dup18dup19dup20dup21dup22" fmla="*/ 2673357 w 2673357"/>
              <a:gd name="connsiteY0dup0dup1dup2dup3dup4dup5dup6dup7dup8dup9dup10dup11dup12dup13dup14dup15dup16dup17dup18dup19dup20dup21dup22" fmla="*/ 1394037 h 7799388"/>
              <a:gd name="connsiteX1dup0dup1dup2dup3dup4dup5dup6dup7dup8dup9dup10dup11dup12dup13dup14dup15dup16dup17dup18dup19dup20dup21dup22" fmla="*/ 914400 w 2673357"/>
              <a:gd name="connsiteY1dup0dup1dup2dup3dup4dup5dup6dup7dup8dup9dup10dup11dup12dup13dup14dup15dup16dup17dup18dup19dup20dup21dup22" fmla="*/ 7799388 h 7799388"/>
              <a:gd name="connsiteX2dup0dup1dup2dup3dup4dup5dup6dup7dup8dup9dup10dup11dup12dup13dup14dup15dup16dup17dup18dup19dup20dup21dup22" fmla="*/ 0 w 2673357"/>
              <a:gd name="connsiteY2dup0dup1dup2dup3dup4dup5dup6dup7dup8dup9dup10dup11dup12dup13dup14dup15dup16dup17dup18dup19dup20dup21dup22" fmla="*/ 7799388 h 7799388"/>
              <a:gd name="connsiteX3dup0dup1dup2dup3dup4dup5dup6dup7dup8dup9dup10dup11dup12dup13dup14dup15dup16dup17dup18dup19dup20dup21dup22" fmla="*/ 0 w 2673357"/>
              <a:gd name="connsiteY3dup0dup1dup2dup3dup4dup5dup6dup7dup8dup9dup10dup11dup12dup13dup14dup15dup16dup17dup18dup19dup20dup21dup22" fmla="*/ 0 h 7799388"/>
              <a:gd name="connsiteX4dup0dup1dup2dup3dup4dup5dup6dup7dup8dup9dup10dup11dup12dup13dup14dup15dup16dup17dup18dup19dup20dup21dup22" fmla="*/ 2252546 w 2673357"/>
              <a:gd name="connsiteY4dup0dup1dup2dup3dup4dup5dup6dup7dup8dup9dup10dup11dup12dup13dup14dup15dup16dup17dup18dup19dup20dup21dup22" fmla="*/ 11151 h 7799388"/>
              <a:gd name="connsiteX5dup0dup1dup2dup3dup4dup5dup6dup7dup8dup9dup10dup11dup12dup13dup14dup15dup16dup17dup18dup19dup20dup21" fmla="*/ 2673357 w 2673357"/>
              <a:gd name="connsiteY5dup0dup1dup2dup3dup4dup5dup6dup7dup8dup9dup10dup11dup12dup13dup14dup15dup16dup17dup18dup19dup20dup21" fmla="*/ 1394037 h 7799388"/>
              <a:gd name="connsiteX0dup0dup1dup2dup3dup4dup5dup6dup7dup8dup9dup10dup11dup12dup13dup14dup15dup16dup17dup18dup19dup20dup21dup22dup23" fmla="*/ 2673357 w 2673357"/>
              <a:gd name="connsiteY0dup0dup1dup2dup3dup4dup5dup6dup7dup8dup9dup10dup11dup12dup13dup14dup15dup16dup17dup18dup19dup20dup21dup22dup23" fmla="*/ 1394037 h 7799388"/>
              <a:gd name="connsiteX1dup0dup1dup2dup3dup4dup5dup6dup7dup8dup9dup10dup11dup12dup13dup14dup15dup16dup17dup18dup19dup20dup21dup22dup23" fmla="*/ 914400 w 2673357"/>
              <a:gd name="connsiteY1dup0dup1dup2dup3dup4dup5dup6dup7dup8dup9dup10dup11dup12dup13dup14dup15dup16dup17dup18dup19dup20dup21dup22dup23" fmla="*/ 7799388 h 7799388"/>
              <a:gd name="connsiteX2dup0dup1dup2dup3dup4dup5dup6dup7dup8dup9dup10dup11dup12dup13dup14dup15dup16dup17dup18dup19dup20dup21dup22dup23" fmla="*/ 0 w 2673357"/>
              <a:gd name="connsiteY2dup0dup1dup2dup3dup4dup5dup6dup7dup8dup9dup10dup11dup12dup13dup14dup15dup16dup17dup18dup19dup20dup21dup22dup23" fmla="*/ 7799388 h 7799388"/>
              <a:gd name="connsiteX3dup0dup1dup2dup3dup4dup5dup6dup7dup8dup9dup10dup11dup12dup13dup14dup15dup16dup17dup18dup19dup20dup21dup22dup23" fmla="*/ 0 w 2673357"/>
              <a:gd name="connsiteY3dup0dup1dup2dup3dup4dup5dup6dup7dup8dup9dup10dup11dup12dup13dup14dup15dup16dup17dup18dup19dup20dup21dup22dup23" fmla="*/ 0 h 7799388"/>
              <a:gd name="connsiteX4dup0dup1dup2dup3dup4dup5dup6dup7dup8dup9dup10dup11dup12dup13dup14dup15dup16dup17dup18dup19dup20dup21dup22dup23" fmla="*/ 2280682 w 2673357"/>
              <a:gd name="connsiteY4dup0dup1dup2dup3dup4dup5dup6dup7dup8dup9dup10dup11dup12dup13dup14dup15dup16dup17dup18dup19dup20dup21dup22dup23" fmla="*/ 11151 h 7799388"/>
              <a:gd name="connsiteX5dup0dup1dup2dup3dup4dup5dup6dup7dup8dup9dup10dup11dup12dup13dup14dup15dup16dup17dup18dup19dup20dup21dup22" fmla="*/ 2673357 w 2673357"/>
              <a:gd name="connsiteY5dup0dup1dup2dup3dup4dup5dup6dup7dup8dup9dup10dup11dup12dup13dup14dup15dup16dup17dup18dup19dup20dup21dup22" fmla="*/ 1394037 h 7799388"/>
              <a:gd name="connsiteX0dup0dup1dup2dup3dup4dup5dup6dup7dup8dup9dup10dup11dup12dup13dup14dup15dup16dup17dup18dup19dup20dup21dup22dup23dup24" fmla="*/ 2673357 w 2673357"/>
              <a:gd name="connsiteY0dup0dup1dup2dup3dup4dup5dup6dup7dup8dup9dup10dup11dup12dup13dup14dup15dup16dup17dup18dup19dup20dup21dup22dup23dup24" fmla="*/ 1394037 h 7799388"/>
              <a:gd name="connsiteX1dup0dup1dup2dup3dup4dup5dup6dup7dup8dup9dup10dup11dup12dup13dup14dup15dup16dup17dup18dup19dup20dup21dup22dup23dup24" fmla="*/ 914400 w 2673357"/>
              <a:gd name="connsiteY1dup0dup1dup2dup3dup4dup5dup6dup7dup8dup9dup10dup11dup12dup13dup14dup15dup16dup17dup18dup19dup20dup21dup22dup23dup24" fmla="*/ 7799388 h 7799388"/>
              <a:gd name="connsiteX2dup0dup1dup2dup3dup4dup5dup6dup7dup8dup9dup10dup11dup12dup13dup14dup15dup16dup17dup18dup19dup20dup21dup22dup23dup24" fmla="*/ 0 w 2673357"/>
              <a:gd name="connsiteY2dup0dup1dup2dup3dup4dup5dup6dup7dup8dup9dup10dup11dup12dup13dup14dup15dup16dup17dup18dup19dup20dup21dup22dup23dup24" fmla="*/ 7799388 h 7799388"/>
              <a:gd name="connsiteX3dup0dup1dup2dup3dup4dup5dup6dup7dup8dup9dup10dup11dup12dup13dup14dup15dup16dup17dup18dup19dup20dup21dup22dup23dup24" fmla="*/ 0 w 2673357"/>
              <a:gd name="connsiteY3dup0dup1dup2dup3dup4dup5dup6dup7dup8dup9dup10dup11dup12dup13dup14dup15dup16dup17dup18dup19dup20dup21dup22dup23dup24" fmla="*/ 0 h 7799388"/>
              <a:gd name="connsiteX4dup0dup1dup2dup3dup4dup5dup6dup7dup8dup9dup10dup11dup12dup13dup14dup15dup16dup17dup18dup19dup20dup21dup22dup23dup24" fmla="*/ 2280682 w 2673357"/>
              <a:gd name="connsiteY4dup0dup1dup2dup3dup4dup5dup6dup7dup8dup9dup10dup11dup12dup13dup14dup15dup16dup17dup18dup19dup20dup21dup22dup23dup24" fmla="*/ 11151 h 7799388"/>
              <a:gd name="connsiteX5dup0dup1dup2dup3dup4dup5dup6dup7dup8dup9dup10dup11dup12dup13dup14dup15dup16dup17dup18dup19dup20dup21dup22dup23" fmla="*/ 2673357 w 2673357"/>
              <a:gd name="connsiteY5dup0dup1dup2dup3dup4dup5dup6dup7dup8dup9dup10dup11dup12dup13dup14dup15dup16dup17dup18dup19dup20dup21dup22dup23" fmla="*/ 1394037 h 7799388"/>
              <a:gd name="connsiteX0dup0dup1dup2dup3dup4dup5dup6dup7dup8dup9dup10dup11dup12dup13dup14dup15dup16dup17dup18dup19dup20dup21dup22dup23dup24dup25" fmla="*/ 2673357 w 2673357"/>
              <a:gd name="connsiteY0dup0dup1dup2dup3dup4dup5dup6dup7dup8dup9dup10dup11dup12dup13dup14dup15dup16dup17dup18dup19dup20dup21dup22dup23dup24dup25" fmla="*/ 1382886 h 7788237"/>
              <a:gd name="connsiteX1dup0dup1dup2dup3dup4dup5dup6dup7dup8dup9dup10dup11dup12dup13dup14dup15dup16dup17dup18dup19dup20dup21dup22dup23dup24dup25" fmla="*/ 914400 w 2673357"/>
              <a:gd name="connsiteY1dup0dup1dup2dup3dup4dup5dup6dup7dup8dup9dup10dup11dup12dup13dup14dup15dup16dup17dup18dup19dup20dup21dup22dup23dup24dup25" fmla="*/ 7788237 h 7788237"/>
              <a:gd name="connsiteX2dup0dup1dup2dup3dup4dup5dup6dup7dup8dup9dup10dup11dup12dup13dup14dup15dup16dup17dup18dup19dup20dup21dup22dup23dup24dup25" fmla="*/ 0 w 2673357"/>
              <a:gd name="connsiteY2dup0dup1dup2dup3dup4dup5dup6dup7dup8dup9dup10dup11dup12dup13dup14dup15dup16dup17dup18dup19dup20dup21dup22dup23dup24dup25" fmla="*/ 7788237 h 7788237"/>
              <a:gd name="connsiteX3dup0dup1dup2dup3dup4dup5dup6dup7dup8dup9dup10dup11dup12dup13dup14dup15dup16dup17dup18dup19dup20dup21dup22dup23dup24dup25" fmla="*/ 0 w 2673357"/>
              <a:gd name="connsiteY3dup0dup1dup2dup3dup4dup5dup6dup7dup8dup9dup10dup11dup12dup13dup14dup15dup16dup17dup18dup19dup20dup21dup22dup23dup24dup25" fmla="*/ 2917 h 7788237"/>
              <a:gd name="connsiteX4dup0dup1dup2dup3dup4dup5dup6dup7dup8dup9dup10dup11dup12dup13dup14dup15dup16dup17dup18dup19dup20dup21dup22dup23dup24dup25" fmla="*/ 2280682 w 2673357"/>
              <a:gd name="connsiteY4dup0dup1dup2dup3dup4dup5dup6dup7dup8dup9dup10dup11dup12dup13dup14dup15dup16dup17dup18dup19dup20dup21dup22dup23dup24dup25" fmla="*/ 0 h 7788237"/>
              <a:gd name="connsiteX5dup0dup1dup2dup3dup4dup5dup6dup7dup8dup9dup10dup11dup12dup13dup14dup15dup16dup17dup18dup19dup20dup21dup22dup23dup24" fmla="*/ 2673357 w 2673357"/>
              <a:gd name="connsiteY5dup0dup1dup2dup3dup4dup5dup6dup7dup8dup9dup10dup11dup12dup13dup14dup15dup16dup17dup18dup19dup20dup21dup22dup23dup24" fmla="*/ 1382886 h 7788237"/>
              <a:gd name="connsiteX0dup0dup1dup2dup3dup4dup5dup6dup7dup8dup9dup10dup11dup12dup13dup14dup15dup16dup17dup18dup19dup20dup21dup22dup23dup24dup25dup26" fmla="*/ 2673357 w 2673357"/>
              <a:gd name="connsiteY0dup0dup1dup2dup3dup4dup5dup6dup7dup8dup9dup10dup11dup12dup13dup14dup15dup16dup17dup18dup19dup20dup21dup22dup23dup24dup25dup26" fmla="*/ 1382886 h 7788237"/>
              <a:gd name="connsiteX1dup0dup1dup2dup3dup4dup5dup6dup7dup8dup9dup10dup11dup12dup13dup14dup15dup16dup17dup18dup19dup20dup21dup22dup23dup24dup25dup26" fmla="*/ 872197 w 2673357"/>
              <a:gd name="connsiteY1dup0dup1dup2dup3dup4dup5dup6dup7dup8dup9dup10dup11dup12dup13dup14dup15dup16dup17dup18dup19dup20dup21dup22dup23dup24dup25dup26" fmla="*/ 7788237 h 7788237"/>
              <a:gd name="connsiteX2dup0dup1dup2dup3dup4dup5dup6dup7dup8dup9dup10dup11dup12dup13dup14dup15dup16dup17dup18dup19dup20dup21dup22dup23dup24dup25dup26" fmla="*/ 0 w 2673357"/>
              <a:gd name="connsiteY2dup0dup1dup2dup3dup4dup5dup6dup7dup8dup9dup10dup11dup12dup13dup14dup15dup16dup17dup18dup19dup20dup21dup22dup23dup24dup25dup26" fmla="*/ 7788237 h 7788237"/>
              <a:gd name="connsiteX3dup0dup1dup2dup3dup4dup5dup6dup7dup8dup9dup10dup11dup12dup13dup14dup15dup16dup17dup18dup19dup20dup21dup22dup23dup24dup25dup26" fmla="*/ 0 w 2673357"/>
              <a:gd name="connsiteY3dup0dup1dup2dup3dup4dup5dup6dup7dup8dup9dup10dup11dup12dup13dup14dup15dup16dup17dup18dup19dup20dup21dup22dup23dup24dup25dup26" fmla="*/ 2917 h 7788237"/>
              <a:gd name="connsiteX4dup0dup1dup2dup3dup4dup5dup6dup7dup8dup9dup10dup11dup12dup13dup14dup15dup16dup17dup18dup19dup20dup21dup22dup23dup24dup25dup26" fmla="*/ 2280682 w 2673357"/>
              <a:gd name="connsiteY4dup0dup1dup2dup3dup4dup5dup6dup7dup8dup9dup10dup11dup12dup13dup14dup15dup16dup17dup18dup19dup20dup21dup22dup23dup24dup25dup26" fmla="*/ 0 h 7788237"/>
              <a:gd name="connsiteX5dup0dup1dup2dup3dup4dup5dup6dup7dup8dup9dup10dup11dup12dup13dup14dup15dup16dup17dup18dup19dup20dup21dup22dup23dup24dup25" fmla="*/ 2673357 w 2673357"/>
              <a:gd name="connsiteY5dup0dup1dup2dup3dup4dup5dup6dup7dup8dup9dup10dup11dup12dup13dup14dup15dup16dup17dup18dup19dup20dup21dup22dup23dup24dup25" fmla="*/ 1382886 h 7788237"/>
              <a:gd name="connsiteX0dup0dup1dup2dup3dup4dup5dup6dup7dup8dup9dup10dup11dup12dup13dup14dup15dup16dup17dup18dup19dup20dup21dup22dup23dup24dup25dup26dup27" fmla="*/ 2677367 w 2677367"/>
              <a:gd name="connsiteY0dup0dup1dup2dup3dup4dup5dup6dup7dup8dup9dup10dup11dup12dup13dup14dup15dup16dup17dup18dup19dup20dup21dup22dup23dup24dup25dup26dup27" fmla="*/ 1378876 h 7788237"/>
              <a:gd name="connsiteX1dup0dup1dup2dup3dup4dup5dup6dup7dup8dup9dup10dup11dup12dup13dup14dup15dup16dup17dup18dup19dup20dup21dup22dup23dup24dup25dup26dup27" fmla="*/ 872197 w 2677367"/>
              <a:gd name="connsiteY1dup0dup1dup2dup3dup4dup5dup6dup7dup8dup9dup10dup11dup12dup13dup14dup15dup16dup17dup18dup19dup20dup21dup22dup23dup24dup25dup26dup27" fmla="*/ 7788237 h 7788237"/>
              <a:gd name="connsiteX2dup0dup1dup2dup3dup4dup5dup6dup7dup8dup9dup10dup11dup12dup13dup14dup15dup16dup17dup18dup19dup20dup21dup22dup23dup24dup25dup26dup27" fmla="*/ 0 w 2677367"/>
              <a:gd name="connsiteY2dup0dup1dup2dup3dup4dup5dup6dup7dup8dup9dup10dup11dup12dup13dup14dup15dup16dup17dup18dup19dup20dup21dup22dup23dup24dup25dup26dup27" fmla="*/ 7788237 h 7788237"/>
              <a:gd name="connsiteX3dup0dup1dup2dup3dup4dup5dup6dup7dup8dup9dup10dup11dup12dup13dup14dup15dup16dup17dup18dup19dup20dup21dup22dup23dup24dup25dup26dup27" fmla="*/ 0 w 2677367"/>
              <a:gd name="connsiteY3dup0dup1dup2dup3dup4dup5dup6dup7dup8dup9dup10dup11dup12dup13dup14dup15dup16dup17dup18dup19dup20dup21dup22dup23dup24dup25dup26dup27" fmla="*/ 2917 h 7788237"/>
              <a:gd name="connsiteX4dup0dup1dup2dup3dup4dup5dup6dup7dup8dup9dup10dup11dup12dup13dup14dup15dup16dup17dup18dup19dup20dup21dup22dup23dup24dup25dup26dup27" fmla="*/ 2280682 w 2677367"/>
              <a:gd name="connsiteY4dup0dup1dup2dup3dup4dup5dup6dup7dup8dup9dup10dup11dup12dup13dup14dup15dup16dup17dup18dup19dup20dup21dup22dup23dup24dup25dup26dup27" fmla="*/ 0 h 7788237"/>
              <a:gd name="connsiteX5dup0dup1dup2dup3dup4dup5dup6dup7dup8dup9dup10dup11dup12dup13dup14dup15dup16dup17dup18dup19dup20dup21dup22dup23dup24dup25dup26" fmla="*/ 2677367 w 2677367"/>
              <a:gd name="connsiteY5dup0dup1dup2dup3dup4dup5dup6dup7dup8dup9dup10dup11dup12dup13dup14dup15dup16dup17dup18dup19dup20dup21dup22dup23dup24dup25dup26" fmla="*/ 1378876 h 7788237"/>
              <a:gd name="connsiteX0dup0dup1dup2dup3dup4dup5dup6dup7dup8dup9dup10dup11dup12dup13dup14dup15dup16dup17dup18dup19dup20dup21dup22dup23dup24dup25dup26dup27dup28" fmla="*/ 2677367 w 2677367"/>
              <a:gd name="connsiteY0dup0dup1dup2dup3dup4dup5dup6dup7dup8dup9dup10dup11dup12dup13dup14dup15dup16dup17dup18dup19dup20dup21dup22dup23dup24dup25dup26dup27dup28" fmla="*/ 1378876 h 7788237"/>
              <a:gd name="connsiteX1dup0dup1dup2dup3dup4dup5dup6dup7dup8dup9dup10dup11dup12dup13dup14dup15dup16dup17dup18dup19dup20dup21dup22dup23dup24dup25dup26dup27dup28" fmla="*/ 852144 w 2677367"/>
              <a:gd name="connsiteY1dup0dup1dup2dup3dup4dup5dup6dup7dup8dup9dup10dup11dup12dup13dup14dup15dup16dup17dup18dup19dup20dup21dup22dup23dup24dup25dup26dup27dup28" fmla="*/ 7788237 h 7788237"/>
              <a:gd name="connsiteX2dup0dup1dup2dup3dup4dup5dup6dup7dup8dup9dup10dup11dup12dup13dup14dup15dup16dup17dup18dup19dup20dup21dup22dup23dup24dup25dup26dup27dup28" fmla="*/ 0 w 2677367"/>
              <a:gd name="connsiteY2dup0dup1dup2dup3dup4dup5dup6dup7dup8dup9dup10dup11dup12dup13dup14dup15dup16dup17dup18dup19dup20dup21dup22dup23dup24dup25dup26dup27dup28" fmla="*/ 7788237 h 7788237"/>
              <a:gd name="connsiteX3dup0dup1dup2dup3dup4dup5dup6dup7dup8dup9dup10dup11dup12dup13dup14dup15dup16dup17dup18dup19dup20dup21dup22dup23dup24dup25dup26dup27dup28" fmla="*/ 0 w 2677367"/>
              <a:gd name="connsiteY3dup0dup1dup2dup3dup4dup5dup6dup7dup8dup9dup10dup11dup12dup13dup14dup15dup16dup17dup18dup19dup20dup21dup22dup23dup24dup25dup26dup27dup28" fmla="*/ 2917 h 7788237"/>
              <a:gd name="connsiteX4dup0dup1dup2dup3dup4dup5dup6dup7dup8dup9dup10dup11dup12dup13dup14dup15dup16dup17dup18dup19dup20dup21dup22dup23dup24dup25dup26dup27dup28" fmla="*/ 2280682 w 2677367"/>
              <a:gd name="connsiteY4dup0dup1dup2dup3dup4dup5dup6dup7dup8dup9dup10dup11dup12dup13dup14dup15dup16dup17dup18dup19dup20dup21dup22dup23dup24dup25dup26dup27dup28" fmla="*/ 0 h 7788237"/>
              <a:gd name="connsiteX5dup0dup1dup2dup3dup4dup5dup6dup7dup8dup9dup10dup11dup12dup13dup14dup15dup16dup17dup18dup19dup20dup21dup22dup23dup24dup25dup26dup27" fmla="*/ 2677367 w 2677367"/>
              <a:gd name="connsiteY5dup0dup1dup2dup3dup4dup5dup6dup7dup8dup9dup10dup11dup12dup13dup14dup15dup16dup17dup18dup19dup20dup21dup22dup23dup24dup25dup26dup27" fmla="*/ 1378876 h 7788237"/>
              <a:gd name="connsiteX0dup0dup1dup2dup3dup4dup5dup6dup7dup8dup9dup10dup11dup12dup13dup14dup15dup16dup17dup18dup19dup20dup21dup22dup23dup24dup25dup26dup27dup28dup29" fmla="*/ 2677367 w 2677367"/>
              <a:gd name="connsiteY0dup0dup1dup2dup3dup4dup5dup6dup7dup8dup9dup10dup11dup12dup13dup14dup15dup16dup17dup18dup19dup20dup21dup22dup23dup24dup25dup26dup27dup28dup29" fmla="*/ 1378876 h 7788237"/>
              <a:gd name="connsiteX1dup0dup1dup2dup3dup4dup5dup6dup7dup8dup9dup10dup11dup12dup13dup14dup15dup16dup17dup18dup19dup20dup21dup22dup23dup24dup25dup26dup27dup28dup29" fmla="*/ 856378 w 2677367"/>
              <a:gd name="connsiteY1dup0dup1dup2dup3dup4dup5dup6dup7dup8dup9dup10dup11dup12dup13dup14dup15dup16dup17dup18dup19dup20dup21dup22dup23dup24dup25dup26dup27dup28dup29" fmla="*/ 7771303 h 7788237"/>
              <a:gd name="connsiteX2dup0dup1dup2dup3dup4dup5dup6dup7dup8dup9dup10dup11dup12dup13dup14dup15dup16dup17dup18dup19dup20dup21dup22dup23dup24dup25dup26dup27dup28dup29" fmla="*/ 0 w 2677367"/>
              <a:gd name="connsiteY2dup0dup1dup2dup3dup4dup5dup6dup7dup8dup9dup10dup11dup12dup13dup14dup15dup16dup17dup18dup19dup20dup21dup22dup23dup24dup25dup26dup27dup28dup29" fmla="*/ 7788237 h 7788237"/>
              <a:gd name="connsiteX3dup0dup1dup2dup3dup4dup5dup6dup7dup8dup9dup10dup11dup12dup13dup14dup15dup16dup17dup18dup19dup20dup21dup22dup23dup24dup25dup26dup27dup28dup29" fmla="*/ 0 w 2677367"/>
              <a:gd name="connsiteY3dup0dup1dup2dup3dup4dup5dup6dup7dup8dup9dup10dup11dup12dup13dup14dup15dup16dup17dup18dup19dup20dup21dup22dup23dup24dup25dup26dup27dup28dup29" fmla="*/ 2917 h 7788237"/>
              <a:gd name="connsiteX4dup0dup1dup2dup3dup4dup5dup6dup7dup8dup9dup10dup11dup12dup13dup14dup15dup16dup17dup18dup19dup20dup21dup22dup23dup24dup25dup26dup27dup28dup29" fmla="*/ 2280682 w 2677367"/>
              <a:gd name="connsiteY4dup0dup1dup2dup3dup4dup5dup6dup7dup8dup9dup10dup11dup12dup13dup14dup15dup16dup17dup18dup19dup20dup21dup22dup23dup24dup25dup26dup27dup28dup29" fmla="*/ 0 h 7788237"/>
              <a:gd name="connsiteX5dup0dup1dup2dup3dup4dup5dup6dup7dup8dup9dup10dup11dup12dup13dup14dup15dup16dup17dup18dup19dup20dup21dup22dup23dup24dup25dup26dup27dup28" fmla="*/ 2677367 w 2677367"/>
              <a:gd name="connsiteY5dup0dup1dup2dup3dup4dup5dup6dup7dup8dup9dup10dup11dup12dup13dup14dup15dup16dup17dup18dup19dup20dup21dup22dup23dup24dup25dup26dup27dup28" fmla="*/ 1378876 h 7788237"/>
              <a:gd name="connsiteX0dup0dup1dup2dup3dup4dup5dup6dup7dup8dup9dup10dup11dup12dup13dup14dup15dup16dup17dup18dup19dup20dup21dup22dup23dup24dup25dup26dup27dup28dup29dup30" fmla="*/ 2677367 w 2677367"/>
              <a:gd name="connsiteY0dup0dup1dup2dup3dup4dup5dup6dup7dup8dup9dup10dup11dup12dup13dup14dup15dup16dup17dup18dup19dup20dup21dup22dup23dup24dup25dup26dup27dup28dup29dup30" fmla="*/ 1378876 h 7771303"/>
              <a:gd name="connsiteX1dup0dup1dup2dup3dup4dup5dup6dup7dup8dup9dup10dup11dup12dup13dup14dup15dup16dup17dup18dup19dup20dup21dup22dup23dup24dup25dup26dup27dup28dup29dup30" fmla="*/ 856378 w 2677367"/>
              <a:gd name="connsiteY1dup0dup1dup2dup3dup4dup5dup6dup7dup8dup9dup10dup11dup12dup13dup14dup15dup16dup17dup18dup19dup20dup21dup22dup23dup24dup25dup26dup27dup28dup29dup30" fmla="*/ 7771303 h 7771303"/>
              <a:gd name="connsiteX2dup0dup1dup2dup3dup4dup5dup6dup7dup8dup9dup10dup11dup12dup13dup14dup15dup16dup17dup18dup19dup20dup21dup22dup23dup24dup25dup26dup27dup28dup29dup30" fmla="*/ 0 w 2677367"/>
              <a:gd name="connsiteY2dup0dup1dup2dup3dup4dup5dup6dup7dup8dup9dup10dup11dup12dup13dup14dup15dup16dup17dup18dup19dup20dup21dup22dup23dup24dup25dup26dup27dup28dup29dup30" fmla="*/ 7767071 h 7771303"/>
              <a:gd name="connsiteX3dup0dup1dup2dup3dup4dup5dup6dup7dup8dup9dup10dup11dup12dup13dup14dup15dup16dup17dup18dup19dup20dup21dup22dup23dup24dup25dup26dup27dup28dup29dup30" fmla="*/ 0 w 2677367"/>
              <a:gd name="connsiteY3dup0dup1dup2dup3dup4dup5dup6dup7dup8dup9dup10dup11dup12dup13dup14dup15dup16dup17dup18dup19dup20dup21dup22dup23dup24dup25dup26dup27dup28dup29dup30" fmla="*/ 2917 h 7771303"/>
              <a:gd name="connsiteX4dup0dup1dup2dup3dup4dup5dup6dup7dup8dup9dup10dup11dup12dup13dup14dup15dup16dup17dup18dup19dup20dup21dup22dup23dup24dup25dup26dup27dup28dup29dup30" fmla="*/ 2280682 w 2677367"/>
              <a:gd name="connsiteY4dup0dup1dup2dup3dup4dup5dup6dup7dup8dup9dup10dup11dup12dup13dup14dup15dup16dup17dup18dup19dup20dup21dup22dup23dup24dup25dup26dup27dup28dup29dup30" fmla="*/ 0 h 7771303"/>
              <a:gd name="connsiteX5dup0dup1dup2dup3dup4dup5dup6dup7dup8dup9dup10dup11dup12dup13dup14dup15dup16dup17dup18dup19dup20dup21dup22dup23dup24dup25dup26dup27dup28dup29" fmla="*/ 2677367 w 2677367"/>
              <a:gd name="connsiteY5dup0dup1dup2dup3dup4dup5dup6dup7dup8dup9dup10dup11dup12dup13dup14dup15dup16dup17dup18dup19dup20dup21dup22dup23dup24dup25dup26dup27dup28dup29" fmla="*/ 1378876 h 7771303"/>
              <a:gd name="connsiteX0dup0dup1dup2dup3dup4dup5dup6dup7dup8dup9dup10dup11dup12dup13dup14dup15dup16dup17dup18dup19dup20dup21dup22dup23dup24dup25dup26dup27dup28dup29dup30dup31" fmla="*/ 2677367 w 2677367"/>
              <a:gd name="connsiteY0dup0dup1dup2dup3dup4dup5dup6dup7dup8dup9dup10dup11dup12dup13dup14dup15dup16dup17dup18dup19dup20dup21dup22dup23dup24dup25dup26dup27dup28dup29dup30dup31" fmla="*/ 1378876 h 7771303"/>
              <a:gd name="connsiteX1dup0dup1dup2dup3dup4dup5dup6dup7dup8dup9dup10dup11dup12dup13dup14dup15dup16dup17dup18dup19dup20dup21dup22dup23dup24dup25dup26dup27dup28dup29dup30dup31" fmla="*/ 856378 w 2677367"/>
              <a:gd name="connsiteY1dup0dup1dup2dup3dup4dup5dup6dup7dup8dup9dup10dup11dup12dup13dup14dup15dup16dup17dup18dup19dup20dup21dup22dup23dup24dup25dup26dup27dup28dup29dup30dup31" fmla="*/ 7771303 h 7771303"/>
              <a:gd name="connsiteX2dup0dup1dup2dup3dup4dup5dup6dup7dup8dup9dup10dup11dup12dup13dup14dup15dup16dup17dup18dup19dup20dup21dup22dup23dup24dup25dup26dup27dup28dup29dup30dup31" fmla="*/ 0 w 2677367"/>
              <a:gd name="connsiteY2dup0dup1dup2dup3dup4dup5dup6dup7dup8dup9dup10dup11dup12dup13dup14dup15dup16dup17dup18dup19dup20dup21dup22dup23dup24dup25dup26dup27dup28dup29dup30dup31" fmla="*/ 7767071 h 7771303"/>
              <a:gd name="connsiteX3dup0dup1dup2dup3dup4dup5dup6dup7dup8dup9dup10dup11dup12dup13dup14dup15dup16dup17dup18dup19dup20dup21dup22dup23dup24dup25dup26dup27dup28dup29dup30dup31" fmla="*/ 0 w 2677367"/>
              <a:gd name="connsiteY3dup0dup1dup2dup3dup4dup5dup6dup7dup8dup9dup10dup11dup12dup13dup14dup15dup16dup17dup18dup19dup20dup21dup22dup23dup24dup25dup26dup27dup28dup29dup30dup31" fmla="*/ 2917 h 7771303"/>
              <a:gd name="connsiteX4dup0dup1dup2dup3dup4dup5dup6dup7dup8dup9dup10dup11dup12dup13dup14dup15dup16dup17dup18dup19dup20dup21dup22dup23dup24dup25dup26dup27dup28dup29dup30dup31" fmla="*/ 2280682 w 2677367"/>
              <a:gd name="connsiteY4dup0dup1dup2dup3dup4dup5dup6dup7dup8dup9dup10dup11dup12dup13dup14dup15dup16dup17dup18dup19dup20dup21dup22dup23dup24dup25dup26dup27dup28dup29dup30dup31" fmla="*/ 0 h 7771303"/>
              <a:gd name="connsiteX5dup0dup1dup2dup3dup4dup5dup6dup7dup8dup9dup10dup11dup12dup13dup14dup15dup16dup17dup18dup19dup20dup21dup22dup23dup24dup25dup26dup27dup28dup29dup30" fmla="*/ 2677367 w 2677367"/>
              <a:gd name="connsiteY5dup0dup1dup2dup3dup4dup5dup6dup7dup8dup9dup10dup11dup12dup13dup14dup15dup16dup17dup18dup19dup20dup21dup22dup23dup24dup25dup26dup27dup28dup29dup30" fmla="*/ 1378876 h 7771303"/>
              <a:gd name="connsiteX0dup0dup1dup2dup3dup4dup5dup6dup7dup8dup9dup10dup11dup12dup13dup14dup15dup16dup17dup18dup19dup20dup21dup22dup23dup24dup25dup26dup27dup28dup29dup30dup31dup32" fmla="*/ 2677367 w 2677367"/>
              <a:gd name="connsiteY0dup0dup1dup2dup3dup4dup5dup6dup7dup8dup9dup10dup11dup12dup13dup14dup15dup16dup17dup18dup19dup20dup21dup22dup23dup24dup25dup26dup27dup28dup29dup30dup31dup32" fmla="*/ 1378876 h 7771303"/>
              <a:gd name="connsiteX1dup0dup1dup2dup3dup4dup5dup6dup7dup8dup9dup10dup11dup12dup13dup14dup15dup16dup17dup18dup19dup20dup21dup22dup23dup24dup25dup26dup27dup28dup29dup30dup31dup32" fmla="*/ 856378 w 2677367"/>
              <a:gd name="connsiteY1dup0dup1dup2dup3dup4dup5dup6dup7dup8dup9dup10dup11dup12dup13dup14dup15dup16dup17dup18dup19dup20dup21dup22dup23dup24dup25dup26dup27dup28dup29dup30dup31dup32" fmla="*/ 7771303 h 7771303"/>
              <a:gd name="connsiteX2dup0dup1dup2dup3dup4dup5dup6dup7dup8dup9dup10dup11dup12dup13dup14dup15dup16dup17dup18dup19dup20dup21dup22dup23dup24dup25dup26dup27dup28dup29dup30dup31dup32" fmla="*/ 0 w 2677367"/>
              <a:gd name="connsiteY2dup0dup1dup2dup3dup4dup5dup6dup7dup8dup9dup10dup11dup12dup13dup14dup15dup16dup17dup18dup19dup20dup21dup22dup23dup24dup25dup26dup27dup28dup29dup30dup31dup32" fmla="*/ 7767071 h 7771303"/>
              <a:gd name="connsiteX3dup0dup1dup2dup3dup4dup5dup6dup7dup8dup9dup10dup11dup12dup13dup14dup15dup16dup17dup18dup19dup20dup21dup22dup23dup24dup25dup26dup27dup28dup29dup30dup31dup32" fmla="*/ 0 w 2677367"/>
              <a:gd name="connsiteY3dup0dup1dup2dup3dup4dup5dup6dup7dup8dup9dup10dup11dup12dup13dup14dup15dup16dup17dup18dup19dup20dup21dup22dup23dup24dup25dup26dup27dup28dup29dup30dup31dup32" fmla="*/ 2917 h 7771303"/>
              <a:gd name="connsiteX4dup0dup1dup2dup3dup4dup5dup6dup7dup8dup9dup10dup11dup12dup13dup14dup15dup16dup17dup18dup19dup20dup21dup22dup23dup24dup25dup26dup27dup28dup29dup30dup31dup32" fmla="*/ 2280682 w 2677367"/>
              <a:gd name="connsiteY4dup0dup1dup2dup3dup4dup5dup6dup7dup8dup9dup10dup11dup12dup13dup14dup15dup16dup17dup18dup19dup20dup21dup22dup23dup24dup25dup26dup27dup28dup29dup30dup31dup32" fmla="*/ 0 h 7771303"/>
              <a:gd name="connsiteX5dup0dup1dup2dup3dup4dup5dup6dup7dup8dup9dup10dup11dup12dup13dup14dup15dup16dup17dup18dup19dup20dup21dup22dup23dup24dup25dup26dup27dup28dup29dup30dup31" fmla="*/ 2677367 w 2677367"/>
              <a:gd name="connsiteY5dup0dup1dup2dup3dup4dup5dup6dup7dup8dup9dup10dup11dup12dup13dup14dup15dup16dup17dup18dup19dup20dup21dup22dup23dup24dup25dup26dup27dup28dup29dup30dup31" fmla="*/ 1378876 h 7771303"/>
              <a:gd name="connsiteX0dup0dup1dup2dup3dup4dup5dup6dup7dup8dup9dup10dup11dup12dup13dup14dup15dup16dup17dup18dup19dup20dup21dup22dup23dup24dup25dup26dup27dup28dup29dup30dup31dup32dup33" fmla="*/ 2677367 w 2677367"/>
              <a:gd name="connsiteY0dup0dup1dup2dup3dup4dup5dup6dup7dup8dup9dup10dup11dup12dup13dup14dup15dup16dup17dup18dup19dup20dup21dup22dup23dup24dup25dup26dup27dup28dup29dup30dup31dup32dup33" fmla="*/ 1378876 h 7767826"/>
              <a:gd name="connsiteX1dup0dup1dup2dup3dup4dup5dup6dup7dup8dup9dup10dup11dup12dup13dup14dup15dup16dup17dup18dup19dup20dup21dup22dup23dup24dup25dup26dup27dup28dup29dup30dup31dup32dup33" fmla="*/ 856378 w 2677367"/>
              <a:gd name="connsiteY1dup0dup1dup2dup3dup4dup5dup6dup7dup8dup9dup10dup11dup12dup13dup14dup15dup16dup17dup18dup19dup20dup21dup22dup23dup24dup25dup26dup27dup28dup29dup30dup31dup32dup33" fmla="*/ 7767826 h 7767826"/>
              <a:gd name="connsiteX2dup0dup1dup2dup3dup4dup5dup6dup7dup8dup9dup10dup11dup12dup13dup14dup15dup16dup17dup18dup19dup20dup21dup22dup23dup24dup25dup26dup27dup28dup29dup30dup31dup32dup33" fmla="*/ 0 w 2677367"/>
              <a:gd name="connsiteY2dup0dup1dup2dup3dup4dup5dup6dup7dup8dup9dup10dup11dup12dup13dup14dup15dup16dup17dup18dup19dup20dup21dup22dup23dup24dup25dup26dup27dup28dup29dup30dup31dup32dup33" fmla="*/ 7767071 h 7767826"/>
              <a:gd name="connsiteX3dup0dup1dup2dup3dup4dup5dup6dup7dup8dup9dup10dup11dup12dup13dup14dup15dup16dup17dup18dup19dup20dup21dup22dup23dup24dup25dup26dup27dup28dup29dup30dup31dup32dup33" fmla="*/ 0 w 2677367"/>
              <a:gd name="connsiteY3dup0dup1dup2dup3dup4dup5dup6dup7dup8dup9dup10dup11dup12dup13dup14dup15dup16dup17dup18dup19dup20dup21dup22dup23dup24dup25dup26dup27dup28dup29dup30dup31dup32dup33" fmla="*/ 2917 h 7767826"/>
              <a:gd name="connsiteX4dup0dup1dup2dup3dup4dup5dup6dup7dup8dup9dup10dup11dup12dup13dup14dup15dup16dup17dup18dup19dup20dup21dup22dup23dup24dup25dup26dup27dup28dup29dup30dup31dup32dup33" fmla="*/ 2280682 w 2677367"/>
              <a:gd name="connsiteY4dup0dup1dup2dup3dup4dup5dup6dup7dup8dup9dup10dup11dup12dup13dup14dup15dup16dup17dup18dup19dup20dup21dup22dup23dup24dup25dup26dup27dup28dup29dup30dup31dup32dup33" fmla="*/ 0 h 7767826"/>
              <a:gd name="connsiteX5dup0dup1dup2dup3dup4dup5dup6dup7dup8dup9dup10dup11dup12dup13dup14dup15dup16dup17dup18dup19dup20dup21dup22dup23dup24dup25dup26dup27dup28dup29dup30dup31dup32" fmla="*/ 2677367 w 2677367"/>
              <a:gd name="connsiteY5dup0dup1dup2dup3dup4dup5dup6dup7dup8dup9dup10dup11dup12dup13dup14dup15dup16dup17dup18dup19dup20dup21dup22dup23dup24dup25dup26dup27dup28dup29dup30dup31dup32" fmla="*/ 1378876 h 7767826"/>
              <a:gd name="connsiteX0dup0dup1dup2dup3dup4dup5dup6dup7dup8dup9dup10dup11dup12dup13dup14dup15dup16dup17dup18dup19dup20dup21dup22dup23dup24dup25dup26dup27dup28dup29dup30dup31dup32dup33dup34" fmla="*/ 2677367 w 2677367"/>
              <a:gd name="connsiteY0dup0dup1dup2dup3dup4dup5dup6dup7dup8dup9dup10dup11dup12dup13dup14dup15dup16dup17dup18dup19dup20dup21dup22dup23dup24dup25dup26dup27dup28dup29dup30dup31dup32dup33dup34" fmla="*/ 1378876 h 7774780"/>
              <a:gd name="connsiteX1dup0dup1dup2dup3dup4dup5dup6dup7dup8dup9dup10dup11dup12dup13dup14dup15dup16dup17dup18dup19dup20dup21dup22dup23dup24dup25dup26dup27dup28dup29dup30dup31dup32dup33dup34" fmla="*/ 856378 w 2677367"/>
              <a:gd name="connsiteY1dup0dup1dup2dup3dup4dup5dup6dup7dup8dup9dup10dup11dup12dup13dup14dup15dup16dup17dup18dup19dup20dup21dup22dup23dup24dup25dup26dup27dup28dup29dup30dup31dup32dup33dup34" fmla="*/ 7774780 h 7774780"/>
              <a:gd name="connsiteX2dup0dup1dup2dup3dup4dup5dup6dup7dup8dup9dup10dup11dup12dup13dup14dup15dup16dup17dup18dup19dup20dup21dup22dup23dup24dup25dup26dup27dup28dup29dup30dup31dup32dup33dup34" fmla="*/ 0 w 2677367"/>
              <a:gd name="connsiteY2dup0dup1dup2dup3dup4dup5dup6dup7dup8dup9dup10dup11dup12dup13dup14dup15dup16dup17dup18dup19dup20dup21dup22dup23dup24dup25dup26dup27dup28dup29dup30dup31dup32dup33dup34" fmla="*/ 7767071 h 7774780"/>
              <a:gd name="connsiteX3dup0dup1dup2dup3dup4dup5dup6dup7dup8dup9dup10dup11dup12dup13dup14dup15dup16dup17dup18dup19dup20dup21dup22dup23dup24dup25dup26dup27dup28dup29dup30dup31dup32dup33dup34" fmla="*/ 0 w 2677367"/>
              <a:gd name="connsiteY3dup0dup1dup2dup3dup4dup5dup6dup7dup8dup9dup10dup11dup12dup13dup14dup15dup16dup17dup18dup19dup20dup21dup22dup23dup24dup25dup26dup27dup28dup29dup30dup31dup32dup33dup34" fmla="*/ 2917 h 7774780"/>
              <a:gd name="connsiteX4dup0dup1dup2dup3dup4dup5dup6dup7dup8dup9dup10dup11dup12dup13dup14dup15dup16dup17dup18dup19dup20dup21dup22dup23dup24dup25dup26dup27dup28dup29dup30dup31dup32dup33dup34" fmla="*/ 2280682 w 2677367"/>
              <a:gd name="connsiteY4dup0dup1dup2dup3dup4dup5dup6dup7dup8dup9dup10dup11dup12dup13dup14dup15dup16dup17dup18dup19dup20dup21dup22dup23dup24dup25dup26dup27dup28dup29dup30dup31dup32dup33dup34" fmla="*/ 0 h 7774780"/>
              <a:gd name="connsiteX5dup0dup1dup2dup3dup4dup5dup6dup7dup8dup9dup10dup11dup12dup13dup14dup15dup16dup17dup18dup19dup20dup21dup22dup23dup24dup25dup26dup27dup28dup29dup30dup31dup32dup33" fmla="*/ 2677367 w 2677367"/>
              <a:gd name="connsiteY5dup0dup1dup2dup3dup4dup5dup6dup7dup8dup9dup10dup11dup12dup13dup14dup15dup16dup17dup18dup19dup20dup21dup22dup23dup24dup25dup26dup27dup28dup29dup30dup31dup32dup33" fmla="*/ 1378876 h 7774780"/>
              <a:gd name="connsiteX0dup0dup1dup2dup3dup4dup5dup6dup7dup8dup9dup10dup11dup12dup13dup14dup15dup16dup17dup18dup19dup20dup21dup22dup23dup24dup25dup26dup27dup28dup29dup30dup31dup32dup33dup34dup35" fmla="*/ 2677367 w 2677367"/>
              <a:gd name="connsiteY0dup0dup1dup2dup3dup4dup5dup6dup7dup8dup9dup10dup11dup12dup13dup14dup15dup16dup17dup18dup19dup20dup21dup22dup23dup24dup25dup26dup27dup28dup29dup30dup31dup32dup33dup34dup35" fmla="*/ 1378876 h 7777502"/>
              <a:gd name="connsiteX1dup0dup1dup2dup3dup4dup5dup6dup7dup8dup9dup10dup11dup12dup13dup14dup15dup16dup17dup18dup19dup20dup21dup22dup23dup24dup25dup26dup27dup28dup29dup30dup31dup32dup33dup34dup35" fmla="*/ 856378 w 2677367"/>
              <a:gd name="connsiteY1dup0dup1dup2dup3dup4dup5dup6dup7dup8dup9dup10dup11dup12dup13dup14dup15dup16dup17dup18dup19dup20dup21dup22dup23dup24dup25dup26dup27dup28dup29dup30dup31dup32dup33dup34dup35" fmla="*/ 7774780 h 7777502"/>
              <a:gd name="connsiteX2dup0dup1dup2dup3dup4dup5dup6dup7dup8dup9dup10dup11dup12dup13dup14dup15dup16dup17dup18dup19dup20dup21dup22dup23dup24dup25dup26dup27dup28dup29dup30dup31dup32dup33dup34dup35" fmla="*/ 0 w 2677367"/>
              <a:gd name="connsiteY2dup0dup1dup2dup3dup4dup5dup6dup7dup8dup9dup10dup11dup12dup13dup14dup15dup16dup17dup18dup19dup20dup21dup22dup23dup24dup25dup26dup27dup28dup29dup30dup31dup32dup33dup34dup35" fmla="*/ 7777502 h 7777502"/>
              <a:gd name="connsiteX3dup0dup1dup2dup3dup4dup5dup6dup7dup8dup9dup10dup11dup12dup13dup14dup15dup16dup17dup18dup19dup20dup21dup22dup23dup24dup25dup26dup27dup28dup29dup30dup31dup32dup33dup34dup35" fmla="*/ 0 w 2677367"/>
              <a:gd name="connsiteY3dup0dup1dup2dup3dup4dup5dup6dup7dup8dup9dup10dup11dup12dup13dup14dup15dup16dup17dup18dup19dup20dup21dup22dup23dup24dup25dup26dup27dup28dup29dup30dup31dup32dup33dup34dup35" fmla="*/ 2917 h 7777502"/>
              <a:gd name="connsiteX4dup0dup1dup2dup3dup4dup5dup6dup7dup8dup9dup10dup11dup12dup13dup14dup15dup16dup17dup18dup19dup20dup21dup22dup23dup24dup25dup26dup27dup28dup29dup30dup31dup32dup33dup34dup35" fmla="*/ 2280682 w 2677367"/>
              <a:gd name="connsiteY4dup0dup1dup2dup3dup4dup5dup6dup7dup8dup9dup10dup11dup12dup13dup14dup15dup16dup17dup18dup19dup20dup21dup22dup23dup24dup25dup26dup27dup28dup29dup30dup31dup32dup33dup34dup35" fmla="*/ 0 h 7777502"/>
              <a:gd name="connsiteX5dup0dup1dup2dup3dup4dup5dup6dup7dup8dup9dup10dup11dup12dup13dup14dup15dup16dup17dup18dup19dup20dup21dup22dup23dup24dup25dup26dup27dup28dup29dup30dup31dup32dup33dup34" fmla="*/ 2677367 w 2677367"/>
              <a:gd name="connsiteY5dup0dup1dup2dup3dup4dup5dup6dup7dup8dup9dup10dup11dup12dup13dup14dup15dup16dup17dup18dup19dup20dup21dup22dup23dup24dup25dup26dup27dup28dup29dup30dup31dup32dup33dup34" fmla="*/ 1378876 h 7777502"/>
              <a:gd name="connsiteX0dup0dup1dup2dup3dup4dup5dup6dup7dup8dup9dup10dup11dup12dup13dup14dup15dup16dup17dup18dup19dup20dup21dup22dup23dup24dup25dup26dup27dup28dup29dup30dup31dup32dup33dup34dup35dup36" fmla="*/ 2677367 w 2677367"/>
              <a:gd name="connsiteY0dup0dup1dup2dup3dup4dup5dup6dup7dup8dup9dup10dup11dup12dup13dup14dup15dup16dup17dup18dup19dup20dup21dup22dup23dup24dup25dup26dup27dup28dup29dup30dup31dup32dup33dup34dup35dup36" fmla="*/ 1378876 h 7774780"/>
              <a:gd name="connsiteX1dup0dup1dup2dup3dup4dup5dup6dup7dup8dup9dup10dup11dup12dup13dup14dup15dup16dup17dup18dup19dup20dup21dup22dup23dup24dup25dup26dup27dup28dup29dup30dup31dup32dup33dup34dup35dup36" fmla="*/ 856378 w 2677367"/>
              <a:gd name="connsiteY1dup0dup1dup2dup3dup4dup5dup6dup7dup8dup9dup10dup11dup12dup13dup14dup15dup16dup17dup18dup19dup20dup21dup22dup23dup24dup25dup26dup27dup28dup29dup30dup31dup32dup33dup34dup35dup36" fmla="*/ 7774780 h 7774780"/>
              <a:gd name="connsiteX2dup0dup1dup2dup3dup4dup5dup6dup7dup8dup9dup10dup11dup12dup13dup14dup15dup16dup17dup18dup19dup20dup21dup22dup23dup24dup25dup26dup27dup28dup29dup30dup31dup32dup33dup34dup35dup36" fmla="*/ 3477 w 2677367"/>
              <a:gd name="connsiteY2dup0dup1dup2dup3dup4dup5dup6dup7dup8dup9dup10dup11dup12dup13dup14dup15dup16dup17dup18dup19dup20dup21dup22dup23dup24dup25dup26dup27dup28dup29dup30dup31dup32dup33dup34dup35dup36" fmla="*/ 7770548 h 7774780"/>
              <a:gd name="connsiteX3dup0dup1dup2dup3dup4dup5dup6dup7dup8dup9dup10dup11dup12dup13dup14dup15dup16dup17dup18dup19dup20dup21dup22dup23dup24dup25dup26dup27dup28dup29dup30dup31dup32dup33dup34dup35dup36" fmla="*/ 0 w 2677367"/>
              <a:gd name="connsiteY3dup0dup1dup2dup3dup4dup5dup6dup7dup8dup9dup10dup11dup12dup13dup14dup15dup16dup17dup18dup19dup20dup21dup22dup23dup24dup25dup26dup27dup28dup29dup30dup31dup32dup33dup34dup35dup36" fmla="*/ 2917 h 7774780"/>
              <a:gd name="connsiteX4dup0dup1dup2dup3dup4dup5dup6dup7dup8dup9dup10dup11dup12dup13dup14dup15dup16dup17dup18dup19dup20dup21dup22dup23dup24dup25dup26dup27dup28dup29dup30dup31dup32dup33dup34dup35dup36" fmla="*/ 2280682 w 2677367"/>
              <a:gd name="connsiteY4dup0dup1dup2dup3dup4dup5dup6dup7dup8dup9dup10dup11dup12dup13dup14dup15dup16dup17dup18dup19dup20dup21dup22dup23dup24dup25dup26dup27dup28dup29dup30dup31dup32dup33dup34dup35dup36" fmla="*/ 0 h 7774780"/>
              <a:gd name="connsiteX5dup0dup1dup2dup3dup4dup5dup6dup7dup8dup9dup10dup11dup12dup13dup14dup15dup16dup17dup18dup19dup20dup21dup22dup23dup24dup25dup26dup27dup28dup29dup30dup31dup32dup33dup34dup35" fmla="*/ 2677367 w 2677367"/>
              <a:gd name="connsiteY5dup0dup1dup2dup3dup4dup5dup6dup7dup8dup9dup10dup11dup12dup13dup14dup15dup16dup17dup18dup19dup20dup21dup22dup23dup24dup25dup26dup27dup28dup29dup30dup31dup32dup33dup34dup35" fmla="*/ 1378876 h 7774780"/>
              <a:gd name="connsiteX0dup0dup1dup2dup3dup4dup5dup6dup7dup8dup9dup10dup11dup12dup13dup14dup15dup16dup17dup18dup19dup20dup21dup22dup23dup24dup25dup26dup27dup28dup29dup30dup31dup32dup33dup34dup35dup36dup37" fmla="*/ 2677367 w 2677367"/>
              <a:gd name="connsiteY0dup0dup1dup2dup3dup4dup5dup6dup7dup8dup9dup10dup11dup12dup13dup14dup15dup16dup17dup18dup19dup20dup21dup22dup23dup24dup25dup26dup27dup28dup29dup30dup31dup32dup33dup34dup35dup36dup37" fmla="*/ 1378876 h 7774780"/>
              <a:gd name="connsiteX1dup0dup1dup2dup3dup4dup5dup6dup7dup8dup9dup10dup11dup12dup13dup14dup15dup16dup17dup18dup19dup20dup21dup22dup23dup24dup25dup26dup27dup28dup29dup30dup31dup32dup33dup34dup35dup36dup37" fmla="*/ 856378 w 2677367"/>
              <a:gd name="connsiteY1dup0dup1dup2dup3dup4dup5dup6dup7dup8dup9dup10dup11dup12dup13dup14dup15dup16dup17dup18dup19dup20dup21dup22dup23dup24dup25dup26dup27dup28dup29dup30dup31dup32dup33dup34dup35dup36dup37" fmla="*/ 7774780 h 7774780"/>
              <a:gd name="connsiteX2dup0dup1dup2dup3dup4dup5dup6dup7dup8dup9dup10dup11dup12dup13dup14dup15dup16dup17dup18dup19dup20dup21dup22dup23dup24dup25dup26dup27dup28dup29dup30dup31dup32dup33dup34dup35dup36dup37" fmla="*/ 3477 w 2677367"/>
              <a:gd name="connsiteY2dup0dup1dup2dup3dup4dup5dup6dup7dup8dup9dup10dup11dup12dup13dup14dup15dup16dup17dup18dup19dup20dup21dup22dup23dup24dup25dup26dup27dup28dup29dup30dup31dup32dup33dup34dup35dup36dup37" fmla="*/ 7774024 h 7774780"/>
              <a:gd name="connsiteX3dup0dup1dup2dup3dup4dup5dup6dup7dup8dup9dup10dup11dup12dup13dup14dup15dup16dup17dup18dup19dup20dup21dup22dup23dup24dup25dup26dup27dup28dup29dup30dup31dup32dup33dup34dup35dup36dup37" fmla="*/ 0 w 2677367"/>
              <a:gd name="connsiteY3dup0dup1dup2dup3dup4dup5dup6dup7dup8dup9dup10dup11dup12dup13dup14dup15dup16dup17dup18dup19dup20dup21dup22dup23dup24dup25dup26dup27dup28dup29dup30dup31dup32dup33dup34dup35dup36dup37" fmla="*/ 2917 h 7774780"/>
              <a:gd name="connsiteX4dup0dup1dup2dup3dup4dup5dup6dup7dup8dup9dup10dup11dup12dup13dup14dup15dup16dup17dup18dup19dup20dup21dup22dup23dup24dup25dup26dup27dup28dup29dup30dup31dup32dup33dup34dup35dup36dup37" fmla="*/ 2280682 w 2677367"/>
              <a:gd name="connsiteY4dup0dup1dup2dup3dup4dup5dup6dup7dup8dup9dup10dup11dup12dup13dup14dup15dup16dup17dup18dup19dup20dup21dup22dup23dup24dup25dup26dup27dup28dup29dup30dup31dup32dup33dup34dup35dup36dup37" fmla="*/ 0 h 7774780"/>
              <a:gd name="connsiteX5dup0dup1dup2dup3dup4dup5dup6dup7dup8dup9dup10dup11dup12dup13dup14dup15dup16dup17dup18dup19dup20dup21dup22dup23dup24dup25dup26dup27dup28dup29dup30dup31dup32dup33dup34dup35dup36" fmla="*/ 2677367 w 2677367"/>
              <a:gd name="connsiteY5dup0dup1dup2dup3dup4dup5dup6dup7dup8dup9dup10dup11dup12dup13dup14dup15dup16dup17dup18dup19dup20dup21dup22dup23dup24dup25dup26dup27dup28dup29dup30dup31dup32dup33dup34dup35dup36" fmla="*/ 1378876 h 7774780"/>
              <a:gd name="connsiteX0dup0dup1dup2dup3dup4dup5dup6dup7dup8dup9dup10dup11dup12dup13dup14dup15dup16dup17dup18dup19dup20dup21dup22dup23dup24dup25dup26dup27dup28dup29dup30dup31dup32dup33dup34dup35dup36dup37dup38" fmla="*/ 2673890 w 2673890"/>
              <a:gd name="connsiteY0dup0dup1dup2dup3dup4dup5dup6dup7dup8dup9dup10dup11dup12dup13dup14dup15dup16dup17dup18dup19dup20dup21dup22dup23dup24dup25dup26dup27dup28dup29dup30dup31dup32dup33dup34dup35dup36dup37dup38" fmla="*/ 1378876 h 7774780"/>
              <a:gd name="connsiteX1dup0dup1dup2dup3dup4dup5dup6dup7dup8dup9dup10dup11dup12dup13dup14dup15dup16dup17dup18dup19dup20dup21dup22dup23dup24dup25dup26dup27dup28dup29dup30dup31dup32dup33dup34dup35dup36dup37dup38" fmla="*/ 852901 w 2673890"/>
              <a:gd name="connsiteY1dup0dup1dup2dup3dup4dup5dup6dup7dup8dup9dup10dup11dup12dup13dup14dup15dup16dup17dup18dup19dup20dup21dup22dup23dup24dup25dup26dup27dup28dup29dup30dup31dup32dup33dup34dup35dup36dup37dup38" fmla="*/ 7774780 h 7774780"/>
              <a:gd name="connsiteX2dup0dup1dup2dup3dup4dup5dup6dup7dup8dup9dup10dup11dup12dup13dup14dup15dup16dup17dup18dup19dup20dup21dup22dup23dup24dup25dup26dup27dup28dup29dup30dup31dup32dup33dup34dup35dup36dup37dup38" fmla="*/ 0 w 2673890"/>
              <a:gd name="connsiteY2dup0dup1dup2dup3dup4dup5dup6dup7dup8dup9dup10dup11dup12dup13dup14dup15dup16dup17dup18dup19dup20dup21dup22dup23dup24dup25dup26dup27dup28dup29dup30dup31dup32dup33dup34dup35dup36dup37dup38" fmla="*/ 7774024 h 7774780"/>
              <a:gd name="connsiteX3dup0dup1dup2dup3dup4dup5dup6dup7dup8dup9dup10dup11dup12dup13dup14dup15dup16dup17dup18dup19dup20dup21dup22dup23dup24dup25dup26dup27dup28dup29dup30dup31dup32dup33dup34dup35dup36dup37dup38" fmla="*/ 305959 w 2673890"/>
              <a:gd name="connsiteY3dup0dup1dup2dup3dup4dup5dup6dup7dup8dup9dup10dup11dup12dup13dup14dup15dup16dup17dup18dup19dup20dup21dup22dup23dup24dup25dup26dup27dup28dup29dup30dup31dup32dup33dup34dup35dup36dup37dup38" fmla="*/ 298446 h 7774780"/>
              <a:gd name="connsiteX4dup0dup1dup2dup3dup4dup5dup6dup7dup8dup9dup10dup11dup12dup13dup14dup15dup16dup17dup18dup19dup20dup21dup22dup23dup24dup25dup26dup27dup28dup29dup30dup31dup32dup33dup34dup35dup36dup37dup38" fmla="*/ 2277205 w 2673890"/>
              <a:gd name="connsiteY4dup0dup1dup2dup3dup4dup5dup6dup7dup8dup9dup10dup11dup12dup13dup14dup15dup16dup17dup18dup19dup20dup21dup22dup23dup24dup25dup26dup27dup28dup29dup30dup31dup32dup33dup34dup35dup36dup37dup38" fmla="*/ 0 h 7774780"/>
              <a:gd name="connsiteX5dup0dup1dup2dup3dup4dup5dup6dup7dup8dup9dup10dup11dup12dup13dup14dup15dup16dup17dup18dup19dup20dup21dup22dup23dup24dup25dup26dup27dup28dup29dup30dup31dup32dup33dup34dup35dup36dup37" fmla="*/ 2673890 w 2673890"/>
              <a:gd name="connsiteY5dup0dup1dup2dup3dup4dup5dup6dup7dup8dup9dup10dup11dup12dup13dup14dup15dup16dup17dup18dup19dup20dup21dup22dup23dup24dup25dup26dup27dup28dup29dup30dup31dup32dup33dup34dup35dup36dup37" fmla="*/ 1378876 h 7774780"/>
              <a:gd name="connsiteX0dup0dup1dup2dup3dup4dup5dup6dup7dup8dup9dup10dup11dup12dup13dup14dup15dup16dup17dup18dup19dup20dup21dup22dup23dup24dup25dup26dup27dup28dup29dup30dup31dup32dup33dup34dup35dup36dup37dup38dup39" fmla="*/ 2673890 w 2673890"/>
              <a:gd name="connsiteY0dup0dup1dup2dup3dup4dup5dup6dup7dup8dup9dup10dup11dup12dup13dup14dup15dup16dup17dup18dup19dup20dup21dup22dup23dup24dup25dup26dup27dup28dup29dup30dup31dup32dup33dup34dup35dup36dup37dup38dup39" fmla="*/ 1386389 h 7782293"/>
              <a:gd name="connsiteX1dup0dup1dup2dup3dup4dup5dup6dup7dup8dup9dup10dup11dup12dup13dup14dup15dup16dup17dup18dup19dup20dup21dup22dup23dup24dup25dup26dup27dup28dup29dup30dup31dup32dup33dup34dup35dup36dup37dup38dup39" fmla="*/ 852901 w 2673890"/>
              <a:gd name="connsiteY1dup0dup1dup2dup3dup4dup5dup6dup7dup8dup9dup10dup11dup12dup13dup14dup15dup16dup17dup18dup19dup20dup21dup22dup23dup24dup25dup26dup27dup28dup29dup30dup31dup32dup33dup34dup35dup36dup37dup38dup39" fmla="*/ 7782293 h 7782293"/>
              <a:gd name="connsiteX2dup0dup1dup2dup3dup4dup5dup6dup7dup8dup9dup10dup11dup12dup13dup14dup15dup16dup17dup18dup19dup20dup21dup22dup23dup24dup25dup26dup27dup28dup29dup30dup31dup32dup33dup34dup35dup36dup37dup38dup39" fmla="*/ 0 w 2673890"/>
              <a:gd name="connsiteY2dup0dup1dup2dup3dup4dup5dup6dup7dup8dup9dup10dup11dup12dup13dup14dup15dup16dup17dup18dup19dup20dup21dup22dup23dup24dup25dup26dup27dup28dup29dup30dup31dup32dup33dup34dup35dup36dup37dup38dup39" fmla="*/ 7781537 h 7782293"/>
              <a:gd name="connsiteX3dup0dup1dup2dup3dup4dup5dup6dup7dup8dup9dup10dup11dup12dup13dup14dup15dup16dup17dup18dup19dup20dup21dup22dup23dup24dup25dup26dup27dup28dup29dup30dup31dup32dup33dup34dup35dup36dup37dup38dup39" fmla="*/ 0 w 2673890"/>
              <a:gd name="connsiteY3dup0dup1dup2dup3dup4dup5dup6dup7dup8dup9dup10dup11dup12dup13dup14dup15dup16dup17dup18dup19dup20dup21dup22dup23dup24dup25dup26dup27dup28dup29dup30dup31dup32dup33dup34dup35dup36dup37dup38dup39" fmla="*/ 0 h 7782293"/>
              <a:gd name="connsiteX4dup0dup1dup2dup3dup4dup5dup6dup7dup8dup9dup10dup11dup12dup13dup14dup15dup16dup17dup18dup19dup20dup21dup22dup23dup24dup25dup26dup27dup28dup29dup30dup31dup32dup33dup34dup35dup36dup37dup38dup39" fmla="*/ 2277205 w 2673890"/>
              <a:gd name="connsiteY4dup0dup1dup2dup3dup4dup5dup6dup7dup8dup9dup10dup11dup12dup13dup14dup15dup16dup17dup18dup19dup20dup21dup22dup23dup24dup25dup26dup27dup28dup29dup30dup31dup32dup33dup34dup35dup36dup37dup38dup39" fmla="*/ 7513 h 7782293"/>
              <a:gd name="connsiteX5dup0dup1dup2dup3dup4dup5dup6dup7dup8dup9dup10dup11dup12dup13dup14dup15dup16dup17dup18dup19dup20dup21dup22dup23dup24dup25dup26dup27dup28dup29dup30dup31dup32dup33dup34dup35dup36dup37dup38" fmla="*/ 2673890 w 2673890"/>
              <a:gd name="connsiteY5dup0dup1dup2dup3dup4dup5dup6dup7dup8dup9dup10dup11dup12dup13dup14dup15dup16dup17dup18dup19dup20dup21dup22dup23dup24dup25dup26dup27dup28dup29dup30dup31dup32dup33dup34dup35dup36dup37dup38" fmla="*/ 1386389 h 7782293"/>
            </a:gdLst>
            <a:cxnLst>
              <a:cxn ang="0">
                <a:pos x="connsiteX0dup0dup1dup2dup3dup4dup5dup6dup7dup8dup9dup10dup11dup12dup13dup14dup15dup16dup17dup18dup19dup20dup21dup22dup23dup24dup25dup26dup27dup28dup29dup30dup31dup32dup33dup34dup35dup36dup37dup38dup39" y="connsiteY0dup0dup1dup2dup3dup4dup5dup6dup7dup8dup9dup10dup11dup12dup13dup14dup15dup16dup17dup18dup19dup20dup21dup22dup23dup24dup25dup26dup27dup28dup29dup30dup31dup32dup33dup34dup35dup36dup37dup38dup39"/>
              </a:cxn>
              <a:cxn ang="0">
                <a:pos x="connsiteX1dup0dup1dup2dup3dup4dup5dup6dup7dup8dup9dup10dup11dup12dup13dup14dup15dup16dup17dup18dup19dup20dup21dup22dup23dup24dup25dup26dup27dup28dup29dup30dup31dup32dup33dup34dup35dup36dup37dup38dup39" y="connsiteY1dup0dup1dup2dup3dup4dup5dup6dup7dup8dup9dup10dup11dup12dup13dup14dup15dup16dup17dup18dup19dup20dup21dup22dup23dup24dup25dup26dup27dup28dup29dup30dup31dup32dup33dup34dup35dup36dup37dup38dup39"/>
              </a:cxn>
              <a:cxn ang="0">
                <a:pos x="connsiteX2dup0dup1dup2dup3dup4dup5dup6dup7dup8dup9dup10dup11dup12dup13dup14dup15dup16dup17dup18dup19dup20dup21dup22dup23dup24dup25dup26dup27dup28dup29dup30dup31dup32dup33dup34dup35dup36dup37dup38dup39" y="connsiteY2dup0dup1dup2dup3dup4dup5dup6dup7dup8dup9dup10dup11dup12dup13dup14dup15dup16dup17dup18dup19dup20dup21dup22dup23dup24dup25dup26dup27dup28dup29dup30dup31dup32dup33dup34dup35dup36dup37dup38dup39"/>
              </a:cxn>
              <a:cxn ang="0">
                <a:pos x="connsiteX3dup0dup1dup2dup3dup4dup5dup6dup7dup8dup9dup10dup11dup12dup13dup14dup15dup16dup17dup18dup19dup20dup21dup22dup23dup24dup25dup26dup27dup28dup29dup30dup31dup32dup33dup34dup35dup36dup37dup38dup39" y="connsiteY3dup0dup1dup2dup3dup4dup5dup6dup7dup8dup9dup10dup11dup12dup13dup14dup15dup16dup17dup18dup19dup20dup21dup22dup23dup24dup25dup26dup27dup28dup29dup30dup31dup32dup33dup34dup35dup36dup37dup38dup39"/>
              </a:cxn>
              <a:cxn ang="0">
                <a:pos x="connsiteX4dup0dup1dup2dup3dup4dup5dup6dup7dup8dup9dup10dup11dup12dup13dup14dup15dup16dup17dup18dup19dup20dup21dup22dup23dup24dup25dup26dup27dup28dup29dup30dup31dup32dup33dup34dup35dup36dup37dup38dup39" y="connsiteY4dup0dup1dup2dup3dup4dup5dup6dup7dup8dup9dup10dup11dup12dup13dup14dup15dup16dup17dup18dup19dup20dup21dup22dup23dup24dup25dup26dup27dup28dup29dup30dup31dup32dup33dup34dup35dup36dup37dup38dup39"/>
              </a:cxn>
              <a:cxn ang="0">
                <a:pos x="connsiteX5dup0dup1dup2dup3dup4dup5dup6dup7dup8dup9dup10dup11dup12dup13dup14dup15dup16dup17dup18dup19dup20dup21dup22dup23dup24dup25dup26dup27dup28dup29dup30dup31dup32dup33dup34dup35dup36dup37dup38" y="connsiteY5dup0dup1dup2dup3dup4dup5dup6dup7dup8dup9dup10dup11dup12dup13dup14dup15dup16dup17dup18dup19dup20dup21dup22dup23dup24dup25dup26dup27dup28dup29dup30dup31dup32dup33dup34dup35dup36dup37dup38"/>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ln>
        </p:spPr>
        <p:txBody>
          <a:bodyPr anchor="ctr"/>
          <a:lstStyle>
            <a:lvl1pPr marL="91440" indent="0" algn="l">
              <a:spcBef>
                <a:spcPct val="0"/>
              </a:spcBef>
              <a:buFontTx/>
              <a:buNone/>
              <a:defRPr sz="1100" b="1" baseline="0">
                <a:solidFill>
                  <a:schemeClr val="bg1"/>
                </a:solidFill>
              </a:defRPr>
            </a:lvl1pPr>
          </a:lstStyle>
          <a:p>
            <a:r>
              <a:rPr lang="en-US" dirty="1" smtClean="0"/>
              <a:t>Click icon to </a:t>
            </a:r>
            <a:br>
              <a:rPr lang="en-US" dirty="1" smtClean="0"/>
            </a:br>
            <a:r>
              <a:rPr lang="en-US" dirty="1" smtClean="0"/>
              <a:t>insert picture</a:t>
            </a:r>
            <a:endParaRPr lang="en-US"/>
          </a:p>
        </p:txBody>
      </p:sp>
      <p:sp>
        <p:nvSpPr>
          <p:cNvPr id="14" name="Subtitle 2"/>
          <p:cNvSpPr>
            <a:spLocks noGrp="1"/>
          </p:cNvSpPr>
          <p:nvPr>
            <p:ph type="subTitle" idx="1" hasCustomPrompt="1"/>
          </p:nvPr>
        </p:nvSpPr>
        <p:spPr>
          <a:xfrm>
            <a:off x="2557219" y="3742661"/>
            <a:ext cx="6244825" cy="355851"/>
          </a:xfrm>
        </p:spPr>
        <p:txBody>
          <a:bodyPr lIns="0" rIns="0">
            <a:noAutofit/>
          </a:bodyPr>
          <a:lstStyle>
            <a:lvl1pPr marL="0" indent="0" algn="l">
              <a:buNone/>
              <a:defRPr sz="14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dirty="1" smtClean="0"/>
              <a:t>Date | Presenters</a:t>
            </a:r>
            <a:endParaRPr lang="en-US"/>
          </a:p>
        </p:txBody>
      </p:sp>
    </p:spTree>
    <p:extLst>
      <p:ext uri="{BB962C8B-B14F-4D97-AF65-F5344CB8AC3E}">
        <p14:creationId xmlns:p14="http://schemas.microsoft.com/office/powerpoint/2010/main" val="55504044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1608" userDrawn="1">
          <p15:clr>
            <a:srgbClr val="FBAE40"/>
          </p15:clr>
        </p15:guide>
        <p15:guide id="2" pos="561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nal Use 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4">
                  <p:embed/>
                </p:oleObj>
              </mc:Choice>
              <mc:Fallback>
                <p:oleObj name="think-cell Slide" progId="TCLayout.ActiveDocument.1" r:id="rId7" spid="_x0000_s1044">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10" name="Title 1"/>
          <p:cNvSpPr>
            <a:spLocks noGrp="1"/>
          </p:cNvSpPr>
          <p:nvPr>
            <p:ph type="ctrTitle"/>
          </p:nvPr>
        </p:nvSpPr>
        <p:spPr>
          <a:xfrm>
            <a:off x="2557219" y="1800263"/>
            <a:ext cx="6244825" cy="1488186"/>
          </a:xfrm>
        </p:spPr>
        <p:txBody>
          <a:bodyPr lIns="0" rIns="0" anchor="t">
            <a:noAutofit/>
          </a:bodyPr>
          <a:lstStyle>
            <a:lvl1pPr>
              <a:defRPr sz="3200">
                <a:solidFill>
                  <a:schemeClr val="tx1"/>
                </a:solidFill>
              </a:defRPr>
            </a:lvl1pPr>
          </a:lstStyle>
          <a:p>
            <a:r>
              <a:rPr lang="en-US" dirty="1" smtClean="0"/>
              <a:t>Click to edit Master title style</a:t>
            </a:r>
            <a:endParaRPr lang="en-US"/>
          </a:p>
        </p:txBody>
      </p:sp>
      <p:sp>
        <p:nvSpPr>
          <p:cNvPr id="18" name="Rectangle 17"/>
          <p:cNvSpPr/>
          <p:nvPr userDrawn="1"/>
        </p:nvSpPr>
        <p:spPr>
          <a:xfrm>
            <a:off x="2557219" y="4902739"/>
            <a:ext cx="2993473" cy="179727"/>
          </a:xfrm>
          <a:prstGeom prst="rect"/>
        </p:spPr>
        <p:txBody>
          <a:bodyPr wrap="square" lIns="0" tIns="18288" rIns="0" bIns="18288">
            <a:noAutofit/>
          </a:bodyPr>
          <a:lstStyle/>
          <a:p>
            <a:r>
              <a:rPr lang="en-US" sz="800" dirty="1" smtClean="0">
                <a:solidFill>
                  <a:schemeClr val="bg1">
                    <a:lumMod val="50000"/>
                  </a:schemeClr>
                </a:solidFill>
                <a:latin typeface="Arial" panose="020b0604020202020204" pitchFamily="34" charset="0"/>
                <a:cs typeface="Arial" panose="020b0604020202020204" pitchFamily="34" charset="0"/>
              </a:rPr>
              <a:t>© 2022 Kirkland</a:t>
            </a:r>
            <a:r>
              <a:rPr lang="en-US" sz="800" baseline="0" dirty="1" smtClean="0">
                <a:solidFill>
                  <a:schemeClr val="bg1">
                    <a:lumMod val="50000"/>
                  </a:schemeClr>
                </a:solidFill>
                <a:latin typeface="Arial" panose="020b0604020202020204" pitchFamily="34" charset="0"/>
                <a:cs typeface="Arial" panose="020b0604020202020204" pitchFamily="34" charset="0"/>
              </a:rPr>
              <a:t> &amp; Ellis. All rights reserved.</a:t>
            </a:r>
            <a:endParaRPr lang="en-US" sz="800">
              <a:solidFill>
                <a:schemeClr val="bg1">
                  <a:lumMod val="50000"/>
                </a:schemeClr>
              </a:solidFill>
              <a:latin typeface="Arial" panose="020b0604020202020204" pitchFamily="34" charset="0"/>
              <a:cs typeface="Arial" panose="020b0604020202020204" pitchFamily="34" charset="0"/>
            </a:endParaRPr>
          </a:p>
        </p:txBody>
      </p:sp>
      <p:sp>
        <p:nvSpPr>
          <p:cNvPr id="19" name="Freeform 6"/>
          <p:cNvSpPr>
            <a:spLocks noEditPoints="1"/>
          </p:cNvSpPr>
          <p:nvPr userDrawn="1"/>
        </p:nvSpPr>
        <p:spPr>
          <a:xfrm>
            <a:off x="6562641" y="301345"/>
            <a:ext cx="2216555" cy="192380"/>
          </a:xfrm>
          <a:custGeom>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91440" tIns="45720" rIns="91440" bIns="45720" numCol="1" anchor="t" anchorCtr="0" compatLnSpc="1">
            <a:prstTxWarp prst="textNoShape"/>
          </a:bodyPr>
          <a:lstStyle/>
          <a:p>
            <a:endParaRPr lang="en-US"/>
          </a:p>
        </p:txBody>
      </p:sp>
      <p:sp>
        <p:nvSpPr>
          <p:cNvPr id="22" name="Freeform 11"/>
          <p:cNvSpPr/>
          <p:nvPr userDrawn="1"/>
        </p:nvSpPr>
        <p:spPr>
          <a:xfrm>
            <a:off x="751568" y="-10553"/>
            <a:ext cx="1212112" cy="5169358"/>
          </a:xfrm>
          <a:custGeom>
            <a:gdLst>
              <a:gd name="T0" fmla="*/ 0 w 1152"/>
              <a:gd name="T1" fmla="*/ 4913 h 4913"/>
              <a:gd name="T2" fmla="*/ 1152 w 1152"/>
              <a:gd name="T3" fmla="*/ 875 h 4913"/>
              <a:gd name="T4" fmla="*/ 903 w 1152"/>
              <a:gd name="T5" fmla="*/ 0 h 4913"/>
            </a:gd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bodyPr>
          <a:lstStyle/>
          <a:p>
            <a:endParaRPr lang="en-US"/>
          </a:p>
        </p:txBody>
      </p:sp>
      <p:sp>
        <p:nvSpPr>
          <p:cNvPr id="23" name="Picture Placeholder 6"/>
          <p:cNvSpPr>
            <a:spLocks noGrp="1"/>
          </p:cNvSpPr>
          <p:nvPr>
            <p:ph type="pic" sz="quarter" idx="19" hasCustomPrompt="1"/>
          </p:nvPr>
        </p:nvSpPr>
        <p:spPr>
          <a:xfrm>
            <a:off x="0" y="-7263"/>
            <a:ext cx="1772230" cy="5158026"/>
          </a:xfrm>
          <a:custGeom>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dup0" fmla="*/ 0 w 914400"/>
              <a:gd name="connsiteY0dup0" fmla="*/ 0 h 7799388"/>
              <a:gd name="connsiteX1dup0" fmla="*/ 914400 w 914400"/>
              <a:gd name="connsiteY1dup0" fmla="*/ 0 h 7799388"/>
              <a:gd name="connsiteX2dup0" fmla="*/ 898358 w 914400"/>
              <a:gd name="connsiteY2dup0" fmla="*/ 972051 h 7799388"/>
              <a:gd name="connsiteX3dup0" fmla="*/ 914400 w 914400"/>
              <a:gd name="connsiteY3dup0" fmla="*/ 7799388 h 7799388"/>
              <a:gd name="connsiteX4dup0" fmla="*/ 0 w 914400"/>
              <a:gd name="connsiteY4dup0" fmla="*/ 7799388 h 7799388"/>
              <a:gd name="connsiteX5" fmla="*/ 0 w 914400"/>
              <a:gd name="connsiteY5" fmla="*/ 0 h 7799388"/>
              <a:gd name="connsiteX0dup0dup1" fmla="*/ 0 w 2486539"/>
              <a:gd name="connsiteY0dup0dup1" fmla="*/ 0 h 7799388"/>
              <a:gd name="connsiteX1dup0dup1" fmla="*/ 914400 w 2486539"/>
              <a:gd name="connsiteY1dup0dup1" fmla="*/ 0 h 7799388"/>
              <a:gd name="connsiteX2dup0dup1" fmla="*/ 2486526 w 2486539"/>
              <a:gd name="connsiteY2dup0dup1" fmla="*/ 1373104 h 7799388"/>
              <a:gd name="connsiteX3dup0dup1" fmla="*/ 914400 w 2486539"/>
              <a:gd name="connsiteY3dup0dup1" fmla="*/ 7799388 h 7799388"/>
              <a:gd name="connsiteX4dup0dup1" fmla="*/ 0 w 2486539"/>
              <a:gd name="connsiteY4dup0dup1" fmla="*/ 7799388 h 7799388"/>
              <a:gd name="connsiteX5dup0" fmla="*/ 0 w 2486539"/>
              <a:gd name="connsiteY5dup0" fmla="*/ 0 h 7799388"/>
              <a:gd name="connsiteX0dup0dup1dup2" fmla="*/ 0 w 2486547"/>
              <a:gd name="connsiteY0dup0dup1dup2" fmla="*/ 0 h 7799388"/>
              <a:gd name="connsiteX1dup0dup1dup2" fmla="*/ 914400 w 2486547"/>
              <a:gd name="connsiteY1dup0dup1dup2" fmla="*/ 0 h 7799388"/>
              <a:gd name="connsiteX2dup0dup1dup2" fmla="*/ 2486526 w 2486547"/>
              <a:gd name="connsiteY2dup0dup1dup2" fmla="*/ 1373104 h 7799388"/>
              <a:gd name="connsiteX3dup0dup1dup2" fmla="*/ 914400 w 2486547"/>
              <a:gd name="connsiteY3dup0dup1dup2" fmla="*/ 7799388 h 7799388"/>
              <a:gd name="connsiteX4dup0dup1dup2" fmla="*/ 0 w 2486547"/>
              <a:gd name="connsiteY4dup0dup1dup2" fmla="*/ 7799388 h 7799388"/>
              <a:gd name="connsiteX5dup0dup1" fmla="*/ 0 w 2486547"/>
              <a:gd name="connsiteY5dup0dup1" fmla="*/ 0 h 7799388"/>
              <a:gd name="connsiteX0dup0dup1dup2dup3" fmla="*/ 0 w 2550713"/>
              <a:gd name="connsiteY0dup0dup1dup2dup3" fmla="*/ 0 h 7799388"/>
              <a:gd name="connsiteX1dup0dup1dup2dup3" fmla="*/ 914400 w 2550713"/>
              <a:gd name="connsiteY1dup0dup1dup2dup3" fmla="*/ 0 h 7799388"/>
              <a:gd name="connsiteX2dup0dup1dup2dup3" fmla="*/ 2550694 w 2550713"/>
              <a:gd name="connsiteY2dup0dup1dup2dup3" fmla="*/ 1405188 h 7799388"/>
              <a:gd name="connsiteX3dup0dup1dup2dup3" fmla="*/ 914400 w 2550713"/>
              <a:gd name="connsiteY3dup0dup1dup2dup3" fmla="*/ 7799388 h 7799388"/>
              <a:gd name="connsiteX4dup0dup1dup2dup3" fmla="*/ 0 w 2550713"/>
              <a:gd name="connsiteY4dup0dup1dup2dup3" fmla="*/ 7799388 h 7799388"/>
              <a:gd name="connsiteX5dup0dup1dup2" fmla="*/ 0 w 2550713"/>
              <a:gd name="connsiteY5dup0dup1dup2" fmla="*/ 0 h 7799388"/>
              <a:gd name="connsiteX0dup0dup1dup2dup3dup4" fmla="*/ 0 w 2550694"/>
              <a:gd name="connsiteY0dup0dup1dup2dup3dup4" fmla="*/ 0 h 7799388"/>
              <a:gd name="connsiteX1dup0dup1dup2dup3dup4" fmla="*/ 914400 w 2550694"/>
              <a:gd name="connsiteY1dup0dup1dup2dup3dup4" fmla="*/ 0 h 7799388"/>
              <a:gd name="connsiteX2dup0dup1dup2dup3dup4" fmla="*/ 2550694 w 2550694"/>
              <a:gd name="connsiteY2dup0dup1dup2dup3dup4" fmla="*/ 1405188 h 7799388"/>
              <a:gd name="connsiteX3dup0dup1dup2dup3dup4" fmla="*/ 914400 w 2550694"/>
              <a:gd name="connsiteY3dup0dup1dup2dup3dup4" fmla="*/ 7799388 h 7799388"/>
              <a:gd name="connsiteX4dup0dup1dup2dup3dup4" fmla="*/ 0 w 2550694"/>
              <a:gd name="connsiteY4dup0dup1dup2dup3dup4" fmla="*/ 7799388 h 7799388"/>
              <a:gd name="connsiteX5dup0dup1dup2dup3" fmla="*/ 0 w 2550694"/>
              <a:gd name="connsiteY5dup0dup1dup2dup3" fmla="*/ 0 h 7799388"/>
              <a:gd name="connsiteX0dup0dup1dup2dup3dup4dup5" fmla="*/ 0 w 2550694"/>
              <a:gd name="connsiteY0dup0dup1dup2dup3dup4dup5" fmla="*/ 0 h 7799388"/>
              <a:gd name="connsiteX1dup0dup1dup2dup3dup4dup5" fmla="*/ 914400 w 2550694"/>
              <a:gd name="connsiteY1dup0dup1dup2dup3dup4dup5" fmla="*/ 0 h 7799388"/>
              <a:gd name="connsiteX2dup0dup1dup2dup3dup4dup5" fmla="*/ 2550694 w 2550694"/>
              <a:gd name="connsiteY2dup0dup1dup2dup3dup4dup5" fmla="*/ 1405188 h 7799388"/>
              <a:gd name="connsiteX3dup0dup1dup2dup3dup4dup5" fmla="*/ 914400 w 2550694"/>
              <a:gd name="connsiteY3dup0dup1dup2dup3dup4dup5" fmla="*/ 7799388 h 7799388"/>
              <a:gd name="connsiteX4dup0dup1dup2dup3dup4dup5" fmla="*/ 0 w 2550694"/>
              <a:gd name="connsiteY4dup0dup1dup2dup3dup4dup5" fmla="*/ 7799388 h 7799388"/>
              <a:gd name="connsiteX5dup0dup1dup2dup3dup4" fmla="*/ 0 w 2550694"/>
              <a:gd name="connsiteY5dup0dup1dup2dup3dup4" fmla="*/ 0 h 7799388"/>
              <a:gd name="connsiteX0dup0dup1dup2dup3dup4dup5dup6" fmla="*/ 0 w 2550694"/>
              <a:gd name="connsiteY0dup0dup1dup2dup3dup4dup5dup6" fmla="*/ 0 h 7799388"/>
              <a:gd name="connsiteX1dup0dup1dup2dup3dup4dup5dup6" fmla="*/ 914400 w 2550694"/>
              <a:gd name="connsiteY1dup0dup1dup2dup3dup4dup5dup6" fmla="*/ 0 h 7799388"/>
              <a:gd name="connsiteX2dup0dup1dup2dup3dup4dup5dup6" fmla="*/ 2550694 w 2550694"/>
              <a:gd name="connsiteY2dup0dup1dup2dup3dup4dup5dup6" fmla="*/ 1405188 h 7799388"/>
              <a:gd name="connsiteX3dup0dup1dup2dup3dup4dup5dup6" fmla="*/ 914400 w 2550694"/>
              <a:gd name="connsiteY3dup0dup1dup2dup3dup4dup5dup6" fmla="*/ 7799388 h 7799388"/>
              <a:gd name="connsiteX4dup0dup1dup2dup3dup4dup5dup6" fmla="*/ 0 w 2550694"/>
              <a:gd name="connsiteY4dup0dup1dup2dup3dup4dup5dup6" fmla="*/ 7799388 h 7799388"/>
              <a:gd name="connsiteX5dup0dup1dup2dup3dup4dup5" fmla="*/ 0 w 2550694"/>
              <a:gd name="connsiteY5dup0dup1dup2dup3dup4dup5" fmla="*/ 0 h 7799388"/>
              <a:gd name="connsiteX0dup0dup1dup2dup3dup4dup5dup6dup7" fmla="*/ 0 w 2550694"/>
              <a:gd name="connsiteY0dup0dup1dup2dup3dup4dup5dup6dup7" fmla="*/ 0 h 7799388"/>
              <a:gd name="connsiteX1dup0dup1dup2dup3dup4dup5dup6dup7" fmla="*/ 914400 w 2550694"/>
              <a:gd name="connsiteY1dup0dup1dup2dup3dup4dup5dup6dup7" fmla="*/ 0 h 7799388"/>
              <a:gd name="connsiteX2dup0dup1dup2dup3dup4dup5dup6dup7" fmla="*/ 2550694 w 2550694"/>
              <a:gd name="connsiteY2dup0dup1dup2dup3dup4dup5dup6dup7" fmla="*/ 1405188 h 7799388"/>
              <a:gd name="connsiteX3dup0dup1dup2dup3dup4dup5dup6dup7" fmla="*/ 914400 w 2550694"/>
              <a:gd name="connsiteY3dup0dup1dup2dup3dup4dup5dup6dup7" fmla="*/ 7799388 h 7799388"/>
              <a:gd name="connsiteX4dup0dup1dup2dup3dup4dup5dup6dup7" fmla="*/ 0 w 2550694"/>
              <a:gd name="connsiteY4dup0dup1dup2dup3dup4dup5dup6dup7" fmla="*/ 7799388 h 7799388"/>
              <a:gd name="connsiteX5dup0dup1dup2dup3dup4dup5dup6" fmla="*/ 0 w 2550694"/>
              <a:gd name="connsiteY5dup0dup1dup2dup3dup4dup5dup6" fmla="*/ 0 h 7799388"/>
              <a:gd name="connsiteX0dup0dup1dup2dup3dup4dup5dup6dup7dup8" fmla="*/ 2550694 w 2642134"/>
              <a:gd name="connsiteY0dup0dup1dup2dup3dup4dup5dup6dup7dup8" fmla="*/ 1405188 h 7799388"/>
              <a:gd name="connsiteX1dup0dup1dup2dup3dup4dup5dup6dup7dup8" fmla="*/ 914400 w 2642134"/>
              <a:gd name="connsiteY1dup0dup1dup2dup3dup4dup5dup6dup7dup8" fmla="*/ 7799388 h 7799388"/>
              <a:gd name="connsiteX2dup0dup1dup2dup3dup4dup5dup6dup7dup8" fmla="*/ 0 w 2642134"/>
              <a:gd name="connsiteY2dup0dup1dup2dup3dup4dup5dup6dup7dup8" fmla="*/ 7799388 h 7799388"/>
              <a:gd name="connsiteX3dup0dup1dup2dup3dup4dup5dup6dup7dup8" fmla="*/ 0 w 2642134"/>
              <a:gd name="connsiteY3dup0dup1dup2dup3dup4dup5dup6dup7dup8" fmla="*/ 0 h 7799388"/>
              <a:gd name="connsiteX4dup0dup1dup2dup3dup4dup5dup6dup7dup8" fmla="*/ 914400 w 2642134"/>
              <a:gd name="connsiteY4dup0dup1dup2dup3dup4dup5dup6dup7dup8" fmla="*/ 0 h 7799388"/>
              <a:gd name="connsiteX5dup0dup1dup2dup3dup4dup5dup6dup7" fmla="*/ 2642134 w 2642134"/>
              <a:gd name="connsiteY5dup0dup1dup2dup3dup4dup5dup6dup7" fmla="*/ 1496628 h 7799388"/>
              <a:gd name="connsiteX0dup0dup1dup2dup3dup4dup5dup6dup7dup8dup9" fmla="*/ 2550694 w 2642134"/>
              <a:gd name="connsiteY0dup0dup1dup2dup3dup4dup5dup6dup7dup8dup9" fmla="*/ 1405188 h 7799388"/>
              <a:gd name="connsiteX1dup0dup1dup2dup3dup4dup5dup6dup7dup8dup9" fmla="*/ 914400 w 2642134"/>
              <a:gd name="connsiteY1dup0dup1dup2dup3dup4dup5dup6dup7dup8dup9" fmla="*/ 7799388 h 7799388"/>
              <a:gd name="connsiteX2dup0dup1dup2dup3dup4dup5dup6dup7dup8dup9" fmla="*/ 0 w 2642134"/>
              <a:gd name="connsiteY2dup0dup1dup2dup3dup4dup5dup6dup7dup8dup9" fmla="*/ 7799388 h 7799388"/>
              <a:gd name="connsiteX3dup0dup1dup2dup3dup4dup5dup6dup7dup8dup9" fmla="*/ 0 w 2642134"/>
              <a:gd name="connsiteY3dup0dup1dup2dup3dup4dup5dup6dup7dup8dup9" fmla="*/ 0 h 7799388"/>
              <a:gd name="connsiteX4dup0dup1dup2dup3dup4dup5dup6dup7dup8dup9" fmla="*/ 914400 w 2642134"/>
              <a:gd name="connsiteY4dup0dup1dup2dup3dup4dup5dup6dup7dup8dup9" fmla="*/ 0 h 7799388"/>
              <a:gd name="connsiteX5dup0dup1dup2dup3dup4dup5dup6dup7dup8" fmla="*/ 2642134 w 2642134"/>
              <a:gd name="connsiteY5dup0dup1dup2dup3dup4dup5dup6dup7dup8" fmla="*/ 1496628 h 7799388"/>
              <a:gd name="connsiteX6" fmla="*/ 2550694 w 2642134"/>
              <a:gd name="connsiteY6" fmla="*/ 1405188 h 7799388"/>
              <a:gd name="connsiteX0dup0dup1dup2dup3dup4dup5dup6dup7dup8dup9dup10" fmla="*/ 2550694 w 2642134"/>
              <a:gd name="connsiteY0dup0dup1dup2dup3dup4dup5dup6dup7dup8dup9dup10" fmla="*/ 1405188 h 7799388"/>
              <a:gd name="connsiteX1dup0dup1dup2dup3dup4dup5dup6dup7dup8dup9dup10" fmla="*/ 914400 w 2642134"/>
              <a:gd name="connsiteY1dup0dup1dup2dup3dup4dup5dup6dup7dup8dup9dup10" fmla="*/ 7799388 h 7799388"/>
              <a:gd name="connsiteX2dup0dup1dup2dup3dup4dup5dup6dup7dup8dup9dup10" fmla="*/ 0 w 2642134"/>
              <a:gd name="connsiteY2dup0dup1dup2dup3dup4dup5dup6dup7dup8dup9dup10" fmla="*/ 7799388 h 7799388"/>
              <a:gd name="connsiteX3dup0dup1dup2dup3dup4dup5dup6dup7dup8dup9dup10" fmla="*/ 0 w 2642134"/>
              <a:gd name="connsiteY3dup0dup1dup2dup3dup4dup5dup6dup7dup8dup9dup10" fmla="*/ 0 h 7799388"/>
              <a:gd name="connsiteX4dup0dup1dup2dup3dup4dup5dup6dup7dup8dup9dup10" fmla="*/ 914400 w 2642134"/>
              <a:gd name="connsiteY4dup0dup1dup2dup3dup4dup5dup6dup7dup8dup9dup10" fmla="*/ 0 h 7799388"/>
              <a:gd name="connsiteX5dup0dup1dup2dup3dup4dup5dup6dup7dup8dup9" fmla="*/ 2642134 w 2642134"/>
              <a:gd name="connsiteY5dup0dup1dup2dup3dup4dup5dup6dup7dup8dup9" fmla="*/ 1496628 h 7799388"/>
              <a:gd name="connsiteX6dup0" fmla="*/ 2550694 w 2642134"/>
              <a:gd name="connsiteY6dup0" fmla="*/ 1405188 h 7799388"/>
              <a:gd name="connsiteX0dup0dup1dup2dup3dup4dup5dup6dup7dup8dup9dup10dup11" fmla="*/ 2550694 w 2642134"/>
              <a:gd name="connsiteY0dup0dup1dup2dup3dup4dup5dup6dup7dup8dup9dup10dup11" fmla="*/ 1405188 h 7799388"/>
              <a:gd name="connsiteX1dup0dup1dup2dup3dup4dup5dup6dup7dup8dup9dup10dup11" fmla="*/ 914400 w 2642134"/>
              <a:gd name="connsiteY1dup0dup1dup2dup3dup4dup5dup6dup7dup8dup9dup10dup11" fmla="*/ 7799388 h 7799388"/>
              <a:gd name="connsiteX2dup0dup1dup2dup3dup4dup5dup6dup7dup8dup9dup10dup11" fmla="*/ 0 w 2642134"/>
              <a:gd name="connsiteY2dup0dup1dup2dup3dup4dup5dup6dup7dup8dup9dup10dup11" fmla="*/ 7799388 h 7799388"/>
              <a:gd name="connsiteX3dup0dup1dup2dup3dup4dup5dup6dup7dup8dup9dup10dup11" fmla="*/ 0 w 2642134"/>
              <a:gd name="connsiteY3dup0dup1dup2dup3dup4dup5dup6dup7dup8dup9dup10dup11" fmla="*/ 0 h 7799388"/>
              <a:gd name="connsiteX4dup0dup1dup2dup3dup4dup5dup6dup7dup8dup9dup10dup11" fmla="*/ 914400 w 2642134"/>
              <a:gd name="connsiteY4dup0dup1dup2dup3dup4dup5dup6dup7dup8dup9dup10dup11" fmla="*/ 0 h 7799388"/>
              <a:gd name="connsiteX5dup0dup1dup2dup3dup4dup5dup6dup7dup8dup9dup10" fmla="*/ 2642134 w 2642134"/>
              <a:gd name="connsiteY5dup0dup1dup2dup3dup4dup5dup6dup7dup8dup9dup10" fmla="*/ 1496628 h 7799388"/>
              <a:gd name="connsiteX6dup0dup1" fmla="*/ 2550694 w 2642134"/>
              <a:gd name="connsiteY6dup0dup1" fmla="*/ 1405188 h 7799388"/>
              <a:gd name="connsiteX0dup0dup1dup2dup3dup4dup5dup6dup7dup8dup9dup10dup11dup12" fmla="*/ 2550694 w 2642134"/>
              <a:gd name="connsiteY0dup0dup1dup2dup3dup4dup5dup6dup7dup8dup9dup10dup11dup12" fmla="*/ 1405188 h 7799388"/>
              <a:gd name="connsiteX1dup0dup1dup2dup3dup4dup5dup6dup7dup8dup9dup10dup11dup12" fmla="*/ 914400 w 2642134"/>
              <a:gd name="connsiteY1dup0dup1dup2dup3dup4dup5dup6dup7dup8dup9dup10dup11dup12" fmla="*/ 7799388 h 7799388"/>
              <a:gd name="connsiteX2dup0dup1dup2dup3dup4dup5dup6dup7dup8dup9dup10dup11dup12" fmla="*/ 0 w 2642134"/>
              <a:gd name="connsiteY2dup0dup1dup2dup3dup4dup5dup6dup7dup8dup9dup10dup11dup12" fmla="*/ 7799388 h 7799388"/>
              <a:gd name="connsiteX3dup0dup1dup2dup3dup4dup5dup6dup7dup8dup9dup10dup11dup12" fmla="*/ 0 w 2642134"/>
              <a:gd name="connsiteY3dup0dup1dup2dup3dup4dup5dup6dup7dup8dup9dup10dup11dup12" fmla="*/ 0 h 7799388"/>
              <a:gd name="connsiteX4dup0dup1dup2dup3dup4dup5dup6dup7dup8dup9dup10dup11dup12" fmla="*/ 914400 w 2642134"/>
              <a:gd name="connsiteY4dup0dup1dup2dup3dup4dup5dup6dup7dup8dup9dup10dup11dup12" fmla="*/ 0 h 7799388"/>
              <a:gd name="connsiteX5dup0dup1dup2dup3dup4dup5dup6dup7dup8dup9dup10dup11" fmla="*/ 2642134 w 2642134"/>
              <a:gd name="connsiteY5dup0dup1dup2dup3dup4dup5dup6dup7dup8dup9dup10dup11" fmla="*/ 1496628 h 7799388"/>
              <a:gd name="connsiteX6dup0dup1dup2" fmla="*/ 2550694 w 2642134"/>
              <a:gd name="connsiteY6dup0dup1dup2" fmla="*/ 1405188 h 7799388"/>
              <a:gd name="connsiteX0dup0dup1dup2dup3dup4dup5dup6dup7dup8dup9dup10dup11dup12dup13" fmla="*/ 2550694 w 2642134"/>
              <a:gd name="connsiteY0dup0dup1dup2dup3dup4dup5dup6dup7dup8dup9dup10dup11dup12dup13" fmla="*/ 1405188 h 7799388"/>
              <a:gd name="connsiteX1dup0dup1dup2dup3dup4dup5dup6dup7dup8dup9dup10dup11dup12dup13" fmla="*/ 914400 w 2642134"/>
              <a:gd name="connsiteY1dup0dup1dup2dup3dup4dup5dup6dup7dup8dup9dup10dup11dup12dup13" fmla="*/ 7799388 h 7799388"/>
              <a:gd name="connsiteX2dup0dup1dup2dup3dup4dup5dup6dup7dup8dup9dup10dup11dup12dup13" fmla="*/ 0 w 2642134"/>
              <a:gd name="connsiteY2dup0dup1dup2dup3dup4dup5dup6dup7dup8dup9dup10dup11dup12dup13" fmla="*/ 7799388 h 7799388"/>
              <a:gd name="connsiteX3dup0dup1dup2dup3dup4dup5dup6dup7dup8dup9dup10dup11dup12dup13" fmla="*/ 0 w 2642134"/>
              <a:gd name="connsiteY3dup0dup1dup2dup3dup4dup5dup6dup7dup8dup9dup10dup11dup12dup13" fmla="*/ 0 h 7799388"/>
              <a:gd name="connsiteX4dup0dup1dup2dup3dup4dup5dup6dup7dup8dup9dup10dup11dup12dup13" fmla="*/ 914400 w 2642134"/>
              <a:gd name="connsiteY4dup0dup1dup2dup3dup4dup5dup6dup7dup8dup9dup10dup11dup12dup13" fmla="*/ 0 h 7799388"/>
              <a:gd name="connsiteX5dup0dup1dup2dup3dup4dup5dup6dup7dup8dup9dup10dup11dup12" fmla="*/ 2642134 w 2642134"/>
              <a:gd name="connsiteY5dup0dup1dup2dup3dup4dup5dup6dup7dup8dup9dup10dup11dup12" fmla="*/ 1496628 h 7799388"/>
              <a:gd name="connsiteX6dup0dup1dup2dup3" fmla="*/ 2550694 w 2642134"/>
              <a:gd name="connsiteY6dup0dup1dup2dup3" fmla="*/ 1405188 h 7799388"/>
              <a:gd name="connsiteX0dup0dup1dup2dup3dup4dup5dup6dup7dup8dup9dup10dup11dup12dup13dup14" fmla="*/ 3242070 w 3242070"/>
              <a:gd name="connsiteY0dup0dup1dup2dup3dup4dup5dup6dup7dup8dup9dup10dup11dup12dup13dup14" fmla="*/ 1706271 h 7799388"/>
              <a:gd name="connsiteX1dup0dup1dup2dup3dup4dup5dup6dup7dup8dup9dup10dup11dup12dup13dup14" fmla="*/ 914400 w 3242070"/>
              <a:gd name="connsiteY1dup0dup1dup2dup3dup4dup5dup6dup7dup8dup9dup10dup11dup12dup13dup14" fmla="*/ 7799388 h 7799388"/>
              <a:gd name="connsiteX2dup0dup1dup2dup3dup4dup5dup6dup7dup8dup9dup10dup11dup12dup13dup14" fmla="*/ 0 w 3242070"/>
              <a:gd name="connsiteY2dup0dup1dup2dup3dup4dup5dup6dup7dup8dup9dup10dup11dup12dup13dup14" fmla="*/ 7799388 h 7799388"/>
              <a:gd name="connsiteX3dup0dup1dup2dup3dup4dup5dup6dup7dup8dup9dup10dup11dup12dup13dup14" fmla="*/ 0 w 3242070"/>
              <a:gd name="connsiteY3dup0dup1dup2dup3dup4dup5dup6dup7dup8dup9dup10dup11dup12dup13dup14" fmla="*/ 0 h 7799388"/>
              <a:gd name="connsiteX4dup0dup1dup2dup3dup4dup5dup6dup7dup8dup9dup10dup11dup12dup13dup14" fmla="*/ 914400 w 3242070"/>
              <a:gd name="connsiteY4dup0dup1dup2dup3dup4dup5dup6dup7dup8dup9dup10dup11dup12dup13dup14" fmla="*/ 0 h 7799388"/>
              <a:gd name="connsiteX5dup0dup1dup2dup3dup4dup5dup6dup7dup8dup9dup10dup11dup12dup13" fmla="*/ 2642134 w 3242070"/>
              <a:gd name="connsiteY5dup0dup1dup2dup3dup4dup5dup6dup7dup8dup9dup10dup11dup12dup13" fmla="*/ 1496628 h 7799388"/>
              <a:gd name="connsiteX6dup0dup1dup2dup3dup4" fmla="*/ 3242070 w 3242070"/>
              <a:gd name="connsiteY6dup0dup1dup2dup3dup4" fmla="*/ 1706271 h 7799388"/>
              <a:gd name="connsiteX0dup0dup1dup2dup3dup4dup5dup6dup7dup8dup9dup10dup11dup12dup13dup14dup15" fmla="*/ 3242070 w 3242070"/>
              <a:gd name="connsiteY0dup0dup1dup2dup3dup4dup5dup6dup7dup8dup9dup10dup11dup12dup13dup14dup15" fmla="*/ 1706271 h 7799388"/>
              <a:gd name="connsiteX1dup0dup1dup2dup3dup4dup5dup6dup7dup8dup9dup10dup11dup12dup13dup14dup15" fmla="*/ 914400 w 3242070"/>
              <a:gd name="connsiteY1dup0dup1dup2dup3dup4dup5dup6dup7dup8dup9dup10dup11dup12dup13dup14dup15" fmla="*/ 7799388 h 7799388"/>
              <a:gd name="connsiteX2dup0dup1dup2dup3dup4dup5dup6dup7dup8dup9dup10dup11dup12dup13dup14dup15" fmla="*/ 0 w 3242070"/>
              <a:gd name="connsiteY2dup0dup1dup2dup3dup4dup5dup6dup7dup8dup9dup10dup11dup12dup13dup14dup15" fmla="*/ 7799388 h 7799388"/>
              <a:gd name="connsiteX3dup0dup1dup2dup3dup4dup5dup6dup7dup8dup9dup10dup11dup12dup13dup14dup15" fmla="*/ 0 w 3242070"/>
              <a:gd name="connsiteY3dup0dup1dup2dup3dup4dup5dup6dup7dup8dup9dup10dup11dup12dup13dup14dup15" fmla="*/ 0 h 7799388"/>
              <a:gd name="connsiteX4dup0dup1dup2dup3dup4dup5dup6dup7dup8dup9dup10dup11dup12dup13dup14dup15" fmla="*/ 914400 w 3242070"/>
              <a:gd name="connsiteY4dup0dup1dup2dup3dup4dup5dup6dup7dup8dup9dup10dup11dup12dup13dup14dup15" fmla="*/ 0 h 7799388"/>
              <a:gd name="connsiteX5dup0dup1dup2dup3dup4dup5dup6dup7dup8dup9dup10dup11dup12dup13dup14" fmla="*/ 3242070 w 3242070"/>
              <a:gd name="connsiteY5dup0dup1dup2dup3dup4dup5dup6dup7dup8dup9dup10dup11dup12dup13dup14" fmla="*/ 1706271 h 7799388"/>
              <a:gd name="connsiteX0dup0dup1dup2dup3dup4dup5dup6dup7dup8dup9dup10dup11dup12dup13dup14dup15dup16" fmla="*/ 2506089 w 2506089"/>
              <a:gd name="connsiteY0dup0dup1dup2dup3dup4dup5dup6dup7dup8dup9dup10dup11dup12dup13dup14dup15dup16" fmla="*/ 1494398 h 7799388"/>
              <a:gd name="connsiteX1dup0dup1dup2dup3dup4dup5dup6dup7dup8dup9dup10dup11dup12dup13dup14dup15dup16" fmla="*/ 914400 w 2506089"/>
              <a:gd name="connsiteY1dup0dup1dup2dup3dup4dup5dup6dup7dup8dup9dup10dup11dup12dup13dup14dup15dup16" fmla="*/ 7799388 h 7799388"/>
              <a:gd name="connsiteX2dup0dup1dup2dup3dup4dup5dup6dup7dup8dup9dup10dup11dup12dup13dup14dup15dup16" fmla="*/ 0 w 2506089"/>
              <a:gd name="connsiteY2dup0dup1dup2dup3dup4dup5dup6dup7dup8dup9dup10dup11dup12dup13dup14dup15dup16" fmla="*/ 7799388 h 7799388"/>
              <a:gd name="connsiteX3dup0dup1dup2dup3dup4dup5dup6dup7dup8dup9dup10dup11dup12dup13dup14dup15dup16" fmla="*/ 0 w 2506089"/>
              <a:gd name="connsiteY3dup0dup1dup2dup3dup4dup5dup6dup7dup8dup9dup10dup11dup12dup13dup14dup15dup16" fmla="*/ 0 h 7799388"/>
              <a:gd name="connsiteX4dup0dup1dup2dup3dup4dup5dup6dup7dup8dup9dup10dup11dup12dup13dup14dup15dup16" fmla="*/ 914400 w 2506089"/>
              <a:gd name="connsiteY4dup0dup1dup2dup3dup4dup5dup6dup7dup8dup9dup10dup11dup12dup13dup14dup15dup16" fmla="*/ 0 h 7799388"/>
              <a:gd name="connsiteX5dup0dup1dup2dup3dup4dup5dup6dup7dup8dup9dup10dup11dup12dup13dup14dup15" fmla="*/ 2506089 w 2506089"/>
              <a:gd name="connsiteY5dup0dup1dup2dup3dup4dup5dup6dup7dup8dup9dup10dup11dup12dup13dup14dup15" fmla="*/ 1494398 h 7799388"/>
              <a:gd name="connsiteX0dup0dup1dup2dup3dup4dup5dup6dup7dup8dup9dup10dup11dup12dup13dup14dup15dup16dup17" fmla="*/ 2584148 w 2584148"/>
              <a:gd name="connsiteY0dup0dup1dup2dup3dup4dup5dup6dup7dup8dup9dup10dup11dup12dup13dup14dup15dup16dup17" fmla="*/ 1494398 h 7799388"/>
              <a:gd name="connsiteX1dup0dup1dup2dup3dup4dup5dup6dup7dup8dup9dup10dup11dup12dup13dup14dup15dup16dup17" fmla="*/ 914400 w 2584148"/>
              <a:gd name="connsiteY1dup0dup1dup2dup3dup4dup5dup6dup7dup8dup9dup10dup11dup12dup13dup14dup15dup16dup17" fmla="*/ 7799388 h 7799388"/>
              <a:gd name="connsiteX2dup0dup1dup2dup3dup4dup5dup6dup7dup8dup9dup10dup11dup12dup13dup14dup15dup16dup17" fmla="*/ 0 w 2584148"/>
              <a:gd name="connsiteY2dup0dup1dup2dup3dup4dup5dup6dup7dup8dup9dup10dup11dup12dup13dup14dup15dup16dup17" fmla="*/ 7799388 h 7799388"/>
              <a:gd name="connsiteX3dup0dup1dup2dup3dup4dup5dup6dup7dup8dup9dup10dup11dup12dup13dup14dup15dup16dup17" fmla="*/ 0 w 2584148"/>
              <a:gd name="connsiteY3dup0dup1dup2dup3dup4dup5dup6dup7dup8dup9dup10dup11dup12dup13dup14dup15dup16dup17" fmla="*/ 0 h 7799388"/>
              <a:gd name="connsiteX4dup0dup1dup2dup3dup4dup5dup6dup7dup8dup9dup10dup11dup12dup13dup14dup15dup16dup17" fmla="*/ 914400 w 2584148"/>
              <a:gd name="connsiteY4dup0dup1dup2dup3dup4dup5dup6dup7dup8dup9dup10dup11dup12dup13dup14dup15dup16dup17" fmla="*/ 0 h 7799388"/>
              <a:gd name="connsiteX5dup0dup1dup2dup3dup4dup5dup6dup7dup8dup9dup10dup11dup12dup13dup14dup15dup16" fmla="*/ 2584148 w 2584148"/>
              <a:gd name="connsiteY5dup0dup1dup2dup3dup4dup5dup6dup7dup8dup9dup10dup11dup12dup13dup14dup15dup16" fmla="*/ 1494398 h 7799388"/>
              <a:gd name="connsiteX0dup0dup1dup2dup3dup4dup5dup6dup7dup8dup9dup10dup11dup12dup13dup14dup15dup16dup17dup18" fmla="*/ 2584148 w 2584148"/>
              <a:gd name="connsiteY0dup0dup1dup2dup3dup4dup5dup6dup7dup8dup9dup10dup11dup12dup13dup14dup15dup16dup17dup18" fmla="*/ 1494398 h 7799388"/>
              <a:gd name="connsiteX1dup0dup1dup2dup3dup4dup5dup6dup7dup8dup9dup10dup11dup12dup13dup14dup15dup16dup17dup18" fmla="*/ 914400 w 2584148"/>
              <a:gd name="connsiteY1dup0dup1dup2dup3dup4dup5dup6dup7dup8dup9dup10dup11dup12dup13dup14dup15dup16dup17dup18" fmla="*/ 7799388 h 7799388"/>
              <a:gd name="connsiteX2dup0dup1dup2dup3dup4dup5dup6dup7dup8dup9dup10dup11dup12dup13dup14dup15dup16dup17dup18" fmla="*/ 0 w 2584148"/>
              <a:gd name="connsiteY2dup0dup1dup2dup3dup4dup5dup6dup7dup8dup9dup10dup11dup12dup13dup14dup15dup16dup17dup18" fmla="*/ 7799388 h 7799388"/>
              <a:gd name="connsiteX3dup0dup1dup2dup3dup4dup5dup6dup7dup8dup9dup10dup11dup12dup13dup14dup15dup16dup17dup18" fmla="*/ 0 w 2584148"/>
              <a:gd name="connsiteY3dup0dup1dup2dup3dup4dup5dup6dup7dup8dup9dup10dup11dup12dup13dup14dup15dup16dup17dup18" fmla="*/ 0 h 7799388"/>
              <a:gd name="connsiteX4dup0dup1dup2dup3dup4dup5dup6dup7dup8dup9dup10dup11dup12dup13dup14dup15dup16dup17dup18" fmla="*/ 914400 w 2584148"/>
              <a:gd name="connsiteY4dup0dup1dup2dup3dup4dup5dup6dup7dup8dup9dup10dup11dup12dup13dup14dup15dup16dup17dup18" fmla="*/ 0 h 7799388"/>
              <a:gd name="connsiteX5dup0dup1dup2dup3dup4dup5dup6dup7dup8dup9dup10dup11dup12dup13dup14dup15dup16dup17" fmla="*/ 2584148 w 2584148"/>
              <a:gd name="connsiteY5dup0dup1dup2dup3dup4dup5dup6dup7dup8dup9dup10dup11dup12dup13dup14dup15dup16dup17" fmla="*/ 1494398 h 7799388"/>
              <a:gd name="connsiteX0dup0dup1dup2dup3dup4dup5dup6dup7dup8dup9dup10dup11dup12dup13dup14dup15dup16dup17dup18dup19" fmla="*/ 2584148 w 2584148"/>
              <a:gd name="connsiteY0dup0dup1dup2dup3dup4dup5dup6dup7dup8dup9dup10dup11dup12dup13dup14dup15dup16dup17dup18dup19" fmla="*/ 1494398 h 7799388"/>
              <a:gd name="connsiteX1dup0dup1dup2dup3dup4dup5dup6dup7dup8dup9dup10dup11dup12dup13dup14dup15dup16dup17dup18dup19" fmla="*/ 914400 w 2584148"/>
              <a:gd name="connsiteY1dup0dup1dup2dup3dup4dup5dup6dup7dup8dup9dup10dup11dup12dup13dup14dup15dup16dup17dup18dup19" fmla="*/ 7799388 h 7799388"/>
              <a:gd name="connsiteX2dup0dup1dup2dup3dup4dup5dup6dup7dup8dup9dup10dup11dup12dup13dup14dup15dup16dup17dup18dup19" fmla="*/ 0 w 2584148"/>
              <a:gd name="connsiteY2dup0dup1dup2dup3dup4dup5dup6dup7dup8dup9dup10dup11dup12dup13dup14dup15dup16dup17dup18dup19" fmla="*/ 7799388 h 7799388"/>
              <a:gd name="connsiteX3dup0dup1dup2dup3dup4dup5dup6dup7dup8dup9dup10dup11dup12dup13dup14dup15dup16dup17dup18dup19" fmla="*/ 0 w 2584148"/>
              <a:gd name="connsiteY3dup0dup1dup2dup3dup4dup5dup6dup7dup8dup9dup10dup11dup12dup13dup14dup15dup16dup17dup18dup19" fmla="*/ 0 h 7799388"/>
              <a:gd name="connsiteX4dup0dup1dup2dup3dup4dup5dup6dup7dup8dup9dup10dup11dup12dup13dup14dup15dup16dup17dup18dup19" fmla="*/ 914400 w 2584148"/>
              <a:gd name="connsiteY4dup0dup1dup2dup3dup4dup5dup6dup7dup8dup9dup10dup11dup12dup13dup14dup15dup16dup17dup18dup19" fmla="*/ 0 h 7799388"/>
              <a:gd name="connsiteX5dup0dup1dup2dup3dup4dup5dup6dup7dup8dup9dup10dup11dup12dup13dup14dup15dup16dup17dup18" fmla="*/ 2584148 w 2584148"/>
              <a:gd name="connsiteY5dup0dup1dup2dup3dup4dup5dup6dup7dup8dup9dup10dup11dup12dup13dup14dup15dup16dup17dup18" fmla="*/ 1494398 h 7799388"/>
              <a:gd name="connsiteX0dup0dup1dup2dup3dup4dup5dup6dup7dup8dup9dup10dup11dup12dup13dup14dup15dup16dup17dup18dup19dup20" fmla="*/ 2584148 w 2584148"/>
              <a:gd name="connsiteY0dup0dup1dup2dup3dup4dup5dup6dup7dup8dup9dup10dup11dup12dup13dup14dup15dup16dup17dup18dup19dup20" fmla="*/ 1494398 h 7799388"/>
              <a:gd name="connsiteX1dup0dup1dup2dup3dup4dup5dup6dup7dup8dup9dup10dup11dup12dup13dup14dup15dup16dup17dup18dup19dup20" fmla="*/ 914400 w 2584148"/>
              <a:gd name="connsiteY1dup0dup1dup2dup3dup4dup5dup6dup7dup8dup9dup10dup11dup12dup13dup14dup15dup16dup17dup18dup19dup20" fmla="*/ 7799388 h 7799388"/>
              <a:gd name="connsiteX2dup0dup1dup2dup3dup4dup5dup6dup7dup8dup9dup10dup11dup12dup13dup14dup15dup16dup17dup18dup19dup20" fmla="*/ 0 w 2584148"/>
              <a:gd name="connsiteY2dup0dup1dup2dup3dup4dup5dup6dup7dup8dup9dup10dup11dup12dup13dup14dup15dup16dup17dup18dup19dup20" fmla="*/ 7799388 h 7799388"/>
              <a:gd name="connsiteX3dup0dup1dup2dup3dup4dup5dup6dup7dup8dup9dup10dup11dup12dup13dup14dup15dup16dup17dup18dup19dup20" fmla="*/ 0 w 2584148"/>
              <a:gd name="connsiteY3dup0dup1dup2dup3dup4dup5dup6dup7dup8dup9dup10dup11dup12dup13dup14dup15dup16dup17dup18dup19dup20" fmla="*/ 0 h 7799388"/>
              <a:gd name="connsiteX4dup0dup1dup2dup3dup4dup5dup6dup7dup8dup9dup10dup11dup12dup13dup14dup15dup16dup17dup18dup19dup20" fmla="*/ 2230244 w 2584148"/>
              <a:gd name="connsiteY4dup0dup1dup2dup3dup4dup5dup6dup7dup8dup9dup10dup11dup12dup13dup14dup15dup16dup17dup18dup19dup20" fmla="*/ 11151 h 7799388"/>
              <a:gd name="connsiteX5dup0dup1dup2dup3dup4dup5dup6dup7dup8dup9dup10dup11dup12dup13dup14dup15dup16dup17dup18dup19" fmla="*/ 2584148 w 2584148"/>
              <a:gd name="connsiteY5dup0dup1dup2dup3dup4dup5dup6dup7dup8dup9dup10dup11dup12dup13dup14dup15dup16dup17dup18dup19" fmla="*/ 1494398 h 7799388"/>
              <a:gd name="connsiteX0dup0dup1dup2dup3dup4dup5dup6dup7dup8dup9dup10dup11dup12dup13dup14dup15dup16dup17dup18dup19dup20dup21" fmla="*/ 2673357 w 2673357"/>
              <a:gd name="connsiteY0dup0dup1dup2dup3dup4dup5dup6dup7dup8dup9dup10dup11dup12dup13dup14dup15dup16dup17dup18dup19dup20dup21" fmla="*/ 1394037 h 7799388"/>
              <a:gd name="connsiteX1dup0dup1dup2dup3dup4dup5dup6dup7dup8dup9dup10dup11dup12dup13dup14dup15dup16dup17dup18dup19dup20dup21" fmla="*/ 914400 w 2673357"/>
              <a:gd name="connsiteY1dup0dup1dup2dup3dup4dup5dup6dup7dup8dup9dup10dup11dup12dup13dup14dup15dup16dup17dup18dup19dup20dup21" fmla="*/ 7799388 h 7799388"/>
              <a:gd name="connsiteX2dup0dup1dup2dup3dup4dup5dup6dup7dup8dup9dup10dup11dup12dup13dup14dup15dup16dup17dup18dup19dup20dup21" fmla="*/ 0 w 2673357"/>
              <a:gd name="connsiteY2dup0dup1dup2dup3dup4dup5dup6dup7dup8dup9dup10dup11dup12dup13dup14dup15dup16dup17dup18dup19dup20dup21" fmla="*/ 7799388 h 7799388"/>
              <a:gd name="connsiteX3dup0dup1dup2dup3dup4dup5dup6dup7dup8dup9dup10dup11dup12dup13dup14dup15dup16dup17dup18dup19dup20dup21" fmla="*/ 0 w 2673357"/>
              <a:gd name="connsiteY3dup0dup1dup2dup3dup4dup5dup6dup7dup8dup9dup10dup11dup12dup13dup14dup15dup16dup17dup18dup19dup20dup21" fmla="*/ 0 h 7799388"/>
              <a:gd name="connsiteX4dup0dup1dup2dup3dup4dup5dup6dup7dup8dup9dup10dup11dup12dup13dup14dup15dup16dup17dup18dup19dup20dup21" fmla="*/ 2230244 w 2673357"/>
              <a:gd name="connsiteY4dup0dup1dup2dup3dup4dup5dup6dup7dup8dup9dup10dup11dup12dup13dup14dup15dup16dup17dup18dup19dup20dup21" fmla="*/ 11151 h 7799388"/>
              <a:gd name="connsiteX5dup0dup1dup2dup3dup4dup5dup6dup7dup8dup9dup10dup11dup12dup13dup14dup15dup16dup17dup18dup19dup20" fmla="*/ 2673357 w 2673357"/>
              <a:gd name="connsiteY5dup0dup1dup2dup3dup4dup5dup6dup7dup8dup9dup10dup11dup12dup13dup14dup15dup16dup17dup18dup19dup20" fmla="*/ 1394037 h 7799388"/>
              <a:gd name="connsiteX0dup0dup1dup2dup3dup4dup5dup6dup7dup8dup9dup10dup11dup12dup13dup14dup15dup16dup17dup18dup19dup20dup21dup22" fmla="*/ 2673357 w 2673357"/>
              <a:gd name="connsiteY0dup0dup1dup2dup3dup4dup5dup6dup7dup8dup9dup10dup11dup12dup13dup14dup15dup16dup17dup18dup19dup20dup21dup22" fmla="*/ 1394037 h 7799388"/>
              <a:gd name="connsiteX1dup0dup1dup2dup3dup4dup5dup6dup7dup8dup9dup10dup11dup12dup13dup14dup15dup16dup17dup18dup19dup20dup21dup22" fmla="*/ 914400 w 2673357"/>
              <a:gd name="connsiteY1dup0dup1dup2dup3dup4dup5dup6dup7dup8dup9dup10dup11dup12dup13dup14dup15dup16dup17dup18dup19dup20dup21dup22" fmla="*/ 7799388 h 7799388"/>
              <a:gd name="connsiteX2dup0dup1dup2dup3dup4dup5dup6dup7dup8dup9dup10dup11dup12dup13dup14dup15dup16dup17dup18dup19dup20dup21dup22" fmla="*/ 0 w 2673357"/>
              <a:gd name="connsiteY2dup0dup1dup2dup3dup4dup5dup6dup7dup8dup9dup10dup11dup12dup13dup14dup15dup16dup17dup18dup19dup20dup21dup22" fmla="*/ 7799388 h 7799388"/>
              <a:gd name="connsiteX3dup0dup1dup2dup3dup4dup5dup6dup7dup8dup9dup10dup11dup12dup13dup14dup15dup16dup17dup18dup19dup20dup21dup22" fmla="*/ 0 w 2673357"/>
              <a:gd name="connsiteY3dup0dup1dup2dup3dup4dup5dup6dup7dup8dup9dup10dup11dup12dup13dup14dup15dup16dup17dup18dup19dup20dup21dup22" fmla="*/ 0 h 7799388"/>
              <a:gd name="connsiteX4dup0dup1dup2dup3dup4dup5dup6dup7dup8dup9dup10dup11dup12dup13dup14dup15dup16dup17dup18dup19dup20dup21dup22" fmla="*/ 2252546 w 2673357"/>
              <a:gd name="connsiteY4dup0dup1dup2dup3dup4dup5dup6dup7dup8dup9dup10dup11dup12dup13dup14dup15dup16dup17dup18dup19dup20dup21dup22" fmla="*/ 11151 h 7799388"/>
              <a:gd name="connsiteX5dup0dup1dup2dup3dup4dup5dup6dup7dup8dup9dup10dup11dup12dup13dup14dup15dup16dup17dup18dup19dup20dup21" fmla="*/ 2673357 w 2673357"/>
              <a:gd name="connsiteY5dup0dup1dup2dup3dup4dup5dup6dup7dup8dup9dup10dup11dup12dup13dup14dup15dup16dup17dup18dup19dup20dup21" fmla="*/ 1394037 h 7799388"/>
              <a:gd name="connsiteX0dup0dup1dup2dup3dup4dup5dup6dup7dup8dup9dup10dup11dup12dup13dup14dup15dup16dup17dup18dup19dup20dup21dup22dup23" fmla="*/ 2673357 w 2673357"/>
              <a:gd name="connsiteY0dup0dup1dup2dup3dup4dup5dup6dup7dup8dup9dup10dup11dup12dup13dup14dup15dup16dup17dup18dup19dup20dup21dup22dup23" fmla="*/ 1394037 h 7799388"/>
              <a:gd name="connsiteX1dup0dup1dup2dup3dup4dup5dup6dup7dup8dup9dup10dup11dup12dup13dup14dup15dup16dup17dup18dup19dup20dup21dup22dup23" fmla="*/ 914400 w 2673357"/>
              <a:gd name="connsiteY1dup0dup1dup2dup3dup4dup5dup6dup7dup8dup9dup10dup11dup12dup13dup14dup15dup16dup17dup18dup19dup20dup21dup22dup23" fmla="*/ 7799388 h 7799388"/>
              <a:gd name="connsiteX2dup0dup1dup2dup3dup4dup5dup6dup7dup8dup9dup10dup11dup12dup13dup14dup15dup16dup17dup18dup19dup20dup21dup22dup23" fmla="*/ 0 w 2673357"/>
              <a:gd name="connsiteY2dup0dup1dup2dup3dup4dup5dup6dup7dup8dup9dup10dup11dup12dup13dup14dup15dup16dup17dup18dup19dup20dup21dup22dup23" fmla="*/ 7799388 h 7799388"/>
              <a:gd name="connsiteX3dup0dup1dup2dup3dup4dup5dup6dup7dup8dup9dup10dup11dup12dup13dup14dup15dup16dup17dup18dup19dup20dup21dup22dup23" fmla="*/ 0 w 2673357"/>
              <a:gd name="connsiteY3dup0dup1dup2dup3dup4dup5dup6dup7dup8dup9dup10dup11dup12dup13dup14dup15dup16dup17dup18dup19dup20dup21dup22dup23" fmla="*/ 0 h 7799388"/>
              <a:gd name="connsiteX4dup0dup1dup2dup3dup4dup5dup6dup7dup8dup9dup10dup11dup12dup13dup14dup15dup16dup17dup18dup19dup20dup21dup22dup23" fmla="*/ 2280682 w 2673357"/>
              <a:gd name="connsiteY4dup0dup1dup2dup3dup4dup5dup6dup7dup8dup9dup10dup11dup12dup13dup14dup15dup16dup17dup18dup19dup20dup21dup22dup23" fmla="*/ 11151 h 7799388"/>
              <a:gd name="connsiteX5dup0dup1dup2dup3dup4dup5dup6dup7dup8dup9dup10dup11dup12dup13dup14dup15dup16dup17dup18dup19dup20dup21dup22" fmla="*/ 2673357 w 2673357"/>
              <a:gd name="connsiteY5dup0dup1dup2dup3dup4dup5dup6dup7dup8dup9dup10dup11dup12dup13dup14dup15dup16dup17dup18dup19dup20dup21dup22" fmla="*/ 1394037 h 7799388"/>
              <a:gd name="connsiteX0dup0dup1dup2dup3dup4dup5dup6dup7dup8dup9dup10dup11dup12dup13dup14dup15dup16dup17dup18dup19dup20dup21dup22dup23dup24" fmla="*/ 2673357 w 2673357"/>
              <a:gd name="connsiteY0dup0dup1dup2dup3dup4dup5dup6dup7dup8dup9dup10dup11dup12dup13dup14dup15dup16dup17dup18dup19dup20dup21dup22dup23dup24" fmla="*/ 1394037 h 7799388"/>
              <a:gd name="connsiteX1dup0dup1dup2dup3dup4dup5dup6dup7dup8dup9dup10dup11dup12dup13dup14dup15dup16dup17dup18dup19dup20dup21dup22dup23dup24" fmla="*/ 914400 w 2673357"/>
              <a:gd name="connsiteY1dup0dup1dup2dup3dup4dup5dup6dup7dup8dup9dup10dup11dup12dup13dup14dup15dup16dup17dup18dup19dup20dup21dup22dup23dup24" fmla="*/ 7799388 h 7799388"/>
              <a:gd name="connsiteX2dup0dup1dup2dup3dup4dup5dup6dup7dup8dup9dup10dup11dup12dup13dup14dup15dup16dup17dup18dup19dup20dup21dup22dup23dup24" fmla="*/ 0 w 2673357"/>
              <a:gd name="connsiteY2dup0dup1dup2dup3dup4dup5dup6dup7dup8dup9dup10dup11dup12dup13dup14dup15dup16dup17dup18dup19dup20dup21dup22dup23dup24" fmla="*/ 7799388 h 7799388"/>
              <a:gd name="connsiteX3dup0dup1dup2dup3dup4dup5dup6dup7dup8dup9dup10dup11dup12dup13dup14dup15dup16dup17dup18dup19dup20dup21dup22dup23dup24" fmla="*/ 0 w 2673357"/>
              <a:gd name="connsiteY3dup0dup1dup2dup3dup4dup5dup6dup7dup8dup9dup10dup11dup12dup13dup14dup15dup16dup17dup18dup19dup20dup21dup22dup23dup24" fmla="*/ 0 h 7799388"/>
              <a:gd name="connsiteX4dup0dup1dup2dup3dup4dup5dup6dup7dup8dup9dup10dup11dup12dup13dup14dup15dup16dup17dup18dup19dup20dup21dup22dup23dup24" fmla="*/ 2280682 w 2673357"/>
              <a:gd name="connsiteY4dup0dup1dup2dup3dup4dup5dup6dup7dup8dup9dup10dup11dup12dup13dup14dup15dup16dup17dup18dup19dup20dup21dup22dup23dup24" fmla="*/ 11151 h 7799388"/>
              <a:gd name="connsiteX5dup0dup1dup2dup3dup4dup5dup6dup7dup8dup9dup10dup11dup12dup13dup14dup15dup16dup17dup18dup19dup20dup21dup22dup23" fmla="*/ 2673357 w 2673357"/>
              <a:gd name="connsiteY5dup0dup1dup2dup3dup4dup5dup6dup7dup8dup9dup10dup11dup12dup13dup14dup15dup16dup17dup18dup19dup20dup21dup22dup23" fmla="*/ 1394037 h 7799388"/>
              <a:gd name="connsiteX0dup0dup1dup2dup3dup4dup5dup6dup7dup8dup9dup10dup11dup12dup13dup14dup15dup16dup17dup18dup19dup20dup21dup22dup23dup24dup25" fmla="*/ 2673357 w 2673357"/>
              <a:gd name="connsiteY0dup0dup1dup2dup3dup4dup5dup6dup7dup8dup9dup10dup11dup12dup13dup14dup15dup16dup17dup18dup19dup20dup21dup22dup23dup24dup25" fmla="*/ 1382886 h 7788237"/>
              <a:gd name="connsiteX1dup0dup1dup2dup3dup4dup5dup6dup7dup8dup9dup10dup11dup12dup13dup14dup15dup16dup17dup18dup19dup20dup21dup22dup23dup24dup25" fmla="*/ 914400 w 2673357"/>
              <a:gd name="connsiteY1dup0dup1dup2dup3dup4dup5dup6dup7dup8dup9dup10dup11dup12dup13dup14dup15dup16dup17dup18dup19dup20dup21dup22dup23dup24dup25" fmla="*/ 7788237 h 7788237"/>
              <a:gd name="connsiteX2dup0dup1dup2dup3dup4dup5dup6dup7dup8dup9dup10dup11dup12dup13dup14dup15dup16dup17dup18dup19dup20dup21dup22dup23dup24dup25" fmla="*/ 0 w 2673357"/>
              <a:gd name="connsiteY2dup0dup1dup2dup3dup4dup5dup6dup7dup8dup9dup10dup11dup12dup13dup14dup15dup16dup17dup18dup19dup20dup21dup22dup23dup24dup25" fmla="*/ 7788237 h 7788237"/>
              <a:gd name="connsiteX3dup0dup1dup2dup3dup4dup5dup6dup7dup8dup9dup10dup11dup12dup13dup14dup15dup16dup17dup18dup19dup20dup21dup22dup23dup24dup25" fmla="*/ 0 w 2673357"/>
              <a:gd name="connsiteY3dup0dup1dup2dup3dup4dup5dup6dup7dup8dup9dup10dup11dup12dup13dup14dup15dup16dup17dup18dup19dup20dup21dup22dup23dup24dup25" fmla="*/ 2917 h 7788237"/>
              <a:gd name="connsiteX4dup0dup1dup2dup3dup4dup5dup6dup7dup8dup9dup10dup11dup12dup13dup14dup15dup16dup17dup18dup19dup20dup21dup22dup23dup24dup25" fmla="*/ 2280682 w 2673357"/>
              <a:gd name="connsiteY4dup0dup1dup2dup3dup4dup5dup6dup7dup8dup9dup10dup11dup12dup13dup14dup15dup16dup17dup18dup19dup20dup21dup22dup23dup24dup25" fmla="*/ 0 h 7788237"/>
              <a:gd name="connsiteX5dup0dup1dup2dup3dup4dup5dup6dup7dup8dup9dup10dup11dup12dup13dup14dup15dup16dup17dup18dup19dup20dup21dup22dup23dup24" fmla="*/ 2673357 w 2673357"/>
              <a:gd name="connsiteY5dup0dup1dup2dup3dup4dup5dup6dup7dup8dup9dup10dup11dup12dup13dup14dup15dup16dup17dup18dup19dup20dup21dup22dup23dup24" fmla="*/ 1382886 h 7788237"/>
              <a:gd name="connsiteX0dup0dup1dup2dup3dup4dup5dup6dup7dup8dup9dup10dup11dup12dup13dup14dup15dup16dup17dup18dup19dup20dup21dup22dup23dup24dup25dup26" fmla="*/ 2673357 w 2673357"/>
              <a:gd name="connsiteY0dup0dup1dup2dup3dup4dup5dup6dup7dup8dup9dup10dup11dup12dup13dup14dup15dup16dup17dup18dup19dup20dup21dup22dup23dup24dup25dup26" fmla="*/ 1382886 h 7788237"/>
              <a:gd name="connsiteX1dup0dup1dup2dup3dup4dup5dup6dup7dup8dup9dup10dup11dup12dup13dup14dup15dup16dup17dup18dup19dup20dup21dup22dup23dup24dup25dup26" fmla="*/ 872197 w 2673357"/>
              <a:gd name="connsiteY1dup0dup1dup2dup3dup4dup5dup6dup7dup8dup9dup10dup11dup12dup13dup14dup15dup16dup17dup18dup19dup20dup21dup22dup23dup24dup25dup26" fmla="*/ 7788237 h 7788237"/>
              <a:gd name="connsiteX2dup0dup1dup2dup3dup4dup5dup6dup7dup8dup9dup10dup11dup12dup13dup14dup15dup16dup17dup18dup19dup20dup21dup22dup23dup24dup25dup26" fmla="*/ 0 w 2673357"/>
              <a:gd name="connsiteY2dup0dup1dup2dup3dup4dup5dup6dup7dup8dup9dup10dup11dup12dup13dup14dup15dup16dup17dup18dup19dup20dup21dup22dup23dup24dup25dup26" fmla="*/ 7788237 h 7788237"/>
              <a:gd name="connsiteX3dup0dup1dup2dup3dup4dup5dup6dup7dup8dup9dup10dup11dup12dup13dup14dup15dup16dup17dup18dup19dup20dup21dup22dup23dup24dup25dup26" fmla="*/ 0 w 2673357"/>
              <a:gd name="connsiteY3dup0dup1dup2dup3dup4dup5dup6dup7dup8dup9dup10dup11dup12dup13dup14dup15dup16dup17dup18dup19dup20dup21dup22dup23dup24dup25dup26" fmla="*/ 2917 h 7788237"/>
              <a:gd name="connsiteX4dup0dup1dup2dup3dup4dup5dup6dup7dup8dup9dup10dup11dup12dup13dup14dup15dup16dup17dup18dup19dup20dup21dup22dup23dup24dup25dup26" fmla="*/ 2280682 w 2673357"/>
              <a:gd name="connsiteY4dup0dup1dup2dup3dup4dup5dup6dup7dup8dup9dup10dup11dup12dup13dup14dup15dup16dup17dup18dup19dup20dup21dup22dup23dup24dup25dup26" fmla="*/ 0 h 7788237"/>
              <a:gd name="connsiteX5dup0dup1dup2dup3dup4dup5dup6dup7dup8dup9dup10dup11dup12dup13dup14dup15dup16dup17dup18dup19dup20dup21dup22dup23dup24dup25" fmla="*/ 2673357 w 2673357"/>
              <a:gd name="connsiteY5dup0dup1dup2dup3dup4dup5dup6dup7dup8dup9dup10dup11dup12dup13dup14dup15dup16dup17dup18dup19dup20dup21dup22dup23dup24dup25" fmla="*/ 1382886 h 7788237"/>
              <a:gd name="connsiteX0dup0dup1dup2dup3dup4dup5dup6dup7dup8dup9dup10dup11dup12dup13dup14dup15dup16dup17dup18dup19dup20dup21dup22dup23dup24dup25dup26dup27" fmla="*/ 2677367 w 2677367"/>
              <a:gd name="connsiteY0dup0dup1dup2dup3dup4dup5dup6dup7dup8dup9dup10dup11dup12dup13dup14dup15dup16dup17dup18dup19dup20dup21dup22dup23dup24dup25dup26dup27" fmla="*/ 1378876 h 7788237"/>
              <a:gd name="connsiteX1dup0dup1dup2dup3dup4dup5dup6dup7dup8dup9dup10dup11dup12dup13dup14dup15dup16dup17dup18dup19dup20dup21dup22dup23dup24dup25dup26dup27" fmla="*/ 872197 w 2677367"/>
              <a:gd name="connsiteY1dup0dup1dup2dup3dup4dup5dup6dup7dup8dup9dup10dup11dup12dup13dup14dup15dup16dup17dup18dup19dup20dup21dup22dup23dup24dup25dup26dup27" fmla="*/ 7788237 h 7788237"/>
              <a:gd name="connsiteX2dup0dup1dup2dup3dup4dup5dup6dup7dup8dup9dup10dup11dup12dup13dup14dup15dup16dup17dup18dup19dup20dup21dup22dup23dup24dup25dup26dup27" fmla="*/ 0 w 2677367"/>
              <a:gd name="connsiteY2dup0dup1dup2dup3dup4dup5dup6dup7dup8dup9dup10dup11dup12dup13dup14dup15dup16dup17dup18dup19dup20dup21dup22dup23dup24dup25dup26dup27" fmla="*/ 7788237 h 7788237"/>
              <a:gd name="connsiteX3dup0dup1dup2dup3dup4dup5dup6dup7dup8dup9dup10dup11dup12dup13dup14dup15dup16dup17dup18dup19dup20dup21dup22dup23dup24dup25dup26dup27" fmla="*/ 0 w 2677367"/>
              <a:gd name="connsiteY3dup0dup1dup2dup3dup4dup5dup6dup7dup8dup9dup10dup11dup12dup13dup14dup15dup16dup17dup18dup19dup20dup21dup22dup23dup24dup25dup26dup27" fmla="*/ 2917 h 7788237"/>
              <a:gd name="connsiteX4dup0dup1dup2dup3dup4dup5dup6dup7dup8dup9dup10dup11dup12dup13dup14dup15dup16dup17dup18dup19dup20dup21dup22dup23dup24dup25dup26dup27" fmla="*/ 2280682 w 2677367"/>
              <a:gd name="connsiteY4dup0dup1dup2dup3dup4dup5dup6dup7dup8dup9dup10dup11dup12dup13dup14dup15dup16dup17dup18dup19dup20dup21dup22dup23dup24dup25dup26dup27" fmla="*/ 0 h 7788237"/>
              <a:gd name="connsiteX5dup0dup1dup2dup3dup4dup5dup6dup7dup8dup9dup10dup11dup12dup13dup14dup15dup16dup17dup18dup19dup20dup21dup22dup23dup24dup25dup26" fmla="*/ 2677367 w 2677367"/>
              <a:gd name="connsiteY5dup0dup1dup2dup3dup4dup5dup6dup7dup8dup9dup10dup11dup12dup13dup14dup15dup16dup17dup18dup19dup20dup21dup22dup23dup24dup25dup26" fmla="*/ 1378876 h 7788237"/>
              <a:gd name="connsiteX0dup0dup1dup2dup3dup4dup5dup6dup7dup8dup9dup10dup11dup12dup13dup14dup15dup16dup17dup18dup19dup20dup21dup22dup23dup24dup25dup26dup27dup28" fmla="*/ 2677367 w 2677367"/>
              <a:gd name="connsiteY0dup0dup1dup2dup3dup4dup5dup6dup7dup8dup9dup10dup11dup12dup13dup14dup15dup16dup17dup18dup19dup20dup21dup22dup23dup24dup25dup26dup27dup28" fmla="*/ 1378876 h 7788237"/>
              <a:gd name="connsiteX1dup0dup1dup2dup3dup4dup5dup6dup7dup8dup9dup10dup11dup12dup13dup14dup15dup16dup17dup18dup19dup20dup21dup22dup23dup24dup25dup26dup27dup28" fmla="*/ 852144 w 2677367"/>
              <a:gd name="connsiteY1dup0dup1dup2dup3dup4dup5dup6dup7dup8dup9dup10dup11dup12dup13dup14dup15dup16dup17dup18dup19dup20dup21dup22dup23dup24dup25dup26dup27dup28" fmla="*/ 7788237 h 7788237"/>
              <a:gd name="connsiteX2dup0dup1dup2dup3dup4dup5dup6dup7dup8dup9dup10dup11dup12dup13dup14dup15dup16dup17dup18dup19dup20dup21dup22dup23dup24dup25dup26dup27dup28" fmla="*/ 0 w 2677367"/>
              <a:gd name="connsiteY2dup0dup1dup2dup3dup4dup5dup6dup7dup8dup9dup10dup11dup12dup13dup14dup15dup16dup17dup18dup19dup20dup21dup22dup23dup24dup25dup26dup27dup28" fmla="*/ 7788237 h 7788237"/>
              <a:gd name="connsiteX3dup0dup1dup2dup3dup4dup5dup6dup7dup8dup9dup10dup11dup12dup13dup14dup15dup16dup17dup18dup19dup20dup21dup22dup23dup24dup25dup26dup27dup28" fmla="*/ 0 w 2677367"/>
              <a:gd name="connsiteY3dup0dup1dup2dup3dup4dup5dup6dup7dup8dup9dup10dup11dup12dup13dup14dup15dup16dup17dup18dup19dup20dup21dup22dup23dup24dup25dup26dup27dup28" fmla="*/ 2917 h 7788237"/>
              <a:gd name="connsiteX4dup0dup1dup2dup3dup4dup5dup6dup7dup8dup9dup10dup11dup12dup13dup14dup15dup16dup17dup18dup19dup20dup21dup22dup23dup24dup25dup26dup27dup28" fmla="*/ 2280682 w 2677367"/>
              <a:gd name="connsiteY4dup0dup1dup2dup3dup4dup5dup6dup7dup8dup9dup10dup11dup12dup13dup14dup15dup16dup17dup18dup19dup20dup21dup22dup23dup24dup25dup26dup27dup28" fmla="*/ 0 h 7788237"/>
              <a:gd name="connsiteX5dup0dup1dup2dup3dup4dup5dup6dup7dup8dup9dup10dup11dup12dup13dup14dup15dup16dup17dup18dup19dup20dup21dup22dup23dup24dup25dup26dup27" fmla="*/ 2677367 w 2677367"/>
              <a:gd name="connsiteY5dup0dup1dup2dup3dup4dup5dup6dup7dup8dup9dup10dup11dup12dup13dup14dup15dup16dup17dup18dup19dup20dup21dup22dup23dup24dup25dup26dup27" fmla="*/ 1378876 h 7788237"/>
              <a:gd name="connsiteX0dup0dup1dup2dup3dup4dup5dup6dup7dup8dup9dup10dup11dup12dup13dup14dup15dup16dup17dup18dup19dup20dup21dup22dup23dup24dup25dup26dup27dup28dup29" fmla="*/ 2677367 w 2677367"/>
              <a:gd name="connsiteY0dup0dup1dup2dup3dup4dup5dup6dup7dup8dup9dup10dup11dup12dup13dup14dup15dup16dup17dup18dup19dup20dup21dup22dup23dup24dup25dup26dup27dup28dup29" fmla="*/ 1378876 h 7788237"/>
              <a:gd name="connsiteX1dup0dup1dup2dup3dup4dup5dup6dup7dup8dup9dup10dup11dup12dup13dup14dup15dup16dup17dup18dup19dup20dup21dup22dup23dup24dup25dup26dup27dup28dup29" fmla="*/ 856378 w 2677367"/>
              <a:gd name="connsiteY1dup0dup1dup2dup3dup4dup5dup6dup7dup8dup9dup10dup11dup12dup13dup14dup15dup16dup17dup18dup19dup20dup21dup22dup23dup24dup25dup26dup27dup28dup29" fmla="*/ 7771303 h 7788237"/>
              <a:gd name="connsiteX2dup0dup1dup2dup3dup4dup5dup6dup7dup8dup9dup10dup11dup12dup13dup14dup15dup16dup17dup18dup19dup20dup21dup22dup23dup24dup25dup26dup27dup28dup29" fmla="*/ 0 w 2677367"/>
              <a:gd name="connsiteY2dup0dup1dup2dup3dup4dup5dup6dup7dup8dup9dup10dup11dup12dup13dup14dup15dup16dup17dup18dup19dup20dup21dup22dup23dup24dup25dup26dup27dup28dup29" fmla="*/ 7788237 h 7788237"/>
              <a:gd name="connsiteX3dup0dup1dup2dup3dup4dup5dup6dup7dup8dup9dup10dup11dup12dup13dup14dup15dup16dup17dup18dup19dup20dup21dup22dup23dup24dup25dup26dup27dup28dup29" fmla="*/ 0 w 2677367"/>
              <a:gd name="connsiteY3dup0dup1dup2dup3dup4dup5dup6dup7dup8dup9dup10dup11dup12dup13dup14dup15dup16dup17dup18dup19dup20dup21dup22dup23dup24dup25dup26dup27dup28dup29" fmla="*/ 2917 h 7788237"/>
              <a:gd name="connsiteX4dup0dup1dup2dup3dup4dup5dup6dup7dup8dup9dup10dup11dup12dup13dup14dup15dup16dup17dup18dup19dup20dup21dup22dup23dup24dup25dup26dup27dup28dup29" fmla="*/ 2280682 w 2677367"/>
              <a:gd name="connsiteY4dup0dup1dup2dup3dup4dup5dup6dup7dup8dup9dup10dup11dup12dup13dup14dup15dup16dup17dup18dup19dup20dup21dup22dup23dup24dup25dup26dup27dup28dup29" fmla="*/ 0 h 7788237"/>
              <a:gd name="connsiteX5dup0dup1dup2dup3dup4dup5dup6dup7dup8dup9dup10dup11dup12dup13dup14dup15dup16dup17dup18dup19dup20dup21dup22dup23dup24dup25dup26dup27dup28" fmla="*/ 2677367 w 2677367"/>
              <a:gd name="connsiteY5dup0dup1dup2dup3dup4dup5dup6dup7dup8dup9dup10dup11dup12dup13dup14dup15dup16dup17dup18dup19dup20dup21dup22dup23dup24dup25dup26dup27dup28" fmla="*/ 1378876 h 7788237"/>
              <a:gd name="connsiteX0dup0dup1dup2dup3dup4dup5dup6dup7dup8dup9dup10dup11dup12dup13dup14dup15dup16dup17dup18dup19dup20dup21dup22dup23dup24dup25dup26dup27dup28dup29dup30" fmla="*/ 2677367 w 2677367"/>
              <a:gd name="connsiteY0dup0dup1dup2dup3dup4dup5dup6dup7dup8dup9dup10dup11dup12dup13dup14dup15dup16dup17dup18dup19dup20dup21dup22dup23dup24dup25dup26dup27dup28dup29dup30" fmla="*/ 1378876 h 7771303"/>
              <a:gd name="connsiteX1dup0dup1dup2dup3dup4dup5dup6dup7dup8dup9dup10dup11dup12dup13dup14dup15dup16dup17dup18dup19dup20dup21dup22dup23dup24dup25dup26dup27dup28dup29dup30" fmla="*/ 856378 w 2677367"/>
              <a:gd name="connsiteY1dup0dup1dup2dup3dup4dup5dup6dup7dup8dup9dup10dup11dup12dup13dup14dup15dup16dup17dup18dup19dup20dup21dup22dup23dup24dup25dup26dup27dup28dup29dup30" fmla="*/ 7771303 h 7771303"/>
              <a:gd name="connsiteX2dup0dup1dup2dup3dup4dup5dup6dup7dup8dup9dup10dup11dup12dup13dup14dup15dup16dup17dup18dup19dup20dup21dup22dup23dup24dup25dup26dup27dup28dup29dup30" fmla="*/ 0 w 2677367"/>
              <a:gd name="connsiteY2dup0dup1dup2dup3dup4dup5dup6dup7dup8dup9dup10dup11dup12dup13dup14dup15dup16dup17dup18dup19dup20dup21dup22dup23dup24dup25dup26dup27dup28dup29dup30" fmla="*/ 7767071 h 7771303"/>
              <a:gd name="connsiteX3dup0dup1dup2dup3dup4dup5dup6dup7dup8dup9dup10dup11dup12dup13dup14dup15dup16dup17dup18dup19dup20dup21dup22dup23dup24dup25dup26dup27dup28dup29dup30" fmla="*/ 0 w 2677367"/>
              <a:gd name="connsiteY3dup0dup1dup2dup3dup4dup5dup6dup7dup8dup9dup10dup11dup12dup13dup14dup15dup16dup17dup18dup19dup20dup21dup22dup23dup24dup25dup26dup27dup28dup29dup30" fmla="*/ 2917 h 7771303"/>
              <a:gd name="connsiteX4dup0dup1dup2dup3dup4dup5dup6dup7dup8dup9dup10dup11dup12dup13dup14dup15dup16dup17dup18dup19dup20dup21dup22dup23dup24dup25dup26dup27dup28dup29dup30" fmla="*/ 2280682 w 2677367"/>
              <a:gd name="connsiteY4dup0dup1dup2dup3dup4dup5dup6dup7dup8dup9dup10dup11dup12dup13dup14dup15dup16dup17dup18dup19dup20dup21dup22dup23dup24dup25dup26dup27dup28dup29dup30" fmla="*/ 0 h 7771303"/>
              <a:gd name="connsiteX5dup0dup1dup2dup3dup4dup5dup6dup7dup8dup9dup10dup11dup12dup13dup14dup15dup16dup17dup18dup19dup20dup21dup22dup23dup24dup25dup26dup27dup28dup29" fmla="*/ 2677367 w 2677367"/>
              <a:gd name="connsiteY5dup0dup1dup2dup3dup4dup5dup6dup7dup8dup9dup10dup11dup12dup13dup14dup15dup16dup17dup18dup19dup20dup21dup22dup23dup24dup25dup26dup27dup28dup29" fmla="*/ 1378876 h 7771303"/>
              <a:gd name="connsiteX0dup0dup1dup2dup3dup4dup5dup6dup7dup8dup9dup10dup11dup12dup13dup14dup15dup16dup17dup18dup19dup20dup21dup22dup23dup24dup25dup26dup27dup28dup29dup30dup31" fmla="*/ 2677367 w 2677367"/>
              <a:gd name="connsiteY0dup0dup1dup2dup3dup4dup5dup6dup7dup8dup9dup10dup11dup12dup13dup14dup15dup16dup17dup18dup19dup20dup21dup22dup23dup24dup25dup26dup27dup28dup29dup30dup31" fmla="*/ 1378876 h 7771303"/>
              <a:gd name="connsiteX1dup0dup1dup2dup3dup4dup5dup6dup7dup8dup9dup10dup11dup12dup13dup14dup15dup16dup17dup18dup19dup20dup21dup22dup23dup24dup25dup26dup27dup28dup29dup30dup31" fmla="*/ 856378 w 2677367"/>
              <a:gd name="connsiteY1dup0dup1dup2dup3dup4dup5dup6dup7dup8dup9dup10dup11dup12dup13dup14dup15dup16dup17dup18dup19dup20dup21dup22dup23dup24dup25dup26dup27dup28dup29dup30dup31" fmla="*/ 7771303 h 7771303"/>
              <a:gd name="connsiteX2dup0dup1dup2dup3dup4dup5dup6dup7dup8dup9dup10dup11dup12dup13dup14dup15dup16dup17dup18dup19dup20dup21dup22dup23dup24dup25dup26dup27dup28dup29dup30dup31" fmla="*/ 0 w 2677367"/>
              <a:gd name="connsiteY2dup0dup1dup2dup3dup4dup5dup6dup7dup8dup9dup10dup11dup12dup13dup14dup15dup16dup17dup18dup19dup20dup21dup22dup23dup24dup25dup26dup27dup28dup29dup30dup31" fmla="*/ 7767071 h 7771303"/>
              <a:gd name="connsiteX3dup0dup1dup2dup3dup4dup5dup6dup7dup8dup9dup10dup11dup12dup13dup14dup15dup16dup17dup18dup19dup20dup21dup22dup23dup24dup25dup26dup27dup28dup29dup30dup31" fmla="*/ 0 w 2677367"/>
              <a:gd name="connsiteY3dup0dup1dup2dup3dup4dup5dup6dup7dup8dup9dup10dup11dup12dup13dup14dup15dup16dup17dup18dup19dup20dup21dup22dup23dup24dup25dup26dup27dup28dup29dup30dup31" fmla="*/ 2917 h 7771303"/>
              <a:gd name="connsiteX4dup0dup1dup2dup3dup4dup5dup6dup7dup8dup9dup10dup11dup12dup13dup14dup15dup16dup17dup18dup19dup20dup21dup22dup23dup24dup25dup26dup27dup28dup29dup30dup31" fmla="*/ 2280682 w 2677367"/>
              <a:gd name="connsiteY4dup0dup1dup2dup3dup4dup5dup6dup7dup8dup9dup10dup11dup12dup13dup14dup15dup16dup17dup18dup19dup20dup21dup22dup23dup24dup25dup26dup27dup28dup29dup30dup31" fmla="*/ 0 h 7771303"/>
              <a:gd name="connsiteX5dup0dup1dup2dup3dup4dup5dup6dup7dup8dup9dup10dup11dup12dup13dup14dup15dup16dup17dup18dup19dup20dup21dup22dup23dup24dup25dup26dup27dup28dup29dup30" fmla="*/ 2677367 w 2677367"/>
              <a:gd name="connsiteY5dup0dup1dup2dup3dup4dup5dup6dup7dup8dup9dup10dup11dup12dup13dup14dup15dup16dup17dup18dup19dup20dup21dup22dup23dup24dup25dup26dup27dup28dup29dup30" fmla="*/ 1378876 h 7771303"/>
              <a:gd name="connsiteX0dup0dup1dup2dup3dup4dup5dup6dup7dup8dup9dup10dup11dup12dup13dup14dup15dup16dup17dup18dup19dup20dup21dup22dup23dup24dup25dup26dup27dup28dup29dup30dup31dup32" fmla="*/ 2677367 w 2677367"/>
              <a:gd name="connsiteY0dup0dup1dup2dup3dup4dup5dup6dup7dup8dup9dup10dup11dup12dup13dup14dup15dup16dup17dup18dup19dup20dup21dup22dup23dup24dup25dup26dup27dup28dup29dup30dup31dup32" fmla="*/ 1378876 h 7771303"/>
              <a:gd name="connsiteX1dup0dup1dup2dup3dup4dup5dup6dup7dup8dup9dup10dup11dup12dup13dup14dup15dup16dup17dup18dup19dup20dup21dup22dup23dup24dup25dup26dup27dup28dup29dup30dup31dup32" fmla="*/ 856378 w 2677367"/>
              <a:gd name="connsiteY1dup0dup1dup2dup3dup4dup5dup6dup7dup8dup9dup10dup11dup12dup13dup14dup15dup16dup17dup18dup19dup20dup21dup22dup23dup24dup25dup26dup27dup28dup29dup30dup31dup32" fmla="*/ 7771303 h 7771303"/>
              <a:gd name="connsiteX2dup0dup1dup2dup3dup4dup5dup6dup7dup8dup9dup10dup11dup12dup13dup14dup15dup16dup17dup18dup19dup20dup21dup22dup23dup24dup25dup26dup27dup28dup29dup30dup31dup32" fmla="*/ 0 w 2677367"/>
              <a:gd name="connsiteY2dup0dup1dup2dup3dup4dup5dup6dup7dup8dup9dup10dup11dup12dup13dup14dup15dup16dup17dup18dup19dup20dup21dup22dup23dup24dup25dup26dup27dup28dup29dup30dup31dup32" fmla="*/ 7767071 h 7771303"/>
              <a:gd name="connsiteX3dup0dup1dup2dup3dup4dup5dup6dup7dup8dup9dup10dup11dup12dup13dup14dup15dup16dup17dup18dup19dup20dup21dup22dup23dup24dup25dup26dup27dup28dup29dup30dup31dup32" fmla="*/ 0 w 2677367"/>
              <a:gd name="connsiteY3dup0dup1dup2dup3dup4dup5dup6dup7dup8dup9dup10dup11dup12dup13dup14dup15dup16dup17dup18dup19dup20dup21dup22dup23dup24dup25dup26dup27dup28dup29dup30dup31dup32" fmla="*/ 2917 h 7771303"/>
              <a:gd name="connsiteX4dup0dup1dup2dup3dup4dup5dup6dup7dup8dup9dup10dup11dup12dup13dup14dup15dup16dup17dup18dup19dup20dup21dup22dup23dup24dup25dup26dup27dup28dup29dup30dup31dup32" fmla="*/ 2280682 w 2677367"/>
              <a:gd name="connsiteY4dup0dup1dup2dup3dup4dup5dup6dup7dup8dup9dup10dup11dup12dup13dup14dup15dup16dup17dup18dup19dup20dup21dup22dup23dup24dup25dup26dup27dup28dup29dup30dup31dup32" fmla="*/ 0 h 7771303"/>
              <a:gd name="connsiteX5dup0dup1dup2dup3dup4dup5dup6dup7dup8dup9dup10dup11dup12dup13dup14dup15dup16dup17dup18dup19dup20dup21dup22dup23dup24dup25dup26dup27dup28dup29dup30dup31" fmla="*/ 2677367 w 2677367"/>
              <a:gd name="connsiteY5dup0dup1dup2dup3dup4dup5dup6dup7dup8dup9dup10dup11dup12dup13dup14dup15dup16dup17dup18dup19dup20dup21dup22dup23dup24dup25dup26dup27dup28dup29dup30dup31" fmla="*/ 1378876 h 7771303"/>
              <a:gd name="connsiteX0dup0dup1dup2dup3dup4dup5dup6dup7dup8dup9dup10dup11dup12dup13dup14dup15dup16dup17dup18dup19dup20dup21dup22dup23dup24dup25dup26dup27dup28dup29dup30dup31dup32dup33" fmla="*/ 2677367 w 2677367"/>
              <a:gd name="connsiteY0dup0dup1dup2dup3dup4dup5dup6dup7dup8dup9dup10dup11dup12dup13dup14dup15dup16dup17dup18dup19dup20dup21dup22dup23dup24dup25dup26dup27dup28dup29dup30dup31dup32dup33" fmla="*/ 1378876 h 7767826"/>
              <a:gd name="connsiteX1dup0dup1dup2dup3dup4dup5dup6dup7dup8dup9dup10dup11dup12dup13dup14dup15dup16dup17dup18dup19dup20dup21dup22dup23dup24dup25dup26dup27dup28dup29dup30dup31dup32dup33" fmla="*/ 856378 w 2677367"/>
              <a:gd name="connsiteY1dup0dup1dup2dup3dup4dup5dup6dup7dup8dup9dup10dup11dup12dup13dup14dup15dup16dup17dup18dup19dup20dup21dup22dup23dup24dup25dup26dup27dup28dup29dup30dup31dup32dup33" fmla="*/ 7767826 h 7767826"/>
              <a:gd name="connsiteX2dup0dup1dup2dup3dup4dup5dup6dup7dup8dup9dup10dup11dup12dup13dup14dup15dup16dup17dup18dup19dup20dup21dup22dup23dup24dup25dup26dup27dup28dup29dup30dup31dup32dup33" fmla="*/ 0 w 2677367"/>
              <a:gd name="connsiteY2dup0dup1dup2dup3dup4dup5dup6dup7dup8dup9dup10dup11dup12dup13dup14dup15dup16dup17dup18dup19dup20dup21dup22dup23dup24dup25dup26dup27dup28dup29dup30dup31dup32dup33" fmla="*/ 7767071 h 7767826"/>
              <a:gd name="connsiteX3dup0dup1dup2dup3dup4dup5dup6dup7dup8dup9dup10dup11dup12dup13dup14dup15dup16dup17dup18dup19dup20dup21dup22dup23dup24dup25dup26dup27dup28dup29dup30dup31dup32dup33" fmla="*/ 0 w 2677367"/>
              <a:gd name="connsiteY3dup0dup1dup2dup3dup4dup5dup6dup7dup8dup9dup10dup11dup12dup13dup14dup15dup16dup17dup18dup19dup20dup21dup22dup23dup24dup25dup26dup27dup28dup29dup30dup31dup32dup33" fmla="*/ 2917 h 7767826"/>
              <a:gd name="connsiteX4dup0dup1dup2dup3dup4dup5dup6dup7dup8dup9dup10dup11dup12dup13dup14dup15dup16dup17dup18dup19dup20dup21dup22dup23dup24dup25dup26dup27dup28dup29dup30dup31dup32dup33" fmla="*/ 2280682 w 2677367"/>
              <a:gd name="connsiteY4dup0dup1dup2dup3dup4dup5dup6dup7dup8dup9dup10dup11dup12dup13dup14dup15dup16dup17dup18dup19dup20dup21dup22dup23dup24dup25dup26dup27dup28dup29dup30dup31dup32dup33" fmla="*/ 0 h 7767826"/>
              <a:gd name="connsiteX5dup0dup1dup2dup3dup4dup5dup6dup7dup8dup9dup10dup11dup12dup13dup14dup15dup16dup17dup18dup19dup20dup21dup22dup23dup24dup25dup26dup27dup28dup29dup30dup31dup32" fmla="*/ 2677367 w 2677367"/>
              <a:gd name="connsiteY5dup0dup1dup2dup3dup4dup5dup6dup7dup8dup9dup10dup11dup12dup13dup14dup15dup16dup17dup18dup19dup20dup21dup22dup23dup24dup25dup26dup27dup28dup29dup30dup31dup32" fmla="*/ 1378876 h 7767826"/>
              <a:gd name="connsiteX0dup0dup1dup2dup3dup4dup5dup6dup7dup8dup9dup10dup11dup12dup13dup14dup15dup16dup17dup18dup19dup20dup21dup22dup23dup24dup25dup26dup27dup28dup29dup30dup31dup32dup33dup34" fmla="*/ 2677367 w 2677367"/>
              <a:gd name="connsiteY0dup0dup1dup2dup3dup4dup5dup6dup7dup8dup9dup10dup11dup12dup13dup14dup15dup16dup17dup18dup19dup20dup21dup22dup23dup24dup25dup26dup27dup28dup29dup30dup31dup32dup33dup34" fmla="*/ 1378876 h 7774780"/>
              <a:gd name="connsiteX1dup0dup1dup2dup3dup4dup5dup6dup7dup8dup9dup10dup11dup12dup13dup14dup15dup16dup17dup18dup19dup20dup21dup22dup23dup24dup25dup26dup27dup28dup29dup30dup31dup32dup33dup34" fmla="*/ 856378 w 2677367"/>
              <a:gd name="connsiteY1dup0dup1dup2dup3dup4dup5dup6dup7dup8dup9dup10dup11dup12dup13dup14dup15dup16dup17dup18dup19dup20dup21dup22dup23dup24dup25dup26dup27dup28dup29dup30dup31dup32dup33dup34" fmla="*/ 7774780 h 7774780"/>
              <a:gd name="connsiteX2dup0dup1dup2dup3dup4dup5dup6dup7dup8dup9dup10dup11dup12dup13dup14dup15dup16dup17dup18dup19dup20dup21dup22dup23dup24dup25dup26dup27dup28dup29dup30dup31dup32dup33dup34" fmla="*/ 0 w 2677367"/>
              <a:gd name="connsiteY2dup0dup1dup2dup3dup4dup5dup6dup7dup8dup9dup10dup11dup12dup13dup14dup15dup16dup17dup18dup19dup20dup21dup22dup23dup24dup25dup26dup27dup28dup29dup30dup31dup32dup33dup34" fmla="*/ 7767071 h 7774780"/>
              <a:gd name="connsiteX3dup0dup1dup2dup3dup4dup5dup6dup7dup8dup9dup10dup11dup12dup13dup14dup15dup16dup17dup18dup19dup20dup21dup22dup23dup24dup25dup26dup27dup28dup29dup30dup31dup32dup33dup34" fmla="*/ 0 w 2677367"/>
              <a:gd name="connsiteY3dup0dup1dup2dup3dup4dup5dup6dup7dup8dup9dup10dup11dup12dup13dup14dup15dup16dup17dup18dup19dup20dup21dup22dup23dup24dup25dup26dup27dup28dup29dup30dup31dup32dup33dup34" fmla="*/ 2917 h 7774780"/>
              <a:gd name="connsiteX4dup0dup1dup2dup3dup4dup5dup6dup7dup8dup9dup10dup11dup12dup13dup14dup15dup16dup17dup18dup19dup20dup21dup22dup23dup24dup25dup26dup27dup28dup29dup30dup31dup32dup33dup34" fmla="*/ 2280682 w 2677367"/>
              <a:gd name="connsiteY4dup0dup1dup2dup3dup4dup5dup6dup7dup8dup9dup10dup11dup12dup13dup14dup15dup16dup17dup18dup19dup20dup21dup22dup23dup24dup25dup26dup27dup28dup29dup30dup31dup32dup33dup34" fmla="*/ 0 h 7774780"/>
              <a:gd name="connsiteX5dup0dup1dup2dup3dup4dup5dup6dup7dup8dup9dup10dup11dup12dup13dup14dup15dup16dup17dup18dup19dup20dup21dup22dup23dup24dup25dup26dup27dup28dup29dup30dup31dup32dup33" fmla="*/ 2677367 w 2677367"/>
              <a:gd name="connsiteY5dup0dup1dup2dup3dup4dup5dup6dup7dup8dup9dup10dup11dup12dup13dup14dup15dup16dup17dup18dup19dup20dup21dup22dup23dup24dup25dup26dup27dup28dup29dup30dup31dup32dup33" fmla="*/ 1378876 h 7774780"/>
              <a:gd name="connsiteX0dup0dup1dup2dup3dup4dup5dup6dup7dup8dup9dup10dup11dup12dup13dup14dup15dup16dup17dup18dup19dup20dup21dup22dup23dup24dup25dup26dup27dup28dup29dup30dup31dup32dup33dup34dup35" fmla="*/ 2677367 w 2677367"/>
              <a:gd name="connsiteY0dup0dup1dup2dup3dup4dup5dup6dup7dup8dup9dup10dup11dup12dup13dup14dup15dup16dup17dup18dup19dup20dup21dup22dup23dup24dup25dup26dup27dup28dup29dup30dup31dup32dup33dup34dup35" fmla="*/ 1378876 h 7777502"/>
              <a:gd name="connsiteX1dup0dup1dup2dup3dup4dup5dup6dup7dup8dup9dup10dup11dup12dup13dup14dup15dup16dup17dup18dup19dup20dup21dup22dup23dup24dup25dup26dup27dup28dup29dup30dup31dup32dup33dup34dup35" fmla="*/ 856378 w 2677367"/>
              <a:gd name="connsiteY1dup0dup1dup2dup3dup4dup5dup6dup7dup8dup9dup10dup11dup12dup13dup14dup15dup16dup17dup18dup19dup20dup21dup22dup23dup24dup25dup26dup27dup28dup29dup30dup31dup32dup33dup34dup35" fmla="*/ 7774780 h 7777502"/>
              <a:gd name="connsiteX2dup0dup1dup2dup3dup4dup5dup6dup7dup8dup9dup10dup11dup12dup13dup14dup15dup16dup17dup18dup19dup20dup21dup22dup23dup24dup25dup26dup27dup28dup29dup30dup31dup32dup33dup34dup35" fmla="*/ 0 w 2677367"/>
              <a:gd name="connsiteY2dup0dup1dup2dup3dup4dup5dup6dup7dup8dup9dup10dup11dup12dup13dup14dup15dup16dup17dup18dup19dup20dup21dup22dup23dup24dup25dup26dup27dup28dup29dup30dup31dup32dup33dup34dup35" fmla="*/ 7777502 h 7777502"/>
              <a:gd name="connsiteX3dup0dup1dup2dup3dup4dup5dup6dup7dup8dup9dup10dup11dup12dup13dup14dup15dup16dup17dup18dup19dup20dup21dup22dup23dup24dup25dup26dup27dup28dup29dup30dup31dup32dup33dup34dup35" fmla="*/ 0 w 2677367"/>
              <a:gd name="connsiteY3dup0dup1dup2dup3dup4dup5dup6dup7dup8dup9dup10dup11dup12dup13dup14dup15dup16dup17dup18dup19dup20dup21dup22dup23dup24dup25dup26dup27dup28dup29dup30dup31dup32dup33dup34dup35" fmla="*/ 2917 h 7777502"/>
              <a:gd name="connsiteX4dup0dup1dup2dup3dup4dup5dup6dup7dup8dup9dup10dup11dup12dup13dup14dup15dup16dup17dup18dup19dup20dup21dup22dup23dup24dup25dup26dup27dup28dup29dup30dup31dup32dup33dup34dup35" fmla="*/ 2280682 w 2677367"/>
              <a:gd name="connsiteY4dup0dup1dup2dup3dup4dup5dup6dup7dup8dup9dup10dup11dup12dup13dup14dup15dup16dup17dup18dup19dup20dup21dup22dup23dup24dup25dup26dup27dup28dup29dup30dup31dup32dup33dup34dup35" fmla="*/ 0 h 7777502"/>
              <a:gd name="connsiteX5dup0dup1dup2dup3dup4dup5dup6dup7dup8dup9dup10dup11dup12dup13dup14dup15dup16dup17dup18dup19dup20dup21dup22dup23dup24dup25dup26dup27dup28dup29dup30dup31dup32dup33dup34" fmla="*/ 2677367 w 2677367"/>
              <a:gd name="connsiteY5dup0dup1dup2dup3dup4dup5dup6dup7dup8dup9dup10dup11dup12dup13dup14dup15dup16dup17dup18dup19dup20dup21dup22dup23dup24dup25dup26dup27dup28dup29dup30dup31dup32dup33dup34" fmla="*/ 1378876 h 7777502"/>
              <a:gd name="connsiteX0dup0dup1dup2dup3dup4dup5dup6dup7dup8dup9dup10dup11dup12dup13dup14dup15dup16dup17dup18dup19dup20dup21dup22dup23dup24dup25dup26dup27dup28dup29dup30dup31dup32dup33dup34dup35dup36" fmla="*/ 2677367 w 2677367"/>
              <a:gd name="connsiteY0dup0dup1dup2dup3dup4dup5dup6dup7dup8dup9dup10dup11dup12dup13dup14dup15dup16dup17dup18dup19dup20dup21dup22dup23dup24dup25dup26dup27dup28dup29dup30dup31dup32dup33dup34dup35dup36" fmla="*/ 1378876 h 7774780"/>
              <a:gd name="connsiteX1dup0dup1dup2dup3dup4dup5dup6dup7dup8dup9dup10dup11dup12dup13dup14dup15dup16dup17dup18dup19dup20dup21dup22dup23dup24dup25dup26dup27dup28dup29dup30dup31dup32dup33dup34dup35dup36" fmla="*/ 856378 w 2677367"/>
              <a:gd name="connsiteY1dup0dup1dup2dup3dup4dup5dup6dup7dup8dup9dup10dup11dup12dup13dup14dup15dup16dup17dup18dup19dup20dup21dup22dup23dup24dup25dup26dup27dup28dup29dup30dup31dup32dup33dup34dup35dup36" fmla="*/ 7774780 h 7774780"/>
              <a:gd name="connsiteX2dup0dup1dup2dup3dup4dup5dup6dup7dup8dup9dup10dup11dup12dup13dup14dup15dup16dup17dup18dup19dup20dup21dup22dup23dup24dup25dup26dup27dup28dup29dup30dup31dup32dup33dup34dup35dup36" fmla="*/ 3477 w 2677367"/>
              <a:gd name="connsiteY2dup0dup1dup2dup3dup4dup5dup6dup7dup8dup9dup10dup11dup12dup13dup14dup15dup16dup17dup18dup19dup20dup21dup22dup23dup24dup25dup26dup27dup28dup29dup30dup31dup32dup33dup34dup35dup36" fmla="*/ 7770548 h 7774780"/>
              <a:gd name="connsiteX3dup0dup1dup2dup3dup4dup5dup6dup7dup8dup9dup10dup11dup12dup13dup14dup15dup16dup17dup18dup19dup20dup21dup22dup23dup24dup25dup26dup27dup28dup29dup30dup31dup32dup33dup34dup35dup36" fmla="*/ 0 w 2677367"/>
              <a:gd name="connsiteY3dup0dup1dup2dup3dup4dup5dup6dup7dup8dup9dup10dup11dup12dup13dup14dup15dup16dup17dup18dup19dup20dup21dup22dup23dup24dup25dup26dup27dup28dup29dup30dup31dup32dup33dup34dup35dup36" fmla="*/ 2917 h 7774780"/>
              <a:gd name="connsiteX4dup0dup1dup2dup3dup4dup5dup6dup7dup8dup9dup10dup11dup12dup13dup14dup15dup16dup17dup18dup19dup20dup21dup22dup23dup24dup25dup26dup27dup28dup29dup30dup31dup32dup33dup34dup35dup36" fmla="*/ 2280682 w 2677367"/>
              <a:gd name="connsiteY4dup0dup1dup2dup3dup4dup5dup6dup7dup8dup9dup10dup11dup12dup13dup14dup15dup16dup17dup18dup19dup20dup21dup22dup23dup24dup25dup26dup27dup28dup29dup30dup31dup32dup33dup34dup35dup36" fmla="*/ 0 h 7774780"/>
              <a:gd name="connsiteX5dup0dup1dup2dup3dup4dup5dup6dup7dup8dup9dup10dup11dup12dup13dup14dup15dup16dup17dup18dup19dup20dup21dup22dup23dup24dup25dup26dup27dup28dup29dup30dup31dup32dup33dup34dup35" fmla="*/ 2677367 w 2677367"/>
              <a:gd name="connsiteY5dup0dup1dup2dup3dup4dup5dup6dup7dup8dup9dup10dup11dup12dup13dup14dup15dup16dup17dup18dup19dup20dup21dup22dup23dup24dup25dup26dup27dup28dup29dup30dup31dup32dup33dup34dup35" fmla="*/ 1378876 h 7774780"/>
              <a:gd name="connsiteX0dup0dup1dup2dup3dup4dup5dup6dup7dup8dup9dup10dup11dup12dup13dup14dup15dup16dup17dup18dup19dup20dup21dup22dup23dup24dup25dup26dup27dup28dup29dup30dup31dup32dup33dup34dup35dup36dup37" fmla="*/ 2677367 w 2677367"/>
              <a:gd name="connsiteY0dup0dup1dup2dup3dup4dup5dup6dup7dup8dup9dup10dup11dup12dup13dup14dup15dup16dup17dup18dup19dup20dup21dup22dup23dup24dup25dup26dup27dup28dup29dup30dup31dup32dup33dup34dup35dup36dup37" fmla="*/ 1378876 h 7774780"/>
              <a:gd name="connsiteX1dup0dup1dup2dup3dup4dup5dup6dup7dup8dup9dup10dup11dup12dup13dup14dup15dup16dup17dup18dup19dup20dup21dup22dup23dup24dup25dup26dup27dup28dup29dup30dup31dup32dup33dup34dup35dup36dup37" fmla="*/ 856378 w 2677367"/>
              <a:gd name="connsiteY1dup0dup1dup2dup3dup4dup5dup6dup7dup8dup9dup10dup11dup12dup13dup14dup15dup16dup17dup18dup19dup20dup21dup22dup23dup24dup25dup26dup27dup28dup29dup30dup31dup32dup33dup34dup35dup36dup37" fmla="*/ 7774780 h 7774780"/>
              <a:gd name="connsiteX2dup0dup1dup2dup3dup4dup5dup6dup7dup8dup9dup10dup11dup12dup13dup14dup15dup16dup17dup18dup19dup20dup21dup22dup23dup24dup25dup26dup27dup28dup29dup30dup31dup32dup33dup34dup35dup36dup37" fmla="*/ 3477 w 2677367"/>
              <a:gd name="connsiteY2dup0dup1dup2dup3dup4dup5dup6dup7dup8dup9dup10dup11dup12dup13dup14dup15dup16dup17dup18dup19dup20dup21dup22dup23dup24dup25dup26dup27dup28dup29dup30dup31dup32dup33dup34dup35dup36dup37" fmla="*/ 7774024 h 7774780"/>
              <a:gd name="connsiteX3dup0dup1dup2dup3dup4dup5dup6dup7dup8dup9dup10dup11dup12dup13dup14dup15dup16dup17dup18dup19dup20dup21dup22dup23dup24dup25dup26dup27dup28dup29dup30dup31dup32dup33dup34dup35dup36dup37" fmla="*/ 0 w 2677367"/>
              <a:gd name="connsiteY3dup0dup1dup2dup3dup4dup5dup6dup7dup8dup9dup10dup11dup12dup13dup14dup15dup16dup17dup18dup19dup20dup21dup22dup23dup24dup25dup26dup27dup28dup29dup30dup31dup32dup33dup34dup35dup36dup37" fmla="*/ 2917 h 7774780"/>
              <a:gd name="connsiteX4dup0dup1dup2dup3dup4dup5dup6dup7dup8dup9dup10dup11dup12dup13dup14dup15dup16dup17dup18dup19dup20dup21dup22dup23dup24dup25dup26dup27dup28dup29dup30dup31dup32dup33dup34dup35dup36dup37" fmla="*/ 2280682 w 2677367"/>
              <a:gd name="connsiteY4dup0dup1dup2dup3dup4dup5dup6dup7dup8dup9dup10dup11dup12dup13dup14dup15dup16dup17dup18dup19dup20dup21dup22dup23dup24dup25dup26dup27dup28dup29dup30dup31dup32dup33dup34dup35dup36dup37" fmla="*/ 0 h 7774780"/>
              <a:gd name="connsiteX5dup0dup1dup2dup3dup4dup5dup6dup7dup8dup9dup10dup11dup12dup13dup14dup15dup16dup17dup18dup19dup20dup21dup22dup23dup24dup25dup26dup27dup28dup29dup30dup31dup32dup33dup34dup35dup36" fmla="*/ 2677367 w 2677367"/>
              <a:gd name="connsiteY5dup0dup1dup2dup3dup4dup5dup6dup7dup8dup9dup10dup11dup12dup13dup14dup15dup16dup17dup18dup19dup20dup21dup22dup23dup24dup25dup26dup27dup28dup29dup30dup31dup32dup33dup34dup35dup36" fmla="*/ 1378876 h 7774780"/>
              <a:gd name="connsiteX0dup0dup1dup2dup3dup4dup5dup6dup7dup8dup9dup10dup11dup12dup13dup14dup15dup16dup17dup18dup19dup20dup21dup22dup23dup24dup25dup26dup27dup28dup29dup30dup31dup32dup33dup34dup35dup36dup37dup38" fmla="*/ 2673890 w 2673890"/>
              <a:gd name="connsiteY0dup0dup1dup2dup3dup4dup5dup6dup7dup8dup9dup10dup11dup12dup13dup14dup15dup16dup17dup18dup19dup20dup21dup22dup23dup24dup25dup26dup27dup28dup29dup30dup31dup32dup33dup34dup35dup36dup37dup38" fmla="*/ 1378876 h 7774780"/>
              <a:gd name="connsiteX1dup0dup1dup2dup3dup4dup5dup6dup7dup8dup9dup10dup11dup12dup13dup14dup15dup16dup17dup18dup19dup20dup21dup22dup23dup24dup25dup26dup27dup28dup29dup30dup31dup32dup33dup34dup35dup36dup37dup38" fmla="*/ 852901 w 2673890"/>
              <a:gd name="connsiteY1dup0dup1dup2dup3dup4dup5dup6dup7dup8dup9dup10dup11dup12dup13dup14dup15dup16dup17dup18dup19dup20dup21dup22dup23dup24dup25dup26dup27dup28dup29dup30dup31dup32dup33dup34dup35dup36dup37dup38" fmla="*/ 7774780 h 7774780"/>
              <a:gd name="connsiteX2dup0dup1dup2dup3dup4dup5dup6dup7dup8dup9dup10dup11dup12dup13dup14dup15dup16dup17dup18dup19dup20dup21dup22dup23dup24dup25dup26dup27dup28dup29dup30dup31dup32dup33dup34dup35dup36dup37dup38" fmla="*/ 0 w 2673890"/>
              <a:gd name="connsiteY2dup0dup1dup2dup3dup4dup5dup6dup7dup8dup9dup10dup11dup12dup13dup14dup15dup16dup17dup18dup19dup20dup21dup22dup23dup24dup25dup26dup27dup28dup29dup30dup31dup32dup33dup34dup35dup36dup37dup38" fmla="*/ 7774024 h 7774780"/>
              <a:gd name="connsiteX3dup0dup1dup2dup3dup4dup5dup6dup7dup8dup9dup10dup11dup12dup13dup14dup15dup16dup17dup18dup19dup20dup21dup22dup23dup24dup25dup26dup27dup28dup29dup30dup31dup32dup33dup34dup35dup36dup37dup38" fmla="*/ 305959 w 2673890"/>
              <a:gd name="connsiteY3dup0dup1dup2dup3dup4dup5dup6dup7dup8dup9dup10dup11dup12dup13dup14dup15dup16dup17dup18dup19dup20dup21dup22dup23dup24dup25dup26dup27dup28dup29dup30dup31dup32dup33dup34dup35dup36dup37dup38" fmla="*/ 298446 h 7774780"/>
              <a:gd name="connsiteX4dup0dup1dup2dup3dup4dup5dup6dup7dup8dup9dup10dup11dup12dup13dup14dup15dup16dup17dup18dup19dup20dup21dup22dup23dup24dup25dup26dup27dup28dup29dup30dup31dup32dup33dup34dup35dup36dup37dup38" fmla="*/ 2277205 w 2673890"/>
              <a:gd name="connsiteY4dup0dup1dup2dup3dup4dup5dup6dup7dup8dup9dup10dup11dup12dup13dup14dup15dup16dup17dup18dup19dup20dup21dup22dup23dup24dup25dup26dup27dup28dup29dup30dup31dup32dup33dup34dup35dup36dup37dup38" fmla="*/ 0 h 7774780"/>
              <a:gd name="connsiteX5dup0dup1dup2dup3dup4dup5dup6dup7dup8dup9dup10dup11dup12dup13dup14dup15dup16dup17dup18dup19dup20dup21dup22dup23dup24dup25dup26dup27dup28dup29dup30dup31dup32dup33dup34dup35dup36dup37" fmla="*/ 2673890 w 2673890"/>
              <a:gd name="connsiteY5dup0dup1dup2dup3dup4dup5dup6dup7dup8dup9dup10dup11dup12dup13dup14dup15dup16dup17dup18dup19dup20dup21dup22dup23dup24dup25dup26dup27dup28dup29dup30dup31dup32dup33dup34dup35dup36dup37" fmla="*/ 1378876 h 7774780"/>
              <a:gd name="connsiteX0dup0dup1dup2dup3dup4dup5dup6dup7dup8dup9dup10dup11dup12dup13dup14dup15dup16dup17dup18dup19dup20dup21dup22dup23dup24dup25dup26dup27dup28dup29dup30dup31dup32dup33dup34dup35dup36dup37dup38dup39" fmla="*/ 2673890 w 2673890"/>
              <a:gd name="connsiteY0dup0dup1dup2dup3dup4dup5dup6dup7dup8dup9dup10dup11dup12dup13dup14dup15dup16dup17dup18dup19dup20dup21dup22dup23dup24dup25dup26dup27dup28dup29dup30dup31dup32dup33dup34dup35dup36dup37dup38dup39" fmla="*/ 1386389 h 7782293"/>
              <a:gd name="connsiteX1dup0dup1dup2dup3dup4dup5dup6dup7dup8dup9dup10dup11dup12dup13dup14dup15dup16dup17dup18dup19dup20dup21dup22dup23dup24dup25dup26dup27dup28dup29dup30dup31dup32dup33dup34dup35dup36dup37dup38dup39" fmla="*/ 852901 w 2673890"/>
              <a:gd name="connsiteY1dup0dup1dup2dup3dup4dup5dup6dup7dup8dup9dup10dup11dup12dup13dup14dup15dup16dup17dup18dup19dup20dup21dup22dup23dup24dup25dup26dup27dup28dup29dup30dup31dup32dup33dup34dup35dup36dup37dup38dup39" fmla="*/ 7782293 h 7782293"/>
              <a:gd name="connsiteX2dup0dup1dup2dup3dup4dup5dup6dup7dup8dup9dup10dup11dup12dup13dup14dup15dup16dup17dup18dup19dup20dup21dup22dup23dup24dup25dup26dup27dup28dup29dup30dup31dup32dup33dup34dup35dup36dup37dup38dup39" fmla="*/ 0 w 2673890"/>
              <a:gd name="connsiteY2dup0dup1dup2dup3dup4dup5dup6dup7dup8dup9dup10dup11dup12dup13dup14dup15dup16dup17dup18dup19dup20dup21dup22dup23dup24dup25dup26dup27dup28dup29dup30dup31dup32dup33dup34dup35dup36dup37dup38dup39" fmla="*/ 7781537 h 7782293"/>
              <a:gd name="connsiteX3dup0dup1dup2dup3dup4dup5dup6dup7dup8dup9dup10dup11dup12dup13dup14dup15dup16dup17dup18dup19dup20dup21dup22dup23dup24dup25dup26dup27dup28dup29dup30dup31dup32dup33dup34dup35dup36dup37dup38dup39" fmla="*/ 0 w 2673890"/>
              <a:gd name="connsiteY3dup0dup1dup2dup3dup4dup5dup6dup7dup8dup9dup10dup11dup12dup13dup14dup15dup16dup17dup18dup19dup20dup21dup22dup23dup24dup25dup26dup27dup28dup29dup30dup31dup32dup33dup34dup35dup36dup37dup38dup39" fmla="*/ 0 h 7782293"/>
              <a:gd name="connsiteX4dup0dup1dup2dup3dup4dup5dup6dup7dup8dup9dup10dup11dup12dup13dup14dup15dup16dup17dup18dup19dup20dup21dup22dup23dup24dup25dup26dup27dup28dup29dup30dup31dup32dup33dup34dup35dup36dup37dup38dup39" fmla="*/ 2277205 w 2673890"/>
              <a:gd name="connsiteY4dup0dup1dup2dup3dup4dup5dup6dup7dup8dup9dup10dup11dup12dup13dup14dup15dup16dup17dup18dup19dup20dup21dup22dup23dup24dup25dup26dup27dup28dup29dup30dup31dup32dup33dup34dup35dup36dup37dup38dup39" fmla="*/ 7513 h 7782293"/>
              <a:gd name="connsiteX5dup0dup1dup2dup3dup4dup5dup6dup7dup8dup9dup10dup11dup12dup13dup14dup15dup16dup17dup18dup19dup20dup21dup22dup23dup24dup25dup26dup27dup28dup29dup30dup31dup32dup33dup34dup35dup36dup37dup38" fmla="*/ 2673890 w 2673890"/>
              <a:gd name="connsiteY5dup0dup1dup2dup3dup4dup5dup6dup7dup8dup9dup10dup11dup12dup13dup14dup15dup16dup17dup18dup19dup20dup21dup22dup23dup24dup25dup26dup27dup28dup29dup30dup31dup32dup33dup34dup35dup36dup37dup38" fmla="*/ 1386389 h 7782293"/>
            </a:gdLst>
            <a:cxnLst>
              <a:cxn ang="0">
                <a:pos x="connsiteX0dup0dup1dup2dup3dup4dup5dup6dup7dup8dup9dup10dup11dup12dup13dup14dup15dup16dup17dup18dup19dup20dup21dup22dup23dup24dup25dup26dup27dup28dup29dup30dup31dup32dup33dup34dup35dup36dup37dup38dup39" y="connsiteY0dup0dup1dup2dup3dup4dup5dup6dup7dup8dup9dup10dup11dup12dup13dup14dup15dup16dup17dup18dup19dup20dup21dup22dup23dup24dup25dup26dup27dup28dup29dup30dup31dup32dup33dup34dup35dup36dup37dup38dup39"/>
              </a:cxn>
              <a:cxn ang="0">
                <a:pos x="connsiteX1dup0dup1dup2dup3dup4dup5dup6dup7dup8dup9dup10dup11dup12dup13dup14dup15dup16dup17dup18dup19dup20dup21dup22dup23dup24dup25dup26dup27dup28dup29dup30dup31dup32dup33dup34dup35dup36dup37dup38dup39" y="connsiteY1dup0dup1dup2dup3dup4dup5dup6dup7dup8dup9dup10dup11dup12dup13dup14dup15dup16dup17dup18dup19dup20dup21dup22dup23dup24dup25dup26dup27dup28dup29dup30dup31dup32dup33dup34dup35dup36dup37dup38dup39"/>
              </a:cxn>
              <a:cxn ang="0">
                <a:pos x="connsiteX2dup0dup1dup2dup3dup4dup5dup6dup7dup8dup9dup10dup11dup12dup13dup14dup15dup16dup17dup18dup19dup20dup21dup22dup23dup24dup25dup26dup27dup28dup29dup30dup31dup32dup33dup34dup35dup36dup37dup38dup39" y="connsiteY2dup0dup1dup2dup3dup4dup5dup6dup7dup8dup9dup10dup11dup12dup13dup14dup15dup16dup17dup18dup19dup20dup21dup22dup23dup24dup25dup26dup27dup28dup29dup30dup31dup32dup33dup34dup35dup36dup37dup38dup39"/>
              </a:cxn>
              <a:cxn ang="0">
                <a:pos x="connsiteX3dup0dup1dup2dup3dup4dup5dup6dup7dup8dup9dup10dup11dup12dup13dup14dup15dup16dup17dup18dup19dup20dup21dup22dup23dup24dup25dup26dup27dup28dup29dup30dup31dup32dup33dup34dup35dup36dup37dup38dup39" y="connsiteY3dup0dup1dup2dup3dup4dup5dup6dup7dup8dup9dup10dup11dup12dup13dup14dup15dup16dup17dup18dup19dup20dup21dup22dup23dup24dup25dup26dup27dup28dup29dup30dup31dup32dup33dup34dup35dup36dup37dup38dup39"/>
              </a:cxn>
              <a:cxn ang="0">
                <a:pos x="connsiteX4dup0dup1dup2dup3dup4dup5dup6dup7dup8dup9dup10dup11dup12dup13dup14dup15dup16dup17dup18dup19dup20dup21dup22dup23dup24dup25dup26dup27dup28dup29dup30dup31dup32dup33dup34dup35dup36dup37dup38dup39" y="connsiteY4dup0dup1dup2dup3dup4dup5dup6dup7dup8dup9dup10dup11dup12dup13dup14dup15dup16dup17dup18dup19dup20dup21dup22dup23dup24dup25dup26dup27dup28dup29dup30dup31dup32dup33dup34dup35dup36dup37dup38dup39"/>
              </a:cxn>
              <a:cxn ang="0">
                <a:pos x="connsiteX5dup0dup1dup2dup3dup4dup5dup6dup7dup8dup9dup10dup11dup12dup13dup14dup15dup16dup17dup18dup19dup20dup21dup22dup23dup24dup25dup26dup27dup28dup29dup30dup31dup32dup33dup34dup35dup36dup37dup38" y="connsiteY5dup0dup1dup2dup3dup4dup5dup6dup7dup8dup9dup10dup11dup12dup13dup14dup15dup16dup17dup18dup19dup20dup21dup22dup23dup24dup25dup26dup27dup28dup29dup30dup31dup32dup33dup34dup35dup36dup37dup38"/>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ln>
        </p:spPr>
        <p:txBody>
          <a:bodyPr anchor="ctr"/>
          <a:lstStyle>
            <a:lvl1pPr marL="91440" indent="0" algn="l">
              <a:spcBef>
                <a:spcPct val="0"/>
              </a:spcBef>
              <a:buFontTx/>
              <a:buNone/>
              <a:defRPr sz="1100" b="1" baseline="0">
                <a:solidFill>
                  <a:schemeClr val="bg1"/>
                </a:solidFill>
              </a:defRPr>
            </a:lvl1pPr>
          </a:lstStyle>
          <a:p>
            <a:r>
              <a:rPr lang="en-US" dirty="1" smtClean="0"/>
              <a:t>Click icon to </a:t>
            </a:r>
            <a:br>
              <a:rPr lang="en-US" dirty="1" smtClean="0"/>
            </a:br>
            <a:r>
              <a:rPr lang="en-US" dirty="1" smtClean="0"/>
              <a:t>insert picture</a:t>
            </a:r>
            <a:endParaRPr lang="en-US"/>
          </a:p>
        </p:txBody>
      </p:sp>
      <p:sp>
        <p:nvSpPr>
          <p:cNvPr id="11" name="Subtitle 2"/>
          <p:cNvSpPr>
            <a:spLocks noGrp="1"/>
          </p:cNvSpPr>
          <p:nvPr>
            <p:ph type="subTitle" idx="1" hasCustomPrompt="1"/>
          </p:nvPr>
        </p:nvSpPr>
        <p:spPr>
          <a:xfrm>
            <a:off x="2557219" y="3742661"/>
            <a:ext cx="6244825" cy="355851"/>
          </a:xfrm>
        </p:spPr>
        <p:txBody>
          <a:bodyPr lIns="0" rIns="0">
            <a:noAutofit/>
          </a:bodyPr>
          <a:lstStyle>
            <a:lvl1pPr marL="0" indent="0" algn="l">
              <a:buNone/>
              <a:defRPr sz="1400">
                <a:solidFill>
                  <a:schemeClr val="tx1"/>
                </a:solidFill>
              </a:defRPr>
            </a:lvl1pPr>
            <a:lvl2pPr marL="389582" indent="0" algn="ctr">
              <a:buNone/>
              <a:defRPr>
                <a:solidFill>
                  <a:schemeClr val="tx1">
                    <a:tint val="75000"/>
                  </a:schemeClr>
                </a:solidFill>
              </a:defRPr>
            </a:lvl2pPr>
            <a:lvl3pPr marL="779163" indent="0" algn="ctr">
              <a:buNone/>
              <a:defRPr>
                <a:solidFill>
                  <a:schemeClr val="tx1">
                    <a:tint val="75000"/>
                  </a:schemeClr>
                </a:solidFill>
              </a:defRPr>
            </a:lvl3pPr>
            <a:lvl4pPr marL="1168745" indent="0" algn="ctr">
              <a:buNone/>
              <a:defRPr>
                <a:solidFill>
                  <a:schemeClr val="tx1">
                    <a:tint val="75000"/>
                  </a:schemeClr>
                </a:solidFill>
              </a:defRPr>
            </a:lvl4pPr>
            <a:lvl5pPr marL="1558326" indent="0" algn="ctr">
              <a:buNone/>
              <a:defRPr>
                <a:solidFill>
                  <a:schemeClr val="tx1">
                    <a:tint val="75000"/>
                  </a:schemeClr>
                </a:solidFill>
              </a:defRPr>
            </a:lvl5pPr>
            <a:lvl6pPr marL="1947908" indent="0" algn="ctr">
              <a:buNone/>
              <a:defRPr>
                <a:solidFill>
                  <a:schemeClr val="tx1">
                    <a:tint val="75000"/>
                  </a:schemeClr>
                </a:solidFill>
              </a:defRPr>
            </a:lvl6pPr>
            <a:lvl7pPr marL="2337489" indent="0" algn="ctr">
              <a:buNone/>
              <a:defRPr>
                <a:solidFill>
                  <a:schemeClr val="tx1">
                    <a:tint val="75000"/>
                  </a:schemeClr>
                </a:solidFill>
              </a:defRPr>
            </a:lvl7pPr>
            <a:lvl8pPr marL="2727071" indent="0" algn="ctr">
              <a:buNone/>
              <a:defRPr>
                <a:solidFill>
                  <a:schemeClr val="tx1">
                    <a:tint val="75000"/>
                  </a:schemeClr>
                </a:solidFill>
              </a:defRPr>
            </a:lvl8pPr>
            <a:lvl9pPr marL="3116652" indent="0" algn="ctr">
              <a:buNone/>
              <a:defRPr>
                <a:solidFill>
                  <a:schemeClr val="tx1">
                    <a:tint val="75000"/>
                  </a:schemeClr>
                </a:solidFill>
              </a:defRPr>
            </a:lvl9pPr>
          </a:lstStyle>
          <a:p>
            <a:r>
              <a:rPr lang="en-US" dirty="1" smtClean="0"/>
              <a:t>Date | Presenters</a:t>
            </a:r>
            <a:endParaRPr lang="en-US"/>
          </a:p>
        </p:txBody>
      </p:sp>
    </p:spTree>
    <p:extLst>
      <p:ext uri="{BB962C8B-B14F-4D97-AF65-F5344CB8AC3E}">
        <p14:creationId xmlns:p14="http://schemas.microsoft.com/office/powerpoint/2010/main" val="174818867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1608" userDrawn="1">
          <p15:clr>
            <a:srgbClr val="FBAE40"/>
          </p15:clr>
        </p15:guide>
        <p15:guide id="2" pos="14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05043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5">
                  <p:embed/>
                </p:oleObj>
              </mc:Choice>
              <mc:Fallback>
                <p:oleObj name="think-cell Slide" progId="TCLayout.ActiveDocument.1" r:id="rId7" spid="_x0000_s1045">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2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17" name="Freeform 11"/>
          <p:cNvSpPr/>
          <p:nvPr userDrawn="1"/>
        </p:nvSpPr>
        <p:spPr>
          <a:xfrm>
            <a:off x="7017482" y="-17816"/>
            <a:ext cx="1212112" cy="5169358"/>
          </a:xfrm>
          <a:custGeom>
            <a:gdLst>
              <a:gd name="T0" fmla="*/ 0 w 1152"/>
              <a:gd name="T1" fmla="*/ 4913 h 4913"/>
              <a:gd name="T2" fmla="*/ 1152 w 1152"/>
              <a:gd name="T3" fmla="*/ 875 h 4913"/>
              <a:gd name="T4" fmla="*/ 903 w 1152"/>
              <a:gd name="T5" fmla="*/ 0 h 4913"/>
            </a:gd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bodyPr>
          <a:lstStyle/>
          <a:p>
            <a:endParaRPr lang="en-US"/>
          </a:p>
        </p:txBody>
      </p:sp>
      <p:sp>
        <p:nvSpPr>
          <p:cNvPr id="27" name="Title 1"/>
          <p:cNvSpPr>
            <a:spLocks noGrp="1"/>
          </p:cNvSpPr>
          <p:nvPr>
            <p:ph type="title" hasCustomPrompt="1"/>
          </p:nvPr>
        </p:nvSpPr>
        <p:spPr>
          <a:xfrm>
            <a:off x="342900" y="2151530"/>
            <a:ext cx="6367182" cy="1479464"/>
          </a:xfrm>
        </p:spPr>
        <p:txBody>
          <a:bodyPr lIns="82296" rIns="82296" anchor="t">
            <a:noAutofit/>
          </a:bodyPr>
          <a:lstStyle>
            <a:lvl1pPr algn="l">
              <a:defRPr sz="3200" b="0" cap="none"/>
            </a:lvl1pPr>
          </a:lstStyle>
          <a:p>
            <a:r>
              <a:rPr lang="en-US" dirty="1" smtClean="0"/>
              <a:t>Click to add title</a:t>
            </a:r>
            <a:endParaRPr lang="en-US"/>
          </a:p>
        </p:txBody>
      </p:sp>
      <p:sp>
        <p:nvSpPr>
          <p:cNvPr id="28" name="Text Placeholder 2"/>
          <p:cNvSpPr>
            <a:spLocks noGrp="1"/>
          </p:cNvSpPr>
          <p:nvPr>
            <p:ph type="body" idx="1" hasCustomPrompt="1"/>
          </p:nvPr>
        </p:nvSpPr>
        <p:spPr>
          <a:xfrm>
            <a:off x="342900" y="1156058"/>
            <a:ext cx="6367182" cy="995471"/>
          </a:xfrm>
        </p:spPr>
        <p:txBody>
          <a:bodyPr lIns="82296" rIns="82296" anchor="b">
            <a:noAutofit/>
          </a:bodyPr>
          <a:lstStyle>
            <a:lvl1pPr marL="0" indent="0">
              <a:buNone/>
              <a:defRPr sz="1200" b="1" cap="all" spc="100" baseline="0">
                <a:solidFill>
                  <a:schemeClr val="accent1"/>
                </a:solidFill>
              </a:defRPr>
            </a:lvl1pPr>
            <a:lvl2pPr marL="389582" indent="0">
              <a:buNone/>
              <a:defRPr sz="1500">
                <a:solidFill>
                  <a:schemeClr val="tx1">
                    <a:tint val="75000"/>
                  </a:schemeClr>
                </a:solidFill>
              </a:defRPr>
            </a:lvl2pPr>
            <a:lvl3pPr marL="779163" indent="0">
              <a:buNone/>
              <a:defRPr sz="1400">
                <a:solidFill>
                  <a:schemeClr val="tx1">
                    <a:tint val="75000"/>
                  </a:schemeClr>
                </a:solidFill>
              </a:defRPr>
            </a:lvl3pPr>
            <a:lvl4pPr marL="1168745" indent="0">
              <a:buNone/>
              <a:defRPr sz="1200">
                <a:solidFill>
                  <a:schemeClr val="tx1">
                    <a:tint val="75000"/>
                  </a:schemeClr>
                </a:solidFill>
              </a:defRPr>
            </a:lvl4pPr>
            <a:lvl5pPr marL="1558326" indent="0">
              <a:buNone/>
              <a:defRPr sz="1200">
                <a:solidFill>
                  <a:schemeClr val="tx1">
                    <a:tint val="75000"/>
                  </a:schemeClr>
                </a:solidFill>
              </a:defRPr>
            </a:lvl5pPr>
            <a:lvl6pPr marL="1947908" indent="0">
              <a:buNone/>
              <a:defRPr sz="1200">
                <a:solidFill>
                  <a:schemeClr val="tx1">
                    <a:tint val="75000"/>
                  </a:schemeClr>
                </a:solidFill>
              </a:defRPr>
            </a:lvl6pPr>
            <a:lvl7pPr marL="2337489" indent="0">
              <a:buNone/>
              <a:defRPr sz="1200">
                <a:solidFill>
                  <a:schemeClr val="tx1">
                    <a:tint val="75000"/>
                  </a:schemeClr>
                </a:solidFill>
              </a:defRPr>
            </a:lvl7pPr>
            <a:lvl8pPr marL="2727071" indent="0">
              <a:buNone/>
              <a:defRPr sz="1200">
                <a:solidFill>
                  <a:schemeClr val="tx1">
                    <a:tint val="75000"/>
                  </a:schemeClr>
                </a:solidFill>
              </a:defRPr>
            </a:lvl8pPr>
            <a:lvl9pPr marL="3116652" indent="0">
              <a:buNone/>
              <a:defRPr sz="1200">
                <a:solidFill>
                  <a:schemeClr val="tx1">
                    <a:tint val="75000"/>
                  </a:schemeClr>
                </a:solidFill>
              </a:defRPr>
            </a:lvl9pPr>
          </a:lstStyle>
          <a:p>
            <a:pPr lvl="0"/>
            <a:r>
              <a:rPr lang="en-US" dirty="1" smtClean="0"/>
              <a:t>Subhead</a:t>
            </a:r>
          </a:p>
        </p:txBody>
      </p:sp>
      <p:sp>
        <p:nvSpPr>
          <p:cNvPr id="29" name="Text Box 52"/>
          <p:cNvSpPr txBox="1">
            <a:spLocks noChangeArrowheads="1"/>
          </p:cNvSpPr>
          <p:nvPr userDrawn="1"/>
        </p:nvSpPr>
        <p:spPr>
          <a:xfrm>
            <a:off x="342900" y="4956854"/>
            <a:ext cx="1286314" cy="123111"/>
          </a:xfrm>
          <a:prstGeom prst="rect"/>
          <a:noFill/>
          <a:ln>
            <a:noFill/>
          </a:ln>
          <a:effectLst/>
        </p:spPr>
        <p:txBody>
          <a:bodyPr wrap="none" lIns="82296" tIns="0" rIns="0" bIns="0">
            <a:spAutoFit/>
          </a:bodyPr>
          <a:lstStyle/>
          <a:p>
            <a:pPr algn="r">
              <a:spcBef>
                <a:spcPct val="0"/>
              </a:spcBef>
              <a:defRPr/>
            </a:pPr>
            <a:r>
              <a:rPr lang="en-US" sz="800" b="1" kern="500" cap="all" spc="120" normalizeH="0" baseline="0" dirty="1" smtClean="0">
                <a:solidFill>
                  <a:schemeClr val="tx1"/>
                </a:solidFill>
                <a:latin typeface="Arial" panose="020b0604020202020204" pitchFamily="34" charset="0"/>
                <a:cs typeface="Arial" panose="020b0604020202020204" pitchFamily="34" charset="0"/>
              </a:rPr>
              <a:t>Kirkland &amp; Ellis</a:t>
            </a:r>
            <a:endParaRPr lang="en-US" sz="800" b="1" kern="500" cap="all" spc="120" normalizeH="0" baseline="0">
              <a:solidFill>
                <a:schemeClr val="tx1"/>
              </a:solidFill>
              <a:latin typeface="Arial" panose="020b0604020202020204" pitchFamily="34" charset="0"/>
              <a:cs typeface="Arial" panose="020b0604020202020204" pitchFamily="34" charset="0"/>
            </a:endParaRPr>
          </a:p>
        </p:txBody>
      </p:sp>
      <p:cxnSp>
        <p:nvCxnSpPr>
          <p:cNvPr id="30" name="Straight Connector 29"/>
          <p:cNvCxnSpPr/>
          <p:nvPr userDrawn="1"/>
        </p:nvCxnSpPr>
        <p:spPr>
          <a:xfrm>
            <a:off x="1728146" y="5018409"/>
            <a:ext cx="914400" cy="0"/>
          </a:xfrm>
          <a:prstGeom prst="line"/>
          <a:noFill/>
          <a:ln w="254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Picture Placeholder 2"/>
          <p:cNvSpPr>
            <a:spLocks noGrp="1"/>
          </p:cNvSpPr>
          <p:nvPr>
            <p:ph type="pic" sz="quarter" idx="12" hasCustomPrompt="1"/>
          </p:nvPr>
        </p:nvSpPr>
        <p:spPr>
          <a:xfrm>
            <a:off x="7203515" y="-21240"/>
            <a:ext cx="1941522" cy="5172767"/>
          </a:xfrm>
          <a:custGeom>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dup0" fmla="*/ 414 w 10000"/>
              <a:gd name="connsiteY0dup0" fmla="*/ 3742 h 10000"/>
              <a:gd name="connsiteX1dup0" fmla="*/ 2000 w 10000"/>
              <a:gd name="connsiteY1dup0" fmla="*/ 0 h 10000"/>
              <a:gd name="connsiteX2dup0" fmla="*/ 10000 w 10000"/>
              <a:gd name="connsiteY2dup0" fmla="*/ 0 h 10000"/>
              <a:gd name="connsiteX3dup0" fmla="*/ 10000 w 10000"/>
              <a:gd name="connsiteY3dup0" fmla="*/ 10000 h 10000"/>
              <a:gd name="connsiteX4dup0" fmla="*/ 0 w 10000"/>
              <a:gd name="connsiteY4dup0" fmla="*/ 10000 h 10000"/>
              <a:gd name="connsiteX5dup0" fmla="*/ 414 w 10000"/>
              <a:gd name="connsiteY5dup0" fmla="*/ 3742 h 10000"/>
              <a:gd name="connsiteX0dup0dup1" fmla="*/ 4968 w 10000"/>
              <a:gd name="connsiteY0dup0dup1" fmla="*/ 4783 h 10000"/>
              <a:gd name="connsiteX1dup0dup1" fmla="*/ 2000 w 10000"/>
              <a:gd name="connsiteY1dup0dup1" fmla="*/ 0 h 10000"/>
              <a:gd name="connsiteX2dup0dup1" fmla="*/ 10000 w 10000"/>
              <a:gd name="connsiteY2dup0dup1" fmla="*/ 0 h 10000"/>
              <a:gd name="connsiteX3dup0dup1" fmla="*/ 10000 w 10000"/>
              <a:gd name="connsiteY3dup0dup1" fmla="*/ 10000 h 10000"/>
              <a:gd name="connsiteX4dup0dup1" fmla="*/ 0 w 10000"/>
              <a:gd name="connsiteY4dup0dup1" fmla="*/ 10000 h 10000"/>
              <a:gd name="connsiteX5dup0dup1" fmla="*/ 4968 w 10000"/>
              <a:gd name="connsiteY5dup0dup1" fmla="*/ 4783 h 10000"/>
              <a:gd name="connsiteX0dup0dup1dup2" fmla="*/ 6184 w 10000"/>
              <a:gd name="connsiteY0dup0dup1dup2" fmla="*/ 3245 h 10000"/>
              <a:gd name="connsiteX1dup0dup1dup2" fmla="*/ 2000 w 10000"/>
              <a:gd name="connsiteY1dup0dup1dup2" fmla="*/ 0 h 10000"/>
              <a:gd name="connsiteX2dup0dup1dup2" fmla="*/ 10000 w 10000"/>
              <a:gd name="connsiteY2dup0dup1dup2" fmla="*/ 0 h 10000"/>
              <a:gd name="connsiteX3dup0dup1dup2" fmla="*/ 10000 w 10000"/>
              <a:gd name="connsiteY3dup0dup1dup2" fmla="*/ 10000 h 10000"/>
              <a:gd name="connsiteX4dup0dup1dup2" fmla="*/ 0 w 10000"/>
              <a:gd name="connsiteY4dup0dup1dup2" fmla="*/ 10000 h 10000"/>
              <a:gd name="connsiteX5dup0dup1dup2" fmla="*/ 6184 w 10000"/>
              <a:gd name="connsiteY5dup0dup1dup2" fmla="*/ 3245 h 10000"/>
              <a:gd name="connsiteX0dup0dup1dup2dup3" fmla="*/ 7012 w 10000"/>
              <a:gd name="connsiteY0dup0dup1dup2dup3" fmla="*/ 1698 h 10000"/>
              <a:gd name="connsiteX1dup0dup1dup2dup3" fmla="*/ 2000 w 10000"/>
              <a:gd name="connsiteY1dup0dup1dup2dup3" fmla="*/ 0 h 10000"/>
              <a:gd name="connsiteX2dup0dup1dup2dup3" fmla="*/ 10000 w 10000"/>
              <a:gd name="connsiteY2dup0dup1dup2dup3" fmla="*/ 0 h 10000"/>
              <a:gd name="connsiteX3dup0dup1dup2dup3" fmla="*/ 10000 w 10000"/>
              <a:gd name="connsiteY3dup0dup1dup2dup3" fmla="*/ 10000 h 10000"/>
              <a:gd name="connsiteX4dup0dup1dup2dup3" fmla="*/ 0 w 10000"/>
              <a:gd name="connsiteY4dup0dup1dup2dup3" fmla="*/ 10000 h 10000"/>
              <a:gd name="connsiteX5dup0dup1dup2dup3" fmla="*/ 7012 w 10000"/>
              <a:gd name="connsiteY5dup0dup1dup2dup3" fmla="*/ 1698 h 10000"/>
              <a:gd name="connsiteX0dup0dup1dup2dup3dup4" fmla="*/ 6184 w 10000"/>
              <a:gd name="connsiteY0dup0dup1dup2dup3dup4" fmla="*/ 1786 h 10000"/>
              <a:gd name="connsiteX1dup0dup1dup2dup3dup4" fmla="*/ 2000 w 10000"/>
              <a:gd name="connsiteY1dup0dup1dup2dup3dup4" fmla="*/ 0 h 10000"/>
              <a:gd name="connsiteX2dup0dup1dup2dup3dup4" fmla="*/ 10000 w 10000"/>
              <a:gd name="connsiteY2dup0dup1dup2dup3dup4" fmla="*/ 0 h 10000"/>
              <a:gd name="connsiteX3dup0dup1dup2dup3dup4" fmla="*/ 10000 w 10000"/>
              <a:gd name="connsiteY3dup0dup1dup2dup3dup4" fmla="*/ 10000 h 10000"/>
              <a:gd name="connsiteX4dup0dup1dup2dup3dup4" fmla="*/ 0 w 10000"/>
              <a:gd name="connsiteY4dup0dup1dup2dup3dup4" fmla="*/ 10000 h 10000"/>
              <a:gd name="connsiteX5dup0dup1dup2dup3dup4" fmla="*/ 6184 w 10000"/>
              <a:gd name="connsiteY5dup0dup1dup2dup3dup4" fmla="*/ 1786 h 10000"/>
              <a:gd name="connsiteX0dup0dup1dup2dup3dup4dup5" fmla="*/ 6184 w 10000"/>
              <a:gd name="connsiteY0dup0dup1dup2dup3dup4dup5" fmla="*/ 1786 h 10000"/>
              <a:gd name="connsiteX1dup0dup1dup2dup3dup4dup5" fmla="*/ 4432 w 10000"/>
              <a:gd name="connsiteY1dup0dup1dup2dup3dup4dup5" fmla="*/ 0 h 10000"/>
              <a:gd name="connsiteX2dup0dup1dup2dup3dup4dup5" fmla="*/ 10000 w 10000"/>
              <a:gd name="connsiteY2dup0dup1dup2dup3dup4dup5" fmla="*/ 0 h 10000"/>
              <a:gd name="connsiteX3dup0dup1dup2dup3dup4dup5" fmla="*/ 10000 w 10000"/>
              <a:gd name="connsiteY3dup0dup1dup2dup3dup4dup5" fmla="*/ 10000 h 10000"/>
              <a:gd name="connsiteX4dup0dup1dup2dup3dup4dup5" fmla="*/ 0 w 10000"/>
              <a:gd name="connsiteY4dup0dup1dup2dup3dup4dup5" fmla="*/ 10000 h 10000"/>
              <a:gd name="connsiteX5dup0dup1dup2dup3dup4dup5" fmla="*/ 6184 w 10000"/>
              <a:gd name="connsiteY5dup0dup1dup2dup3dup4dup5" fmla="*/ 1786 h 10000"/>
              <a:gd name="connsiteX0dup0dup1dup2dup3dup4dup5dup6" fmla="*/ 6184 w 10000"/>
              <a:gd name="connsiteY0dup0dup1dup2dup3dup4dup5dup6" fmla="*/ 1786 h 10000"/>
              <a:gd name="connsiteX1dup0dup1dup2dup3dup4dup5dup6" fmla="*/ 5182 w 10000"/>
              <a:gd name="connsiteY1dup0dup1dup2dup3dup4dup5dup6" fmla="*/ 0 h 10000"/>
              <a:gd name="connsiteX2dup0dup1dup2dup3dup4dup5dup6" fmla="*/ 10000 w 10000"/>
              <a:gd name="connsiteY2dup0dup1dup2dup3dup4dup5dup6" fmla="*/ 0 h 10000"/>
              <a:gd name="connsiteX3dup0dup1dup2dup3dup4dup5dup6" fmla="*/ 10000 w 10000"/>
              <a:gd name="connsiteY3dup0dup1dup2dup3dup4dup5dup6" fmla="*/ 10000 h 10000"/>
              <a:gd name="connsiteX4dup0dup1dup2dup3dup4dup5dup6" fmla="*/ 0 w 10000"/>
              <a:gd name="connsiteY4dup0dup1dup2dup3dup4dup5dup6" fmla="*/ 10000 h 10000"/>
              <a:gd name="connsiteX5dup0dup1dup2dup3dup4dup5dup6" fmla="*/ 6184 w 10000"/>
              <a:gd name="connsiteY5dup0dup1dup2dup3dup4dup5dup6" fmla="*/ 1786 h 10000"/>
              <a:gd name="connsiteX0dup0dup1dup2dup3dup4dup5dup6dup7" fmla="*/ 6184 w 10000"/>
              <a:gd name="connsiteY0dup0dup1dup2dup3dup4dup5dup6dup7" fmla="*/ 1805 h 10019"/>
              <a:gd name="connsiteX1dup0dup1dup2dup3dup4dup5dup6dup7" fmla="*/ 4846 w 10000"/>
              <a:gd name="connsiteY1dup0dup1dup2dup3dup4dup5dup6dup7" fmla="*/ 0 h 10019"/>
              <a:gd name="connsiteX2dup0dup1dup2dup3dup4dup5dup6dup7" fmla="*/ 10000 w 10000"/>
              <a:gd name="connsiteY2dup0dup1dup2dup3dup4dup5dup6dup7" fmla="*/ 19 h 10019"/>
              <a:gd name="connsiteX3dup0dup1dup2dup3dup4dup5dup6dup7" fmla="*/ 10000 w 10000"/>
              <a:gd name="connsiteY3dup0dup1dup2dup3dup4dup5dup6dup7" fmla="*/ 10019 h 10019"/>
              <a:gd name="connsiteX4dup0dup1dup2dup3dup4dup5dup6dup7" fmla="*/ 0 w 10000"/>
              <a:gd name="connsiteY4dup0dup1dup2dup3dup4dup5dup6dup7" fmla="*/ 10019 h 10019"/>
              <a:gd name="connsiteX5dup0dup1dup2dup3dup4dup5dup6dup7" fmla="*/ 6184 w 10000"/>
              <a:gd name="connsiteY5dup0dup1dup2dup3dup4dup5dup6dup7" fmla="*/ 1805 h 10019"/>
              <a:gd name="connsiteX0dup0dup1dup2dup3dup4dup5dup6dup7dup8" fmla="*/ 6184 w 10000"/>
              <a:gd name="connsiteY0dup0dup1dup2dup3dup4dup5dup6dup7dup8" fmla="*/ 1805 h 10019"/>
              <a:gd name="connsiteX1dup0dup1dup2dup3dup4dup5dup6dup7dup8" fmla="*/ 4846 w 10000"/>
              <a:gd name="connsiteY1dup0dup1dup2dup3dup4dup5dup6dup7dup8" fmla="*/ 0 h 10019"/>
              <a:gd name="connsiteX2dup0dup1dup2dup3dup4dup5dup6dup7dup8" fmla="*/ 10000 w 10000"/>
              <a:gd name="connsiteY2dup0dup1dup2dup3dup4dup5dup6dup7dup8" fmla="*/ 19 h 10019"/>
              <a:gd name="connsiteX3dup0dup1dup2dup3dup4dup5dup6dup7dup8" fmla="*/ 10000 w 10000"/>
              <a:gd name="connsiteY3dup0dup1dup2dup3dup4dup5dup6dup7dup8" fmla="*/ 10019 h 10019"/>
              <a:gd name="connsiteX4dup0dup1dup2dup3dup4dup5dup6dup7dup8" fmla="*/ 0 w 10000"/>
              <a:gd name="connsiteY4dup0dup1dup2dup3dup4dup5dup6dup7dup8" fmla="*/ 10019 h 10019"/>
              <a:gd name="connsiteX5dup0dup1dup2dup3dup4dup5dup6dup7dup8" fmla="*/ 6184 w 10000"/>
              <a:gd name="connsiteY5dup0dup1dup2dup3dup4dup5dup6dup7dup8" fmla="*/ 1805 h 10019"/>
              <a:gd name="connsiteX0dup0dup1dup2dup3dup4dup5dup6dup7dup8dup9" fmla="*/ 6184 w 10000"/>
              <a:gd name="connsiteY0dup0dup1dup2dup3dup4dup5dup6dup7dup8dup9" fmla="*/ 1805 h 10019"/>
              <a:gd name="connsiteX1dup0dup1dup2dup3dup4dup5dup6dup7dup8dup9" fmla="*/ 4846 w 10000"/>
              <a:gd name="connsiteY1dup0dup1dup2dup3dup4dup5dup6dup7dup8dup9" fmla="*/ 0 h 10019"/>
              <a:gd name="connsiteX2dup0dup1dup2dup3dup4dup5dup6dup7dup8dup9" fmla="*/ 10000 w 10000"/>
              <a:gd name="connsiteY2dup0dup1dup2dup3dup4dup5dup6dup7dup8dup9" fmla="*/ 19 h 10019"/>
              <a:gd name="connsiteX3dup0dup1dup2dup3dup4dup5dup6dup7dup8dup9" fmla="*/ 10000 w 10000"/>
              <a:gd name="connsiteY3dup0dup1dup2dup3dup4dup5dup6dup7dup8dup9" fmla="*/ 10019 h 10019"/>
              <a:gd name="connsiteX4dup0dup1dup2dup3dup4dup5dup6dup7dup8dup9" fmla="*/ 0 w 10000"/>
              <a:gd name="connsiteY4dup0dup1dup2dup3dup4dup5dup6dup7dup8dup9" fmla="*/ 10019 h 10019"/>
              <a:gd name="connsiteX5dup0dup1dup2dup3dup4dup5dup6dup7dup8dup9" fmla="*/ 6184 w 10000"/>
              <a:gd name="connsiteY5dup0dup1dup2dup3dup4dup5dup6dup7dup8dup9" fmla="*/ 1805 h 10019"/>
              <a:gd name="connsiteX0dup0dup1dup2dup3dup4dup5dup6dup7dup8dup9dup10" fmla="*/ 3829 w 7645"/>
              <a:gd name="connsiteY0dup0dup1dup2dup3dup4dup5dup6dup7dup8dup9dup10" fmla="*/ 1805 h 10029"/>
              <a:gd name="connsiteX1dup0dup1dup2dup3dup4dup5dup6dup7dup8dup9dup10" fmla="*/ 2491 w 7645"/>
              <a:gd name="connsiteY1dup0dup1dup2dup3dup4dup5dup6dup7dup8dup9dup10" fmla="*/ 0 h 10029"/>
              <a:gd name="connsiteX2dup0dup1dup2dup3dup4dup5dup6dup7dup8dup9dup10" fmla="*/ 7645 w 7645"/>
              <a:gd name="connsiteY2dup0dup1dup2dup3dup4dup5dup6dup7dup8dup9dup10" fmla="*/ 19 h 10029"/>
              <a:gd name="connsiteX3dup0dup1dup2dup3dup4dup5dup6dup7dup8dup9dup10" fmla="*/ 7645 w 7645"/>
              <a:gd name="connsiteY3dup0dup1dup2dup3dup4dup5dup6dup7dup8dup9dup10" fmla="*/ 10019 h 10029"/>
              <a:gd name="connsiteX4dup0dup1dup2dup3dup4dup5dup6dup7dup8dup9dup10" fmla="*/ 0 w 7645"/>
              <a:gd name="connsiteY4dup0dup1dup2dup3dup4dup5dup6dup7dup8dup9dup10" fmla="*/ 10029 h 10029"/>
              <a:gd name="connsiteX5dup0dup1dup2dup3dup4dup5dup6dup7dup8dup9dup10" fmla="*/ 3829 w 7645"/>
              <a:gd name="connsiteY5dup0dup1dup2dup3dup4dup5dup6dup7dup8dup9dup10" fmla="*/ 1805 h 10029"/>
              <a:gd name="connsiteX0dup0dup1dup2dup3dup4dup5dup6dup7dup8dup9dup10dup11" fmla="*/ 8123 w 13114"/>
              <a:gd name="connsiteY0dup0dup1dup2dup3dup4dup5dup6dup7dup8dup9dup10dup11" fmla="*/ 1800 h 10010"/>
              <a:gd name="connsiteX1dup0dup1dup2dup3dup4dup5dup6dup7dup8dup9dup10dup11" fmla="*/ 6372 w 13114"/>
              <a:gd name="connsiteY1dup0dup1dup2dup3dup4dup5dup6dup7dup8dup9dup10dup11" fmla="*/ 0 h 10010"/>
              <a:gd name="connsiteX2dup0dup1dup2dup3dup4dup5dup6dup7dup8dup9dup10dup11" fmla="*/ 13114 w 13114"/>
              <a:gd name="connsiteY2dup0dup1dup2dup3dup4dup5dup6dup7dup8dup9dup10dup11" fmla="*/ 19 h 10010"/>
              <a:gd name="connsiteX3dup0dup1dup2dup3dup4dup5dup6dup7dup8dup9dup10dup11" fmla="*/ 13114 w 13114"/>
              <a:gd name="connsiteY3dup0dup1dup2dup3dup4dup5dup6dup7dup8dup9dup10dup11" fmla="*/ 9990 h 10010"/>
              <a:gd name="connsiteX4dup0dup1dup2dup3dup4dup5dup6dup7dup8dup9dup10dup11" fmla="*/ 0 w 13114"/>
              <a:gd name="connsiteY4dup0dup1dup2dup3dup4dup5dup6dup7dup8dup9dup10dup11" fmla="*/ 10010 h 10010"/>
              <a:gd name="connsiteX5dup0dup1dup2dup3dup4dup5dup6dup7dup8dup9dup10dup11" fmla="*/ 8123 w 13114"/>
              <a:gd name="connsiteY5dup0dup1dup2dup3dup4dup5dup6dup7dup8dup9dup10dup11" fmla="*/ 1800 h 10010"/>
              <a:gd name="connsiteX0dup0dup1dup2dup3dup4dup5dup6dup7dup8dup9dup10dup11dup12" fmla="*/ 8123 w 13114"/>
              <a:gd name="connsiteY0dup0dup1dup2dup3dup4dup5dup6dup7dup8dup9dup10dup11dup12" fmla="*/ 1800 h 10000"/>
              <a:gd name="connsiteX1dup0dup1dup2dup3dup4dup5dup6dup7dup8dup9dup10dup11dup12" fmla="*/ 6372 w 13114"/>
              <a:gd name="connsiteY1dup0dup1dup2dup3dup4dup5dup6dup7dup8dup9dup10dup11dup12" fmla="*/ 0 h 10000"/>
              <a:gd name="connsiteX2dup0dup1dup2dup3dup4dup5dup6dup7dup8dup9dup10dup11dup12" fmla="*/ 13114 w 13114"/>
              <a:gd name="connsiteY2dup0dup1dup2dup3dup4dup5dup6dup7dup8dup9dup10dup11dup12" fmla="*/ 19 h 10000"/>
              <a:gd name="connsiteX3dup0dup1dup2dup3dup4dup5dup6dup7dup8dup9dup10dup11dup12" fmla="*/ 13114 w 13114"/>
              <a:gd name="connsiteY3dup0dup1dup2dup3dup4dup5dup6dup7dup8dup9dup10dup11dup12" fmla="*/ 9990 h 10000"/>
              <a:gd name="connsiteX4dup0dup1dup2dup3dup4dup5dup6dup7dup8dup9dup10dup11dup12" fmla="*/ 0 w 13114"/>
              <a:gd name="connsiteY4dup0dup1dup2dup3dup4dup5dup6dup7dup8dup9dup10dup11dup12" fmla="*/ 10000 h 10000"/>
              <a:gd name="connsiteX5dup0dup1dup2dup3dup4dup5dup6dup7dup8dup9dup10dup11dup12" fmla="*/ 8123 w 13114"/>
              <a:gd name="connsiteY5dup0dup1dup2dup3dup4dup5dup6dup7dup8dup9dup10dup11dup12" fmla="*/ 1800 h 10000"/>
              <a:gd name="connsiteX0dup0dup1dup2dup3dup4dup5dup6dup7dup8dup9dup10dup11dup12dup13" fmla="*/ 8157 w 13148"/>
              <a:gd name="connsiteY0dup0dup1dup2dup3dup4dup5dup6dup7dup8dup9dup10dup11dup12dup13" fmla="*/ 1800 h 10029"/>
              <a:gd name="connsiteX1dup0dup1dup2dup3dup4dup5dup6dup7dup8dup9dup10dup11dup12dup13" fmla="*/ 6406 w 13148"/>
              <a:gd name="connsiteY1dup0dup1dup2dup3dup4dup5dup6dup7dup8dup9dup10dup11dup12dup13" fmla="*/ 0 h 10029"/>
              <a:gd name="connsiteX2dup0dup1dup2dup3dup4dup5dup6dup7dup8dup9dup10dup11dup12dup13" fmla="*/ 13148 w 13148"/>
              <a:gd name="connsiteY2dup0dup1dup2dup3dup4dup5dup6dup7dup8dup9dup10dup11dup12dup13" fmla="*/ 19 h 10029"/>
              <a:gd name="connsiteX3dup0dup1dup2dup3dup4dup5dup6dup7dup8dup9dup10dup11dup12dup13" fmla="*/ 13148 w 13148"/>
              <a:gd name="connsiteY3dup0dup1dup2dup3dup4dup5dup6dup7dup8dup9dup10dup11dup12dup13" fmla="*/ 9990 h 10029"/>
              <a:gd name="connsiteX4dup0dup1dup2dup3dup4dup5dup6dup7dup8dup9dup10dup11dup12dup13" fmla="*/ 0 w 13148"/>
              <a:gd name="connsiteY4dup0dup1dup2dup3dup4dup5dup6dup7dup8dup9dup10dup11dup12dup13" fmla="*/ 10029 h 10029"/>
              <a:gd name="connsiteX5dup0dup1dup2dup3dup4dup5dup6dup7dup8dup9dup10dup11dup12dup13" fmla="*/ 8157 w 13148"/>
              <a:gd name="connsiteY5dup0dup1dup2dup3dup4dup5dup6dup7dup8dup9dup10dup11dup12dup13" fmla="*/ 1800 h 10029"/>
              <a:gd name="connsiteX0dup0dup1dup2dup3dup4dup5dup6dup7dup8dup9dup10dup11dup12dup13dup14" fmla="*/ 8089 w 13080"/>
              <a:gd name="connsiteY0dup0dup1dup2dup3dup4dup5dup6dup7dup8dup9dup10dup11dup12dup13dup14" fmla="*/ 1800 h 9990"/>
              <a:gd name="connsiteX1dup0dup1dup2dup3dup4dup5dup6dup7dup8dup9dup10dup11dup12dup13dup14" fmla="*/ 6338 w 13080"/>
              <a:gd name="connsiteY1dup0dup1dup2dup3dup4dup5dup6dup7dup8dup9dup10dup11dup12dup13dup14" fmla="*/ 0 h 9990"/>
              <a:gd name="connsiteX2dup0dup1dup2dup3dup4dup5dup6dup7dup8dup9dup10dup11dup12dup13dup14" fmla="*/ 13080 w 13080"/>
              <a:gd name="connsiteY2dup0dup1dup2dup3dup4dup5dup6dup7dup8dup9dup10dup11dup12dup13dup14" fmla="*/ 19 h 9990"/>
              <a:gd name="connsiteX3dup0dup1dup2dup3dup4dup5dup6dup7dup8dup9dup10dup11dup12dup13dup14" fmla="*/ 13080 w 13080"/>
              <a:gd name="connsiteY3dup0dup1dup2dup3dup4dup5dup6dup7dup8dup9dup10dup11dup12dup13dup14" fmla="*/ 9990 h 9990"/>
              <a:gd name="connsiteX4dup0dup1dup2dup3dup4dup5dup6dup7dup8dup9dup10dup11dup12dup13dup14" fmla="*/ 0 w 13080"/>
              <a:gd name="connsiteY4dup0dup1dup2dup3dup4dup5dup6dup7dup8dup9dup10dup11dup12dup13dup14" fmla="*/ 9990 h 9990"/>
              <a:gd name="connsiteX5dup0dup1dup2dup3dup4dup5dup6dup7dup8dup9dup10dup11dup12dup13dup14" fmla="*/ 8089 w 13080"/>
              <a:gd name="connsiteY5dup0dup1dup2dup3dup4dup5dup6dup7dup8dup9dup10dup11dup12dup13dup14" fmla="*/ 1800 h 9990"/>
            </a:gdLst>
            <a:cxnLst>
              <a:cxn ang="0">
                <a:pos x="connsiteX0dup0dup1dup2dup3dup4dup5dup6dup7dup8dup9dup10dup11dup12dup13dup14" y="connsiteY0dup0dup1dup2dup3dup4dup5dup6dup7dup8dup9dup10dup11dup12dup13dup14"/>
              </a:cxn>
              <a:cxn ang="0">
                <a:pos x="connsiteX1dup0dup1dup2dup3dup4dup5dup6dup7dup8dup9dup10dup11dup12dup13dup14" y="connsiteY1dup0dup1dup2dup3dup4dup5dup6dup7dup8dup9dup10dup11dup12dup13dup14"/>
              </a:cxn>
              <a:cxn ang="0">
                <a:pos x="connsiteX2dup0dup1dup2dup3dup4dup5dup6dup7dup8dup9dup10dup11dup12dup13dup14" y="connsiteY2dup0dup1dup2dup3dup4dup5dup6dup7dup8dup9dup10dup11dup12dup13dup14"/>
              </a:cxn>
              <a:cxn ang="0">
                <a:pos x="connsiteX3dup0dup1dup2dup3dup4dup5dup6dup7dup8dup9dup10dup11dup12dup13dup14" y="connsiteY3dup0dup1dup2dup3dup4dup5dup6dup7dup8dup9dup10dup11dup12dup13dup14"/>
              </a:cxn>
              <a:cxn ang="0">
                <a:pos x="connsiteX4dup0dup1dup2dup3dup4dup5dup6dup7dup8dup9dup10dup11dup12dup13dup14" y="connsiteY4dup0dup1dup2dup3dup4dup5dup6dup7dup8dup9dup10dup11dup12dup13dup14"/>
              </a:cxn>
              <a:cxn ang="0">
                <a:pos x="connsiteX5dup0dup1dup2dup3dup4dup5dup6dup7dup8dup9dup10dup11dup12dup13dup14" y="connsiteY5dup0dup1dup2dup3dup4dup5dup6dup7dup8dup9dup10dup11dup12dup13dup14"/>
              </a:cxn>
            </a:cxnLst>
            <a:rect l="l" t="t" r="r" b="b"/>
            <a:pathLst>
              <a:path w="13080" h="9990">
                <a:moveTo>
                  <a:pt x="8089" y="1800"/>
                </a:moveTo>
                <a:lnTo>
                  <a:pt x="6338" y="0"/>
                </a:lnTo>
                <a:cubicBezTo>
                  <a:pt x="6283" y="6"/>
                  <a:pt x="10833" y="13"/>
                  <a:pt x="13080" y="19"/>
                </a:cubicBezTo>
                <a:lnTo>
                  <a:pt x="13080" y="9990"/>
                </a:lnTo>
                <a:lnTo>
                  <a:pt x="0" y="9990"/>
                </a:lnTo>
                <a:lnTo>
                  <a:pt x="8089" y="1800"/>
                </a:lnTo>
                <a:close/>
              </a:path>
            </a:pathLst>
          </a:custGeom>
          <a:solidFill>
            <a:schemeClr val="accent1"/>
          </a:solidFill>
        </p:spPr>
        <p:txBody>
          <a:bodyPr anchor="ctr"/>
          <a:lstStyle>
            <a:lvl1pPr marL="91440" indent="0" algn="r">
              <a:spcBef>
                <a:spcPct val="0"/>
              </a:spcBef>
              <a:buNone/>
              <a:defRPr sz="1100" b="1" baseline="0">
                <a:solidFill>
                  <a:schemeClr val="bg1"/>
                </a:solidFill>
              </a:defRPr>
            </a:lvl1pPr>
          </a:lstStyle>
          <a:p>
            <a:r>
              <a:rPr lang="en-US" dirty="1" smtClean="0"/>
              <a:t>Click icon to </a:t>
            </a:r>
            <a:br>
              <a:rPr lang="en-US" dirty="1" smtClean="0"/>
            </a:br>
            <a:r>
              <a:rPr lang="en-US" dirty="1" smtClean="0"/>
              <a:t>insert picture</a:t>
            </a:r>
            <a:endParaRPr lang="en-US"/>
          </a:p>
        </p:txBody>
      </p:sp>
    </p:spTree>
    <p:extLst>
      <p:ext uri="{BB962C8B-B14F-4D97-AF65-F5344CB8AC3E}">
        <p14:creationId xmlns:p14="http://schemas.microsoft.com/office/powerpoint/2010/main" val="1443438457"/>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2880">
          <p15:clr>
            <a:srgbClr val="FBAE40"/>
          </p15:clr>
        </p15:guide>
        <p15:guide id="2" pos="422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6">
                  <p:embed/>
                </p:oleObj>
              </mc:Choice>
              <mc:Fallback>
                <p:oleObj name="think-cell Slide" progId="TCLayout.ActiveDocument.1" r:id="rId7" spid="_x0000_s1046">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hasCustomPrompt="1"/>
          </p:nvPr>
        </p:nvSpPr>
        <p:spPr/>
        <p:txBody>
          <a:bodyPr>
            <a:noAutofit/>
          </a:bodyPr>
          <a:lstStyle>
            <a:lvl1pPr>
              <a:defRPr/>
            </a:lvl1pPr>
          </a:lstStyle>
          <a:p>
            <a:r>
              <a:rPr lang="en-US" dirty="1" smtClean="0"/>
              <a:t>Agenda</a:t>
            </a:r>
            <a:endParaRPr lang="en-US"/>
          </a:p>
        </p:txBody>
      </p:sp>
      <p:sp>
        <p:nvSpPr>
          <p:cNvPr id="3" name="Content Placeholder 2"/>
          <p:cNvSpPr>
            <a:spLocks noGrp="1"/>
          </p:cNvSpPr>
          <p:nvPr>
            <p:ph idx="1"/>
          </p:nvPr>
        </p:nvSpPr>
        <p:spPr/>
        <p:txBody>
          <a:bodyPr>
            <a:noAutofit/>
          </a:bodyPr>
          <a:lstStyle>
            <a:lvl1pPr marL="344488" indent="-344488">
              <a:spcBef>
                <a:spcPts val="1200"/>
              </a:spcBef>
              <a:buSzTx/>
              <a:buFont typeface="+mj-lt"/>
              <a:buAutoNum type="arabicPeriod" startAt="1"/>
              <a:defRPr/>
            </a:lvl1pPr>
            <a:lvl2pPr marL="687388" indent="-290513">
              <a:spcBef>
                <a:spcPts val="1200"/>
              </a:spcBef>
              <a:buSzTx/>
              <a:buFont typeface="+mj-lt"/>
              <a:buAutoNum type="alphaLcPeriod" startAt="1"/>
              <a:defRPr/>
            </a:lvl2pPr>
            <a:lvl3pPr marL="914400" indent="-168275">
              <a:spcBef>
                <a:spcPts val="1200"/>
              </a:spcBef>
              <a:buSzTx/>
              <a:buFont typeface="+mj-lt"/>
              <a:buAutoNum type="romanLcPeriod" startAt="1"/>
              <a:defRPr/>
            </a:lvl3pPr>
            <a:lvl4pPr marL="1200150" indent="-227013">
              <a:spcBef>
                <a:spcPts val="1200"/>
              </a:spcBef>
              <a:buSzTx/>
              <a:buFont typeface="+mj-lt"/>
              <a:buAutoNum type="alphaLcPeriod" startAt="1"/>
              <a:defRPr/>
            </a:lvl4pPr>
            <a:lvl5pPr marL="1427163" indent="-171450">
              <a:spcBef>
                <a:spcPts val="1200"/>
              </a:spcBef>
              <a:buSzTx/>
              <a:buFont typeface="+mj-lt"/>
              <a:buAutoNum type="romanLcPeriod" startAt="1"/>
              <a:defRPr/>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274176455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7">
                  <p:embed/>
                </p:oleObj>
              </mc:Choice>
              <mc:Fallback>
                <p:oleObj name="think-cell Slide" progId="TCLayout.ActiveDocument.1" r:id="rId7" spid="_x0000_s1047">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Times New Roman" panose="02020603050405020304" pitchFamily="18"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1" smtClean="0"/>
              <a:t>Click to edit Master title style</a:t>
            </a:r>
            <a:endParaRPr lang="en-US"/>
          </a:p>
        </p:txBody>
      </p:sp>
      <p:sp>
        <p:nvSpPr>
          <p:cNvPr id="3" name="Content Placeholder 2"/>
          <p:cNvSpPr>
            <a:spLocks noGrp="1"/>
          </p:cNvSpPr>
          <p:nvPr>
            <p:ph idx="1"/>
          </p:nvPr>
        </p:nvSpPr>
        <p:spPr/>
        <p:txBody>
          <a:bodyPr>
            <a:noAutofit/>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Tree>
    <p:extLst>
      <p:ext uri="{BB962C8B-B14F-4D97-AF65-F5344CB8AC3E}">
        <p14:creationId xmlns:p14="http://schemas.microsoft.com/office/powerpoint/2010/main" val="362254543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7171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8">
                  <p:embed/>
                </p:oleObj>
              </mc:Choice>
              <mc:Fallback>
                <p:oleObj name="think-cell Slide" progId="TCLayout.ActiveDocument.1" r:id="rId7" spid="_x0000_s1048">
                  <p:embed/>
                  <p:pic>
                    <p:nvPicPr>
                      <p:cNvPr id="0" name="OLE substitute image"/>
                      <p:cNvPicPr/>
                      <p:nvPr/>
                    </p:nvPicPr>
                    <p:blipFill>
                      <a:blip r:embed="rId6"/>
                      <a:srcRect/>
                      <a:stretch>
                        <a:fillRect/>
                      </a:stretch>
                    </p:blipFill>
                    <p:spPr>
                      <a:xfrm>
                        <a:off x="1588" y="1588"/>
                        <a:ext cx="1588" cy="1588"/>
                      </a:xfrm>
                      <a:prstGeom prst="rect"/>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2" name="Title 1"/>
          <p:cNvSpPr>
            <a:spLocks noGrp="1"/>
          </p:cNvSpPr>
          <p:nvPr>
            <p:ph type="title"/>
          </p:nvPr>
        </p:nvSpPr>
        <p:spPr>
          <a:xfrm>
            <a:off x="342900" y="0"/>
            <a:ext cx="8458199" cy="1151907"/>
          </a:xfrm>
        </p:spPr>
        <p:txBody>
          <a:bodyPr>
            <a:noAutofit/>
          </a:bodyPr>
          <a:lstStyle/>
          <a:p>
            <a:r>
              <a:rPr lang="en-US" dirty="1" smtClean="0"/>
              <a:t>Click to edit Master title style</a:t>
            </a:r>
            <a:endParaRPr lang="en-US"/>
          </a:p>
        </p:txBody>
      </p:sp>
      <p:sp>
        <p:nvSpPr>
          <p:cNvPr id="3" name="Content Placeholder 2"/>
          <p:cNvSpPr>
            <a:spLocks noGrp="1"/>
          </p:cNvSpPr>
          <p:nvPr>
            <p:ph sz="half" idx="1"/>
          </p:nvPr>
        </p:nvSpPr>
        <p:spPr>
          <a:xfrm>
            <a:off x="351691" y="1161202"/>
            <a:ext cx="4114800" cy="3602886"/>
          </a:xfrm>
        </p:spPr>
        <p:txBody>
          <a:bodyPr>
            <a:noAutofit/>
          </a:bodyPr>
          <a:lstStyle>
            <a:lvl1pPr>
              <a:defRPr sz="2000"/>
            </a:lvl1pPr>
            <a:lvl2pPr>
              <a:defRPr sz="1700"/>
            </a:lvl2pPr>
            <a:lvl3pPr>
              <a:defRPr sz="1500"/>
            </a:lvl3pPr>
            <a:lvl4pPr>
              <a:defRPr sz="1400"/>
            </a:lvl4pPr>
            <a:lvl5pPr>
              <a:defRPr sz="1400"/>
            </a:lvl5pPr>
            <a:lvl6pPr>
              <a:defRPr sz="1500"/>
            </a:lvl6pPr>
            <a:lvl7pPr>
              <a:defRPr sz="1500"/>
            </a:lvl7pPr>
            <a:lvl8pPr>
              <a:defRPr sz="1500"/>
            </a:lvl8pPr>
            <a:lvl9pPr>
              <a:defRPr sz="15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4" name="Content Placeholder 3"/>
          <p:cNvSpPr>
            <a:spLocks noGrp="1"/>
          </p:cNvSpPr>
          <p:nvPr>
            <p:ph sz="half" idx="2"/>
          </p:nvPr>
        </p:nvSpPr>
        <p:spPr>
          <a:xfrm>
            <a:off x="4686299" y="1161202"/>
            <a:ext cx="4114800" cy="3602886"/>
          </a:xfrm>
        </p:spPr>
        <p:txBody>
          <a:bodyPr>
            <a:noAutofit/>
          </a:bodyPr>
          <a:lstStyle>
            <a:lvl1pPr>
              <a:defRPr sz="2000"/>
            </a:lvl1pPr>
            <a:lvl2pPr>
              <a:defRPr sz="1700"/>
            </a:lvl2pPr>
            <a:lvl3pPr>
              <a:defRPr sz="1500"/>
            </a:lvl3pPr>
            <a:lvl4pPr>
              <a:defRPr sz="1400"/>
            </a:lvl4pPr>
            <a:lvl5pPr>
              <a:defRPr sz="1400"/>
            </a:lvl5pPr>
            <a:lvl6pPr>
              <a:defRPr sz="1500"/>
            </a:lvl6pPr>
            <a:lvl7pPr>
              <a:defRPr sz="1500"/>
            </a:lvl7pPr>
            <a:lvl8pPr>
              <a:defRPr sz="1500"/>
            </a:lvl8pPr>
            <a:lvl9pPr>
              <a:defRPr sz="1500"/>
            </a:lvl9p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cxnSp>
        <p:nvCxnSpPr>
          <p:cNvPr id="8" name="Straight Connector 7"/>
          <p:cNvCxnSpPr/>
          <p:nvPr userDrawn="1"/>
        </p:nvCxnSpPr>
        <p:spPr>
          <a:xfrm>
            <a:off x="4572002" y="1158949"/>
            <a:ext cx="0" cy="3561907"/>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1095014"/>
      </p:ext>
    </p:extLst>
  </p:cSld>
  <p:clrMapOvr>
    <a:masterClrMapping/>
  </p:clrMapOvr>
  <p:timing>
    <p:tnLst>
      <p:par>
        <p:cTn id="1" dur="indefinite" restart="never" nodeType="tmRoot"/>
      </p:par>
    </p:tnLst>
  </p:timing>
</p:sldLayout>
</file>

<file path=ppt/slideMasters/_rels/slideMaster1.xml.rels>&#65279;<?xml version="1.0" encoding="utf-8" standalone="yes"?><Relationships xmlns="http://schemas.openxmlformats.org/package/2006/relationships"><Relationship Id="rId1" Type="http://schemas.openxmlformats.org/officeDocument/2006/relationships/oleObject" Target="../embeddings/oleObject1.bin" TargetMode="Internal" /><Relationship Id="rId10" Type="http://schemas.openxmlformats.org/officeDocument/2006/relationships/slideLayout" Target="../slideLayouts/slideLayout9.xml" /><Relationship Id="rId11" Type="http://schemas.openxmlformats.org/officeDocument/2006/relationships/slideLayout" Target="../slideLayouts/slideLayout10.xml" /><Relationship Id="rId12" Type="http://schemas.openxmlformats.org/officeDocument/2006/relationships/slideLayout" Target="../slideLayouts/slideLayout11.xml" /><Relationship Id="rId13" Type="http://schemas.openxmlformats.org/officeDocument/2006/relationships/slideLayout" Target="../slideLayouts/slideLayout12.xml" /><Relationship Id="rId14" Type="http://schemas.openxmlformats.org/officeDocument/2006/relationships/slideLayout" Target="../slideLayouts/slideLayout13.xml" /><Relationship Id="rId15" Type="http://schemas.openxmlformats.org/officeDocument/2006/relationships/slideLayout" Target="../slideLayouts/slideLayout14.xml" /><Relationship Id="rId16" Type="http://schemas.openxmlformats.org/officeDocument/2006/relationships/slideLayout" Target="../slideLayouts/slideLayout15.xml" /><Relationship Id="rId17" Type="http://schemas.openxmlformats.org/officeDocument/2006/relationships/slideLayout" Target="../slideLayouts/slideLayout16.xml" /><Relationship Id="rId18" Type="http://schemas.openxmlformats.org/officeDocument/2006/relationships/slideLayout" Target="../slideLayouts/slideLayout17.xml" /><Relationship Id="rId19" Type="http://schemas.openxmlformats.org/officeDocument/2006/relationships/slideLayout" Target="../slideLayouts/slideLayout18.xml" /><Relationship Id="rId2" Type="http://schemas.openxmlformats.org/officeDocument/2006/relationships/slideLayout" Target="../slideLayouts/slideLayout1.xml" /><Relationship Id="rId20" Type="http://schemas.openxmlformats.org/officeDocument/2006/relationships/slideLayout" Target="../slideLayouts/slideLayout19.xml" /><Relationship Id="rId21" Type="http://schemas.openxmlformats.org/officeDocument/2006/relationships/slideLayout" Target="../slideLayouts/slideLayout20.xml" /><Relationship Id="rId22" Type="http://schemas.openxmlformats.org/officeDocument/2006/relationships/slideLayout" Target="../slideLayouts/slideLayout21.xml" /><Relationship Id="rId23" Type="http://schemas.openxmlformats.org/officeDocument/2006/relationships/slideLayout" Target="../slideLayouts/slideLayout22.xml" /><Relationship Id="rId24" Type="http://schemas.openxmlformats.org/officeDocument/2006/relationships/slideLayout" Target="../slideLayouts/slideLayout23.xml" /><Relationship Id="rId25" Type="http://schemas.openxmlformats.org/officeDocument/2006/relationships/slideLayout" Target="../slideLayouts/slideLayout24.xml" /><Relationship Id="rId26" Type="http://schemas.openxmlformats.org/officeDocument/2006/relationships/slideLayout" Target="../slideLayouts/slideLayout25.xml" /><Relationship Id="rId27" Type="http://schemas.openxmlformats.org/officeDocument/2006/relationships/slideLayout" Target="../slideLayouts/slideLayout26.xml" /><Relationship Id="rId28" Type="http://schemas.openxmlformats.org/officeDocument/2006/relationships/slideLayout" Target="../slideLayouts/slideLayout27.xml" /><Relationship Id="rId29" Type="http://schemas.openxmlformats.org/officeDocument/2006/relationships/theme" Target="../theme/theme3.xml" /><Relationship Id="rId3" Type="http://schemas.openxmlformats.org/officeDocument/2006/relationships/slideLayout" Target="../slideLayouts/slideLayout2.xml" /><Relationship Id="rId30" Type="http://schemas.openxmlformats.org/officeDocument/2006/relationships/vmlDrawing" Target="../drawings/vmlDrawing1.vml" /><Relationship Id="rId31" Type="http://schemas.openxmlformats.org/officeDocument/2006/relationships/tags" Target="../tags/tag19.xml" /><Relationship Id="rId32" Type="http://schemas.openxmlformats.org/officeDocument/2006/relationships/tags" Target="../tags/tag2.xml" /><Relationship Id="rId34" Type="http://schemas.openxmlformats.org/officeDocument/2006/relationships/image" Target="../media/image1.emf" /><Relationship Id="rId35" Type="http://schemas.openxmlformats.org/officeDocument/2006/relationships/slideLayout" Target="../slideLayouts/slideLayout28.xml" /><Relationship Id="rId4" Type="http://schemas.openxmlformats.org/officeDocument/2006/relationships/slideLayout" Target="../slideLayouts/slideLayout3.xml" /><Relationship Id="rId5" Type="http://schemas.openxmlformats.org/officeDocument/2006/relationships/slideLayout" Target="../slideLayouts/slideLayout4.xml" /><Relationship Id="rId6" Type="http://schemas.openxmlformats.org/officeDocument/2006/relationships/slideLayout" Target="../slideLayouts/slideLayout5.xml" /><Relationship Id="rId7" Type="http://schemas.openxmlformats.org/officeDocument/2006/relationships/slideLayout" Target="../slideLayouts/slideLayout6.xml" /><Relationship Id="rId8" Type="http://schemas.openxmlformats.org/officeDocument/2006/relationships/slideLayout" Target="../slideLayouts/slideLayout7.xml" /><Relationship Id="rId9" Type="http://schemas.openxmlformats.org/officeDocument/2006/relationships/slideLayout" Target="../slideLayouts/slideLayout8.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sp>
        <p:nvSpPr>
          <p:cNvPr id="10" name="TextBox 9"/>
          <p:cNvSpPr txBox="1"/>
          <p:nvPr userDrawn="1"/>
        </p:nvSpPr>
        <p:spPr>
          <a:xfrm>
            <a:off x="6744432" y="4915826"/>
            <a:ext cx="2144800" cy="238065"/>
          </a:xfrm>
          <a:prstGeom prst="rect"/>
          <a:noFill/>
        </p:spPr>
        <p:txBody>
          <a:bodyPr wrap="square" rtlCol="0">
            <a:noAutofit/>
          </a:bodyPr>
          <a:lstStyle/>
          <a:p>
            <a:pPr marL="0" indent="0" algn="r">
              <a:buClr>
                <a:schemeClr val="tx2"/>
              </a:buClr>
              <a:buFont typeface="Wingdings" panose="05000000000000000000" pitchFamily="2" charset="2"/>
              <a:buNone/>
            </a:pPr>
            <a:fld id="{9B235398-36E0-4C9A-B2F2-99F0C9FB9944}" type="slidenum">
              <a:rPr lang="en-US" sz="800" b="1" smtClean="0">
                <a:solidFill>
                  <a:schemeClr val="tx1"/>
                </a:solidFill>
              </a:rPr>
              <a:t>‹#›</a:t>
            </a:fld>
            <a:endParaRPr lang="en-US" sz="800" b="1">
              <a:solidFill>
                <a:schemeClr val="tx1"/>
              </a:solidFill>
            </a:endParaRPr>
          </a:p>
        </p:txBody>
      </p:sp>
      <p:graphicFrame>
        <p:nvGraphicFramePr>
          <p:cNvPr id="8" name="Object 7" hidden="1"/>
          <p:cNvGraphicFramePr>
            <a:graphicFrameLocks noChangeAspect="1"/>
          </p:cNvGraphicFramePr>
          <p:nvPr userDrawn="1">
            <p:custDataLst>
              <p:tags r:id="rId31"/>
            </p:custDataLst>
            <p:extLst>
              <p:ext uri="{D42A27DB-BD31-4B8C-83A1-F6EECF244321}">
                <p14:modId xmlns:p14="http://schemas.microsoft.com/office/powerpoint/2010/main" val="206176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39">
                  <p:embed/>
                </p:oleObj>
              </mc:Choice>
              <mc:Fallback>
                <p:oleObj name="think-cell Slide" progId="TCLayout.ActiveDocument.1" r:id="rId1" spid="_x0000_s1039">
                  <p:embed/>
                  <p:pic>
                    <p:nvPicPr>
                      <p:cNvPr id="0" name="OLE substitute image"/>
                      <p:cNvPicPr/>
                      <p:nvPr/>
                    </p:nvPicPr>
                    <p:blipFill>
                      <a:blip r:embed="rId34"/>
                      <a:srcRect/>
                      <a:stretch>
                        <a:fillRect/>
                      </a:stretch>
                    </p:blipFill>
                    <p:spPr>
                      <a:xfrm>
                        <a:off x="1588" y="1588"/>
                        <a:ext cx="1588" cy="1588"/>
                      </a:xfrm>
                      <a:prstGeom prst="rect"/>
                    </p:spPr>
                  </p:pic>
                </p:oleObj>
              </mc:Fallback>
            </mc:AlternateContent>
          </a:graphicData>
        </a:graphic>
      </p:graphicFrame>
      <p:sp>
        <p:nvSpPr>
          <p:cNvPr id="7" name="Rectangle 6" hidden="1"/>
          <p:cNvSpPr/>
          <p:nvPr userDrawn="1">
            <p:custDataLst>
              <p:tags r:id="rId32"/>
            </p:custDataLst>
          </p:nvPr>
        </p:nvSpPr>
        <p:spPr>
          <a:xfrm>
            <a:off x="0" y="0"/>
            <a:ext cx="158750" cy="158750"/>
          </a:xfrm>
          <a:prstGeom prst="rect"/>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0" i="0" baseline="0">
              <a:latin typeface="Georgia" panose="02040502050405020303" pitchFamily="18" charset="0"/>
              <a:ea typeface="+mj-ea"/>
              <a:cs typeface="Times New Roman" panose="02020603050405020304" pitchFamily="18" charset="0"/>
              <a:sym typeface="Georgia" panose="02040502050405020303" pitchFamily="18" charset="0"/>
            </a:endParaRPr>
          </a:p>
        </p:txBody>
      </p:sp>
      <p:sp>
        <p:nvSpPr>
          <p:cNvPr id="2" name="Title Placeholder 1"/>
          <p:cNvSpPr>
            <a:spLocks noGrp="1"/>
          </p:cNvSpPr>
          <p:nvPr>
            <p:ph type="title"/>
          </p:nvPr>
        </p:nvSpPr>
        <p:spPr>
          <a:xfrm>
            <a:off x="342900" y="0"/>
            <a:ext cx="8458199" cy="1151907"/>
          </a:xfrm>
          <a:prstGeom prst="rect"/>
        </p:spPr>
        <p:txBody>
          <a:bodyPr vert="horz" lIns="77916" tIns="38958" rIns="77916" bIns="38958" rtlCol="0" anchor="ctr">
            <a:noAutofit/>
          </a:bodyPr>
          <a:lstStyle/>
          <a:p>
            <a:r>
              <a:rPr lang="en-US" dirty="1" smtClean="0"/>
              <a:t>Click to add title</a:t>
            </a:r>
            <a:endParaRPr lang="en-US"/>
          </a:p>
        </p:txBody>
      </p:sp>
      <p:sp>
        <p:nvSpPr>
          <p:cNvPr id="3" name="Text Placeholder 2"/>
          <p:cNvSpPr>
            <a:spLocks noGrp="1"/>
          </p:cNvSpPr>
          <p:nvPr>
            <p:ph type="body" idx="1"/>
          </p:nvPr>
        </p:nvSpPr>
        <p:spPr>
          <a:xfrm>
            <a:off x="342900" y="1151907"/>
            <a:ext cx="8458199" cy="3612181"/>
          </a:xfrm>
          <a:prstGeom prst="rect"/>
        </p:spPr>
        <p:txBody>
          <a:bodyPr vert="horz" lIns="77916" tIns="38958" rIns="77916" bIns="38958" rtlCol="0">
            <a:noAutofit/>
          </a:bodyPr>
          <a:lstStyle/>
          <a:p>
            <a:pPr lvl="0"/>
            <a:r>
              <a:rPr lang="en-US" dirty="1" smtClean="0"/>
              <a:t>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US"/>
          </a:p>
        </p:txBody>
      </p:sp>
      <p:sp>
        <p:nvSpPr>
          <p:cNvPr id="13" name="Text Box 52"/>
          <p:cNvSpPr txBox="1">
            <a:spLocks noChangeArrowheads="1"/>
          </p:cNvSpPr>
          <p:nvPr userDrawn="1"/>
        </p:nvSpPr>
        <p:spPr>
          <a:xfrm>
            <a:off x="342900" y="4956854"/>
            <a:ext cx="1286314" cy="123111"/>
          </a:xfrm>
          <a:prstGeom prst="rect"/>
          <a:noFill/>
          <a:ln>
            <a:noFill/>
          </a:ln>
          <a:effectLst/>
        </p:spPr>
        <p:txBody>
          <a:bodyPr wrap="none" lIns="82296" tIns="0" rIns="0" bIns="0">
            <a:spAutoFit/>
          </a:bodyPr>
          <a:lstStyle/>
          <a:p>
            <a:pPr algn="r">
              <a:spcBef>
                <a:spcPct val="0"/>
              </a:spcBef>
              <a:defRPr/>
            </a:pPr>
            <a:r>
              <a:rPr lang="en-US" sz="800" b="1" kern="500" cap="all" spc="120" normalizeH="0" baseline="0" dirty="1" smtClean="0">
                <a:solidFill>
                  <a:schemeClr val="tx1"/>
                </a:solidFill>
                <a:latin typeface="Arial" panose="020b0604020202020204" pitchFamily="34" charset="0"/>
                <a:cs typeface="Arial" panose="020b0604020202020204" pitchFamily="34" charset="0"/>
              </a:rPr>
              <a:t>Kirkland &amp; Ellis</a:t>
            </a:r>
            <a:endParaRPr lang="en-US" sz="800" b="1" kern="500" cap="all" spc="120" normalizeH="0" baseline="0">
              <a:solidFill>
                <a:schemeClr val="tx1"/>
              </a:solidFill>
              <a:latin typeface="Arial" panose="020b0604020202020204" pitchFamily="34" charset="0"/>
              <a:cs typeface="Arial" panose="020b0604020202020204" pitchFamily="34" charset="0"/>
            </a:endParaRPr>
          </a:p>
        </p:txBody>
      </p:sp>
      <p:cxnSp>
        <p:nvCxnSpPr>
          <p:cNvPr id="14" name="Straight Connector 13"/>
          <p:cNvCxnSpPr/>
          <p:nvPr userDrawn="1"/>
        </p:nvCxnSpPr>
        <p:spPr>
          <a:xfrm>
            <a:off x="1728146" y="5018409"/>
            <a:ext cx="914400" cy="0"/>
          </a:xfrm>
          <a:prstGeom prst="line"/>
          <a:noFill/>
          <a:ln w="254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xmlns="">
                <a:solidFill>
                  <a:schemeClr val="bg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 name="Freeform 5"/>
          <p:cNvSpPr/>
          <p:nvPr userDrawn="1"/>
        </p:nvSpPr>
        <p:spPr>
          <a:xfrm>
            <a:off x="-8667" y="336177"/>
            <a:ext cx="247481" cy="500342"/>
          </a:xfrm>
          <a:custGeom>
            <a:gdLst>
              <a:gd name="T0" fmla="*/ 273 w 273"/>
              <a:gd name="T1" fmla="*/ 274 h 545"/>
              <a:gd name="T2" fmla="*/ 0 w 273"/>
              <a:gd name="T3" fmla="*/ 0 h 545"/>
              <a:gd name="T4" fmla="*/ 0 w 273"/>
              <a:gd name="T5" fmla="*/ 545 h 545"/>
              <a:gd name="T6" fmla="*/ 273 w 273"/>
              <a:gd name="T7" fmla="*/ 274 h 545"/>
              <a:gd name="T8" fmla="*/ 273 w 273"/>
              <a:gd name="T9" fmla="*/ 274 h 545"/>
            </a:gdLst>
            <a:cxnLst>
              <a:cxn ang="0">
                <a:pos x="T0" y="T1"/>
              </a:cxn>
              <a:cxn ang="0">
                <a:pos x="T2" y="T3"/>
              </a:cxn>
              <a:cxn ang="0">
                <a:pos x="T4" y="T5"/>
              </a:cxn>
              <a:cxn ang="0">
                <a:pos x="T6" y="T7"/>
              </a:cxn>
              <a:cxn ang="0">
                <a:pos x="T8" y="T9"/>
              </a:cxn>
            </a:cxnLst>
            <a:rect l="0" t="0" r="r" b="b"/>
            <a:pathLst>
              <a:path w="273" h="545">
                <a:moveTo>
                  <a:pt x="273" y="274"/>
                </a:moveTo>
                <a:lnTo>
                  <a:pt x="0" y="0"/>
                </a:lnTo>
                <a:lnTo>
                  <a:pt x="0" y="545"/>
                </a:lnTo>
                <a:lnTo>
                  <a:pt x="273" y="274"/>
                </a:lnTo>
                <a:lnTo>
                  <a:pt x="273" y="274"/>
                </a:lnTo>
                <a:close/>
              </a:path>
            </a:pathLst>
          </a:custGeom>
          <a:solidFill>
            <a:schemeClr val="accent1"/>
          </a:solidFill>
          <a:ln w="3175">
            <a:noFill/>
            <a:round/>
          </a:ln>
        </p:spPr>
        <p:txBody>
          <a:bodyPr vert="horz" wrap="square" lIns="91440" tIns="45720" rIns="91440" bIns="45720" numCol="1" anchor="t" anchorCtr="0" compatLnSpc="1">
            <a:prstTxWarp prst="textNoShape"/>
          </a:bodyPr>
          <a:lstStyle/>
          <a:p>
            <a:endParaRPr lang="en-US" kern="500" baseline="0"/>
          </a:p>
        </p:txBody>
      </p:sp>
    </p:spTree>
    <p:extLst>
      <p:ext uri="{BB962C8B-B14F-4D97-AF65-F5344CB8AC3E}">
        <p14:creationId xmlns:p14="http://schemas.microsoft.com/office/powerpoint/2010/main" val="1472738424"/>
      </p:ext>
    </p:extLst>
  </p:cSld>
  <p:clrMap bg1="lt1" tx1="dk1" bg2="lt2" tx2="dk2" accent1="accent1" accent2="accent2" accent3="accent3" accent4="accent4" accent5="accent5" accent6="accent6" hlink="hlink" folHlink="folHlink"/>
  <p:sldLayoutIdLst>
    <p:sldLayoutId id="2147483694" r:id="rId2"/>
    <p:sldLayoutId id="2147483695" r:id="rId3"/>
    <p:sldLayoutId id="2147483696" r:id="rId4"/>
    <p:sldLayoutId id="2147483697" r:id="rId5"/>
    <p:sldLayoutId id="2147483698" r:id="rId6"/>
    <p:sldLayoutId id="214748372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30" r:id="rId21"/>
    <p:sldLayoutId id="2147483731" r:id="rId22"/>
    <p:sldLayoutId id="2147483732" r:id="rId23"/>
    <p:sldLayoutId id="2147483733" r:id="rId24"/>
    <p:sldLayoutId id="2147483734" r:id="rId25"/>
    <p:sldLayoutId id="2147483723" r:id="rId26"/>
    <p:sldLayoutId id="2147483724" r:id="rId27"/>
    <p:sldLayoutId id="2147483725" r:id="rId28"/>
    <p:sldLayoutId id="2147483727" r:id="rId35"/>
  </p:sldLayoutIdLst>
  <p:timing>
    <p:tnLst>
      <p:par>
        <p:cTn id="1" dur="indefinite" restart="never" nodeType="tmRoot"/>
      </p:par>
    </p:tnLst>
  </p:timing>
  <p:hf hdr="0" dt="0" ftr="0"/>
  <p:txStyles>
    <p:titleStyle>
      <a:lvl1pPr algn="l" defTabSz="779163" rtl="0" eaLnBrk="1" latinLnBrk="0" hangingPunct="1">
        <a:spcBef>
          <a:spcPct val="0"/>
        </a:spcBef>
        <a:buNone/>
        <a:defRPr sz="2800" b="0" kern="1200" baseline="0">
          <a:solidFill>
            <a:schemeClr val="tx1"/>
          </a:solidFill>
          <a:latin typeface="Georgia" panose="02040502050405020303" pitchFamily="18" charset="0"/>
          <a:ea typeface="+mj-ea"/>
          <a:cs typeface="Times New Roman" pitchFamily="18" charset="0"/>
        </a:defRPr>
      </a:lvl1pPr>
    </p:titleStyle>
    <p:bodyStyle>
      <a:lvl1pPr marL="282575" indent="-282575" algn="l" defTabSz="779163" rtl="0" eaLnBrk="1" latinLnBrk="0" hangingPunct="1">
        <a:lnSpc>
          <a:spcPct val="110000"/>
        </a:lnSpc>
        <a:spcBef>
          <a:spcPts val="1200"/>
        </a:spcBef>
        <a:buClr>
          <a:schemeClr val="accent1"/>
        </a:buClr>
        <a:buSzPct val="75000"/>
        <a:buFont typeface="Arial" panose="020b0604020202020204" pitchFamily="34" charset="0"/>
        <a:buChar char="►"/>
        <a:defRPr sz="2000" kern="1200">
          <a:solidFill>
            <a:schemeClr val="tx1"/>
          </a:solidFill>
          <a:latin typeface="+mj-lt"/>
          <a:ea typeface="+mn-ea"/>
          <a:cs typeface="Times New Roman" pitchFamily="18" charset="0"/>
        </a:defRPr>
      </a:lvl1pPr>
      <a:lvl2pPr marL="631825" indent="-292100" algn="l" defTabSz="779163" rtl="0" eaLnBrk="1" latinLnBrk="0" hangingPunct="1">
        <a:lnSpc>
          <a:spcPct val="110000"/>
        </a:lnSpc>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860425" indent="-223838" algn="l" defTabSz="779163" rtl="0" eaLnBrk="1" latinLnBrk="0" hangingPunct="1">
        <a:lnSpc>
          <a:spcPct val="110000"/>
        </a:lnSpc>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196975" indent="-276225" algn="l" defTabSz="779163" rtl="0" eaLnBrk="1" latinLnBrk="0" hangingPunct="1">
        <a:lnSpc>
          <a:spcPct val="110000"/>
        </a:lnSpc>
        <a:spcBef>
          <a:spcPts val="1200"/>
        </a:spcBef>
        <a:buClr>
          <a:schemeClr val="accent1"/>
        </a:buClr>
        <a:buSzPct val="130000"/>
        <a:buFont typeface="Arial" panose="020b0604020202020204" pitchFamily="34" charset="0"/>
        <a:buChar char="–"/>
        <a:defRPr sz="1600" kern="1200">
          <a:solidFill>
            <a:schemeClr val="tx1"/>
          </a:solidFill>
          <a:latin typeface="+mj-lt"/>
          <a:ea typeface="+mn-ea"/>
          <a:cs typeface="Times New Roman" pitchFamily="18" charset="0"/>
        </a:defRPr>
      </a:lvl4pPr>
      <a:lvl5pPr marL="1425575" indent="-223838" algn="l" defTabSz="646113" rtl="0" eaLnBrk="1" latinLnBrk="0" hangingPunct="1">
        <a:lnSpc>
          <a:spcPct val="110000"/>
        </a:lnSpc>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16">
          <p15:clr>
            <a:srgbClr val="F26B43"/>
          </p15:clr>
        </p15:guide>
        <p15:guide id="4" pos="5544">
          <p15:clr>
            <a:srgbClr val="F26B43"/>
          </p15:clr>
        </p15:guide>
        <p15:guide id="5" orient="horz" pos="725">
          <p15:clr>
            <a:srgbClr val="F26B43"/>
          </p15:clr>
        </p15:guide>
        <p15:guide id="6" orient="horz" pos="3078">
          <p15:clr>
            <a:srgbClr val="F26B43"/>
          </p15:clr>
        </p15:guide>
        <p15:guide id="7" orient="horz" pos="3001">
          <p15:clr>
            <a:srgbClr val="F26B43"/>
          </p15:clr>
        </p15:guide>
        <p15:guide id="10" orient="horz" pos="3200">
          <p15:clr>
            <a:srgbClr val="F26B43"/>
          </p15:clr>
        </p15:guide>
      </p15:sldGuideLst>
    </p:ext>
  </p:extLst>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2.jpe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28.xml" /></Relationships>
</file>

<file path=ppt/slides/_rels/slide2.xml.rels>&#65279;<?xml version="1.0" encoding="utf-8" standalone="yes"?><Relationships xmlns="http://schemas.openxmlformats.org/package/2006/relationships"><Relationship Id="rId1" Type="http://schemas.openxmlformats.org/officeDocument/2006/relationships/vmlDrawing" Target="../drawings/vmlDrawing23.vml" /><Relationship Id="rId2" Type="http://schemas.openxmlformats.org/officeDocument/2006/relationships/tags" Target="../tags/tag32.xml" /><Relationship Id="rId3" Type="http://schemas.openxmlformats.org/officeDocument/2006/relationships/slideLayout" Target="../slideLayouts/slideLayout7.xml" /><Relationship Id="rId5" Type="http://schemas.openxmlformats.org/officeDocument/2006/relationships/image" Target="../media/image1.emf" /><Relationship Id="rId6" Type="http://schemas.openxmlformats.org/officeDocument/2006/relationships/oleObject" Target="../embeddings/oleObject23.bin" TargetMode="Interna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chart" Target="../charts/chart1.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chart" Target="../charts/chart2.xml" /><Relationship Id="rId3" Type="http://schemas.openxmlformats.org/officeDocument/2006/relationships/chart" Target="../charts/chart3.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image" Target="../media/image3.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chart" Target="../charts/chart4.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8.xml" /><Relationship Id="rId2" Type="http://schemas.openxmlformats.org/officeDocument/2006/relationships/chart" Target="../charts/chart5.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8.xml" /></Relationships>
</file>

<file path=ppt/slides/slide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ctrTitle"/>
          </p:nvPr>
        </p:nvSpPr>
        <p:spPr>
          <a:xfrm>
            <a:off x="2557219" y="1600199"/>
            <a:ext cx="6244825" cy="1390651"/>
          </a:xfrm>
        </p:spPr>
        <p:txBody>
          <a:bodyPr/>
          <a:lstStyle/>
          <a:p>
            <a:r>
              <a:rPr lang="en-US" dirty="1" smtClean="0"/>
              <a:t>China Real Estate Credit : </a:t>
            </a:r>
            <a:br>
              <a:rPr lang="en-US" dirty="1" smtClean="0"/>
            </a:br>
            <a:r>
              <a:rPr lang="en-US" dirty="1" smtClean="0"/>
              <a:t>Situation Overview and Restructuring Challenges</a:t>
            </a:r>
            <a:endParaRPr lang="en-US"/>
          </a:p>
        </p:txBody>
      </p:sp>
      <p:sp>
        <p:nvSpPr>
          <p:cNvPr id="3" name="Text Placeholder 2"/>
          <p:cNvSpPr>
            <a:spLocks noGrp="1"/>
          </p:cNvSpPr>
          <p:nvPr>
            <p:ph type="body" sz="quarter" idx="17"/>
          </p:nvPr>
        </p:nvSpPr>
        <p:spPr>
          <a:xfrm>
            <a:off x="2557219" y="1123951"/>
            <a:ext cx="6244825" cy="400049"/>
          </a:xfrm>
        </p:spPr>
        <p:txBody>
          <a:bodyPr/>
          <a:lstStyle/>
          <a:p>
            <a:r>
              <a:rPr lang="en-US" dirty="1" smtClean="0"/>
              <a:t>Presentation to:</a:t>
            </a:r>
            <a:endParaRPr lang="en-US"/>
          </a:p>
        </p:txBody>
      </p:sp>
      <p:sp>
        <p:nvSpPr>
          <p:cNvPr id="4" name="Subtitle 3"/>
          <p:cNvSpPr>
            <a:spLocks noGrp="1"/>
          </p:cNvSpPr>
          <p:nvPr>
            <p:ph type="subTitle" idx="1"/>
          </p:nvPr>
        </p:nvSpPr>
        <p:spPr>
          <a:xfrm>
            <a:off x="2557219" y="3200399"/>
            <a:ext cx="6244825" cy="400051"/>
          </a:xfrm>
        </p:spPr>
        <p:txBody>
          <a:bodyPr/>
          <a:lstStyle/>
          <a:p>
            <a:r>
              <a:rPr lang="en-US" dirty="1"/>
              <a:t>September 7, 2022 – 22</a:t>
            </a:r>
            <a:r>
              <a:rPr lang="en-US" baseline="30000" dirty="1"/>
              <a:t>nd</a:t>
            </a:r>
            <a:r>
              <a:rPr lang="en-US" dirty="1"/>
              <a:t> Annual International Insolvency Conference: Impacts of Global Events on the International Insolvency </a:t>
            </a:r>
            <a:r>
              <a:rPr lang="en-US" dirty="1" smtClean="0"/>
              <a:t>Practice</a:t>
            </a:r>
            <a:endParaRPr lang="en-US"/>
          </a:p>
          <a:p>
            <a:endParaRPr lang="en-US" sz="1200"/>
          </a:p>
        </p:txBody>
      </p:sp>
      <p:sp>
        <p:nvSpPr>
          <p:cNvPr id="7" name="TextBox 6"/>
          <p:cNvSpPr txBox="1"/>
          <p:nvPr/>
        </p:nvSpPr>
        <p:spPr>
          <a:xfrm>
            <a:off x="9271596" y="3231"/>
            <a:ext cx="1796897" cy="723275"/>
          </a:xfrm>
          <a:prstGeom prst="rect"/>
          <a:noFill/>
          <a:ln>
            <a:solidFill>
              <a:srgbClr val="CC0099"/>
            </a:solidFill>
          </a:ln>
        </p:spPr>
        <p:txBody>
          <a:bodyPr wrap="square" lIns="91440" tIns="91440" rIns="91440" bIns="91440" rtlCol="0" anchor="ctr" anchorCtr="1">
            <a:spAutoFit/>
          </a:bodyPr>
          <a:lstStyle/>
          <a:p>
            <a:pPr>
              <a:lnSpc>
                <a:spcPts val="1400"/>
              </a:lnSpc>
            </a:pPr>
            <a:r>
              <a:rPr lang="en-US" sz="800" b="1" kern="500" dirty="1">
                <a:solidFill>
                  <a:srgbClr val="CC0099"/>
                </a:solidFill>
                <a:latin typeface="Arial" panose="020b0604020202020204" pitchFamily="34" charset="0"/>
                <a:cs typeface="Arial" panose="020b0604020202020204" pitchFamily="34" charset="0"/>
              </a:rPr>
              <a:t>Note: </a:t>
            </a:r>
            <a:r>
              <a:rPr lang="en-US" sz="800" kern="500" dirty="1">
                <a:solidFill>
                  <a:srgbClr val="CC0099"/>
                </a:solidFill>
                <a:latin typeface="Arial" panose="020b0604020202020204" pitchFamily="34" charset="0"/>
                <a:cs typeface="Arial" panose="020b0604020202020204" pitchFamily="34" charset="0"/>
              </a:rPr>
              <a:t>Approved cover photo images are available for download at </a:t>
            </a:r>
            <a:r>
              <a:rPr lang="en-US" sz="800" kern="500" dirty="1">
                <a:solidFill>
                  <a:srgbClr val="CC0099"/>
                </a:solidFill>
                <a:latin typeface="Arial" panose="020b0604020202020204" pitchFamily="34" charset="0"/>
                <a:cs typeface="Arial" panose="020b0604020202020204" pitchFamily="34" charset="0"/>
              </a:rPr>
              <a:t>dam.kirkland.com</a:t>
            </a:r>
            <a:r>
              <a:rPr lang="en-US" sz="800" kern="500" dirty="1">
                <a:solidFill>
                  <a:srgbClr val="CC0099"/>
                </a:solidFill>
                <a:latin typeface="Arial" panose="020b0604020202020204" pitchFamily="34" charset="0"/>
                <a:cs typeface="Arial" panose="020b0604020202020204" pitchFamily="34" charset="0"/>
              </a:rPr>
              <a:t>.</a:t>
            </a:r>
            <a:endParaRPr lang="en-US" sz="800" kern="500" smtClean="0">
              <a:solidFill>
                <a:srgbClr val="CC0099"/>
              </a:solidFill>
              <a:latin typeface="Arial" panose="020b0604020202020204" pitchFamily="34" charset="0"/>
              <a:cs typeface="Arial" panose="020b0604020202020204" pitchFamily="34" charset="0"/>
            </a:endParaRPr>
          </a:p>
        </p:txBody>
      </p:sp>
      <p:pic>
        <p:nvPicPr>
          <p:cNvPr id="8" name="Picture Placeholder 2"/>
          <p:cNvPicPr>
            <a:picLocks noGrp="1" noChangeAspect="1"/>
          </p:cNvPicPr>
          <p:nvPr>
            <p:ph type="pic" sz="quarter" idx="19"/>
          </p:nvPr>
        </p:nvPicPr>
        <p:blipFill>
          <a:blip r:embed="rId2"/>
          <a:srcRect l="1354" r="1354"/>
          <a:stretch>
            <a:fillRect/>
          </a:stretch>
        </p:blipFill>
        <p:spPr/>
      </p:pic>
    </p:spTree>
    <p:extLst>
      <p:ext uri="{BB962C8B-B14F-4D97-AF65-F5344CB8AC3E}">
        <p14:creationId xmlns:p14="http://schemas.microsoft.com/office/powerpoint/2010/main" val="16651960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a:t>
            </a:r>
            <a:r>
              <a:rPr lang="en-US" dirty="1" smtClean="0"/>
              <a:t>Caused the Crisis (cont’d) </a:t>
            </a:r>
            <a:endParaRPr lang="en-US"/>
          </a:p>
        </p:txBody>
      </p:sp>
      <p:sp>
        <p:nvSpPr>
          <p:cNvPr id="3" name="Content Placeholder 2"/>
          <p:cNvSpPr>
            <a:spLocks noGrp="1"/>
          </p:cNvSpPr>
          <p:nvPr>
            <p:ph idx="1"/>
          </p:nvPr>
        </p:nvSpPr>
        <p:spPr/>
        <p:txBody>
          <a:bodyPr/>
          <a:lstStyle/>
          <a:p>
            <a:r>
              <a:rPr lang="en-US" sz="1800" dirty="1"/>
              <a:t>COVID policies imposed by government </a:t>
            </a:r>
          </a:p>
          <a:p>
            <a:pPr lvl="1"/>
            <a:r>
              <a:rPr lang="en-US" sz="1800" dirty="1"/>
              <a:t>Negative impact on the </a:t>
            </a:r>
            <a:r>
              <a:rPr lang="en-US" sz="1800" dirty="1" smtClean="0"/>
              <a:t>sales</a:t>
            </a:r>
          </a:p>
          <a:p>
            <a:r>
              <a:rPr lang="en-US" sz="1800" dirty="1"/>
              <a:t>Pre-sales</a:t>
            </a:r>
          </a:p>
          <a:p>
            <a:pPr lvl="1"/>
            <a:r>
              <a:rPr lang="en-US" sz="1800" dirty="1"/>
              <a:t>Most properties are pre-sold; the proceeds are/should be used to finish the </a:t>
            </a:r>
            <a:r>
              <a:rPr lang="en-US" sz="1800" dirty="1" smtClean="0"/>
              <a:t>project</a:t>
            </a:r>
          </a:p>
          <a:p>
            <a:r>
              <a:rPr lang="en-US" sz="1800" dirty="1" smtClean="0"/>
              <a:t>High-yield </a:t>
            </a:r>
            <a:r>
              <a:rPr lang="en-US" sz="1800" dirty="1"/>
              <a:t>b</a:t>
            </a:r>
            <a:r>
              <a:rPr lang="en-US" sz="1800" dirty="1" smtClean="0"/>
              <a:t>onds </a:t>
            </a:r>
            <a:r>
              <a:rPr lang="en-US" sz="1800" dirty="1"/>
              <a:t>– require refinancing as cash flows insufficient</a:t>
            </a:r>
          </a:p>
          <a:p>
            <a:pPr lvl="1"/>
            <a:endParaRPr lang="en-US" smtClean="0"/>
          </a:p>
        </p:txBody>
      </p:sp>
    </p:spTree>
    <p:extLst>
      <p:ext uri="{BB962C8B-B14F-4D97-AF65-F5344CB8AC3E}">
        <p14:creationId xmlns:p14="http://schemas.microsoft.com/office/powerpoint/2010/main" val="20458888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a:t>
            </a:r>
            <a:r>
              <a:rPr lang="en-US" dirty="1" smtClean="0"/>
              <a:t>Caused </a:t>
            </a:r>
            <a:r>
              <a:rPr lang="en-US" dirty="1"/>
              <a:t>the Crisis </a:t>
            </a:r>
            <a:r>
              <a:rPr lang="en-US" dirty="1" smtClean="0"/>
              <a:t>(cont’d) </a:t>
            </a:r>
            <a:endParaRPr lang="en-US"/>
          </a:p>
        </p:txBody>
      </p:sp>
      <p:sp>
        <p:nvSpPr>
          <p:cNvPr id="3" name="Content Placeholder 2"/>
          <p:cNvSpPr>
            <a:spLocks noGrp="1"/>
          </p:cNvSpPr>
          <p:nvPr>
            <p:ph idx="1"/>
          </p:nvPr>
        </p:nvSpPr>
        <p:spPr/>
        <p:txBody>
          <a:bodyPr/>
          <a:lstStyle/>
          <a:p>
            <a:r>
              <a:rPr lang="en-US" dirty="1" smtClean="0"/>
              <a:t>Death spiral</a:t>
            </a:r>
          </a:p>
          <a:p>
            <a:pPr lvl="1"/>
            <a:r>
              <a:rPr lang="en-US" dirty="1"/>
              <a:t>L</a:t>
            </a:r>
            <a:r>
              <a:rPr lang="en-US" dirty="1" smtClean="0"/>
              <a:t>ack </a:t>
            </a:r>
            <a:r>
              <a:rPr lang="en-US" dirty="1"/>
              <a:t>of refinancing impacts </a:t>
            </a:r>
            <a:r>
              <a:rPr lang="en-US" dirty="1" smtClean="0"/>
              <a:t>project completion</a:t>
            </a:r>
          </a:p>
          <a:p>
            <a:pPr lvl="1"/>
            <a:r>
              <a:rPr lang="en-US" dirty="1"/>
              <a:t>F</a:t>
            </a:r>
            <a:r>
              <a:rPr lang="en-US" dirty="1" smtClean="0"/>
              <a:t>urther impact on sales</a:t>
            </a:r>
          </a:p>
          <a:p>
            <a:pPr lvl="1"/>
            <a:r>
              <a:rPr lang="en-US" dirty="1" smtClean="0"/>
              <a:t>Offshore capital markets closed</a:t>
            </a:r>
            <a:endParaRPr lang="en-US"/>
          </a:p>
        </p:txBody>
      </p:sp>
    </p:spTree>
    <p:extLst>
      <p:ext uri="{BB962C8B-B14F-4D97-AF65-F5344CB8AC3E}">
        <p14:creationId xmlns:p14="http://schemas.microsoft.com/office/powerpoint/2010/main" val="3314438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Government </a:t>
            </a:r>
            <a:r>
              <a:rPr lang="en-US" dirty="1" smtClean="0"/>
              <a:t>response</a:t>
            </a:r>
            <a:endParaRPr lang="en-US"/>
          </a:p>
        </p:txBody>
      </p:sp>
      <p:sp>
        <p:nvSpPr>
          <p:cNvPr id="3" name="Content Placeholder 2"/>
          <p:cNvSpPr>
            <a:spLocks noGrp="1"/>
          </p:cNvSpPr>
          <p:nvPr>
            <p:ph idx="1"/>
          </p:nvPr>
        </p:nvSpPr>
        <p:spPr/>
        <p:txBody>
          <a:bodyPr/>
          <a:lstStyle/>
          <a:p>
            <a:r>
              <a:rPr lang="en-US" dirty="1"/>
              <a:t>Top priority - social stability </a:t>
            </a:r>
            <a:endParaRPr lang="en-US" smtClean="0"/>
          </a:p>
          <a:p>
            <a:pPr lvl="1"/>
            <a:r>
              <a:rPr lang="en-US" dirty="1"/>
              <a:t>E</a:t>
            </a:r>
            <a:r>
              <a:rPr lang="en-US" dirty="1" smtClean="0"/>
              <a:t>nsuring </a:t>
            </a:r>
            <a:r>
              <a:rPr lang="en-US" dirty="1"/>
              <a:t>projects are finished and </a:t>
            </a:r>
            <a:r>
              <a:rPr lang="en-US" dirty="1" smtClean="0"/>
              <a:t>delivered</a:t>
            </a:r>
          </a:p>
          <a:p>
            <a:pPr lvl="1"/>
            <a:r>
              <a:rPr lang="en-US" dirty="1" smtClean="0"/>
              <a:t>Ensuring pre-sale proceeds are only used </a:t>
            </a:r>
            <a:r>
              <a:rPr lang="en-US" dirty="1"/>
              <a:t>to finish </a:t>
            </a:r>
            <a:r>
              <a:rPr lang="en-US" dirty="1" smtClean="0"/>
              <a:t>projects</a:t>
            </a:r>
            <a:endParaRPr lang="en-US"/>
          </a:p>
          <a:p>
            <a:r>
              <a:rPr lang="en-US" dirty="1"/>
              <a:t>Government’s response </a:t>
            </a:r>
            <a:r>
              <a:rPr lang="en-US" dirty="1" smtClean="0"/>
              <a:t>has been limited</a:t>
            </a:r>
          </a:p>
          <a:p>
            <a:pPr lvl="1"/>
            <a:r>
              <a:rPr lang="en-US" dirty="1" smtClean="0"/>
              <a:t>Designated funds at local and central level to ensure projects are finished and delivered</a:t>
            </a:r>
          </a:p>
          <a:p>
            <a:pPr lvl="1"/>
            <a:r>
              <a:rPr lang="en-US" dirty="1" smtClean="0"/>
              <a:t>Lower mortgage rates to stimulate purchases</a:t>
            </a:r>
          </a:p>
          <a:p>
            <a:pPr lvl="1"/>
            <a:endParaRPr lang="en-US">
              <a:solidFill>
                <a:srgbClr val="FF0000"/>
              </a:solidFill>
            </a:endParaRPr>
          </a:p>
          <a:p>
            <a:endParaRPr lang="en-US"/>
          </a:p>
        </p:txBody>
      </p:sp>
    </p:spTree>
    <p:extLst>
      <p:ext uri="{BB962C8B-B14F-4D97-AF65-F5344CB8AC3E}">
        <p14:creationId xmlns:p14="http://schemas.microsoft.com/office/powerpoint/2010/main" val="16058186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Restructuring </a:t>
            </a:r>
            <a:r>
              <a:rPr lang="en-US" dirty="1" smtClean="0"/>
              <a:t>challenges</a:t>
            </a:r>
            <a:endParaRPr lang="en-US"/>
          </a:p>
        </p:txBody>
      </p:sp>
      <p:sp>
        <p:nvSpPr>
          <p:cNvPr id="3" name="Content Placeholder 2"/>
          <p:cNvSpPr>
            <a:spLocks noGrp="1"/>
          </p:cNvSpPr>
          <p:nvPr>
            <p:ph idx="1"/>
          </p:nvPr>
        </p:nvSpPr>
        <p:spPr/>
        <p:txBody>
          <a:bodyPr/>
          <a:lstStyle/>
          <a:p>
            <a:r>
              <a:rPr lang="en-US" dirty="1"/>
              <a:t>Most offshore bonds are structurally subordinated to secured and unsecured onshore </a:t>
            </a:r>
            <a:r>
              <a:rPr lang="en-US" dirty="1" smtClean="0"/>
              <a:t>debt</a:t>
            </a:r>
            <a:endParaRPr lang="en-US"/>
          </a:p>
          <a:p>
            <a:r>
              <a:rPr lang="en-US" dirty="1" smtClean="0"/>
              <a:t>Often </a:t>
            </a:r>
            <a:r>
              <a:rPr lang="en-US" dirty="1"/>
              <a:t>the amount of onshore debt dwarfs the amount of </a:t>
            </a:r>
            <a:r>
              <a:rPr lang="en-US" dirty="1" smtClean="0"/>
              <a:t>offshore debt</a:t>
            </a:r>
          </a:p>
          <a:p>
            <a:pPr marL="692150" lvl="1" indent="-342900"/>
            <a:r>
              <a:rPr lang="en-US" dirty="1"/>
              <a:t>	</a:t>
            </a:r>
            <a:r>
              <a:rPr lang="en-US" dirty="1" smtClean="0"/>
              <a:t>In Evergrande, the total borrowings are approximately US$80 billion and the offshore bonds are </a:t>
            </a:r>
            <a:r>
              <a:rPr lang="en-US" dirty="1"/>
              <a:t>approximately</a:t>
            </a:r>
            <a:r>
              <a:rPr lang="en-US" dirty="1" smtClean="0"/>
              <a:t> US$20 billion</a:t>
            </a:r>
          </a:p>
          <a:p>
            <a:r>
              <a:rPr lang="en-US" dirty="1" smtClean="0"/>
              <a:t>Weakness </a:t>
            </a:r>
            <a:r>
              <a:rPr lang="en-US" dirty="1"/>
              <a:t>of corporate governance and internal accounting systems exposed </a:t>
            </a:r>
          </a:p>
        </p:txBody>
      </p:sp>
    </p:spTree>
    <p:extLst>
      <p:ext uri="{BB962C8B-B14F-4D97-AF65-F5344CB8AC3E}">
        <p14:creationId xmlns:p14="http://schemas.microsoft.com/office/powerpoint/2010/main" val="19286790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Restructuring </a:t>
            </a:r>
            <a:r>
              <a:rPr lang="en-US" dirty="1" smtClean="0"/>
              <a:t>challenges (cont’d)</a:t>
            </a:r>
            <a:endParaRPr lang="en-US"/>
          </a:p>
        </p:txBody>
      </p:sp>
      <p:sp>
        <p:nvSpPr>
          <p:cNvPr id="3" name="Content Placeholder 2"/>
          <p:cNvSpPr>
            <a:spLocks noGrp="1"/>
          </p:cNvSpPr>
          <p:nvPr>
            <p:ph idx="1"/>
          </p:nvPr>
        </p:nvSpPr>
        <p:spPr/>
        <p:txBody>
          <a:bodyPr/>
          <a:lstStyle/>
          <a:p>
            <a:r>
              <a:rPr lang="en-US" dirty="1" smtClean="0"/>
              <a:t>Challenges </a:t>
            </a:r>
            <a:r>
              <a:rPr lang="en-US" dirty="1"/>
              <a:t>of enforcement in </a:t>
            </a:r>
            <a:r>
              <a:rPr lang="en-US" dirty="1" smtClean="0"/>
              <a:t>China</a:t>
            </a:r>
          </a:p>
          <a:p>
            <a:pPr lvl="1"/>
            <a:r>
              <a:rPr lang="en-US" dirty="1" smtClean="0"/>
              <a:t>time/costs/lack </a:t>
            </a:r>
            <a:r>
              <a:rPr lang="en-US" dirty="1"/>
              <a:t>of </a:t>
            </a:r>
            <a:r>
              <a:rPr lang="en-US" dirty="1" smtClean="0"/>
              <a:t>precedent</a:t>
            </a:r>
          </a:p>
          <a:p>
            <a:pPr lvl="1"/>
            <a:r>
              <a:rPr lang="en-US" dirty="1" smtClean="0"/>
              <a:t>uncertain legal status of some claims (i.e. keepwell agreements)</a:t>
            </a:r>
          </a:p>
          <a:p>
            <a:pPr lvl="1"/>
            <a:r>
              <a:rPr lang="en-US" dirty="1" smtClean="0"/>
              <a:t>Role of local governments in protecting local companies</a:t>
            </a:r>
            <a:endParaRPr lang="en-US"/>
          </a:p>
        </p:txBody>
      </p:sp>
    </p:spTree>
    <p:extLst>
      <p:ext uri="{BB962C8B-B14F-4D97-AF65-F5344CB8AC3E}">
        <p14:creationId xmlns:p14="http://schemas.microsoft.com/office/powerpoint/2010/main" val="22573405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Outlook</a:t>
            </a:r>
          </a:p>
        </p:txBody>
      </p:sp>
      <p:sp>
        <p:nvSpPr>
          <p:cNvPr id="3" name="Content Placeholder 2"/>
          <p:cNvSpPr>
            <a:spLocks noGrp="1"/>
          </p:cNvSpPr>
          <p:nvPr>
            <p:ph idx="1"/>
          </p:nvPr>
        </p:nvSpPr>
        <p:spPr/>
        <p:txBody>
          <a:bodyPr/>
          <a:lstStyle/>
          <a:p>
            <a:r>
              <a:rPr lang="en-US" dirty="1"/>
              <a:t>O</a:t>
            </a:r>
            <a:r>
              <a:rPr lang="en-US" dirty="1" smtClean="0"/>
              <a:t>perating </a:t>
            </a:r>
            <a:r>
              <a:rPr lang="en-US" dirty="1"/>
              <a:t>environment remains very challenging and conditions need to affirmatively improve for many companies to survive</a:t>
            </a:r>
          </a:p>
          <a:p>
            <a:r>
              <a:rPr lang="en-US" dirty="1"/>
              <a:t>G</a:t>
            </a:r>
            <a:r>
              <a:rPr lang="en-US" dirty="1" smtClean="0"/>
              <a:t>overnment </a:t>
            </a:r>
            <a:r>
              <a:rPr lang="en-US" dirty="1"/>
              <a:t>policies are inadequate and primarily designed to ensure projects are completed (repayment of foreign creditors is not high on the </a:t>
            </a:r>
            <a:r>
              <a:rPr lang="en-US" dirty="1" smtClean="0"/>
              <a:t>list of priorities) </a:t>
            </a:r>
            <a:endParaRPr lang="en-US"/>
          </a:p>
          <a:p>
            <a:r>
              <a:rPr lang="en-US" dirty="1"/>
              <a:t>L</a:t>
            </a:r>
            <a:r>
              <a:rPr lang="en-US" dirty="1" smtClean="0"/>
              <a:t>ong </a:t>
            </a:r>
            <a:r>
              <a:rPr lang="en-US" dirty="1"/>
              <a:t>extensions provide some hope of better recoveries, which may be preferable to </a:t>
            </a:r>
            <a:r>
              <a:rPr lang="en-US" dirty="1" smtClean="0"/>
              <a:t>significant write-offs now</a:t>
            </a:r>
            <a:endParaRPr lang="en-US"/>
          </a:p>
          <a:p>
            <a:endParaRPr lang="en-US"/>
          </a:p>
        </p:txBody>
      </p:sp>
    </p:spTree>
    <p:extLst>
      <p:ext uri="{BB962C8B-B14F-4D97-AF65-F5344CB8AC3E}">
        <p14:creationId xmlns:p14="http://schemas.microsoft.com/office/powerpoint/2010/main" val="38125152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41366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1025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38">
                  <p:embed/>
                </p:oleObj>
              </mc:Choice>
              <mc:Fallback>
                <p:oleObj name="think-cell Slide" progId="TCLayout.ActiveDocument.1" r:id="rId6" spid="_x0000_s1038">
                  <p:embed/>
                  <p:pic>
                    <p:nvPicPr>
                      <p:cNvPr id="0" name="OLE substitute image"/>
                      <p:cNvPicPr/>
                      <p:nvPr/>
                    </p:nvPicPr>
                    <p:blipFill>
                      <a:blip r:embed="rId5"/>
                      <a:srcRect/>
                      <a:stretch>
                        <a:fillRect/>
                      </a:stretch>
                    </p:blipFill>
                    <p:spPr>
                      <a:xfrm>
                        <a:off x="1588" y="1588"/>
                        <a:ext cx="1588" cy="1588"/>
                      </a:xfrm>
                      <a:prstGeom prst="rect"/>
                    </p:spPr>
                  </p:pic>
                </p:oleObj>
              </mc:Fallback>
            </mc:AlternateContent>
          </a:graphicData>
        </a:graphic>
      </p:graphicFrame>
      <p:sp>
        <p:nvSpPr>
          <p:cNvPr id="2" name="Title 1"/>
          <p:cNvSpPr>
            <a:spLocks noGrp="1"/>
          </p:cNvSpPr>
          <p:nvPr>
            <p:ph type="title"/>
          </p:nvPr>
        </p:nvSpPr>
        <p:spPr/>
        <p:txBody>
          <a:bodyPr/>
          <a:lstStyle/>
          <a:p>
            <a:r>
              <a:rPr lang="en-US" dirty="1" smtClean="0"/>
              <a:t>Agenda</a:t>
            </a:r>
            <a:endParaRPr lang="en-US"/>
          </a:p>
        </p:txBody>
      </p:sp>
      <p:sp>
        <p:nvSpPr>
          <p:cNvPr id="3" name="Content Placeholder 2"/>
          <p:cNvSpPr>
            <a:spLocks noGrp="1"/>
          </p:cNvSpPr>
          <p:nvPr>
            <p:ph idx="1"/>
          </p:nvPr>
        </p:nvSpPr>
        <p:spPr/>
        <p:txBody>
          <a:bodyPr/>
          <a:lstStyle/>
          <a:p>
            <a:r>
              <a:rPr lang="en-US" dirty="1"/>
              <a:t>What </a:t>
            </a:r>
            <a:r>
              <a:rPr lang="en-US" dirty="1" smtClean="0"/>
              <a:t>Happened </a:t>
            </a:r>
          </a:p>
          <a:p>
            <a:r>
              <a:rPr lang="en-US" dirty="1"/>
              <a:t>What </a:t>
            </a:r>
            <a:r>
              <a:rPr lang="en-US" dirty="1" smtClean="0"/>
              <a:t>Caused </a:t>
            </a:r>
            <a:r>
              <a:rPr lang="en-US" dirty="1"/>
              <a:t>t</a:t>
            </a:r>
            <a:r>
              <a:rPr lang="en-US" dirty="1" smtClean="0"/>
              <a:t>he Crisis</a:t>
            </a:r>
          </a:p>
          <a:p>
            <a:r>
              <a:rPr lang="en-US" dirty="1" smtClean="0"/>
              <a:t>Chinese Government Response</a:t>
            </a:r>
            <a:endParaRPr lang="en-US"/>
          </a:p>
          <a:p>
            <a:r>
              <a:rPr lang="en-US" dirty="1"/>
              <a:t>Restructuring </a:t>
            </a:r>
            <a:r>
              <a:rPr lang="en-US" dirty="1" smtClean="0"/>
              <a:t>Challenges</a:t>
            </a:r>
          </a:p>
          <a:p>
            <a:r>
              <a:rPr lang="en-US" dirty="1"/>
              <a:t>Outlook</a:t>
            </a:r>
          </a:p>
        </p:txBody>
      </p:sp>
    </p:spTree>
    <p:extLst>
      <p:ext uri="{BB962C8B-B14F-4D97-AF65-F5344CB8AC3E}">
        <p14:creationId xmlns:p14="http://schemas.microsoft.com/office/powerpoint/2010/main" val="2635428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a:t>
            </a:r>
            <a:r>
              <a:rPr lang="en-US" dirty="1" smtClean="0"/>
              <a:t>happened</a:t>
            </a:r>
            <a:endParaRPr lang="en-US"/>
          </a:p>
        </p:txBody>
      </p:sp>
      <p:sp>
        <p:nvSpPr>
          <p:cNvPr id="3" name="Content Placeholder 2"/>
          <p:cNvSpPr>
            <a:spLocks noGrp="1"/>
          </p:cNvSpPr>
          <p:nvPr>
            <p:ph idx="1"/>
          </p:nvPr>
        </p:nvSpPr>
        <p:spPr/>
        <p:txBody>
          <a:bodyPr/>
          <a:lstStyle/>
          <a:p>
            <a:pPr marL="0" indent="0">
              <a:buNone/>
            </a:pPr>
            <a:r>
              <a:rPr lang="en-US" dirty="1"/>
              <a:t>Markit iBoxx China Real Estate USD High Yield Total Return Index</a:t>
            </a:r>
          </a:p>
          <a:p>
            <a:pPr marL="0" indent="0">
              <a:buNone/>
            </a:pPr>
            <a:endParaRPr lang="en-US"/>
          </a:p>
        </p:txBody>
      </p:sp>
      <p:graphicFrame>
        <p:nvGraphicFramePr>
          <p:cNvPr id="4" name="Chart 3"/>
          <p:cNvGraphicFramePr/>
          <p:nvPr>
            <p:extLst>
              <p:ext uri="{D42A27DB-BD31-4B8C-83A1-F6EECF244321}">
                <p14:modId xmlns:p14="http://schemas.microsoft.com/office/powerpoint/2010/main" val="2523044801"/>
              </p:ext>
            </p:extLst>
          </p:nvPr>
        </p:nvGraphicFramePr>
        <p:xfrm>
          <a:off x="218123" y="1751798"/>
          <a:ext cx="9439275" cy="42717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465435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happened (cont’d)</a:t>
            </a:r>
            <a:endParaRPr lang="en-US" b="1"/>
          </a:p>
        </p:txBody>
      </p:sp>
      <p:sp>
        <p:nvSpPr>
          <p:cNvPr id="3" name="Content Placeholder 2"/>
          <p:cNvSpPr>
            <a:spLocks noGrp="1"/>
          </p:cNvSpPr>
          <p:nvPr>
            <p:ph idx="1"/>
          </p:nvPr>
        </p:nvSpPr>
        <p:spPr/>
        <p:txBody>
          <a:bodyPr/>
          <a:lstStyle/>
          <a:p>
            <a:pPr marL="0" indent="0">
              <a:buNone/>
            </a:pPr>
            <a:r>
              <a:rPr lang="en-US" dirty="1"/>
              <a:t>Distribution of </a:t>
            </a:r>
            <a:r>
              <a:rPr lang="en-US" dirty="1" smtClean="0"/>
              <a:t>China </a:t>
            </a:r>
            <a:r>
              <a:rPr lang="en-US" dirty="1"/>
              <a:t>Real </a:t>
            </a:r>
            <a:r>
              <a:rPr lang="en-US" dirty="1" smtClean="0"/>
              <a:t>Estate </a:t>
            </a:r>
            <a:r>
              <a:rPr lang="en-US" dirty="1"/>
              <a:t>High-yield Bonds Prices</a:t>
            </a:r>
          </a:p>
          <a:p>
            <a:endParaRPr lang="en-US">
              <a:solidFill>
                <a:srgbClr val="FF0000"/>
              </a:solidFill>
            </a:endParaRPr>
          </a:p>
        </p:txBody>
      </p:sp>
      <p:grpSp>
        <p:nvGrpSpPr>
          <p:cNvPr id="8" name="Group 7"/>
          <p:cNvGrpSpPr/>
          <p:nvPr/>
        </p:nvGrpSpPr>
        <p:grpSpPr>
          <a:xfrm>
            <a:off x="641210" y="1151907"/>
            <a:ext cx="7861577" cy="3510590"/>
            <a:chOff x="1152939" y="945223"/>
            <a:chExt cx="10137913" cy="5063474"/>
          </a:xfrm>
        </p:grpSpPr>
        <p:graphicFrame>
          <p:nvGraphicFramePr>
            <p:cNvPr id="9" name="Chart 8"/>
            <p:cNvGraphicFramePr/>
            <p:nvPr>
              <p:extLst>
                <p:ext uri="{D42A27DB-BD31-4B8C-83A1-F6EECF244321}">
                  <p14:modId xmlns:p14="http://schemas.microsoft.com/office/powerpoint/2010/main" val="585902966"/>
                </p:ext>
              </p:extLst>
            </p:nvPr>
          </p:nvGraphicFramePr>
          <p:xfrm>
            <a:off x="1152939" y="1834336"/>
            <a:ext cx="5341510" cy="41743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p:nvPr>
              <p:extLst>
                <p:ext uri="{D42A27DB-BD31-4B8C-83A1-F6EECF244321}">
                  <p14:modId xmlns:p14="http://schemas.microsoft.com/office/powerpoint/2010/main" val="1206169183"/>
                </p:ext>
              </p:extLst>
            </p:nvPr>
          </p:nvGraphicFramePr>
          <p:xfrm>
            <a:off x="5761161" y="1825636"/>
            <a:ext cx="5529691" cy="417436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2157575" y="945223"/>
              <a:ext cx="238220" cy="665879"/>
            </a:xfrm>
            <a:prstGeom prst="rect"/>
            <a:noFill/>
          </p:spPr>
          <p:txBody>
            <a:bodyPr wrap="none" rtlCol="0">
              <a:spAutoFit/>
            </a:bodyPr>
            <a:lstStyle/>
            <a:p>
              <a:pPr marL="0" marR="0" lvl="0" indent="0" defTabSz="914400" fontAlgn="auto" eaLnBrk="1" latinLnBrk="0" hangingPunct="1">
                <a:lnSpc>
                  <a:spcPct val="100000"/>
                </a:lnSpc>
                <a:spcBef>
                  <a:spcPct val="0"/>
                </a:spcBef>
                <a:spcAft>
                  <a:spcPct val="0"/>
                </a:spcAft>
                <a:buClrTx/>
                <a:buSzTx/>
                <a:buFontTx/>
                <a:buNone/>
                <a:defRPr/>
              </a:pPr>
              <a:endParaRPr kumimoji="0" lang="en-US" sz="2400" b="1" i="0" u="none" strike="noStrike" kern="0" cap="none" spc="0" normalizeH="0" baseline="0" noProof="0" smtClean="0">
                <a:ln>
                  <a:noFill/>
                </a:ln>
                <a:solidFill>
                  <a:prstClr val="black"/>
                </a:solidFill>
                <a:effectLst/>
                <a:uLnTx/>
                <a:uFillTx/>
                <a:latin typeface="Calibri" panose="020f0502020204030204"/>
              </a:endParaRPr>
            </a:p>
          </p:txBody>
        </p:sp>
      </p:grpSp>
      <p:sp>
        <p:nvSpPr>
          <p:cNvPr id="12" name="TextBox 11"/>
          <p:cNvSpPr txBox="1"/>
          <p:nvPr/>
        </p:nvSpPr>
        <p:spPr>
          <a:xfrm>
            <a:off x="641210" y="4656465"/>
            <a:ext cx="914400" cy="914400"/>
          </a:xfrm>
          <a:prstGeom prst="rect"/>
          <a:noFill/>
        </p:spPr>
        <p:txBody>
          <a:bodyPr wrap="none" rtlCol="0">
            <a:noAutofit/>
          </a:bodyPr>
          <a:lstStyle/>
          <a:p>
            <a:pPr marL="233363" indent="-233363">
              <a:buClr>
                <a:schemeClr val="tx2"/>
              </a:buClr>
              <a:buFont typeface="Wingdings" panose="05000000000000000000" pitchFamily="2" charset="2"/>
              <a:buChar char="§"/>
            </a:pPr>
            <a:r>
              <a:rPr lang="en-US" sz="900" dirty="1" smtClean="0"/>
              <a:t>Source:  Bloomberg Asia USD High Yield Index</a:t>
            </a:r>
            <a:endParaRPr lang="en-US" sz="900"/>
          </a:p>
        </p:txBody>
      </p:sp>
    </p:spTree>
    <p:extLst>
      <p:ext uri="{BB962C8B-B14F-4D97-AF65-F5344CB8AC3E}">
        <p14:creationId xmlns:p14="http://schemas.microsoft.com/office/powerpoint/2010/main" val="32923401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happened (cont’d)</a:t>
            </a:r>
            <a:endParaRPr lang="en-US" b="1"/>
          </a:p>
        </p:txBody>
      </p:sp>
      <p:pic>
        <p:nvPicPr>
          <p:cNvPr id="4" name="Content Placeholder 3"/>
          <p:cNvPicPr>
            <a:picLocks noGrp="1" noChangeAspect="1"/>
          </p:cNvPicPr>
          <p:nvPr>
            <p:ph idx="1"/>
          </p:nvPr>
        </p:nvPicPr>
        <p:blipFill>
          <a:blip r:embed="rId2"/>
          <a:srcRect/>
          <a:stretch>
            <a:fillRect/>
          </a:stretch>
        </p:blipFill>
        <p:spPr>
          <a:xfrm>
            <a:off x="1020497" y="778451"/>
            <a:ext cx="6334808" cy="4153380"/>
          </a:xfrm>
          <a:prstGeom prst="rect"/>
        </p:spPr>
      </p:pic>
      <p:sp>
        <p:nvSpPr>
          <p:cNvPr id="11" name="TextBox 10"/>
          <p:cNvSpPr txBox="1"/>
          <p:nvPr/>
        </p:nvSpPr>
        <p:spPr>
          <a:xfrm>
            <a:off x="1420270" y="1151907"/>
            <a:ext cx="184731" cy="461665"/>
          </a:xfrm>
          <a:prstGeom prst="rect"/>
          <a:noFill/>
        </p:spPr>
        <p:txBody>
          <a:bodyPr wrap="none" rtlCol="0">
            <a:spAutoFit/>
          </a:bodyPr>
          <a:lstStyle/>
          <a:p>
            <a:pPr marL="0" marR="0" lvl="0" indent="0" defTabSz="914400" fontAlgn="auto" eaLnBrk="1" latinLnBrk="0" hangingPunct="1">
              <a:lnSpc>
                <a:spcPct val="100000"/>
              </a:lnSpc>
              <a:spcBef>
                <a:spcPct val="0"/>
              </a:spcBef>
              <a:spcAft>
                <a:spcPct val="0"/>
              </a:spcAft>
              <a:buClrTx/>
              <a:buSzTx/>
              <a:buFontTx/>
              <a:buNone/>
              <a:defRPr/>
            </a:pPr>
            <a:endParaRPr kumimoji="0" lang="en-US" sz="2400" b="1" i="0" u="none" strike="noStrike" kern="0" cap="none" spc="0" normalizeH="0" baseline="0" noProof="0" smtClean="0">
              <a:ln>
                <a:noFill/>
              </a:ln>
              <a:solidFill>
                <a:prstClr val="black"/>
              </a:solidFill>
              <a:effectLst/>
              <a:uLnTx/>
              <a:uFillTx/>
              <a:latin typeface="Calibri" panose="020f0502020204030204"/>
            </a:endParaRPr>
          </a:p>
        </p:txBody>
      </p:sp>
      <p:sp>
        <p:nvSpPr>
          <p:cNvPr id="12" name="TextBox 11"/>
          <p:cNvSpPr txBox="1"/>
          <p:nvPr/>
        </p:nvSpPr>
        <p:spPr>
          <a:xfrm>
            <a:off x="641210" y="4656465"/>
            <a:ext cx="914400" cy="914400"/>
          </a:xfrm>
          <a:prstGeom prst="rect"/>
          <a:noFill/>
        </p:spPr>
        <p:txBody>
          <a:bodyPr wrap="none" rtlCol="0">
            <a:noAutofit/>
          </a:bodyPr>
          <a:lstStyle/>
          <a:p>
            <a:pPr marL="233363" indent="-233363">
              <a:buClr>
                <a:schemeClr val="tx2"/>
              </a:buClr>
              <a:buFont typeface="Wingdings" panose="05000000000000000000" pitchFamily="2" charset="2"/>
              <a:buChar char="§"/>
            </a:pPr>
            <a:endParaRPr lang="en-US" sz="900"/>
          </a:p>
        </p:txBody>
      </p:sp>
    </p:spTree>
    <p:extLst>
      <p:ext uri="{BB962C8B-B14F-4D97-AF65-F5344CB8AC3E}">
        <p14:creationId xmlns:p14="http://schemas.microsoft.com/office/powerpoint/2010/main" val="4243747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happened (cont’d)</a:t>
            </a:r>
            <a:endParaRPr lang="en-US" b="1"/>
          </a:p>
        </p:txBody>
      </p:sp>
      <p:sp>
        <p:nvSpPr>
          <p:cNvPr id="11" name="TextBox 10"/>
          <p:cNvSpPr txBox="1"/>
          <p:nvPr/>
        </p:nvSpPr>
        <p:spPr>
          <a:xfrm>
            <a:off x="1420270" y="1151907"/>
            <a:ext cx="184731" cy="461665"/>
          </a:xfrm>
          <a:prstGeom prst="rect"/>
          <a:noFill/>
        </p:spPr>
        <p:txBody>
          <a:bodyPr wrap="none" rtlCol="0">
            <a:spAutoFit/>
          </a:bodyPr>
          <a:lstStyle/>
          <a:p>
            <a:pPr marL="0" marR="0" lvl="0" indent="0" defTabSz="914400" fontAlgn="auto" eaLnBrk="1" latinLnBrk="0" hangingPunct="1">
              <a:lnSpc>
                <a:spcPct val="100000"/>
              </a:lnSpc>
              <a:spcBef>
                <a:spcPct val="0"/>
              </a:spcBef>
              <a:spcAft>
                <a:spcPct val="0"/>
              </a:spcAft>
              <a:buClrTx/>
              <a:buSzTx/>
              <a:buFontTx/>
              <a:buNone/>
              <a:defRPr/>
            </a:pPr>
            <a:endParaRPr kumimoji="0" lang="en-US" sz="2400" b="1" i="0" u="none" strike="noStrike" kern="0" cap="none" spc="0" normalizeH="0" baseline="0" noProof="0" smtClean="0">
              <a:ln>
                <a:noFill/>
              </a:ln>
              <a:solidFill>
                <a:prstClr val="black"/>
              </a:solidFill>
              <a:effectLst/>
              <a:uLnTx/>
              <a:uFillTx/>
              <a:latin typeface="Calibri" panose="020f0502020204030204"/>
            </a:endParaRPr>
          </a:p>
        </p:txBody>
      </p:sp>
      <p:sp>
        <p:nvSpPr>
          <p:cNvPr id="5" name="Content Placeholder 4"/>
          <p:cNvSpPr>
            <a:spLocks noGrp="1"/>
          </p:cNvSpPr>
          <p:nvPr>
            <p:ph idx="1"/>
          </p:nvPr>
        </p:nvSpPr>
        <p:spPr>
          <a:xfrm>
            <a:off x="342900" y="863601"/>
            <a:ext cx="8458199" cy="3900488"/>
          </a:xfrm>
        </p:spPr>
        <p:txBody>
          <a:bodyPr/>
          <a:lstStyle/>
          <a:p>
            <a:pPr marL="0" indent="0">
              <a:lnSpc>
                <a:spcPct val="100000"/>
              </a:lnSpc>
              <a:spcBef>
                <a:spcPct val="0"/>
              </a:spcBef>
              <a:buNone/>
            </a:pPr>
            <a:r>
              <a:rPr lang="en-US" sz="1200" b="1" dirty="1" smtClean="0"/>
              <a:t>As of the end of August 2022, China Real Estate is still </a:t>
            </a:r>
            <a:r>
              <a:rPr lang="en-US" sz="1200" b="1" dirty="1"/>
              <a:t>the largest segment within Asia </a:t>
            </a:r>
            <a:r>
              <a:rPr lang="en-US" sz="1200" b="1" dirty="1" smtClean="0"/>
              <a:t>high-yield bonds.</a:t>
            </a:r>
            <a:endParaRPr lang="en-US" sz="1200"/>
          </a:p>
          <a:p>
            <a:pPr marL="0" indent="0">
              <a:lnSpc>
                <a:spcPct val="100000"/>
              </a:lnSpc>
              <a:spcBef>
                <a:spcPct val="0"/>
              </a:spcBef>
              <a:buNone/>
            </a:pPr>
            <a:r>
              <a:rPr lang="en-US" sz="1400" dirty="1"/>
              <a:t>	</a:t>
            </a:r>
            <a:endParaRPr lang="en-US" sz="1400" smtClean="0"/>
          </a:p>
          <a:p>
            <a:pPr marL="0" indent="0">
              <a:lnSpc>
                <a:spcPct val="100000"/>
              </a:lnSpc>
              <a:spcBef>
                <a:spcPct val="0"/>
              </a:spcBef>
              <a:buNone/>
            </a:pPr>
            <a:endParaRPr lang="en-US" sz="1400"/>
          </a:p>
          <a:p>
            <a:pPr marL="0" indent="0">
              <a:lnSpc>
                <a:spcPct val="100000"/>
              </a:lnSpc>
              <a:spcBef>
                <a:spcPct val="0"/>
              </a:spcBef>
              <a:buNone/>
            </a:pPr>
            <a:endParaRPr lang="en-US" sz="1400" smtClean="0"/>
          </a:p>
          <a:p>
            <a:pPr marL="0" indent="0">
              <a:lnSpc>
                <a:spcPct val="100000"/>
              </a:lnSpc>
              <a:spcBef>
                <a:spcPct val="0"/>
              </a:spcBef>
              <a:buNone/>
            </a:pPr>
            <a:endParaRPr lang="en-US" sz="1400"/>
          </a:p>
          <a:p>
            <a:pPr marL="0" indent="0">
              <a:lnSpc>
                <a:spcPct val="100000"/>
              </a:lnSpc>
              <a:spcBef>
                <a:spcPct val="0"/>
              </a:spcBef>
              <a:buNone/>
            </a:pPr>
            <a:endParaRPr lang="en-US" sz="1400" smtClean="0"/>
          </a:p>
          <a:p>
            <a:pPr marL="0" indent="0">
              <a:lnSpc>
                <a:spcPct val="100000"/>
              </a:lnSpc>
              <a:spcBef>
                <a:spcPct val="0"/>
              </a:spcBef>
              <a:buNone/>
            </a:pPr>
            <a:endParaRPr lang="en-US" sz="1400"/>
          </a:p>
          <a:p>
            <a:pPr marL="0" indent="0">
              <a:lnSpc>
                <a:spcPct val="100000"/>
              </a:lnSpc>
              <a:spcBef>
                <a:spcPct val="0"/>
              </a:spcBef>
              <a:buNone/>
            </a:pPr>
            <a:endParaRPr lang="en-US" sz="1400" smtClean="0"/>
          </a:p>
          <a:p>
            <a:pPr marL="0" indent="0">
              <a:lnSpc>
                <a:spcPct val="100000"/>
              </a:lnSpc>
              <a:spcBef>
                <a:spcPct val="0"/>
              </a:spcBef>
              <a:buNone/>
            </a:pPr>
            <a:endParaRPr lang="en-US" sz="1400"/>
          </a:p>
          <a:p>
            <a:pPr marL="0" indent="0">
              <a:lnSpc>
                <a:spcPct val="100000"/>
              </a:lnSpc>
              <a:spcBef>
                <a:spcPct val="0"/>
              </a:spcBef>
              <a:buNone/>
            </a:pPr>
            <a:endParaRPr lang="en-US" sz="1400" smtClean="0"/>
          </a:p>
          <a:p>
            <a:pPr marL="0" indent="0">
              <a:lnSpc>
                <a:spcPct val="100000"/>
              </a:lnSpc>
              <a:spcBef>
                <a:spcPct val="0"/>
              </a:spcBef>
              <a:buNone/>
            </a:pPr>
            <a:endParaRPr lang="en-US" sz="1400"/>
          </a:p>
          <a:p>
            <a:pPr marL="0" indent="0">
              <a:lnSpc>
                <a:spcPct val="100000"/>
              </a:lnSpc>
              <a:spcBef>
                <a:spcPct val="0"/>
              </a:spcBef>
              <a:buNone/>
            </a:pPr>
            <a:endParaRPr lang="en-US" sz="1400" smtClean="0"/>
          </a:p>
          <a:p>
            <a:pPr marL="0" indent="0">
              <a:lnSpc>
                <a:spcPct val="100000"/>
              </a:lnSpc>
              <a:spcBef>
                <a:spcPct val="0"/>
              </a:spcBef>
              <a:buNone/>
            </a:pPr>
            <a:endParaRPr lang="en-US" sz="1400"/>
          </a:p>
          <a:p>
            <a:pPr marL="0" indent="0">
              <a:buNone/>
            </a:pPr>
            <a:endParaRPr lang="en-US" sz="1400" b="1" smtClean="0"/>
          </a:p>
          <a:p>
            <a:pPr marL="0" indent="0">
              <a:buNone/>
            </a:pPr>
            <a:endParaRPr lang="en-US" sz="1400" b="1"/>
          </a:p>
          <a:p>
            <a:pPr marL="0" indent="0">
              <a:spcBef>
                <a:spcPct val="0"/>
              </a:spcBef>
              <a:buNone/>
            </a:pPr>
            <a:r>
              <a:rPr lang="en-US" sz="900" dirty="1" smtClean="0"/>
              <a:t>Note: Based </a:t>
            </a:r>
            <a:r>
              <a:rPr lang="en-US" sz="900" dirty="1"/>
              <a:t>on </a:t>
            </a:r>
            <a:r>
              <a:rPr lang="en-US" sz="900" dirty="1" smtClean="0"/>
              <a:t>total </a:t>
            </a:r>
            <a:r>
              <a:rPr lang="en-US" sz="900" dirty="1"/>
              <a:t>notional </a:t>
            </a:r>
            <a:r>
              <a:rPr lang="en-US" sz="900" dirty="1" smtClean="0"/>
              <a:t>outstanding.  The figures above are derived from </a:t>
            </a:r>
            <a:r>
              <a:rPr lang="en-US" sz="900" dirty="1"/>
              <a:t> ICE-BAML Asian Dollar HY </a:t>
            </a:r>
            <a:r>
              <a:rPr lang="en-US" sz="900" dirty="1" smtClean="0"/>
              <a:t>Index and do not include high-yield bonds that are not in the </a:t>
            </a:r>
            <a:r>
              <a:rPr lang="en-US" sz="900" dirty="1"/>
              <a:t>ICE-BAML Asian Dollar HY </a:t>
            </a:r>
            <a:r>
              <a:rPr lang="en-US" sz="900" dirty="1" smtClean="0"/>
              <a:t>Index. </a:t>
            </a:r>
            <a:r>
              <a:rPr lang="en-US" sz="1400" dirty="1"/>
              <a:t>	</a:t>
            </a:r>
          </a:p>
          <a:p>
            <a:pPr marL="0" indent="0">
              <a:lnSpc>
                <a:spcPct val="100000"/>
              </a:lnSpc>
              <a:spcBef>
                <a:spcPct val="0"/>
              </a:spcBef>
              <a:buNone/>
            </a:pPr>
            <a:endParaRPr lang="en-US" sz="1400"/>
          </a:p>
          <a:p>
            <a:endParaRPr lang="en-US"/>
          </a:p>
        </p:txBody>
      </p:sp>
      <p:graphicFrame>
        <p:nvGraphicFramePr>
          <p:cNvPr id="8" name="Chart 7"/>
          <p:cNvGraphicFramePr/>
          <p:nvPr>
            <p:extLst>
              <p:ext uri="{D42A27DB-BD31-4B8C-83A1-F6EECF244321}">
                <p14:modId xmlns:p14="http://schemas.microsoft.com/office/powerpoint/2010/main" val="3870303758"/>
              </p:ext>
            </p:extLst>
          </p:nvPr>
        </p:nvGraphicFramePr>
        <p:xfrm>
          <a:off x="1631949" y="1281598"/>
          <a:ext cx="5880100" cy="3352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052839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happened (cont’d)</a:t>
            </a:r>
            <a:endParaRPr lang="en-US" b="1"/>
          </a:p>
        </p:txBody>
      </p:sp>
      <p:sp>
        <p:nvSpPr>
          <p:cNvPr id="11" name="TextBox 10"/>
          <p:cNvSpPr txBox="1"/>
          <p:nvPr/>
        </p:nvSpPr>
        <p:spPr>
          <a:xfrm>
            <a:off x="1420270" y="1151907"/>
            <a:ext cx="184731" cy="461665"/>
          </a:xfrm>
          <a:prstGeom prst="rect"/>
          <a:noFill/>
        </p:spPr>
        <p:txBody>
          <a:bodyPr wrap="none" rtlCol="0">
            <a:spAutoFit/>
          </a:bodyPr>
          <a:lstStyle/>
          <a:p>
            <a:pPr marL="0" marR="0" lvl="0" indent="0" defTabSz="914400" fontAlgn="auto" eaLnBrk="1" latinLnBrk="0" hangingPunct="1">
              <a:lnSpc>
                <a:spcPct val="100000"/>
              </a:lnSpc>
              <a:spcBef>
                <a:spcPct val="0"/>
              </a:spcBef>
              <a:spcAft>
                <a:spcPct val="0"/>
              </a:spcAft>
              <a:buClrTx/>
              <a:buSzTx/>
              <a:buFontTx/>
              <a:buNone/>
              <a:defRPr/>
            </a:pPr>
            <a:endParaRPr kumimoji="0" lang="en-US" sz="2400" b="1" i="0" u="none" strike="noStrike" kern="0" cap="none" spc="0" normalizeH="0" baseline="0" noProof="0" smtClean="0">
              <a:ln>
                <a:noFill/>
              </a:ln>
              <a:solidFill>
                <a:prstClr val="black"/>
              </a:solidFill>
              <a:effectLst/>
              <a:uLnTx/>
              <a:uFillTx/>
              <a:latin typeface="Calibri" panose="020f0502020204030204"/>
            </a:endParaRPr>
          </a:p>
        </p:txBody>
      </p:sp>
      <p:sp>
        <p:nvSpPr>
          <p:cNvPr id="5" name="Content Placeholder 4"/>
          <p:cNvSpPr>
            <a:spLocks noGrp="1"/>
          </p:cNvSpPr>
          <p:nvPr>
            <p:ph idx="1"/>
          </p:nvPr>
        </p:nvSpPr>
        <p:spPr>
          <a:xfrm>
            <a:off x="342900" y="945715"/>
            <a:ext cx="8458199" cy="3818373"/>
          </a:xfrm>
        </p:spPr>
        <p:txBody>
          <a:bodyPr/>
          <a:lstStyle/>
          <a:p>
            <a:pPr marL="0" indent="0">
              <a:buNone/>
            </a:pPr>
            <a:r>
              <a:rPr lang="en-US" sz="1400" b="1" dirty="1" smtClean="0"/>
              <a:t>Asia high-yield corporates - composition by sector as of December 2021</a:t>
            </a:r>
            <a:endParaRPr lang="en-US" sz="1400"/>
          </a:p>
        </p:txBody>
      </p:sp>
      <p:graphicFrame>
        <p:nvGraphicFramePr>
          <p:cNvPr id="8" name="Chart 7"/>
          <p:cNvGraphicFramePr/>
          <p:nvPr>
            <p:extLst>
              <p:ext uri="{D42A27DB-BD31-4B8C-83A1-F6EECF244321}">
                <p14:modId xmlns:p14="http://schemas.microsoft.com/office/powerpoint/2010/main" val="3176449961"/>
              </p:ext>
            </p:extLst>
          </p:nvPr>
        </p:nvGraphicFramePr>
        <p:xfrm>
          <a:off x="1847128" y="1382739"/>
          <a:ext cx="5018630" cy="3491397"/>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438409" y="4640893"/>
            <a:ext cx="2004165" cy="914400"/>
          </a:xfrm>
          <a:prstGeom prst="rect"/>
          <a:noFill/>
        </p:spPr>
        <p:txBody>
          <a:bodyPr wrap="none" rtlCol="0">
            <a:noAutofit/>
          </a:bodyPr>
          <a:lstStyle/>
          <a:p>
            <a:pPr marL="233363" indent="-233363">
              <a:buClr>
                <a:schemeClr val="tx2"/>
              </a:buClr>
              <a:buFont typeface="Wingdings" panose="05000000000000000000" pitchFamily="2" charset="2"/>
              <a:buChar char="§"/>
            </a:pPr>
            <a:r>
              <a:rPr lang="en-US" sz="900" dirty="1" smtClean="0"/>
              <a:t>Source: Bloomberg, Barclays Research </a:t>
            </a:r>
            <a:endParaRPr lang="en-US" sz="900"/>
          </a:p>
        </p:txBody>
      </p:sp>
    </p:spTree>
    <p:extLst>
      <p:ext uri="{BB962C8B-B14F-4D97-AF65-F5344CB8AC3E}">
        <p14:creationId xmlns:p14="http://schemas.microsoft.com/office/powerpoint/2010/main" val="40736399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a:t>
            </a:r>
            <a:r>
              <a:rPr lang="en-US" dirty="1" smtClean="0"/>
              <a:t>Caused the Crisis </a:t>
            </a:r>
            <a:endParaRPr lang="en-US"/>
          </a:p>
        </p:txBody>
      </p:sp>
      <p:sp>
        <p:nvSpPr>
          <p:cNvPr id="3" name="Content Placeholder 2"/>
          <p:cNvSpPr>
            <a:spLocks noGrp="1"/>
          </p:cNvSpPr>
          <p:nvPr>
            <p:ph idx="1"/>
          </p:nvPr>
        </p:nvSpPr>
        <p:spPr>
          <a:xfrm>
            <a:off x="342900" y="882399"/>
            <a:ext cx="8458199" cy="3612181"/>
          </a:xfrm>
        </p:spPr>
        <p:txBody>
          <a:bodyPr/>
          <a:lstStyle/>
          <a:p>
            <a:r>
              <a:rPr lang="en-US" sz="1800" dirty="1"/>
              <a:t>Long period of success/massive amount of debts racked up by developers, including offshore bonds </a:t>
            </a:r>
          </a:p>
          <a:p>
            <a:r>
              <a:rPr lang="en-US" sz="1800" dirty="1" smtClean="0"/>
              <a:t>Bond tenures increasingly short / </a:t>
            </a:r>
            <a:r>
              <a:rPr lang="en-US" sz="1800" dirty="1"/>
              <a:t>m</a:t>
            </a:r>
            <a:r>
              <a:rPr lang="en-US" sz="1800" dirty="1" smtClean="0"/>
              <a:t>aturity wall</a:t>
            </a:r>
          </a:p>
          <a:p>
            <a:r>
              <a:rPr lang="en-US" sz="1800" dirty="1"/>
              <a:t>Many developers had high leverage</a:t>
            </a:r>
          </a:p>
          <a:p>
            <a:r>
              <a:rPr lang="en-US" sz="1800" dirty="1" smtClean="0"/>
              <a:t>Onshore bank </a:t>
            </a:r>
            <a:r>
              <a:rPr lang="en-US" sz="1800" dirty="1"/>
              <a:t>lending </a:t>
            </a:r>
            <a:r>
              <a:rPr lang="en-US" sz="1800" dirty="1" smtClean="0"/>
              <a:t>constrained</a:t>
            </a:r>
          </a:p>
          <a:p>
            <a:endParaRPr lang="en-US" sz="1800"/>
          </a:p>
        </p:txBody>
      </p:sp>
    </p:spTree>
    <p:extLst>
      <p:ext uri="{BB962C8B-B14F-4D97-AF65-F5344CB8AC3E}">
        <p14:creationId xmlns:p14="http://schemas.microsoft.com/office/powerpoint/2010/main" val="1330283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1"/>
              <a:t>What </a:t>
            </a:r>
            <a:r>
              <a:rPr lang="en-US" dirty="1" smtClean="0"/>
              <a:t>Caused the Crisis </a:t>
            </a:r>
            <a:r>
              <a:rPr lang="en-US" dirty="1"/>
              <a:t>(cont’d)</a:t>
            </a:r>
          </a:p>
        </p:txBody>
      </p:sp>
      <p:sp>
        <p:nvSpPr>
          <p:cNvPr id="3" name="Content Placeholder 2"/>
          <p:cNvSpPr>
            <a:spLocks noGrp="1"/>
          </p:cNvSpPr>
          <p:nvPr>
            <p:ph idx="1"/>
          </p:nvPr>
        </p:nvSpPr>
        <p:spPr>
          <a:xfrm>
            <a:off x="342900" y="882399"/>
            <a:ext cx="8458199" cy="3612181"/>
          </a:xfrm>
        </p:spPr>
        <p:txBody>
          <a:bodyPr/>
          <a:lstStyle/>
          <a:p>
            <a:r>
              <a:rPr lang="en-US" sz="1800" dirty="1" smtClean="0"/>
              <a:t>Three </a:t>
            </a:r>
            <a:r>
              <a:rPr lang="en-US" sz="1800" dirty="1"/>
              <a:t>red lines imposed by </a:t>
            </a:r>
            <a:r>
              <a:rPr lang="en-US" sz="1800" dirty="1" smtClean="0"/>
              <a:t>Chinese government </a:t>
            </a:r>
            <a:r>
              <a:rPr lang="en-US" sz="1800" dirty="1"/>
              <a:t>in 2020 </a:t>
            </a:r>
          </a:p>
          <a:p>
            <a:pPr lvl="1"/>
            <a:r>
              <a:rPr lang="en-US" sz="1800" dirty="1"/>
              <a:t>Total l</a:t>
            </a:r>
            <a:r>
              <a:rPr lang="en-US" sz="1800" dirty="1" smtClean="0"/>
              <a:t>iabilities </a:t>
            </a:r>
            <a:r>
              <a:rPr lang="en-US" sz="1800" dirty="1"/>
              <a:t>/ Total </a:t>
            </a:r>
            <a:r>
              <a:rPr lang="en-US" sz="1800" dirty="1" smtClean="0"/>
              <a:t>asset </a:t>
            </a:r>
            <a:endParaRPr lang="en-US" sz="1800"/>
          </a:p>
          <a:p>
            <a:pPr lvl="1"/>
            <a:r>
              <a:rPr lang="en-US" sz="1800" dirty="1"/>
              <a:t>Net </a:t>
            </a:r>
            <a:r>
              <a:rPr lang="en-US" sz="1800" dirty="1" smtClean="0"/>
              <a:t>debt </a:t>
            </a:r>
            <a:r>
              <a:rPr lang="en-US" sz="1800" dirty="1"/>
              <a:t>/ Book v</a:t>
            </a:r>
            <a:r>
              <a:rPr lang="en-US" sz="1800" dirty="1" smtClean="0"/>
              <a:t>alue</a:t>
            </a:r>
            <a:endParaRPr lang="en-US" sz="1800"/>
          </a:p>
          <a:p>
            <a:pPr lvl="1"/>
            <a:r>
              <a:rPr lang="en-US" sz="1800" dirty="1"/>
              <a:t>Cash / Short </a:t>
            </a:r>
            <a:r>
              <a:rPr lang="en-US" sz="1800" dirty="1" smtClean="0"/>
              <a:t>term </a:t>
            </a:r>
            <a:r>
              <a:rPr lang="en-US" sz="1800" dirty="1"/>
              <a:t>d</a:t>
            </a:r>
            <a:r>
              <a:rPr lang="en-US" sz="1800" dirty="1" smtClean="0"/>
              <a:t>ebt</a:t>
            </a:r>
            <a:endParaRPr lang="en-US" sz="1800"/>
          </a:p>
          <a:p>
            <a:pPr lvl="1"/>
            <a:r>
              <a:rPr lang="en-US" sz="1800" dirty="1"/>
              <a:t>Difficult for many developers to scale back expansion and comply with </a:t>
            </a:r>
            <a:r>
              <a:rPr lang="en-US" sz="1800" dirty="1" smtClean="0"/>
              <a:t>three ratios</a:t>
            </a:r>
            <a:endParaRPr lang="en-US" sz="1800"/>
          </a:p>
          <a:p>
            <a:endParaRPr lang="en-US" sz="1800"/>
          </a:p>
        </p:txBody>
      </p:sp>
    </p:spTree>
    <p:extLst>
      <p:ext uri="{BB962C8B-B14F-4D97-AF65-F5344CB8AC3E}">
        <p14:creationId xmlns:p14="http://schemas.microsoft.com/office/powerpoint/2010/main" val="1111062272"/>
      </p:ext>
    </p:extLst>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JkoB4rh4wCNEdXOcgy0PQQ"/>
</p:tagLst>
</file>

<file path=ppt/tags/tag13.xml><?xml version="1.0" encoding="utf-8"?>
<p:tagLst xmlns:p="http://schemas.openxmlformats.org/presentationml/2006/main">
  <p:tag name="THINKCELLSHAPEDONOTDELETE" val="tnUOkgoUBoNGgD63lTA.ttg"/>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28JvB_dy.HJhwguedwIz0w"/>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l1TA1kCyi8y92l.GNXwweQ"/>
</p:tagLst>
</file>

<file path=ppt/tags/tag20.xml><?xml version="1.0" encoding="utf-8"?>
<p:tagLst xmlns:p="http://schemas.openxmlformats.org/presentationml/2006/main">
  <p:tag name="THINKCELLSHAPEDONOTDELETE" val="tv_DiOj1CxsjouYLVztTTxw"/>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MfL9ecFC_dwpbh4tVbJx6A"/>
</p:tagLst>
</file>

<file path=ppt/tags/tag23.xml><?xml version="1.0" encoding="utf-8"?>
<p:tagLst xmlns:p="http://schemas.openxmlformats.org/presentationml/2006/main">
  <p:tag name="THINKCELLSHAPEDONOTDELETE" val="tRHQnrJEPEaxAFW8I9G4u2Q"/>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0.B41HUL4_kyyOn.RnqAxw"/>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28JvB_dy.HJhwguedwIz0w"/>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nUOkgoUBoNGgD63lTA.ttg"/>
</p:tagLst>
</file>

<file path=ppt/tags/tag31.xml><?xml version="1.0" encoding="utf-8"?>
<p:tagLst xmlns:p="http://schemas.openxmlformats.org/presentationml/2006/main">
  <p:tag name="THINKCELLSHAPEDONOTDELETE" val="t4sxtJcqoIsal2jiT_1XZhA"/>
</p:tagLst>
</file>

<file path=ppt/tags/tag32.xml><?xml version="1.0" encoding="utf-8"?>
<p:tagLst xmlns:p="http://schemas.openxmlformats.org/presentationml/2006/main">
  <p:tag name="THINKCELLSHAPEDONOTDELETE" val="thinkcellActiveDocDoNotDelete"/>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HINKCELLSHAPEDONOTDELETE" val="thinkcellActiveDocDoNotDelete"/>
</p:tagLst>
</file>

<file path=ppt/tags/tag35.xml><?xml version="1.0" encoding="utf-8"?>
<p:tagLst xmlns:p="http://schemas.openxmlformats.org/presentationml/2006/main">
  <p:tag name="THINKCELLSHAPEDONOTDELETE" val="t0.B41HUL4_kyyOn.RnqAxw"/>
</p:tagLst>
</file>

<file path=ppt/tags/tag36.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ENGAGE" val="{&quot;SavedSwatch&quot;:&quot;-16748873|-8341960|-3468525|-2064878|-9539986|Markido&quot;,&quot;Id&quot;:&quot;5922f3133134371ab881c492&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98KEBmXMVq.6n73PhU9dkg"/>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v_DiOj1CxsjouYLVztTTxw"/>
</p:tagLst>
</file>

<file path=ppt/tags/tag43.xml><?xml version="1.0" encoding="utf-8"?>
<p:tagLst xmlns:p="http://schemas.openxmlformats.org/presentationml/2006/main">
  <p:tag name="THINKCELLSHAPEDONOTDELETE" val="tPJKS2m.495D_KKz9uWGEIA"/>
</p:tagLst>
</file>

<file path=ppt/tags/tag44.xml><?xml version="1.0" encoding="utf-8"?>
<p:tagLst xmlns:p="http://schemas.openxmlformats.org/presentationml/2006/main">
  <p:tag name="THINKCELLSHAPEDONOTDELETE" val="tzip22A0sk4bhLmSzqgMPuA"/>
</p:tagLst>
</file>

<file path=ppt/tags/tag45.xml><?xml version="1.0" encoding="utf-8"?>
<p:tagLst xmlns:p="http://schemas.openxmlformats.org/presentationml/2006/main">
  <p:tag name="THINKCELLSHAPEDONOTDELETE" val="t98KEBmXMVq.6n73PhU9dkg"/>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qgDJHlOJGot9pTtHOmMK6g"/>
</p:tagLst>
</file>

<file path=ppt/tags/tag7.xml><?xml version="1.0" encoding="utf-8"?>
<p:tagLst xmlns:p="http://schemas.openxmlformats.org/presentationml/2006/main">
  <p:tag name="THINKCELLSHAPEDONOTDELETE" val="tMfL9ecFC_dwpbh4tVbJx6A"/>
</p:tagLst>
</file>

<file path=ppt/tags/tag8.xml><?xml version="1.0" encoding="utf-8"?>
<p:tagLst xmlns:p="http://schemas.openxmlformats.org/presentationml/2006/main">
  <p:tag name="THINKCELLSHAPEDONOTDELETE" val="t0.B41HUL4_kyyOn.RnqAxw"/>
</p:tagLst>
</file>

<file path=ppt/tags/tag9.xml><?xml version="1.0" encoding="utf-8"?>
<p:tagLst xmlns:p="http://schemas.openxmlformats.org/presentationml/2006/main">
  <p:tag name="THINKCELLSHAPEDONOTDELETE" val="tMfL9ecFC_dwpbh4tVbJx6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prst="circ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prst="circ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ppt/theme/theme3.xml><?xml version="1.0" encoding="utf-8"?>
<a:theme xmlns:a="http://schemas.openxmlformats.org/drawingml/2006/main" name="US White Bkgd (16x9)">
  <a:themeElements>
    <a:clrScheme name="Kirkland Brand Palette (Light)">
      <a:dk1>
        <a:srgbClr val="1C1C1C"/>
      </a:dk1>
      <a:lt1>
        <a:srgbClr val="FFFFFF"/>
      </a:lt1>
      <a:dk2>
        <a:srgbClr val="B9D9EB"/>
      </a:dk2>
      <a:lt2>
        <a:srgbClr val="E3E3E3"/>
      </a:lt2>
      <a:accent1>
        <a:srgbClr val="2354E8"/>
      </a:accent1>
      <a:accent2>
        <a:srgbClr val="1AC6BA"/>
      </a:accent2>
      <a:accent3>
        <a:srgbClr val="FF5C39"/>
      </a:accent3>
      <a:accent4>
        <a:srgbClr val="861F41"/>
      </a:accent4>
      <a:accent5>
        <a:srgbClr val="CEDC00"/>
      </a:accent5>
      <a:accent6>
        <a:srgbClr val="00205B"/>
      </a:accent6>
      <a:hlink>
        <a:srgbClr val="2354E8"/>
      </a:hlink>
      <a:folHlink>
        <a:srgbClr val="808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33363" indent="-233363">
          <a:buClr>
            <a:schemeClr val="tx2"/>
          </a:buClr>
          <a:buFont typeface="Wingdings" panose="05000000000000000000" pitchFamily="2" charset="2"/>
          <a:buChar char="§"/>
          <a:defRPr sz="2000" dirty="0"/>
        </a:defPPr>
      </a:lstStyle>
    </a:txDef>
  </a:objectDefaults>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4D10CAE4802C4B94212B90B7CA9100" ma:contentTypeVersion="1" ma:contentTypeDescription="Create a new document." ma:contentTypeScope="" ma:versionID="c9888d2ab4190f92dfb2331404860c0d">
  <xsd:schema xmlns:xsd="http://www.w3.org/2001/XMLSchema" xmlns:xs="http://www.w3.org/2001/XMLSchema" xmlns:p="http://schemas.microsoft.com/office/2006/metadata/properties" targetNamespace="http://schemas.microsoft.com/office/2006/metadata/properties" ma:root="true" ma:fieldsID="222febb13d717ade788056fb13d131aa">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D6F31C-510D-467A-BD82-EF9EBF90EE69}">
  <ds:schemaRefs>
    <ds:schemaRef ds:uri="http://schemas.microsoft.com/sharepoint/v3/contenttype/forms"/>
  </ds:schemaRefs>
</ds:datastoreItem>
</file>

<file path=customXml/itemProps2.xml><?xml version="1.0" encoding="utf-8"?>
<ds:datastoreItem xmlns:ds="http://schemas.openxmlformats.org/officeDocument/2006/customXml" ds:itemID="{D1835D24-30F1-427E-9A14-7666B5085F4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9AF835F-0001-4002-AE87-F2E39B6197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HK White Bkgd (16x9)</Template>
  <TotalTime>0</TotalTime>
  <Application>Microsoft Office PowerPoint</Application>
  <PresentationFormat/>
  <Slides>16</Slide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1900-01-01T00:00:00Z</cp:lastPrinted>
  <dcterms:created xsi:type="dcterms:W3CDTF">1900-01-01T00:00:00Z</dcterms:created>
  <dcterms:modified xsi:type="dcterms:W3CDTF">1900-01-01T00:00:00Z</dcterms:modified>
</cp:coreProperties>
</file>

<file path=docProps/custom.xml><?xml version="1.0" encoding="utf-8"?>
<Properties xmlns="http://schemas.openxmlformats.org/officeDocument/2006/custom-properties" xmlns:vt="http://schemas.openxmlformats.org/officeDocument/2006/docPropsVTypes">
  <xns:property xmlns:xns="http://schemas.openxmlformats.org/officeDocument/2006/custom-properties" fmtid="{D5CDD505-2E9C-101B-9397-08002B2CF9AE}" pid="2" name="CID">
    <vt:lpwstr>5cCp1VJ4l7cOX46hV9Kd</vt:lpwstr>
  </xns:property>
  <xns:property xmlns:xns="http://schemas.openxmlformats.org/officeDocument/2006/custom-properties" fmtid="{D5CDD505-2E9C-101B-9397-08002B2CF9AE}" pid="3" name="ContentTypeId">
    <vt:lpwstr>0x010100254D10CAE4802C4B94212B90B7CA9100</vt:lpwstr>
  </xns:property>
  <xns:property xmlns:xns="http://schemas.openxmlformats.org/officeDocument/2006/custom-properties" fmtid="{D5CDD505-2E9C-101B-9397-08002B2CF9AE}" pid="4" name="DT">
    <vt:lpwstr>6rLQAz7w7M2si2HK4tXX</vt:lpwstr>
  </xns:property>
  <xns:property xmlns:xns="http://schemas.openxmlformats.org/officeDocument/2006/custom-properties" fmtid="{D5CDD505-2E9C-101B-9397-08002B2CF9AE}" pid="5" name="KET">
    <vt:lpwstr>hbmQJiBhbmQJiBhbmQJi</vt:lpwstr>
  </xns:property>
  <xns:property xmlns:xns="http://schemas.openxmlformats.org/officeDocument/2006/custom-properties" fmtid="{D5CDD505-2E9C-101B-9397-08002B2CF9AE}" pid="6" name="MID">
    <vt:lpwstr>B0gBuE8XKPUkN34jLwA8</vt:lpwstr>
  </xns:property>
</Properties>
</file>